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3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8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1" r:id="rId3"/>
    <p:sldMasterId id="2147483673" r:id="rId4"/>
  </p:sldMasterIdLst>
  <p:notesMasterIdLst>
    <p:notesMasterId r:id="rId24"/>
  </p:notesMasterIdLst>
  <p:sldIdLst>
    <p:sldId id="2013" r:id="rId5"/>
    <p:sldId id="1854" r:id="rId6"/>
    <p:sldId id="1851" r:id="rId7"/>
    <p:sldId id="2014" r:id="rId8"/>
    <p:sldId id="2016" r:id="rId9"/>
    <p:sldId id="1989" r:id="rId10"/>
    <p:sldId id="2010" r:id="rId11"/>
    <p:sldId id="1940" r:id="rId12"/>
    <p:sldId id="1942" r:id="rId13"/>
    <p:sldId id="1941" r:id="rId14"/>
    <p:sldId id="1990" r:id="rId15"/>
    <p:sldId id="1985" r:id="rId16"/>
    <p:sldId id="1856" r:id="rId17"/>
    <p:sldId id="1992" r:id="rId18"/>
    <p:sldId id="1932" r:id="rId19"/>
    <p:sldId id="2015" r:id="rId20"/>
    <p:sldId id="1980" r:id="rId21"/>
    <p:sldId id="1870" r:id="rId22"/>
    <p:sldId id="1900" r:id="rId23"/>
  </p:sldIdLst>
  <p:sldSz cx="12192000" cy="6858000"/>
  <p:notesSz cx="6742113" cy="9872663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5CF4C"/>
    <a:srgbClr val="86CBC4"/>
    <a:srgbClr val="2D3E46"/>
    <a:srgbClr val="FFFFFF"/>
    <a:srgbClr val="4E2715"/>
    <a:srgbClr val="A5A5A5"/>
    <a:srgbClr val="8ED201"/>
    <a:srgbClr val="6C584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6D9F66E-5EB9-4882-86FB-DCBF35E3C3E4}" styleName="Medium Style 4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456" autoAdjust="0"/>
    <p:restoredTop sz="80431" autoAdjust="0"/>
  </p:normalViewPr>
  <p:slideViewPr>
    <p:cSldViewPr snapToGrid="0">
      <p:cViewPr varScale="1">
        <p:scale>
          <a:sx n="77" d="100"/>
          <a:sy n="77" d="100"/>
        </p:scale>
        <p:origin x="572" y="3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0101813\AppData\Local\Microsoft\Windows\INetCache\Content.Outlook\FQUWJVL1\Exxaro%20dividends%20paid%20since%202007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0101813\AppData\Local\Microsoft\Windows\INetCache\Content.Outlook\FQUWJVL1\Exxaro%20dividends%20paid%20since%202007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20101813\AppData\Local\Microsoft\Windows\INetCache\Content.Outlook\FQUWJVL1\Exxaro%20dividends%20paid%20since%202007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0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TIFR*</a:t>
            </a:r>
          </a:p>
        </c:rich>
      </c:tx>
      <c:layout>
        <c:manualLayout>
          <c:xMode val="edge"/>
          <c:yMode val="edge"/>
          <c:x val="0.48805965135539342"/>
          <c:y val="0.2040938836580168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86CBC4"/>
            </a:solidFill>
            <a:ln>
              <a:noFill/>
            </a:ln>
            <a:effectLst>
              <a:outerShdw blurRad="50800" dist="38100" algn="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2D3E46"/>
              </a:solidFill>
              <a:ln>
                <a:noFill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39E5-47D9-9B20-5F9BE708AC7C}"/>
              </c:ext>
            </c:extLst>
          </c:dPt>
          <c:dPt>
            <c:idx val="2"/>
            <c:invertIfNegative val="0"/>
            <c:bubble3D val="0"/>
            <c:spPr>
              <a:solidFill>
                <a:srgbClr val="2D3E46"/>
              </a:solidFill>
              <a:ln>
                <a:noFill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39E5-47D9-9B20-5F9BE708AC7C}"/>
              </c:ext>
            </c:extLst>
          </c:dPt>
          <c:dPt>
            <c:idx val="5"/>
            <c:invertIfNegative val="0"/>
            <c:bubble3D val="0"/>
            <c:spPr>
              <a:solidFill>
                <a:srgbClr val="2D3E46"/>
              </a:solidFill>
              <a:ln>
                <a:noFill/>
              </a:ln>
              <a:effectLst>
                <a:outerShdw blurRad="50800" dist="38100" algn="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39E5-47D9-9B20-5F9BE708AC7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J$8:$Q$8</c:f>
              <c:strCache>
                <c:ptCount val="8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 YTD</c:v>
                </c:pt>
              </c:strCache>
            </c:strRef>
          </c:cat>
          <c:val>
            <c:numRef>
              <c:f>Sheet1!$J$9:$Q$9</c:f>
              <c:numCache>
                <c:formatCode>General</c:formatCode>
                <c:ptCount val="8"/>
                <c:pt idx="0">
                  <c:v>0.28999999999999998</c:v>
                </c:pt>
                <c:pt idx="1">
                  <c:v>0.19</c:v>
                </c:pt>
                <c:pt idx="2">
                  <c:v>0.19</c:v>
                </c:pt>
                <c:pt idx="3">
                  <c:v>0.17</c:v>
                </c:pt>
                <c:pt idx="4">
                  <c:v>0.09</c:v>
                </c:pt>
                <c:pt idx="5">
                  <c:v>0.12</c:v>
                </c:pt>
                <c:pt idx="6">
                  <c:v>0.12</c:v>
                </c:pt>
                <c:pt idx="7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E5-47D9-9B20-5F9BE708AC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overlap val="-27"/>
        <c:axId val="1393183216"/>
        <c:axId val="1311678352"/>
      </c:barChart>
      <c:catAx>
        <c:axId val="1393183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11678352"/>
        <c:crosses val="autoZero"/>
        <c:auto val="1"/>
        <c:lblAlgn val="ctr"/>
        <c:lblOffset val="100"/>
        <c:noMultiLvlLbl val="0"/>
      </c:catAx>
      <c:valAx>
        <c:axId val="131167835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393183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 b="1"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2016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86CB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AF5-4F53-9254-AAB84E5A045B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AF5-4F53-9254-AAB84E5A045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AF5-4F53-9254-AAB84E5A045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12:$E$14</c:f>
              <c:strCache>
                <c:ptCount val="3"/>
                <c:pt idx="0">
                  <c:v>RB1</c:v>
                </c:pt>
                <c:pt idx="1">
                  <c:v>RB3</c:v>
                </c:pt>
                <c:pt idx="2">
                  <c:v>4800</c:v>
                </c:pt>
              </c:strCache>
            </c:strRef>
          </c:cat>
          <c:val>
            <c:numRef>
              <c:f>Sheet1!$F$12:$F$14</c:f>
              <c:numCache>
                <c:formatCode>0%</c:formatCode>
                <c:ptCount val="3"/>
                <c:pt idx="0">
                  <c:v>0.33</c:v>
                </c:pt>
                <c:pt idx="1">
                  <c:v>0.49</c:v>
                </c:pt>
                <c:pt idx="2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AF5-4F53-9254-AAB84E5A04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2023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86CB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305E-4238-962E-59C33844A930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305E-4238-962E-59C33844A93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305E-4238-962E-59C33844A93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12:$E$14</c:f>
              <c:strCache>
                <c:ptCount val="3"/>
                <c:pt idx="0">
                  <c:v>RB1</c:v>
                </c:pt>
                <c:pt idx="1">
                  <c:v>RB3</c:v>
                </c:pt>
                <c:pt idx="2">
                  <c:v>4800</c:v>
                </c:pt>
              </c:strCache>
            </c:strRef>
          </c:cat>
          <c:val>
            <c:numRef>
              <c:f>Sheet1!$H$12:$H$14</c:f>
              <c:numCache>
                <c:formatCode>0%</c:formatCode>
                <c:ptCount val="3"/>
                <c:pt idx="0">
                  <c:v>0.56999999999999995</c:v>
                </c:pt>
                <c:pt idx="1">
                  <c:v>0.33</c:v>
                </c:pt>
                <c:pt idx="2">
                  <c:v>0.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05E-4238-962E-59C33844A9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/>
              <a:t>2019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rgbClr val="86CBC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FBAE-4F93-980E-54FCA93F6E23}"/>
              </c:ext>
            </c:extLst>
          </c:dPt>
          <c:dPt>
            <c:idx val="1"/>
            <c:bubble3D val="0"/>
            <c:spPr>
              <a:solidFill>
                <a:schemeClr val="accent6">
                  <a:lumMod val="75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FBAE-4F93-980E-54FCA93F6E23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FBAE-4F93-980E-54FCA93F6E2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E$12:$E$14</c:f>
              <c:strCache>
                <c:ptCount val="3"/>
                <c:pt idx="0">
                  <c:v>RB1</c:v>
                </c:pt>
                <c:pt idx="1">
                  <c:v>RB3</c:v>
                </c:pt>
                <c:pt idx="2">
                  <c:v>4800</c:v>
                </c:pt>
              </c:strCache>
            </c:strRef>
          </c:cat>
          <c:val>
            <c:numRef>
              <c:f>Sheet1!$G$12:$G$14</c:f>
              <c:numCache>
                <c:formatCode>0%</c:formatCode>
                <c:ptCount val="3"/>
                <c:pt idx="0">
                  <c:v>0.31</c:v>
                </c:pt>
                <c:pt idx="1">
                  <c:v>0.54</c:v>
                </c:pt>
                <c:pt idx="2">
                  <c:v>0.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BAE-4F93-980E-54FCA93F6E2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5282395256148536E-3"/>
          <c:y val="0"/>
          <c:w val="0.99647160582199956"/>
          <c:h val="0.9708571015305061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8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500F-44A0-AD4C-6DD574BC2D74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500F-44A0-AD4C-6DD574BC2D74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500F-44A0-AD4C-6DD574BC2D74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5-500F-44A0-AD4C-6DD574BC2D74}"/>
              </c:ext>
            </c:extLst>
          </c:dPt>
          <c:dPt>
            <c:idx val="4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500F-44A0-AD4C-6DD574BC2D74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500F-44A0-AD4C-6DD574BC2D74}"/>
              </c:ext>
            </c:extLst>
          </c:dPt>
          <c:dLbls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500F-44A0-AD4C-6DD574BC2D74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500F-44A0-AD4C-6DD574BC2D74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00F-44A0-AD4C-6DD574BC2D74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00F-44A0-AD4C-6DD574BC2D7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baseline="0">
                    <a:solidFill>
                      <a:srgbClr val="2D3E46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1">
                  <c:v>Sasol</c:v>
                </c:pt>
                <c:pt idx="2">
                  <c:v>Anglo</c:v>
                </c:pt>
                <c:pt idx="3">
                  <c:v>South32</c:v>
                </c:pt>
                <c:pt idx="4">
                  <c:v>Glencore</c:v>
                </c:pt>
              </c:strCache>
            </c:strRef>
          </c:cat>
          <c:val>
            <c:numRef>
              <c:f>Sheet1!$B$2:$B$6</c:f>
              <c:numCache>
                <c:formatCode>0</c:formatCode>
                <c:ptCount val="5"/>
                <c:pt idx="0">
                  <c:v>47</c:v>
                </c:pt>
                <c:pt idx="1">
                  <c:v>36.19</c:v>
                </c:pt>
                <c:pt idx="2">
                  <c:v>28.47</c:v>
                </c:pt>
                <c:pt idx="3">
                  <c:v>26.46</c:v>
                </c:pt>
                <c:pt idx="4">
                  <c:v>22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00F-44A0-AD4C-6DD574BC2D7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61449344"/>
        <c:axId val="61450880"/>
      </c:barChart>
      <c:catAx>
        <c:axId val="614493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0" spcFirstLastPara="1" vertOverflow="ellipsis" wrap="square" anchor="ctr" anchorCtr="1"/>
          <a:lstStyle/>
          <a:p>
            <a:pPr>
              <a:defRPr sz="1200" b="1" i="0" u="none" strike="noStrike" kern="1200" baseline="0">
                <a:solidFill>
                  <a:srgbClr val="2D3E4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1450880"/>
        <c:crossesAt val="0"/>
        <c:auto val="1"/>
        <c:lblAlgn val="ctr"/>
        <c:lblOffset val="100"/>
        <c:tickLblSkip val="1"/>
        <c:noMultiLvlLbl val="0"/>
      </c:catAx>
      <c:valAx>
        <c:axId val="61450880"/>
        <c:scaling>
          <c:orientation val="minMax"/>
          <c:max val="60"/>
        </c:scaling>
        <c:delete val="1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" sourceLinked="1"/>
        <c:majorTickMark val="none"/>
        <c:minorTickMark val="none"/>
        <c:tickLblPos val="nextTo"/>
        <c:crossAx val="61449344"/>
        <c:crosses val="autoZero"/>
        <c:crossBetween val="between"/>
        <c:majorUnit val="20"/>
        <c:minorUnit val="4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3.8092793437632416E-2"/>
          <c:y val="7.9296694514167265E-2"/>
          <c:w val="0.93488392618260641"/>
          <c:h val="0.6758927831493672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2017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>
              <a:outerShdw blurRad="57150" dist="19050" dir="5400000" algn="ctr" rotWithShape="0">
                <a:srgbClr val="000000">
                  <a:alpha val="63000"/>
                </a:srgb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0-283D-4832-A001-D5C57C3533A6}"/>
              </c:ext>
            </c:extLst>
          </c:dPt>
          <c:dPt>
            <c:idx val="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283D-4832-A001-D5C57C3533A6}"/>
              </c:ext>
            </c:extLst>
          </c:dPt>
          <c:dPt>
            <c:idx val="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4-283D-4832-A001-D5C57C3533A6}"/>
              </c:ext>
            </c:extLst>
          </c:dPt>
          <c:dPt>
            <c:idx val="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6-283D-4832-A001-D5C57C3533A6}"/>
              </c:ext>
            </c:extLst>
          </c:dPt>
          <c:dPt>
            <c:idx val="4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283D-4832-A001-D5C57C3533A6}"/>
              </c:ext>
            </c:extLst>
          </c:dPt>
          <c:dPt>
            <c:idx val="5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9-283D-4832-A001-D5C57C3533A6}"/>
              </c:ext>
            </c:extLst>
          </c:dPt>
          <c:dPt>
            <c:idx val="6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B-283D-4832-A001-D5C57C3533A6}"/>
              </c:ext>
            </c:extLst>
          </c:dPt>
          <c:dPt>
            <c:idx val="7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D-283D-4832-A001-D5C57C3533A6}"/>
              </c:ext>
            </c:extLst>
          </c:dPt>
          <c:dPt>
            <c:idx val="8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F-283D-4832-A001-D5C57C3533A6}"/>
              </c:ext>
            </c:extLst>
          </c:dPt>
          <c:dPt>
            <c:idx val="9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1-283D-4832-A001-D5C57C3533A6}"/>
              </c:ext>
            </c:extLst>
          </c:dPt>
          <c:dPt>
            <c:idx val="10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3-283D-4832-A001-D5C57C3533A6}"/>
              </c:ext>
            </c:extLst>
          </c:dPt>
          <c:dPt>
            <c:idx val="11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5-283D-4832-A001-D5C57C3533A6}"/>
              </c:ext>
            </c:extLst>
          </c:dPt>
          <c:dPt>
            <c:idx val="12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7-283D-4832-A001-D5C57C3533A6}"/>
              </c:ext>
            </c:extLst>
          </c:dPt>
          <c:dPt>
            <c:idx val="13"/>
            <c:invertIfNegative val="0"/>
            <c:bubble3D val="0"/>
            <c:spPr>
              <a:solidFill>
                <a:schemeClr val="bg1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9-283D-4832-A001-D5C57C3533A6}"/>
              </c:ext>
            </c:extLst>
          </c:dPt>
          <c:dPt>
            <c:idx val="14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A-283D-4832-A001-D5C57C3533A6}"/>
              </c:ext>
            </c:extLst>
          </c:dPt>
          <c:dPt>
            <c:idx val="15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B-283D-4832-A001-D5C57C3533A6}"/>
              </c:ext>
            </c:extLst>
          </c:dPt>
          <c:dPt>
            <c:idx val="16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C-283D-4832-A001-D5C57C3533A6}"/>
              </c:ext>
            </c:extLst>
          </c:dPt>
          <c:dPt>
            <c:idx val="17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D-283D-4832-A001-D5C57C3533A6}"/>
              </c:ext>
            </c:extLst>
          </c:dPt>
          <c:dPt>
            <c:idx val="18"/>
            <c:invertIfNegative val="0"/>
            <c:bubble3D val="0"/>
            <c:spPr>
              <a:solidFill>
                <a:srgbClr val="A5CF4C"/>
              </a:solidFill>
              <a:ln>
                <a:noFill/>
              </a:ln>
              <a:effectLst>
                <a:outerShdw blurRad="57150" dist="19050" dir="5400000" algn="ctr" rotWithShape="0">
                  <a:srgbClr val="000000">
                    <a:alpha val="63000"/>
                  </a:srgb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1E-283D-4832-A001-D5C57C3533A6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29.7</a:t>
                    </a:r>
                  </a:p>
                </c:rich>
              </c:tx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283D-4832-A001-D5C57C3533A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83D-4832-A001-D5C57C3533A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3D-4832-A001-D5C57C3533A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3D-4832-A001-D5C57C3533A6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83D-4832-A001-D5C57C3533A6}"/>
                </c:ext>
              </c:extLst>
            </c:dLbl>
            <c:dLbl>
              <c:idx val="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83D-4832-A001-D5C57C3533A6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283D-4832-A001-D5C57C3533A6}"/>
                </c:ext>
              </c:extLst>
            </c:dLbl>
            <c:dLbl>
              <c:idx val="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283D-4832-A001-D5C57C3533A6}"/>
                </c:ext>
              </c:extLst>
            </c:dLbl>
            <c:dLbl>
              <c:idx val="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283D-4832-A001-D5C57C3533A6}"/>
                </c:ext>
              </c:extLst>
            </c:dLbl>
            <c:dLbl>
              <c:idx val="9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283D-4832-A001-D5C57C3533A6}"/>
                </c:ext>
              </c:extLst>
            </c:dLbl>
            <c:dLbl>
              <c:idx val="1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283D-4832-A001-D5C57C3533A6}"/>
                </c:ext>
              </c:extLst>
            </c:dLbl>
            <c:dLbl>
              <c:idx val="1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283D-4832-A001-D5C57C3533A6}"/>
                </c:ext>
              </c:extLst>
            </c:dLbl>
            <c:dLbl>
              <c:idx val="1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283D-4832-A001-D5C57C3533A6}"/>
                </c:ext>
              </c:extLst>
            </c:dLbl>
            <c:dLbl>
              <c:idx val="1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283D-4832-A001-D5C57C3533A6}"/>
                </c:ext>
              </c:extLst>
            </c:dLbl>
            <c:dLbl>
              <c:idx val="1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283D-4832-A001-D5C57C3533A6}"/>
                </c:ext>
              </c:extLst>
            </c:dLbl>
            <c:dLbl>
              <c:idx val="15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283D-4832-A001-D5C57C3533A6}"/>
                </c:ext>
              </c:extLst>
            </c:dLbl>
            <c:dLbl>
              <c:idx val="1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283D-4832-A001-D5C57C3533A6}"/>
                </c:ext>
              </c:extLst>
            </c:dLbl>
            <c:dLbl>
              <c:idx val="17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D-283D-4832-A001-D5C57C3533A6}"/>
                </c:ext>
              </c:extLst>
            </c:dLbl>
            <c:dLbl>
              <c:idx val="18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E-283D-4832-A001-D5C57C3533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1" i="0" u="none" strike="noStrike" kern="1200" baseline="0">
                    <a:solidFill>
                      <a:srgbClr val="2D3E46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20</c:f>
              <c:strCache>
                <c:ptCount val="19"/>
                <c:pt idx="0">
                  <c:v>Grootegeluk</c:v>
                </c:pt>
                <c:pt idx="1">
                  <c:v>
New Vaal</c:v>
                </c:pt>
                <c:pt idx="2">
                  <c:v>Middelburg</c:v>
                </c:pt>
                <c:pt idx="3">
                  <c:v>
Syferfontein</c:v>
                </c:pt>
                <c:pt idx="4">
                  <c:v>Matla</c:v>
                </c:pt>
                <c:pt idx="5">
                  <c:v>
Khutala</c:v>
                </c:pt>
                <c:pt idx="6">
                  <c:v>Brandspruit</c:v>
                </c:pt>
                <c:pt idx="7">
                  <c:v>
Middelbult</c:v>
                </c:pt>
                <c:pt idx="8">
                  <c:v>Optimum</c:v>
                </c:pt>
                <c:pt idx="9">
                  <c:v>
Goedgev.</c:v>
                </c:pt>
                <c:pt idx="10">
                  <c:v>Bosjesspruit</c:v>
                </c:pt>
                <c:pt idx="11">
                  <c:v>
Impunzi S.</c:v>
                </c:pt>
                <c:pt idx="12">
                  <c:v>Kriel</c:v>
                </c:pt>
                <c:pt idx="13">
                  <c:v>
Klipspruit</c:v>
                </c:pt>
                <c:pt idx="14">
                  <c:v>Leeuwpan</c:v>
                </c:pt>
                <c:pt idx="15">
                  <c:v>
Mafube</c:v>
                </c:pt>
                <c:pt idx="16">
                  <c:v>North Block</c:v>
                </c:pt>
                <c:pt idx="17">
                  <c:v>
Dorstfontein</c:v>
                </c:pt>
                <c:pt idx="18">
                  <c:v>Forzando</c:v>
                </c:pt>
              </c:strCache>
            </c:strRef>
          </c:cat>
          <c:val>
            <c:numRef>
              <c:f>Sheet1!$B$2:$B$20</c:f>
              <c:numCache>
                <c:formatCode>0.0</c:formatCode>
                <c:ptCount val="19"/>
                <c:pt idx="0">
                  <c:v>23.4</c:v>
                </c:pt>
                <c:pt idx="1">
                  <c:v>16.5</c:v>
                </c:pt>
                <c:pt idx="2">
                  <c:v>14.7</c:v>
                </c:pt>
                <c:pt idx="3">
                  <c:v>10.5</c:v>
                </c:pt>
                <c:pt idx="4">
                  <c:v>8.5299999999999994</c:v>
                </c:pt>
                <c:pt idx="5">
                  <c:v>8.3000000000000007</c:v>
                </c:pt>
                <c:pt idx="6">
                  <c:v>8</c:v>
                </c:pt>
                <c:pt idx="7">
                  <c:v>8</c:v>
                </c:pt>
                <c:pt idx="8">
                  <c:v>7.5</c:v>
                </c:pt>
                <c:pt idx="9">
                  <c:v>7.2</c:v>
                </c:pt>
                <c:pt idx="10">
                  <c:v>7</c:v>
                </c:pt>
                <c:pt idx="11">
                  <c:v>7</c:v>
                </c:pt>
                <c:pt idx="12">
                  <c:v>6.5</c:v>
                </c:pt>
                <c:pt idx="13">
                  <c:v>6</c:v>
                </c:pt>
                <c:pt idx="14">
                  <c:v>3.8</c:v>
                </c:pt>
                <c:pt idx="15">
                  <c:v>3.4</c:v>
                </c:pt>
                <c:pt idx="16">
                  <c:v>3.1</c:v>
                </c:pt>
                <c:pt idx="17">
                  <c:v>2.5</c:v>
                </c:pt>
                <c:pt idx="18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F-283D-4832-A001-D5C57C3533A6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66457984"/>
        <c:axId val="66469888"/>
      </c:barChart>
      <c:catAx>
        <c:axId val="66457984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nextTo"/>
        <c:spPr>
          <a:noFill/>
          <a:ln w="12700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97" b="1" i="0" u="none" strike="noStrike" kern="1200" baseline="0">
                <a:solidFill>
                  <a:srgbClr val="2D3E4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66469888"/>
        <c:crosses val="autoZero"/>
        <c:auto val="1"/>
        <c:lblAlgn val="ctr"/>
        <c:lblOffset val="100"/>
        <c:tickLblSkip val="1"/>
        <c:noMultiLvlLbl val="0"/>
      </c:catAx>
      <c:valAx>
        <c:axId val="66469888"/>
        <c:scaling>
          <c:orientation val="minMax"/>
          <c:max val="30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0.0" sourceLinked="1"/>
        <c:majorTickMark val="none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6457984"/>
        <c:crosses val="autoZero"/>
        <c:crossBetween val="between"/>
        <c:majorUnit val="10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3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3"/>
    <cs:fontRef idx="minor">
      <a:schemeClr val="lt1"/>
    </cs:fontRef>
  </cs:dataPoint>
  <cs:dataPoint3D>
    <cs:lnRef idx="0"/>
    <cs:fillRef idx="3">
      <cs:styleClr val="auto"/>
    </cs:fillRef>
    <cs:effectRef idx="3"/>
    <cs:fontRef idx="minor">
      <a:schemeClr val="lt1"/>
    </cs:fontRef>
  </cs:dataPoint3D>
  <cs:dataPointLine>
    <cs:lnRef idx="0">
      <cs:styleClr val="auto"/>
    </cs:lnRef>
    <cs:fillRef idx="3"/>
    <cs:effectRef idx="3"/>
    <cs:fontRef idx="minor">
      <a:schemeClr val="lt1"/>
    </cs:fontRef>
    <cs:spPr>
      <a:ln w="349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3">
      <cs:styleClr val="auto"/>
    </cs:fillRef>
    <cs:effectRef idx="3"/>
    <cs:fontRef idx="minor">
      <a:schemeClr val="lt1"/>
    </cs:fontRef>
    <cs:spPr>
      <a:ln w="9525">
        <a:solidFill>
          <a:schemeClr val="phClr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3"/>
    <cs:fontRef idx="minor">
      <a:schemeClr val="lt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lt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>
    <cs:lnRef idx="0"/>
    <cs:fillRef idx="0"/>
    <cs:effectRef idx="0"/>
    <cs:fontRef idx="minor">
      <a:schemeClr val="lt1"/>
    </cs:fontRef>
  </cs:plotArea>
  <cs:plotArea3D>
    <cs:lnRef idx="0"/>
    <cs:fillRef idx="0"/>
    <cs:effectRef idx="0"/>
    <cs:fontRef idx="minor">
      <a:schemeClr val="lt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12700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baseline="0"/>
  </cs:title>
  <cs:trendline>
    <cs:lnRef idx="0">
      <cs:styleClr val="auto"/>
    </cs:lnRef>
    <cs:fillRef idx="0"/>
    <cs:effectRef idx="0"/>
    <cs:fontRef idx="minor">
      <a:schemeClr val="lt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lt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8862</cdr:x>
      <cdr:y>0.16507</cdr:y>
    </cdr:from>
    <cdr:to>
      <cdr:x>0.88235</cdr:x>
      <cdr:y>0.52666</cdr:y>
    </cdr:to>
    <cdr:cxnSp macro="">
      <cdr:nvCxnSpPr>
        <cdr:cNvPr id="4" name="Straight Arrow Connector 3">
          <a:extLst xmlns:a="http://schemas.openxmlformats.org/drawingml/2006/main">
            <a:ext uri="{FF2B5EF4-FFF2-40B4-BE49-F238E27FC236}">
              <a16:creationId xmlns:a16="http://schemas.microsoft.com/office/drawing/2014/main" id="{C9E8EF3D-A9E4-43A8-AE60-7BA40AEBF782}"/>
            </a:ext>
          </a:extLst>
        </cdr:cNvPr>
        <cdr:cNvCxnSpPr/>
      </cdr:nvCxnSpPr>
      <cdr:spPr>
        <a:xfrm xmlns:a="http://schemas.openxmlformats.org/drawingml/2006/main">
          <a:off x="904881" y="819164"/>
          <a:ext cx="8104648" cy="1794385"/>
        </a:xfrm>
        <a:prstGeom xmlns:a="http://schemas.openxmlformats.org/drawingml/2006/main" prst="straightConnector1">
          <a:avLst/>
        </a:prstGeom>
        <a:ln xmlns:a="http://schemas.openxmlformats.org/drawingml/2006/main" w="28575">
          <a:solidFill>
            <a:schemeClr val="accent6">
              <a:lumMod val="75000"/>
            </a:schemeClr>
          </a:solidFill>
          <a:tailEnd type="triangle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5</cdr:x>
      <cdr:y>0.27864</cdr:y>
    </cdr:from>
    <cdr:to>
      <cdr:x>0.59339</cdr:x>
      <cdr:y>0.3667</cdr:y>
    </cdr:to>
    <cdr:sp macro="" textlink="">
      <cdr:nvSpPr>
        <cdr:cNvPr id="6" name="TextBox 5">
          <a:extLst xmlns:a="http://schemas.openxmlformats.org/drawingml/2006/main">
            <a:ext uri="{FF2B5EF4-FFF2-40B4-BE49-F238E27FC236}">
              <a16:creationId xmlns:a16="http://schemas.microsoft.com/office/drawing/2014/main" id="{DC0EB3F7-5DD2-4BA1-9110-61825AA16BD7}"/>
            </a:ext>
          </a:extLst>
        </cdr:cNvPr>
        <cdr:cNvSpPr txBox="1"/>
      </cdr:nvSpPr>
      <cdr:spPr>
        <a:xfrm xmlns:a="http://schemas.openxmlformats.org/drawingml/2006/main">
          <a:off x="5105399" y="1382737"/>
          <a:ext cx="953587" cy="43700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 anchor="ctr"/>
        <a:lstStyle xmlns:a="http://schemas.openxmlformats.org/drawingml/2006/main"/>
        <a:p xmlns:a="http://schemas.openxmlformats.org/drawingml/2006/main">
          <a:pPr algn="ctr"/>
          <a:r>
            <a:rPr lang="en-US" sz="2000" b="1" dirty="0">
              <a:solidFill>
                <a:schemeClr val="accent6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rPr>
            <a:t>-52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18971" y="0"/>
            <a:ext cx="2921582" cy="49534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CA5454-CA88-4831-A981-00F1C614F4D1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1233488"/>
            <a:ext cx="5922963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4212" y="4751220"/>
            <a:ext cx="5393690" cy="388736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18971" y="9377318"/>
            <a:ext cx="2921582" cy="49534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A05008B-63C9-4AEE-AAB2-16BDFC86BDA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06707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Date and title</a:t>
            </a:r>
          </a:p>
          <a:p>
            <a:r>
              <a:rPr lang="en-ZA" dirty="0"/>
              <a:t>Top image – non contractor</a:t>
            </a:r>
          </a:p>
          <a:p>
            <a:endParaRPr lang="en-ZA" dirty="0"/>
          </a:p>
          <a:p>
            <a:r>
              <a:rPr lang="en-ZA" dirty="0"/>
              <a:t>Cut lad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80603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To check number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7170720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091972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b="1" dirty="0"/>
              <a:t>Geared statement to replaced emp export and increasin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up Core </a:t>
            </a:r>
            <a:r>
              <a:rPr lang="en-ZA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EBITDA</a:t>
            </a:r>
            <a:r>
              <a:rPr lang="en-ZA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has shown a </a:t>
            </a:r>
            <a:r>
              <a:rPr lang="en-ZA" b="1" dirty="0">
                <a:solidFill>
                  <a:schemeClr val="tx1">
                    <a:lumMod val="95000"/>
                    <a:lumOff val="5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+18.6% increase </a:t>
            </a:r>
            <a:r>
              <a:rPr lang="en-ZA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om 1H16 to 1H18.</a:t>
            </a:r>
          </a:p>
          <a:p>
            <a:endParaRPr lang="en-ZA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97180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33617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Check numbers</a:t>
            </a:r>
          </a:p>
          <a:p>
            <a:r>
              <a:rPr lang="en-ZA" dirty="0"/>
              <a:t>Numbers in gree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273360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515056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b="1" dirty="0"/>
              <a:t>Back up to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83454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926832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2055039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156640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81928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844279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80847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7F4B679-695B-43AE-8129-84AF81205428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4186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983444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726439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Number update - confirm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6322816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F80E5B-9C28-46F1-AFA5-1D92EFC2F7DA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30498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D20C5-6B1B-40A3-961E-B25C84B8E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D4BC77-79BA-4FF3-8FC6-6725E4AEC2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E20AC9-A85B-4607-9FBE-0104CE0B2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063096B-9FDA-4489-AA89-497D06F8A048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3219A2-7F01-4D5A-B024-AABED886B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AF50B-8921-4FB4-AC6E-7F83474CE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63106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9B17B-1F75-430C-9D58-58F2217F4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A3FC88-4BB0-4A24-9A19-AF87703CA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44DBED-30D1-45D6-9030-5A100F73E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5856DA-F9BE-458C-A61D-D1ED48E66A29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DA774-C206-481B-8A48-08694A490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34FE3-38C5-438A-90A9-2EF601492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50888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AEB2D6-A664-4C96-A3F7-B221293612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BCC230-9ED5-479D-A863-2666D5FD16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7A3100-5B0A-48EB-B672-50884A9EC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D8F73-8D7D-41E9-9956-C7837F71B9C2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25A13-8351-48C0-B1B3-911CB104D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A93E5-9FAD-4EDC-A0A7-001381BFC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73214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2D20C5-6B1B-40A3-961E-B25C84B8EE1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8D4BC77-79BA-4FF3-8FC6-6725E4AEC27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E20AC9-A85B-4607-9FBE-0104CE0B22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73219A2-7F01-4D5A-B024-AABED886B07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AF50B-8921-4FB4-AC6E-7F83474CE7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7325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EA4C6-4AB5-4E0E-B2ED-242D68C7E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36E6E-6E05-4748-A8B3-75142F7EB2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34128-E6DD-45C4-B1A7-0D35FCDAE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91BFF-4B71-42F9-9B94-62E5FE0AE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DB1510-7336-49F3-8E0C-86DD3128A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53893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454EF-A1BD-4793-8267-2E661BE91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F44C29-B66D-45C5-90BB-47EEB6DBB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96C2-E897-4298-93C7-DBECAD458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AB19A8-8052-429B-B3D6-E881F03CF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4B318-3601-4746-B01A-B8B675AD6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5210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87AEC-B742-4B2B-BA07-0DDC15A1B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1E09AF-2955-4960-AA53-11E2AAF815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9B0DEE-88E5-4D22-9066-22B6C2DF90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4C37D-FD53-4A06-853A-32070D630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73AE86-9210-4CE9-A2F2-CB8AD97DD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06BF07-4C9E-4D65-872F-9E48BB61E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45698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471E0-5CC6-4462-AC1B-10F75CDB1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F4872-D411-4A31-BB9F-9A73BCF858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9974CB-CF05-41A6-998C-8793770A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FEFD40-1C3B-4054-84CD-4B02E68DB6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39F29B-E74E-4388-B9BA-886C7B1639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75B38B-F4D8-4FF7-80EF-7265266AC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45CBFE-9656-47F5-8135-4276AA3BF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3B93CE-2733-4113-8BF0-D1A253A81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616623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B6086-62DD-4FEC-89F7-FCB0A6DB2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E7C1E-BFC7-46DF-9BFF-6E20B1A50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CDD266-3F08-4FF3-9A81-949DC5E4F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776C78-7B66-491B-975F-0410536F9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040889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880FF0-4AC3-4B16-9EB0-47B7DF576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3F3AE3-A674-4578-80F1-81716E7B9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F2B738-1502-46FB-B2EB-E115A7149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74020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0E637-F98F-4F9E-8FE2-64B72E671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9B22A-F8B4-4719-9AA0-316C0FA8A1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60D3-E1E6-47F8-9CD5-4C27CA3F4F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2010B6-D582-4F30-A15E-530F757B9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4BA6EF-CBA3-441C-8954-4DD620595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F7BC09-6AA8-42C1-AB38-F39ADD930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84893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97EA4C6-4AB5-4E0E-B2ED-242D68C7E4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A36E6E-6E05-4748-A8B3-75142F7EB22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834128-E6DD-45C4-B1A7-0D35FCDAEE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A5475-0A68-4232-ABB5-9C2145017515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A591BFF-4B71-42F9-9B94-62E5FE0AE4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8DB1510-7336-49F3-8E0C-86DD3128A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05559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5FF82-69C2-452C-AEE3-16ED24BDE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B06105-510C-479E-B6D7-DE810FFCC0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B0108B-2E64-401A-9365-8918332C2A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CF1903-CB7D-417D-8EB2-574230710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AFABC7-2DD7-4C66-A58C-827E4928D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A6670B-6917-4032-B035-A401DEBA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3254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9B17B-1F75-430C-9D58-58F2217F41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A3FC88-4BB0-4A24-9A19-AF87703CA2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944DBED-30D1-45D6-9030-5A100F73EE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2DA774-C206-481B-8A48-08694A490B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A34FE3-38C5-438A-90A9-2EF601492E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734032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9AEB2D6-A664-4C96-A3F7-B2212936126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DBCC230-9ED5-479D-A863-2666D5FD16A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7A3100-5B0A-48EB-B672-50884A9ECF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2D25A13-8351-48C0-B1B3-911CB104DF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8CA93E5-9FAD-4EDC-A0A7-001381BFCE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52764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6488FBE3-3DC1-4F35-8574-FACA54B5F48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3293"/>
          <a:stretch/>
        </p:blipFill>
        <p:spPr>
          <a:xfrm>
            <a:off x="-7716" y="1456535"/>
            <a:ext cx="12193079" cy="542655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6F7FE855-E2AB-4AF1-9BDC-4572A5B72FCB}"/>
              </a:ext>
            </a:extLst>
          </p:cNvPr>
          <p:cNvSpPr/>
          <p:nvPr userDrawn="1"/>
        </p:nvSpPr>
        <p:spPr>
          <a:xfrm>
            <a:off x="-10309" y="1483115"/>
            <a:ext cx="12192000" cy="5403324"/>
          </a:xfrm>
          <a:prstGeom prst="rect">
            <a:avLst/>
          </a:prstGeom>
          <a:solidFill>
            <a:schemeClr val="accent6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2926589" y="4759663"/>
            <a:ext cx="155284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007829" y="568845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550834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250A207-9EBE-451D-8910-76E03AFE20F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9" t="27750" b="6774"/>
          <a:stretch/>
        </p:blipFill>
        <p:spPr>
          <a:xfrm>
            <a:off x="0" y="1483783"/>
            <a:ext cx="12216447" cy="5374217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250843A-7FA1-4A4D-A37F-7F9F55EF4E18}"/>
              </a:ext>
            </a:extLst>
          </p:cNvPr>
          <p:cNvSpPr/>
          <p:nvPr userDrawn="1"/>
        </p:nvSpPr>
        <p:spPr>
          <a:xfrm>
            <a:off x="-1868470" y="842194"/>
            <a:ext cx="12192000" cy="5367249"/>
          </a:xfrm>
          <a:prstGeom prst="rect">
            <a:avLst/>
          </a:prstGeom>
          <a:solidFill>
            <a:schemeClr val="tx1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25207" y="3697228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VOLUME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932926" y="5351335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AFET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11920" y="5705201"/>
            <a:ext cx="17067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PRODUCT</a:t>
            </a:r>
          </a:p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X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85812" y="4401620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spc="30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51474" y="5214415"/>
            <a:ext cx="296771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OPERATIONAL EXCELLENCE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285170" y="2358422"/>
            <a:ext cx="24297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750" b="0" spc="70" baseline="0" dirty="0">
                <a:solidFill>
                  <a:schemeClr val="bg1">
                    <a:alpha val="70000"/>
                  </a:schemeClr>
                </a:solidFill>
              </a:rPr>
              <a:t>MAJOR PROJECTS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22180" y="3465107"/>
            <a:ext cx="296771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chemeClr val="bg1">
                    <a:alpha val="70000"/>
                  </a:schemeClr>
                </a:solidFill>
              </a:rPr>
              <a:t>VALU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9" name="TextBox 128">
            <a:extLst>
              <a:ext uri="{FF2B5EF4-FFF2-40B4-BE49-F238E27FC236}">
                <a16:creationId xmlns:a16="http://schemas.microsoft.com/office/drawing/2014/main" id="{17244973-3728-4418-9588-8665CFDF78A1}"/>
              </a:ext>
            </a:extLst>
          </p:cNvPr>
          <p:cNvSpPr txBox="1"/>
          <p:nvPr userDrawn="1"/>
        </p:nvSpPr>
        <p:spPr>
          <a:xfrm>
            <a:off x="3430549" y="2381521"/>
            <a:ext cx="242972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70" baseline="0" dirty="0" err="1">
                <a:solidFill>
                  <a:schemeClr val="bg1">
                    <a:alpha val="70000"/>
                  </a:schemeClr>
                </a:solidFill>
              </a:rPr>
              <a:t>digital@exxaro</a:t>
            </a:r>
            <a:endParaRPr lang="en-US" sz="2000" b="0" spc="70" baseline="0" dirty="0">
              <a:solidFill>
                <a:schemeClr val="bg1">
                  <a:alpha val="7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455815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5E71032-C8C5-4A5C-BF52-059A95866B2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8" t="28994" b="4944"/>
          <a:stretch/>
        </p:blipFill>
        <p:spPr>
          <a:xfrm>
            <a:off x="-10309" y="1487455"/>
            <a:ext cx="12197926" cy="5375261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E946AF62-DF3D-42F4-82A7-6A0E016EDB9D}"/>
              </a:ext>
            </a:extLst>
          </p:cNvPr>
          <p:cNvSpPr/>
          <p:nvPr userDrawn="1"/>
        </p:nvSpPr>
        <p:spPr>
          <a:xfrm>
            <a:off x="-1482" y="1454676"/>
            <a:ext cx="9782286" cy="5403324"/>
          </a:xfrm>
          <a:prstGeom prst="rect">
            <a:avLst/>
          </a:prstGeom>
          <a:solidFill>
            <a:schemeClr val="accent6">
              <a:lumMod val="50000"/>
              <a:alpha val="5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697221" y="322103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EARNING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6093335" y="3985574"/>
            <a:ext cx="168296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VESTMEN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3420358" y="2541802"/>
            <a:ext cx="169517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spc="3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184170" y="4956680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440416" y="2377989"/>
            <a:ext cx="209058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452868" y="3163877"/>
            <a:ext cx="4167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bg1">
                    <a:alpha val="70000"/>
                  </a:schemeClr>
                </a:solidFill>
              </a:rPr>
              <a:t>CAPITAL ALLOCATIO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3" name="TextBox 172">
            <a:extLst>
              <a:ext uri="{FF2B5EF4-FFF2-40B4-BE49-F238E27FC236}">
                <a16:creationId xmlns:a16="http://schemas.microsoft.com/office/drawing/2014/main" id="{1F73B22E-B183-4DC4-8206-43F23F251027}"/>
              </a:ext>
            </a:extLst>
          </p:cNvPr>
          <p:cNvSpPr txBox="1"/>
          <p:nvPr userDrawn="1"/>
        </p:nvSpPr>
        <p:spPr>
          <a:xfrm>
            <a:off x="5746723" y="4527077"/>
            <a:ext cx="12827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0" spc="140" baseline="0" dirty="0">
                <a:solidFill>
                  <a:schemeClr val="bg1">
                    <a:alpha val="70000"/>
                  </a:schemeClr>
                </a:solidFill>
              </a:rPr>
              <a:t>PRICE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F7BDBAC5-867D-4D77-B8A1-3F64734A0468}"/>
              </a:ext>
            </a:extLst>
          </p:cNvPr>
          <p:cNvSpPr txBox="1"/>
          <p:nvPr userDrawn="1"/>
        </p:nvSpPr>
        <p:spPr>
          <a:xfrm>
            <a:off x="3942778" y="5395286"/>
            <a:ext cx="10090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RETURN</a:t>
            </a:r>
          </a:p>
        </p:txBody>
      </p:sp>
    </p:spTree>
    <p:extLst>
      <p:ext uri="{BB962C8B-B14F-4D97-AF65-F5344CB8AC3E}">
        <p14:creationId xmlns:p14="http://schemas.microsoft.com/office/powerpoint/2010/main" val="282682343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C4FB68A9-249A-495B-8F27-BA4E12B3736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91"/>
          <a:stretch/>
        </p:blipFill>
        <p:spPr>
          <a:xfrm>
            <a:off x="-1317" y="1468601"/>
            <a:ext cx="12186679" cy="5388323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1308E62F-3C99-430E-8DD2-4F7C6C58CB19}"/>
              </a:ext>
            </a:extLst>
          </p:cNvPr>
          <p:cNvSpPr/>
          <p:nvPr userDrawn="1"/>
        </p:nvSpPr>
        <p:spPr>
          <a:xfrm>
            <a:off x="-10310" y="1433571"/>
            <a:ext cx="10115007" cy="5424429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2501808" y="1613065"/>
            <a:ext cx="11086167" cy="7009095"/>
            <a:chOff x="1285" y="544"/>
            <a:chExt cx="5112" cy="3232"/>
          </a:xfrm>
          <a:solidFill>
            <a:schemeClr val="bg1">
              <a:alpha val="5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4080062" y="3724740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GLOBAL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489318" y="5352884"/>
            <a:ext cx="158754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INNOVATIO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4901348" y="5730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ARKETS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094456" y="452698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687710" y="574426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8357"/>
            <a:ext cx="247337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0" spc="70" baseline="0" dirty="0">
                <a:solidFill>
                  <a:schemeClr val="bg1">
                    <a:alpha val="70000"/>
                  </a:schemeClr>
                </a:solidFill>
              </a:rPr>
              <a:t>OPTIMISA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cxnSp>
        <p:nvCxnSpPr>
          <p:cNvPr id="290" name="Straight Connector 289">
            <a:extLst>
              <a:ext uri="{FF2B5EF4-FFF2-40B4-BE49-F238E27FC236}">
                <a16:creationId xmlns:a16="http://schemas.microsoft.com/office/drawing/2014/main" id="{244ED62B-A39A-403F-8149-9654B3A323AD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110854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D2A026B5-A57B-4C9F-8D42-0884840532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08" b="28052"/>
          <a:stretch/>
        </p:blipFill>
        <p:spPr>
          <a:xfrm>
            <a:off x="-8888" y="1487394"/>
            <a:ext cx="12202309" cy="5384532"/>
          </a:xfrm>
          <a:prstGeom prst="rect">
            <a:avLst/>
          </a:prstGeom>
        </p:spPr>
      </p:pic>
      <p:sp>
        <p:nvSpPr>
          <p:cNvPr id="172" name="Rectangle 171">
            <a:extLst>
              <a:ext uri="{FF2B5EF4-FFF2-40B4-BE49-F238E27FC236}">
                <a16:creationId xmlns:a16="http://schemas.microsoft.com/office/drawing/2014/main" id="{856F86DB-776F-4B09-ACE9-0857017D112D}"/>
              </a:ext>
            </a:extLst>
          </p:cNvPr>
          <p:cNvSpPr/>
          <p:nvPr userDrawn="1"/>
        </p:nvSpPr>
        <p:spPr>
          <a:xfrm>
            <a:off x="-2271577" y="1430157"/>
            <a:ext cx="12192000" cy="5403324"/>
          </a:xfrm>
          <a:prstGeom prst="rect">
            <a:avLst/>
          </a:prstGeom>
          <a:solidFill>
            <a:schemeClr val="tx1">
              <a:alpha val="5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55F40CA-CB9E-4E5B-9143-5970526353A8}"/>
              </a:ext>
            </a:extLst>
          </p:cNvPr>
          <p:cNvSpPr/>
          <p:nvPr userDrawn="1"/>
        </p:nvSpPr>
        <p:spPr>
          <a:xfrm>
            <a:off x="-10309" y="0"/>
            <a:ext cx="12195672" cy="1487394"/>
          </a:xfrm>
          <a:prstGeom prst="rect">
            <a:avLst/>
          </a:prstGeom>
          <a:solidFill>
            <a:srgbClr val="768F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3647798" y="3661114"/>
            <a:ext cx="138043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EADERSHIP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3117090" y="4759663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GROWTH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5245626" y="5679296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MINING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6855401" y="4590323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7906038" y="537577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6365824" y="2376865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MACROECONOMIC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6106329" y="3876347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SKILL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6804" y="185731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36804" y="878764"/>
            <a:ext cx="9144000" cy="477343"/>
          </a:xfrm>
          <a:prstGeom prst="rect">
            <a:avLst/>
          </a:prstGeom>
          <a:noFill/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245" name="Straight Connector 244">
            <a:extLst>
              <a:ext uri="{FF2B5EF4-FFF2-40B4-BE49-F238E27FC236}">
                <a16:creationId xmlns:a16="http://schemas.microsoft.com/office/drawing/2014/main" id="{0F36543C-2F1F-4F64-866D-27D15CA3ABC5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46" name="Picture 245">
            <a:extLst>
              <a:ext uri="{FF2B5EF4-FFF2-40B4-BE49-F238E27FC236}">
                <a16:creationId xmlns:a16="http://schemas.microsoft.com/office/drawing/2014/main" id="{86B32045-B8D7-4758-BA51-326C8B65DFC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  <p:grpSp>
        <p:nvGrpSpPr>
          <p:cNvPr id="173" name="Group 4">
            <a:extLst>
              <a:ext uri="{FF2B5EF4-FFF2-40B4-BE49-F238E27FC236}">
                <a16:creationId xmlns:a16="http://schemas.microsoft.com/office/drawing/2014/main" id="{C50C28B7-0D58-4C5A-B564-1A420F85A358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74" name="Freeform 5">
              <a:extLst>
                <a:ext uri="{FF2B5EF4-FFF2-40B4-BE49-F238E27FC236}">
                  <a16:creationId xmlns:a16="http://schemas.microsoft.com/office/drawing/2014/main" id="{16A78460-944F-40D8-9720-060CF38BCC1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5" name="Freeform 6">
              <a:extLst>
                <a:ext uri="{FF2B5EF4-FFF2-40B4-BE49-F238E27FC236}">
                  <a16:creationId xmlns:a16="http://schemas.microsoft.com/office/drawing/2014/main" id="{D4FC20D1-A65A-4592-83A9-33ED6653F8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6" name="Freeform 7">
              <a:extLst>
                <a:ext uri="{FF2B5EF4-FFF2-40B4-BE49-F238E27FC236}">
                  <a16:creationId xmlns:a16="http://schemas.microsoft.com/office/drawing/2014/main" id="{431B3A64-8B9E-4B6C-8143-201A9FD5221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7" name="Freeform 8">
              <a:extLst>
                <a:ext uri="{FF2B5EF4-FFF2-40B4-BE49-F238E27FC236}">
                  <a16:creationId xmlns:a16="http://schemas.microsoft.com/office/drawing/2014/main" id="{78554E6B-03E1-4DD7-8D9D-BC14024B682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8" name="Freeform 9">
              <a:extLst>
                <a:ext uri="{FF2B5EF4-FFF2-40B4-BE49-F238E27FC236}">
                  <a16:creationId xmlns:a16="http://schemas.microsoft.com/office/drawing/2014/main" id="{A5BAC18F-8976-445B-86B9-6676FD93A7C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9" name="Freeform 10">
              <a:extLst>
                <a:ext uri="{FF2B5EF4-FFF2-40B4-BE49-F238E27FC236}">
                  <a16:creationId xmlns:a16="http://schemas.microsoft.com/office/drawing/2014/main" id="{9E6A8730-871E-4C7C-85C2-282A3F26EA4B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0" name="Freeform 11">
              <a:extLst>
                <a:ext uri="{FF2B5EF4-FFF2-40B4-BE49-F238E27FC236}">
                  <a16:creationId xmlns:a16="http://schemas.microsoft.com/office/drawing/2014/main" id="{3362FEB1-7757-4C78-9CC0-1790E2C137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2" name="Freeform 12">
              <a:extLst>
                <a:ext uri="{FF2B5EF4-FFF2-40B4-BE49-F238E27FC236}">
                  <a16:creationId xmlns:a16="http://schemas.microsoft.com/office/drawing/2014/main" id="{AB1CAED1-2A2E-4D09-ACE3-2F0BDD8CEAA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4" name="Freeform 13">
              <a:extLst>
                <a:ext uri="{FF2B5EF4-FFF2-40B4-BE49-F238E27FC236}">
                  <a16:creationId xmlns:a16="http://schemas.microsoft.com/office/drawing/2014/main" id="{2D374C0E-8D23-4EAF-AF0F-6BF2C66E7E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5" name="Freeform 14">
              <a:extLst>
                <a:ext uri="{FF2B5EF4-FFF2-40B4-BE49-F238E27FC236}">
                  <a16:creationId xmlns:a16="http://schemas.microsoft.com/office/drawing/2014/main" id="{F4B12C54-7E58-4993-87CF-0347A3A649A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6" name="Freeform 15">
              <a:extLst>
                <a:ext uri="{FF2B5EF4-FFF2-40B4-BE49-F238E27FC236}">
                  <a16:creationId xmlns:a16="http://schemas.microsoft.com/office/drawing/2014/main" id="{2A40F3CE-6DB8-4A38-A3D4-28E25081B62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7" name="Freeform 16">
              <a:extLst>
                <a:ext uri="{FF2B5EF4-FFF2-40B4-BE49-F238E27FC236}">
                  <a16:creationId xmlns:a16="http://schemas.microsoft.com/office/drawing/2014/main" id="{DD150893-7AEA-4842-A45F-E32C017767C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8" name="Freeform 17">
              <a:extLst>
                <a:ext uri="{FF2B5EF4-FFF2-40B4-BE49-F238E27FC236}">
                  <a16:creationId xmlns:a16="http://schemas.microsoft.com/office/drawing/2014/main" id="{7EE800A5-7934-49E8-9FF5-8EA7A77CCAB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9" name="Freeform 18">
              <a:extLst>
                <a:ext uri="{FF2B5EF4-FFF2-40B4-BE49-F238E27FC236}">
                  <a16:creationId xmlns:a16="http://schemas.microsoft.com/office/drawing/2014/main" id="{99919049-D950-4E9E-A197-BD81D51FB4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0" name="Freeform 19">
              <a:extLst>
                <a:ext uri="{FF2B5EF4-FFF2-40B4-BE49-F238E27FC236}">
                  <a16:creationId xmlns:a16="http://schemas.microsoft.com/office/drawing/2014/main" id="{7A640A35-0634-4737-BDBA-3B485EDBCAE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1" name="Freeform 20">
              <a:extLst>
                <a:ext uri="{FF2B5EF4-FFF2-40B4-BE49-F238E27FC236}">
                  <a16:creationId xmlns:a16="http://schemas.microsoft.com/office/drawing/2014/main" id="{CD6E32A7-D872-411E-A4DE-6F36742B055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2" name="Freeform 21">
              <a:extLst>
                <a:ext uri="{FF2B5EF4-FFF2-40B4-BE49-F238E27FC236}">
                  <a16:creationId xmlns:a16="http://schemas.microsoft.com/office/drawing/2014/main" id="{43582ACE-9D05-4DB7-A7AF-17A8697436F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3" name="Freeform 22">
              <a:extLst>
                <a:ext uri="{FF2B5EF4-FFF2-40B4-BE49-F238E27FC236}">
                  <a16:creationId xmlns:a16="http://schemas.microsoft.com/office/drawing/2014/main" id="{FFE4E0E0-5FB1-4235-B15D-35FE116949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4" name="Freeform 23">
              <a:extLst>
                <a:ext uri="{FF2B5EF4-FFF2-40B4-BE49-F238E27FC236}">
                  <a16:creationId xmlns:a16="http://schemas.microsoft.com/office/drawing/2014/main" id="{FED6FF02-4822-43CF-8285-CB0E95E85CD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5" name="Freeform 24">
              <a:extLst>
                <a:ext uri="{FF2B5EF4-FFF2-40B4-BE49-F238E27FC236}">
                  <a16:creationId xmlns:a16="http://schemas.microsoft.com/office/drawing/2014/main" id="{511E1BB0-E678-42B6-B5E7-0B33ADCE4B8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6" name="Freeform 25">
              <a:extLst>
                <a:ext uri="{FF2B5EF4-FFF2-40B4-BE49-F238E27FC236}">
                  <a16:creationId xmlns:a16="http://schemas.microsoft.com/office/drawing/2014/main" id="{B5D36FD6-1670-450C-8A5D-004C55E8A3A6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7" name="Freeform 26">
              <a:extLst>
                <a:ext uri="{FF2B5EF4-FFF2-40B4-BE49-F238E27FC236}">
                  <a16:creationId xmlns:a16="http://schemas.microsoft.com/office/drawing/2014/main" id="{B27713E4-DC81-4EDF-A0BB-43188951B8F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8" name="Freeform 27">
              <a:extLst>
                <a:ext uri="{FF2B5EF4-FFF2-40B4-BE49-F238E27FC236}">
                  <a16:creationId xmlns:a16="http://schemas.microsoft.com/office/drawing/2014/main" id="{BD79DD85-856B-4B00-B592-3D65C686FAD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9" name="Freeform 28">
              <a:extLst>
                <a:ext uri="{FF2B5EF4-FFF2-40B4-BE49-F238E27FC236}">
                  <a16:creationId xmlns:a16="http://schemas.microsoft.com/office/drawing/2014/main" id="{3B664FB2-A373-4BDB-BAFB-78A466323F7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0" name="Freeform 29">
              <a:extLst>
                <a:ext uri="{FF2B5EF4-FFF2-40B4-BE49-F238E27FC236}">
                  <a16:creationId xmlns:a16="http://schemas.microsoft.com/office/drawing/2014/main" id="{050F5A05-7152-430E-AE36-336AECA8696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1" name="Freeform 30">
              <a:extLst>
                <a:ext uri="{FF2B5EF4-FFF2-40B4-BE49-F238E27FC236}">
                  <a16:creationId xmlns:a16="http://schemas.microsoft.com/office/drawing/2014/main" id="{96ED083A-1182-4CDD-BF7C-AFBBF11D289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4" name="Freeform 31">
              <a:extLst>
                <a:ext uri="{FF2B5EF4-FFF2-40B4-BE49-F238E27FC236}">
                  <a16:creationId xmlns:a16="http://schemas.microsoft.com/office/drawing/2014/main" id="{B9032B46-C6D2-4B2D-90AE-DAC9E3962D3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6" name="Freeform 32">
              <a:extLst>
                <a:ext uri="{FF2B5EF4-FFF2-40B4-BE49-F238E27FC236}">
                  <a16:creationId xmlns:a16="http://schemas.microsoft.com/office/drawing/2014/main" id="{DA4892E9-B374-4A71-81F4-9C974A49A57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7" name="Freeform 33">
              <a:extLst>
                <a:ext uri="{FF2B5EF4-FFF2-40B4-BE49-F238E27FC236}">
                  <a16:creationId xmlns:a16="http://schemas.microsoft.com/office/drawing/2014/main" id="{B706A204-F12C-49D9-B4E4-8AA13855ECB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7" name="Freeform 34">
              <a:extLst>
                <a:ext uri="{FF2B5EF4-FFF2-40B4-BE49-F238E27FC236}">
                  <a16:creationId xmlns:a16="http://schemas.microsoft.com/office/drawing/2014/main" id="{B8CAAF18-B205-40A1-8E1D-D13ED18F32B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8" name="Freeform 35">
              <a:extLst>
                <a:ext uri="{FF2B5EF4-FFF2-40B4-BE49-F238E27FC236}">
                  <a16:creationId xmlns:a16="http://schemas.microsoft.com/office/drawing/2014/main" id="{85040068-0037-4559-9382-13DE422BE59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9" name="Freeform 36">
              <a:extLst>
                <a:ext uri="{FF2B5EF4-FFF2-40B4-BE49-F238E27FC236}">
                  <a16:creationId xmlns:a16="http://schemas.microsoft.com/office/drawing/2014/main" id="{D456203D-7981-4B67-BB22-157A245872B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0" name="Freeform 37">
              <a:extLst>
                <a:ext uri="{FF2B5EF4-FFF2-40B4-BE49-F238E27FC236}">
                  <a16:creationId xmlns:a16="http://schemas.microsoft.com/office/drawing/2014/main" id="{6C6AFB6B-BF0A-4B92-829A-05B93A191F6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1" name="Freeform 38">
              <a:extLst>
                <a:ext uri="{FF2B5EF4-FFF2-40B4-BE49-F238E27FC236}">
                  <a16:creationId xmlns:a16="http://schemas.microsoft.com/office/drawing/2014/main" id="{1A317769-7176-40EA-B0BA-F5B305D0AFF3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2" name="Freeform 39">
              <a:extLst>
                <a:ext uri="{FF2B5EF4-FFF2-40B4-BE49-F238E27FC236}">
                  <a16:creationId xmlns:a16="http://schemas.microsoft.com/office/drawing/2014/main" id="{3098F491-75E5-4CBF-A6E9-128B5DCD79D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3" name="Freeform 40">
              <a:extLst>
                <a:ext uri="{FF2B5EF4-FFF2-40B4-BE49-F238E27FC236}">
                  <a16:creationId xmlns:a16="http://schemas.microsoft.com/office/drawing/2014/main" id="{8A48B8EA-A9B6-47F7-933C-F993756706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4" name="Freeform 41">
              <a:extLst>
                <a:ext uri="{FF2B5EF4-FFF2-40B4-BE49-F238E27FC236}">
                  <a16:creationId xmlns:a16="http://schemas.microsoft.com/office/drawing/2014/main" id="{D43036B4-05CD-4276-B218-40241FADBE8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5" name="Freeform 42">
              <a:extLst>
                <a:ext uri="{FF2B5EF4-FFF2-40B4-BE49-F238E27FC236}">
                  <a16:creationId xmlns:a16="http://schemas.microsoft.com/office/drawing/2014/main" id="{0C7E68D0-20B1-43AD-9E76-514920928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6" name="Freeform 43">
              <a:extLst>
                <a:ext uri="{FF2B5EF4-FFF2-40B4-BE49-F238E27FC236}">
                  <a16:creationId xmlns:a16="http://schemas.microsoft.com/office/drawing/2014/main" id="{2F3C3678-4028-460C-A4AF-9037A4E7E89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7" name="Freeform 44">
              <a:extLst>
                <a:ext uri="{FF2B5EF4-FFF2-40B4-BE49-F238E27FC236}">
                  <a16:creationId xmlns:a16="http://schemas.microsoft.com/office/drawing/2014/main" id="{E50F3136-1C56-46ED-9F74-D35D0A5EA1C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8" name="Freeform 45">
              <a:extLst>
                <a:ext uri="{FF2B5EF4-FFF2-40B4-BE49-F238E27FC236}">
                  <a16:creationId xmlns:a16="http://schemas.microsoft.com/office/drawing/2014/main" id="{1C36D463-1090-48ED-85C1-C899A237086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9" name="Freeform 46">
              <a:extLst>
                <a:ext uri="{FF2B5EF4-FFF2-40B4-BE49-F238E27FC236}">
                  <a16:creationId xmlns:a16="http://schemas.microsoft.com/office/drawing/2014/main" id="{23EB6706-63CE-427D-BED7-784C47E171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0" name="Freeform 47">
              <a:extLst>
                <a:ext uri="{FF2B5EF4-FFF2-40B4-BE49-F238E27FC236}">
                  <a16:creationId xmlns:a16="http://schemas.microsoft.com/office/drawing/2014/main" id="{4616AD23-0FEB-4278-9157-62DD9342E64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1" name="Freeform 48">
              <a:extLst>
                <a:ext uri="{FF2B5EF4-FFF2-40B4-BE49-F238E27FC236}">
                  <a16:creationId xmlns:a16="http://schemas.microsoft.com/office/drawing/2014/main" id="{CD7E443D-0814-42B6-ABF3-6E310696769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2" name="Freeform 49">
              <a:extLst>
                <a:ext uri="{FF2B5EF4-FFF2-40B4-BE49-F238E27FC236}">
                  <a16:creationId xmlns:a16="http://schemas.microsoft.com/office/drawing/2014/main" id="{7952AEC2-3116-4DC1-B80C-B35BD53B37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3" name="Freeform 50">
              <a:extLst>
                <a:ext uri="{FF2B5EF4-FFF2-40B4-BE49-F238E27FC236}">
                  <a16:creationId xmlns:a16="http://schemas.microsoft.com/office/drawing/2014/main" id="{550F490E-0B1F-4826-84DF-E13D99D156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4" name="Rectangle 51">
              <a:extLst>
                <a:ext uri="{FF2B5EF4-FFF2-40B4-BE49-F238E27FC236}">
                  <a16:creationId xmlns:a16="http://schemas.microsoft.com/office/drawing/2014/main" id="{BE7BB47A-1203-4A1A-911A-253FEF7C959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5" name="Freeform 52">
              <a:extLst>
                <a:ext uri="{FF2B5EF4-FFF2-40B4-BE49-F238E27FC236}">
                  <a16:creationId xmlns:a16="http://schemas.microsoft.com/office/drawing/2014/main" id="{B5C18F47-16E9-4DF8-B09E-45780EE4646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6" name="Freeform 53">
              <a:extLst>
                <a:ext uri="{FF2B5EF4-FFF2-40B4-BE49-F238E27FC236}">
                  <a16:creationId xmlns:a16="http://schemas.microsoft.com/office/drawing/2014/main" id="{FC8D3C5E-5C3A-4076-A30E-3AF212E0AF4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7" name="Oval 54">
              <a:extLst>
                <a:ext uri="{FF2B5EF4-FFF2-40B4-BE49-F238E27FC236}">
                  <a16:creationId xmlns:a16="http://schemas.microsoft.com/office/drawing/2014/main" id="{73402B95-F3AE-4D45-A22D-C115B68D7A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8" name="Rectangle 55">
              <a:extLst>
                <a:ext uri="{FF2B5EF4-FFF2-40B4-BE49-F238E27FC236}">
                  <a16:creationId xmlns:a16="http://schemas.microsoft.com/office/drawing/2014/main" id="{322A8EE5-CB90-4F2A-B4F6-CB64F2346D3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9" name="Rectangle 56">
              <a:extLst>
                <a:ext uri="{FF2B5EF4-FFF2-40B4-BE49-F238E27FC236}">
                  <a16:creationId xmlns:a16="http://schemas.microsoft.com/office/drawing/2014/main" id="{C1E70744-1EC3-405C-BDC8-0A723459B8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0" name="Freeform 57">
              <a:extLst>
                <a:ext uri="{FF2B5EF4-FFF2-40B4-BE49-F238E27FC236}">
                  <a16:creationId xmlns:a16="http://schemas.microsoft.com/office/drawing/2014/main" id="{5D628981-7070-4DF5-8E87-996A49308B5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1" name="Freeform 58">
              <a:extLst>
                <a:ext uri="{FF2B5EF4-FFF2-40B4-BE49-F238E27FC236}">
                  <a16:creationId xmlns:a16="http://schemas.microsoft.com/office/drawing/2014/main" id="{6FEDA4D5-A9D3-435D-95CE-1AC8211E4A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2" name="Oval 59">
              <a:extLst>
                <a:ext uri="{FF2B5EF4-FFF2-40B4-BE49-F238E27FC236}">
                  <a16:creationId xmlns:a16="http://schemas.microsoft.com/office/drawing/2014/main" id="{1AF21477-56B3-40C7-A429-C815B4A793B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3" name="Oval 60">
              <a:extLst>
                <a:ext uri="{FF2B5EF4-FFF2-40B4-BE49-F238E27FC236}">
                  <a16:creationId xmlns:a16="http://schemas.microsoft.com/office/drawing/2014/main" id="{E17C7682-4C4F-4C58-AB3D-A16C794A395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4" name="Oval 61">
              <a:extLst>
                <a:ext uri="{FF2B5EF4-FFF2-40B4-BE49-F238E27FC236}">
                  <a16:creationId xmlns:a16="http://schemas.microsoft.com/office/drawing/2014/main" id="{65DE27F5-EBB9-4A15-8B77-3358BBA81C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5" name="Oval 62">
              <a:extLst>
                <a:ext uri="{FF2B5EF4-FFF2-40B4-BE49-F238E27FC236}">
                  <a16:creationId xmlns:a16="http://schemas.microsoft.com/office/drawing/2014/main" id="{FB4D0C75-9953-408D-8D33-4F1C5D28816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6" name="Freeform 63">
              <a:extLst>
                <a:ext uri="{FF2B5EF4-FFF2-40B4-BE49-F238E27FC236}">
                  <a16:creationId xmlns:a16="http://schemas.microsoft.com/office/drawing/2014/main" id="{3BA990FB-9376-48CE-8B70-DFA5A7FCC8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7" name="Rectangle 64">
              <a:extLst>
                <a:ext uri="{FF2B5EF4-FFF2-40B4-BE49-F238E27FC236}">
                  <a16:creationId xmlns:a16="http://schemas.microsoft.com/office/drawing/2014/main" id="{1D53A05E-4B98-4B99-9C5E-D1FF3835AEF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8" name="Rectangle 65">
              <a:extLst>
                <a:ext uri="{FF2B5EF4-FFF2-40B4-BE49-F238E27FC236}">
                  <a16:creationId xmlns:a16="http://schemas.microsoft.com/office/drawing/2014/main" id="{EB6CCAFD-FB4C-4DC9-B2FB-9F15C4C1262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9" name="Freeform 66">
              <a:extLst>
                <a:ext uri="{FF2B5EF4-FFF2-40B4-BE49-F238E27FC236}">
                  <a16:creationId xmlns:a16="http://schemas.microsoft.com/office/drawing/2014/main" id="{0085A7A0-DF5E-49AB-8DA9-04FF2B0A6D3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0" name="Rectangle 67">
              <a:extLst>
                <a:ext uri="{FF2B5EF4-FFF2-40B4-BE49-F238E27FC236}">
                  <a16:creationId xmlns:a16="http://schemas.microsoft.com/office/drawing/2014/main" id="{15F14B2B-EA36-4B0E-AA1C-4E22DC41D4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1" name="Freeform 68">
              <a:extLst>
                <a:ext uri="{FF2B5EF4-FFF2-40B4-BE49-F238E27FC236}">
                  <a16:creationId xmlns:a16="http://schemas.microsoft.com/office/drawing/2014/main" id="{E011B4D3-240B-4C90-A8DD-7C49F562204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2" name="Rectangle 69">
              <a:extLst>
                <a:ext uri="{FF2B5EF4-FFF2-40B4-BE49-F238E27FC236}">
                  <a16:creationId xmlns:a16="http://schemas.microsoft.com/office/drawing/2014/main" id="{0B6297DA-F158-4DD4-A3FF-02DE240C2EF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3" name="Rectangle 70">
              <a:extLst>
                <a:ext uri="{FF2B5EF4-FFF2-40B4-BE49-F238E27FC236}">
                  <a16:creationId xmlns:a16="http://schemas.microsoft.com/office/drawing/2014/main" id="{FA360226-9F94-4702-8C16-03CD2788894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4" name="Freeform 71">
              <a:extLst>
                <a:ext uri="{FF2B5EF4-FFF2-40B4-BE49-F238E27FC236}">
                  <a16:creationId xmlns:a16="http://schemas.microsoft.com/office/drawing/2014/main" id="{763FE686-6A73-48D6-9D99-7D32A2D7471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5" name="Freeform 72">
              <a:extLst>
                <a:ext uri="{FF2B5EF4-FFF2-40B4-BE49-F238E27FC236}">
                  <a16:creationId xmlns:a16="http://schemas.microsoft.com/office/drawing/2014/main" id="{B835EDEC-8B5C-421A-AFF0-9DF40334279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6" name="Freeform 73">
              <a:extLst>
                <a:ext uri="{FF2B5EF4-FFF2-40B4-BE49-F238E27FC236}">
                  <a16:creationId xmlns:a16="http://schemas.microsoft.com/office/drawing/2014/main" id="{51234B50-B990-4082-BFF5-372CBB160D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7" name="Rectangle 74">
              <a:extLst>
                <a:ext uri="{FF2B5EF4-FFF2-40B4-BE49-F238E27FC236}">
                  <a16:creationId xmlns:a16="http://schemas.microsoft.com/office/drawing/2014/main" id="{6CCD3D96-B200-4FB3-A2C3-7362BF56A99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8" name="Rectangle 75">
              <a:extLst>
                <a:ext uri="{FF2B5EF4-FFF2-40B4-BE49-F238E27FC236}">
                  <a16:creationId xmlns:a16="http://schemas.microsoft.com/office/drawing/2014/main" id="{5E433D9C-D415-49FA-A87A-92845F11716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9" name="Freeform 76">
              <a:extLst>
                <a:ext uri="{FF2B5EF4-FFF2-40B4-BE49-F238E27FC236}">
                  <a16:creationId xmlns:a16="http://schemas.microsoft.com/office/drawing/2014/main" id="{A0D54C1C-1249-4590-A348-37D404AAE0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0" name="Rectangle 77">
              <a:extLst>
                <a:ext uri="{FF2B5EF4-FFF2-40B4-BE49-F238E27FC236}">
                  <a16:creationId xmlns:a16="http://schemas.microsoft.com/office/drawing/2014/main" id="{AF8919B0-0529-4DCC-8FAF-9512A8F7C2D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1" name="Rectangle 78">
              <a:extLst>
                <a:ext uri="{FF2B5EF4-FFF2-40B4-BE49-F238E27FC236}">
                  <a16:creationId xmlns:a16="http://schemas.microsoft.com/office/drawing/2014/main" id="{FB6A5A4D-9D73-4916-97E5-148C78FF3B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2" name="Freeform 79">
              <a:extLst>
                <a:ext uri="{FF2B5EF4-FFF2-40B4-BE49-F238E27FC236}">
                  <a16:creationId xmlns:a16="http://schemas.microsoft.com/office/drawing/2014/main" id="{E1101B5B-AE21-433A-91F9-980B8B3F6D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3" name="Rectangle 80">
              <a:extLst>
                <a:ext uri="{FF2B5EF4-FFF2-40B4-BE49-F238E27FC236}">
                  <a16:creationId xmlns:a16="http://schemas.microsoft.com/office/drawing/2014/main" id="{2393B4C9-1807-4B55-B212-A537EBFE5B7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4" name="Rectangle 81">
              <a:extLst>
                <a:ext uri="{FF2B5EF4-FFF2-40B4-BE49-F238E27FC236}">
                  <a16:creationId xmlns:a16="http://schemas.microsoft.com/office/drawing/2014/main" id="{33B2DC4E-DD56-4673-ADE7-776D39F3A30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5" name="Freeform 82">
              <a:extLst>
                <a:ext uri="{FF2B5EF4-FFF2-40B4-BE49-F238E27FC236}">
                  <a16:creationId xmlns:a16="http://schemas.microsoft.com/office/drawing/2014/main" id="{6375BD53-AA91-4941-9859-BE63319D29D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6" name="Freeform 83">
              <a:extLst>
                <a:ext uri="{FF2B5EF4-FFF2-40B4-BE49-F238E27FC236}">
                  <a16:creationId xmlns:a16="http://schemas.microsoft.com/office/drawing/2014/main" id="{44F399A8-A282-4D26-B500-31F6B32E5F8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7" name="Rectangle 84">
              <a:extLst>
                <a:ext uri="{FF2B5EF4-FFF2-40B4-BE49-F238E27FC236}">
                  <a16:creationId xmlns:a16="http://schemas.microsoft.com/office/drawing/2014/main" id="{FA982A9B-6CC7-42FF-A59C-77209CB381F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8" name="Rectangle 85">
              <a:extLst>
                <a:ext uri="{FF2B5EF4-FFF2-40B4-BE49-F238E27FC236}">
                  <a16:creationId xmlns:a16="http://schemas.microsoft.com/office/drawing/2014/main" id="{0BDD4417-FD44-4426-B46A-18C09BC3CE3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9" name="Oval 86">
              <a:extLst>
                <a:ext uri="{FF2B5EF4-FFF2-40B4-BE49-F238E27FC236}">
                  <a16:creationId xmlns:a16="http://schemas.microsoft.com/office/drawing/2014/main" id="{74965507-D2F5-48DF-A55C-2DAE47ED041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0" name="Freeform 87">
              <a:extLst>
                <a:ext uri="{FF2B5EF4-FFF2-40B4-BE49-F238E27FC236}">
                  <a16:creationId xmlns:a16="http://schemas.microsoft.com/office/drawing/2014/main" id="{A1D68577-EF56-4694-A854-0C65F3DB29E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1" name="Freeform 88">
              <a:extLst>
                <a:ext uri="{FF2B5EF4-FFF2-40B4-BE49-F238E27FC236}">
                  <a16:creationId xmlns:a16="http://schemas.microsoft.com/office/drawing/2014/main" id="{36DCD737-9EB6-428B-98E3-C6A066452B7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2" name="Oval 89">
              <a:extLst>
                <a:ext uri="{FF2B5EF4-FFF2-40B4-BE49-F238E27FC236}">
                  <a16:creationId xmlns:a16="http://schemas.microsoft.com/office/drawing/2014/main" id="{17A7B6E3-5800-4C00-A284-CD1362C2DFC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3" name="Oval 90">
              <a:extLst>
                <a:ext uri="{FF2B5EF4-FFF2-40B4-BE49-F238E27FC236}">
                  <a16:creationId xmlns:a16="http://schemas.microsoft.com/office/drawing/2014/main" id="{7E2B5438-DE74-4C6C-9600-4F3D19ED0B7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4" name="Oval 91">
              <a:extLst>
                <a:ext uri="{FF2B5EF4-FFF2-40B4-BE49-F238E27FC236}">
                  <a16:creationId xmlns:a16="http://schemas.microsoft.com/office/drawing/2014/main" id="{86DE78A3-6C8E-4DE7-952F-3F98F6A461D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5" name="Oval 92">
              <a:extLst>
                <a:ext uri="{FF2B5EF4-FFF2-40B4-BE49-F238E27FC236}">
                  <a16:creationId xmlns:a16="http://schemas.microsoft.com/office/drawing/2014/main" id="{36F3CF02-25A6-4C70-83C1-133AFC736C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6" name="Oval 93">
              <a:extLst>
                <a:ext uri="{FF2B5EF4-FFF2-40B4-BE49-F238E27FC236}">
                  <a16:creationId xmlns:a16="http://schemas.microsoft.com/office/drawing/2014/main" id="{247C32B3-8300-427D-AFB0-737F6152DA6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7" name="Oval 94">
              <a:extLst>
                <a:ext uri="{FF2B5EF4-FFF2-40B4-BE49-F238E27FC236}">
                  <a16:creationId xmlns:a16="http://schemas.microsoft.com/office/drawing/2014/main" id="{F87C5AD9-CA48-4FC7-8AEB-A9FC4B5E02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8" name="Oval 95">
              <a:extLst>
                <a:ext uri="{FF2B5EF4-FFF2-40B4-BE49-F238E27FC236}">
                  <a16:creationId xmlns:a16="http://schemas.microsoft.com/office/drawing/2014/main" id="{589ADBDC-6943-4B8F-A019-B9024C5C402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9" name="Oval 96">
              <a:extLst>
                <a:ext uri="{FF2B5EF4-FFF2-40B4-BE49-F238E27FC236}">
                  <a16:creationId xmlns:a16="http://schemas.microsoft.com/office/drawing/2014/main" id="{70FEF975-ECAF-462F-AED6-2C0D993E403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0" name="Oval 97">
              <a:extLst>
                <a:ext uri="{FF2B5EF4-FFF2-40B4-BE49-F238E27FC236}">
                  <a16:creationId xmlns:a16="http://schemas.microsoft.com/office/drawing/2014/main" id="{4F072B6D-704D-4B60-9DB4-891E661D4B4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1" name="Oval 98">
              <a:extLst>
                <a:ext uri="{FF2B5EF4-FFF2-40B4-BE49-F238E27FC236}">
                  <a16:creationId xmlns:a16="http://schemas.microsoft.com/office/drawing/2014/main" id="{8DD31024-ACE2-4744-83E5-8E6B3C490EC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2" name="Oval 99">
              <a:extLst>
                <a:ext uri="{FF2B5EF4-FFF2-40B4-BE49-F238E27FC236}">
                  <a16:creationId xmlns:a16="http://schemas.microsoft.com/office/drawing/2014/main" id="{4DCD3E6F-40F4-440E-91B6-DB7D6680F80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3" name="Oval 100">
              <a:extLst>
                <a:ext uri="{FF2B5EF4-FFF2-40B4-BE49-F238E27FC236}">
                  <a16:creationId xmlns:a16="http://schemas.microsoft.com/office/drawing/2014/main" id="{A2FE36BB-B003-4F0C-93BF-98D47C3382E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4" name="Oval 101">
              <a:extLst>
                <a:ext uri="{FF2B5EF4-FFF2-40B4-BE49-F238E27FC236}">
                  <a16:creationId xmlns:a16="http://schemas.microsoft.com/office/drawing/2014/main" id="{64860F7D-0197-4B8A-ACC5-510FAD9DE4BA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5" name="Freeform 102">
              <a:extLst>
                <a:ext uri="{FF2B5EF4-FFF2-40B4-BE49-F238E27FC236}">
                  <a16:creationId xmlns:a16="http://schemas.microsoft.com/office/drawing/2014/main" id="{55E53135-B841-49D5-9535-ED63A56F4FF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6" name="Freeform 103">
              <a:extLst>
                <a:ext uri="{FF2B5EF4-FFF2-40B4-BE49-F238E27FC236}">
                  <a16:creationId xmlns:a16="http://schemas.microsoft.com/office/drawing/2014/main" id="{DCA7AB33-116B-405D-9DB0-9A6C386F410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7" name="Freeform 104">
              <a:extLst>
                <a:ext uri="{FF2B5EF4-FFF2-40B4-BE49-F238E27FC236}">
                  <a16:creationId xmlns:a16="http://schemas.microsoft.com/office/drawing/2014/main" id="{A5B01B09-4DD9-467E-8845-75C9058810B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8" name="Freeform 105">
              <a:extLst>
                <a:ext uri="{FF2B5EF4-FFF2-40B4-BE49-F238E27FC236}">
                  <a16:creationId xmlns:a16="http://schemas.microsoft.com/office/drawing/2014/main" id="{F526701D-5902-4F23-ACB1-00BC9EF1156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9" name="Freeform 106">
              <a:extLst>
                <a:ext uri="{FF2B5EF4-FFF2-40B4-BE49-F238E27FC236}">
                  <a16:creationId xmlns:a16="http://schemas.microsoft.com/office/drawing/2014/main" id="{85A741FC-C7C7-463C-9A07-497E762C2AE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0" name="Freeform 107">
              <a:extLst>
                <a:ext uri="{FF2B5EF4-FFF2-40B4-BE49-F238E27FC236}">
                  <a16:creationId xmlns:a16="http://schemas.microsoft.com/office/drawing/2014/main" id="{F99CC46F-CE0D-45A5-AAB1-7E9DA5EF35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1" name="Freeform 108">
              <a:extLst>
                <a:ext uri="{FF2B5EF4-FFF2-40B4-BE49-F238E27FC236}">
                  <a16:creationId xmlns:a16="http://schemas.microsoft.com/office/drawing/2014/main" id="{9A94111F-7877-432F-B689-13811EFF014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2" name="Freeform 109">
              <a:extLst>
                <a:ext uri="{FF2B5EF4-FFF2-40B4-BE49-F238E27FC236}">
                  <a16:creationId xmlns:a16="http://schemas.microsoft.com/office/drawing/2014/main" id="{1A93C9E2-11ED-4C23-A142-857DE040C69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3" name="Freeform 110">
              <a:extLst>
                <a:ext uri="{FF2B5EF4-FFF2-40B4-BE49-F238E27FC236}">
                  <a16:creationId xmlns:a16="http://schemas.microsoft.com/office/drawing/2014/main" id="{8C3004B5-3916-45E4-968B-508B31E9EFB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4" name="Freeform 111">
              <a:extLst>
                <a:ext uri="{FF2B5EF4-FFF2-40B4-BE49-F238E27FC236}">
                  <a16:creationId xmlns:a16="http://schemas.microsoft.com/office/drawing/2014/main" id="{50902076-A25A-42CF-8147-E60461102BE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5" name="Freeform 112">
              <a:extLst>
                <a:ext uri="{FF2B5EF4-FFF2-40B4-BE49-F238E27FC236}">
                  <a16:creationId xmlns:a16="http://schemas.microsoft.com/office/drawing/2014/main" id="{A61C8919-D7E5-4086-AC7C-60E673999BA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6" name="Oval 113">
              <a:extLst>
                <a:ext uri="{FF2B5EF4-FFF2-40B4-BE49-F238E27FC236}">
                  <a16:creationId xmlns:a16="http://schemas.microsoft.com/office/drawing/2014/main" id="{096AA497-FEEF-4918-832F-3AC24AC9498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7" name="Oval 114">
              <a:extLst>
                <a:ext uri="{FF2B5EF4-FFF2-40B4-BE49-F238E27FC236}">
                  <a16:creationId xmlns:a16="http://schemas.microsoft.com/office/drawing/2014/main" id="{C9B40412-A883-40F8-9266-F99D73CDF8E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8" name="Freeform 115">
              <a:extLst>
                <a:ext uri="{FF2B5EF4-FFF2-40B4-BE49-F238E27FC236}">
                  <a16:creationId xmlns:a16="http://schemas.microsoft.com/office/drawing/2014/main" id="{7B0926C0-0F96-4A5B-89E8-34E2A4AD4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9" name="Oval 116">
              <a:extLst>
                <a:ext uri="{FF2B5EF4-FFF2-40B4-BE49-F238E27FC236}">
                  <a16:creationId xmlns:a16="http://schemas.microsoft.com/office/drawing/2014/main" id="{B67DE966-B7E0-4F6C-98D4-D1B51A9412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1500107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7702745C-F7D6-482F-980E-932E6627FA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995"/>
          <a:stretch/>
        </p:blipFill>
        <p:spPr>
          <a:xfrm>
            <a:off x="-15570" y="1485233"/>
            <a:ext cx="12223941" cy="5372768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38301CE0-BBF5-4CB8-AB47-A9627B3B05D5}"/>
              </a:ext>
            </a:extLst>
          </p:cNvPr>
          <p:cNvSpPr/>
          <p:nvPr userDrawn="1"/>
        </p:nvSpPr>
        <p:spPr>
          <a:xfrm>
            <a:off x="-2762082" y="1170022"/>
            <a:ext cx="12212118" cy="5384087"/>
          </a:xfrm>
          <a:prstGeom prst="rect">
            <a:avLst/>
          </a:prstGeom>
          <a:solidFill>
            <a:schemeClr val="tx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13" name="Group 4">
            <a:extLst>
              <a:ext uri="{FF2B5EF4-FFF2-40B4-BE49-F238E27FC236}">
                <a16:creationId xmlns:a16="http://schemas.microsoft.com/office/drawing/2014/main" id="{7205C39A-500A-462D-A3FB-E7C84545A0B9}"/>
              </a:ext>
            </a:extLst>
          </p:cNvPr>
          <p:cNvGrpSpPr>
            <a:grpSpLocks noChangeAspect="1"/>
          </p:cNvGrpSpPr>
          <p:nvPr userDrawn="1"/>
        </p:nvGrpSpPr>
        <p:grpSpPr bwMode="auto">
          <a:xfrm>
            <a:off x="-3655359" y="1971006"/>
            <a:ext cx="11086167" cy="7009095"/>
            <a:chOff x="1285" y="544"/>
            <a:chExt cx="5112" cy="3232"/>
          </a:xfrm>
          <a:solidFill>
            <a:schemeClr val="bg2">
              <a:alpha val="60000"/>
            </a:schemeClr>
          </a:solidFill>
        </p:grpSpPr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D5687068-D273-45B3-AD35-B681DFE5FFD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00" y="1039"/>
              <a:ext cx="537" cy="2284"/>
            </a:xfrm>
            <a:custGeom>
              <a:avLst/>
              <a:gdLst>
                <a:gd name="T0" fmla="*/ 25 w 228"/>
                <a:gd name="T1" fmla="*/ 0 h 969"/>
                <a:gd name="T2" fmla="*/ 18 w 228"/>
                <a:gd name="T3" fmla="*/ 3 h 969"/>
                <a:gd name="T4" fmla="*/ 18 w 228"/>
                <a:gd name="T5" fmla="*/ 16 h 969"/>
                <a:gd name="T6" fmla="*/ 209 w 228"/>
                <a:gd name="T7" fmla="*/ 478 h 969"/>
                <a:gd name="T8" fmla="*/ 4 w 228"/>
                <a:gd name="T9" fmla="*/ 953 h 969"/>
                <a:gd name="T10" fmla="*/ 4 w 228"/>
                <a:gd name="T11" fmla="*/ 966 h 969"/>
                <a:gd name="T12" fmla="*/ 10 w 228"/>
                <a:gd name="T13" fmla="*/ 969 h 969"/>
                <a:gd name="T14" fmla="*/ 17 w 228"/>
                <a:gd name="T15" fmla="*/ 966 h 969"/>
                <a:gd name="T16" fmla="*/ 171 w 228"/>
                <a:gd name="T17" fmla="*/ 748 h 969"/>
                <a:gd name="T18" fmla="*/ 228 w 228"/>
                <a:gd name="T19" fmla="*/ 478 h 969"/>
                <a:gd name="T20" fmla="*/ 31 w 228"/>
                <a:gd name="T21" fmla="*/ 3 h 969"/>
                <a:gd name="T22" fmla="*/ 25 w 228"/>
                <a:gd name="T23" fmla="*/ 0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28" h="969">
                  <a:moveTo>
                    <a:pt x="25" y="0"/>
                  </a:moveTo>
                  <a:cubicBezTo>
                    <a:pt x="22" y="0"/>
                    <a:pt x="20" y="1"/>
                    <a:pt x="18" y="3"/>
                  </a:cubicBezTo>
                  <a:cubicBezTo>
                    <a:pt x="14" y="6"/>
                    <a:pt x="14" y="12"/>
                    <a:pt x="18" y="16"/>
                  </a:cubicBezTo>
                  <a:cubicBezTo>
                    <a:pt x="141" y="139"/>
                    <a:pt x="209" y="303"/>
                    <a:pt x="209" y="478"/>
                  </a:cubicBezTo>
                  <a:cubicBezTo>
                    <a:pt x="209" y="659"/>
                    <a:pt x="136" y="828"/>
                    <a:pt x="4" y="953"/>
                  </a:cubicBezTo>
                  <a:cubicBezTo>
                    <a:pt x="0" y="956"/>
                    <a:pt x="0" y="962"/>
                    <a:pt x="4" y="966"/>
                  </a:cubicBezTo>
                  <a:cubicBezTo>
                    <a:pt x="5" y="968"/>
                    <a:pt x="8" y="969"/>
                    <a:pt x="10" y="969"/>
                  </a:cubicBezTo>
                  <a:cubicBezTo>
                    <a:pt x="13" y="969"/>
                    <a:pt x="15" y="968"/>
                    <a:pt x="17" y="966"/>
                  </a:cubicBezTo>
                  <a:cubicBezTo>
                    <a:pt x="83" y="904"/>
                    <a:pt x="135" y="831"/>
                    <a:pt x="171" y="748"/>
                  </a:cubicBezTo>
                  <a:cubicBezTo>
                    <a:pt x="209" y="663"/>
                    <a:pt x="228" y="572"/>
                    <a:pt x="228" y="478"/>
                  </a:cubicBezTo>
                  <a:cubicBezTo>
                    <a:pt x="228" y="298"/>
                    <a:pt x="158" y="130"/>
                    <a:pt x="31" y="3"/>
                  </a:cubicBezTo>
                  <a:cubicBezTo>
                    <a:pt x="29" y="1"/>
                    <a:pt x="27" y="0"/>
                    <a:pt x="25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CD16CC8A-A5F0-4D80-8A50-44E237A98DA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60" y="544"/>
              <a:ext cx="1047" cy="469"/>
            </a:xfrm>
            <a:custGeom>
              <a:avLst/>
              <a:gdLst>
                <a:gd name="T0" fmla="*/ 7 w 1047"/>
                <a:gd name="T1" fmla="*/ 111 h 469"/>
                <a:gd name="T2" fmla="*/ 31 w 1047"/>
                <a:gd name="T3" fmla="*/ 0 h 469"/>
                <a:gd name="T4" fmla="*/ 40 w 1047"/>
                <a:gd name="T5" fmla="*/ 0 h 469"/>
                <a:gd name="T6" fmla="*/ 59 w 1047"/>
                <a:gd name="T7" fmla="*/ 111 h 469"/>
                <a:gd name="T8" fmla="*/ 61 w 1047"/>
                <a:gd name="T9" fmla="*/ 0 h 469"/>
                <a:gd name="T10" fmla="*/ 94 w 1047"/>
                <a:gd name="T11" fmla="*/ 113 h 469"/>
                <a:gd name="T12" fmla="*/ 123 w 1047"/>
                <a:gd name="T13" fmla="*/ 5 h 469"/>
                <a:gd name="T14" fmla="*/ 132 w 1047"/>
                <a:gd name="T15" fmla="*/ 5 h 469"/>
                <a:gd name="T16" fmla="*/ 144 w 1047"/>
                <a:gd name="T17" fmla="*/ 118 h 469"/>
                <a:gd name="T18" fmla="*/ 153 w 1047"/>
                <a:gd name="T19" fmla="*/ 7 h 469"/>
                <a:gd name="T20" fmla="*/ 179 w 1047"/>
                <a:gd name="T21" fmla="*/ 120 h 469"/>
                <a:gd name="T22" fmla="*/ 215 w 1047"/>
                <a:gd name="T23" fmla="*/ 14 h 469"/>
                <a:gd name="T24" fmla="*/ 222 w 1047"/>
                <a:gd name="T25" fmla="*/ 14 h 469"/>
                <a:gd name="T26" fmla="*/ 229 w 1047"/>
                <a:gd name="T27" fmla="*/ 127 h 469"/>
                <a:gd name="T28" fmla="*/ 245 w 1047"/>
                <a:gd name="T29" fmla="*/ 19 h 469"/>
                <a:gd name="T30" fmla="*/ 264 w 1047"/>
                <a:gd name="T31" fmla="*/ 132 h 469"/>
                <a:gd name="T32" fmla="*/ 306 w 1047"/>
                <a:gd name="T33" fmla="*/ 28 h 469"/>
                <a:gd name="T34" fmla="*/ 314 w 1047"/>
                <a:gd name="T35" fmla="*/ 31 h 469"/>
                <a:gd name="T36" fmla="*/ 314 w 1047"/>
                <a:gd name="T37" fmla="*/ 141 h 469"/>
                <a:gd name="T38" fmla="*/ 335 w 1047"/>
                <a:gd name="T39" fmla="*/ 35 h 469"/>
                <a:gd name="T40" fmla="*/ 347 w 1047"/>
                <a:gd name="T41" fmla="*/ 151 h 469"/>
                <a:gd name="T42" fmla="*/ 396 w 1047"/>
                <a:gd name="T43" fmla="*/ 47 h 469"/>
                <a:gd name="T44" fmla="*/ 403 w 1047"/>
                <a:gd name="T45" fmla="*/ 49 h 469"/>
                <a:gd name="T46" fmla="*/ 396 w 1047"/>
                <a:gd name="T47" fmla="*/ 163 h 469"/>
                <a:gd name="T48" fmla="*/ 424 w 1047"/>
                <a:gd name="T49" fmla="*/ 56 h 469"/>
                <a:gd name="T50" fmla="*/ 429 w 1047"/>
                <a:gd name="T51" fmla="*/ 172 h 469"/>
                <a:gd name="T52" fmla="*/ 483 w 1047"/>
                <a:gd name="T53" fmla="*/ 73 h 469"/>
                <a:gd name="T54" fmla="*/ 490 w 1047"/>
                <a:gd name="T55" fmla="*/ 75 h 469"/>
                <a:gd name="T56" fmla="*/ 479 w 1047"/>
                <a:gd name="T57" fmla="*/ 186 h 469"/>
                <a:gd name="T58" fmla="*/ 512 w 1047"/>
                <a:gd name="T59" fmla="*/ 82 h 469"/>
                <a:gd name="T60" fmla="*/ 512 w 1047"/>
                <a:gd name="T61" fmla="*/ 198 h 469"/>
                <a:gd name="T62" fmla="*/ 571 w 1047"/>
                <a:gd name="T63" fmla="*/ 104 h 469"/>
                <a:gd name="T64" fmla="*/ 578 w 1047"/>
                <a:gd name="T65" fmla="*/ 106 h 469"/>
                <a:gd name="T66" fmla="*/ 559 w 1047"/>
                <a:gd name="T67" fmla="*/ 217 h 469"/>
                <a:gd name="T68" fmla="*/ 599 w 1047"/>
                <a:gd name="T69" fmla="*/ 113 h 469"/>
                <a:gd name="T70" fmla="*/ 592 w 1047"/>
                <a:gd name="T71" fmla="*/ 231 h 469"/>
                <a:gd name="T72" fmla="*/ 655 w 1047"/>
                <a:gd name="T73" fmla="*/ 137 h 469"/>
                <a:gd name="T74" fmla="*/ 663 w 1047"/>
                <a:gd name="T75" fmla="*/ 141 h 469"/>
                <a:gd name="T76" fmla="*/ 637 w 1047"/>
                <a:gd name="T77" fmla="*/ 250 h 469"/>
                <a:gd name="T78" fmla="*/ 684 w 1047"/>
                <a:gd name="T79" fmla="*/ 151 h 469"/>
                <a:gd name="T80" fmla="*/ 670 w 1047"/>
                <a:gd name="T81" fmla="*/ 266 h 469"/>
                <a:gd name="T82" fmla="*/ 738 w 1047"/>
                <a:gd name="T83" fmla="*/ 177 h 469"/>
                <a:gd name="T84" fmla="*/ 745 w 1047"/>
                <a:gd name="T85" fmla="*/ 181 h 469"/>
                <a:gd name="T86" fmla="*/ 712 w 1047"/>
                <a:gd name="T87" fmla="*/ 287 h 469"/>
                <a:gd name="T88" fmla="*/ 766 w 1047"/>
                <a:gd name="T89" fmla="*/ 191 h 469"/>
                <a:gd name="T90" fmla="*/ 745 w 1047"/>
                <a:gd name="T91" fmla="*/ 306 h 469"/>
                <a:gd name="T92" fmla="*/ 818 w 1047"/>
                <a:gd name="T93" fmla="*/ 221 h 469"/>
                <a:gd name="T94" fmla="*/ 825 w 1047"/>
                <a:gd name="T95" fmla="*/ 224 h 469"/>
                <a:gd name="T96" fmla="*/ 787 w 1047"/>
                <a:gd name="T97" fmla="*/ 330 h 469"/>
                <a:gd name="T98" fmla="*/ 844 w 1047"/>
                <a:gd name="T99" fmla="*/ 236 h 469"/>
                <a:gd name="T100" fmla="*/ 816 w 1047"/>
                <a:gd name="T101" fmla="*/ 351 h 469"/>
                <a:gd name="T102" fmla="*/ 896 w 1047"/>
                <a:gd name="T103" fmla="*/ 269 h 469"/>
                <a:gd name="T104" fmla="*/ 903 w 1047"/>
                <a:gd name="T105" fmla="*/ 273 h 469"/>
                <a:gd name="T106" fmla="*/ 858 w 1047"/>
                <a:gd name="T107" fmla="*/ 377 h 469"/>
                <a:gd name="T108" fmla="*/ 922 w 1047"/>
                <a:gd name="T109" fmla="*/ 287 h 469"/>
                <a:gd name="T110" fmla="*/ 887 w 1047"/>
                <a:gd name="T111" fmla="*/ 398 h 469"/>
                <a:gd name="T112" fmla="*/ 971 w 1047"/>
                <a:gd name="T113" fmla="*/ 323 h 469"/>
                <a:gd name="T114" fmla="*/ 976 w 1047"/>
                <a:gd name="T115" fmla="*/ 328 h 469"/>
                <a:gd name="T116" fmla="*/ 927 w 1047"/>
                <a:gd name="T117" fmla="*/ 429 h 469"/>
                <a:gd name="T118" fmla="*/ 995 w 1047"/>
                <a:gd name="T119" fmla="*/ 342 h 469"/>
                <a:gd name="T120" fmla="*/ 955 w 1047"/>
                <a:gd name="T121" fmla="*/ 450 h 469"/>
                <a:gd name="T122" fmla="*/ 1042 w 1047"/>
                <a:gd name="T123" fmla="*/ 379 h 469"/>
                <a:gd name="T124" fmla="*/ 1047 w 1047"/>
                <a:gd name="T125" fmla="*/ 384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47" h="469">
                  <a:moveTo>
                    <a:pt x="0" y="0"/>
                  </a:moveTo>
                  <a:lnTo>
                    <a:pt x="0" y="111"/>
                  </a:lnTo>
                  <a:lnTo>
                    <a:pt x="7" y="111"/>
                  </a:lnTo>
                  <a:lnTo>
                    <a:pt x="9" y="0"/>
                  </a:lnTo>
                  <a:lnTo>
                    <a:pt x="0" y="0"/>
                  </a:lnTo>
                  <a:close/>
                  <a:moveTo>
                    <a:pt x="31" y="0"/>
                  </a:moveTo>
                  <a:lnTo>
                    <a:pt x="31" y="111"/>
                  </a:lnTo>
                  <a:lnTo>
                    <a:pt x="38" y="111"/>
                  </a:lnTo>
                  <a:lnTo>
                    <a:pt x="40" y="0"/>
                  </a:lnTo>
                  <a:lnTo>
                    <a:pt x="31" y="0"/>
                  </a:lnTo>
                  <a:close/>
                  <a:moveTo>
                    <a:pt x="61" y="0"/>
                  </a:moveTo>
                  <a:lnTo>
                    <a:pt x="59" y="111"/>
                  </a:lnTo>
                  <a:lnTo>
                    <a:pt x="66" y="111"/>
                  </a:lnTo>
                  <a:lnTo>
                    <a:pt x="71" y="0"/>
                  </a:lnTo>
                  <a:lnTo>
                    <a:pt x="61" y="0"/>
                  </a:lnTo>
                  <a:close/>
                  <a:moveTo>
                    <a:pt x="92" y="2"/>
                  </a:moveTo>
                  <a:lnTo>
                    <a:pt x="87" y="113"/>
                  </a:lnTo>
                  <a:lnTo>
                    <a:pt x="94" y="113"/>
                  </a:lnTo>
                  <a:lnTo>
                    <a:pt x="101" y="2"/>
                  </a:lnTo>
                  <a:lnTo>
                    <a:pt x="92" y="2"/>
                  </a:lnTo>
                  <a:close/>
                  <a:moveTo>
                    <a:pt x="123" y="5"/>
                  </a:moveTo>
                  <a:lnTo>
                    <a:pt x="116" y="115"/>
                  </a:lnTo>
                  <a:lnTo>
                    <a:pt x="123" y="115"/>
                  </a:lnTo>
                  <a:lnTo>
                    <a:pt x="132" y="5"/>
                  </a:lnTo>
                  <a:lnTo>
                    <a:pt x="123" y="5"/>
                  </a:lnTo>
                  <a:close/>
                  <a:moveTo>
                    <a:pt x="153" y="7"/>
                  </a:moveTo>
                  <a:lnTo>
                    <a:pt x="144" y="118"/>
                  </a:lnTo>
                  <a:lnTo>
                    <a:pt x="151" y="118"/>
                  </a:lnTo>
                  <a:lnTo>
                    <a:pt x="163" y="7"/>
                  </a:lnTo>
                  <a:lnTo>
                    <a:pt x="153" y="7"/>
                  </a:lnTo>
                  <a:close/>
                  <a:moveTo>
                    <a:pt x="184" y="9"/>
                  </a:moveTo>
                  <a:lnTo>
                    <a:pt x="172" y="120"/>
                  </a:lnTo>
                  <a:lnTo>
                    <a:pt x="179" y="120"/>
                  </a:lnTo>
                  <a:lnTo>
                    <a:pt x="191" y="12"/>
                  </a:lnTo>
                  <a:lnTo>
                    <a:pt x="184" y="9"/>
                  </a:lnTo>
                  <a:close/>
                  <a:moveTo>
                    <a:pt x="215" y="14"/>
                  </a:moveTo>
                  <a:lnTo>
                    <a:pt x="200" y="122"/>
                  </a:lnTo>
                  <a:lnTo>
                    <a:pt x="207" y="125"/>
                  </a:lnTo>
                  <a:lnTo>
                    <a:pt x="222" y="14"/>
                  </a:lnTo>
                  <a:lnTo>
                    <a:pt x="215" y="14"/>
                  </a:lnTo>
                  <a:close/>
                  <a:moveTo>
                    <a:pt x="245" y="19"/>
                  </a:moveTo>
                  <a:lnTo>
                    <a:pt x="229" y="127"/>
                  </a:lnTo>
                  <a:lnTo>
                    <a:pt x="236" y="127"/>
                  </a:lnTo>
                  <a:lnTo>
                    <a:pt x="252" y="19"/>
                  </a:lnTo>
                  <a:lnTo>
                    <a:pt x="245" y="19"/>
                  </a:lnTo>
                  <a:close/>
                  <a:moveTo>
                    <a:pt x="276" y="23"/>
                  </a:moveTo>
                  <a:lnTo>
                    <a:pt x="257" y="132"/>
                  </a:lnTo>
                  <a:lnTo>
                    <a:pt x="264" y="132"/>
                  </a:lnTo>
                  <a:lnTo>
                    <a:pt x="283" y="23"/>
                  </a:lnTo>
                  <a:lnTo>
                    <a:pt x="276" y="23"/>
                  </a:lnTo>
                  <a:close/>
                  <a:moveTo>
                    <a:pt x="306" y="28"/>
                  </a:moveTo>
                  <a:lnTo>
                    <a:pt x="285" y="137"/>
                  </a:lnTo>
                  <a:lnTo>
                    <a:pt x="292" y="139"/>
                  </a:lnTo>
                  <a:lnTo>
                    <a:pt x="314" y="31"/>
                  </a:lnTo>
                  <a:lnTo>
                    <a:pt x="306" y="28"/>
                  </a:lnTo>
                  <a:close/>
                  <a:moveTo>
                    <a:pt x="335" y="35"/>
                  </a:moveTo>
                  <a:lnTo>
                    <a:pt x="314" y="141"/>
                  </a:lnTo>
                  <a:lnTo>
                    <a:pt x="321" y="144"/>
                  </a:lnTo>
                  <a:lnTo>
                    <a:pt x="342" y="35"/>
                  </a:lnTo>
                  <a:lnTo>
                    <a:pt x="335" y="35"/>
                  </a:lnTo>
                  <a:close/>
                  <a:moveTo>
                    <a:pt x="365" y="40"/>
                  </a:moveTo>
                  <a:lnTo>
                    <a:pt x="340" y="148"/>
                  </a:lnTo>
                  <a:lnTo>
                    <a:pt x="347" y="151"/>
                  </a:lnTo>
                  <a:lnTo>
                    <a:pt x="373" y="42"/>
                  </a:lnTo>
                  <a:lnTo>
                    <a:pt x="365" y="40"/>
                  </a:lnTo>
                  <a:close/>
                  <a:moveTo>
                    <a:pt x="396" y="47"/>
                  </a:moveTo>
                  <a:lnTo>
                    <a:pt x="368" y="155"/>
                  </a:lnTo>
                  <a:lnTo>
                    <a:pt x="375" y="158"/>
                  </a:lnTo>
                  <a:lnTo>
                    <a:pt x="403" y="49"/>
                  </a:lnTo>
                  <a:lnTo>
                    <a:pt x="396" y="47"/>
                  </a:lnTo>
                  <a:close/>
                  <a:moveTo>
                    <a:pt x="424" y="56"/>
                  </a:moveTo>
                  <a:lnTo>
                    <a:pt x="396" y="163"/>
                  </a:lnTo>
                  <a:lnTo>
                    <a:pt x="403" y="165"/>
                  </a:lnTo>
                  <a:lnTo>
                    <a:pt x="431" y="56"/>
                  </a:lnTo>
                  <a:lnTo>
                    <a:pt x="424" y="56"/>
                  </a:lnTo>
                  <a:close/>
                  <a:moveTo>
                    <a:pt x="455" y="64"/>
                  </a:moveTo>
                  <a:lnTo>
                    <a:pt x="424" y="170"/>
                  </a:lnTo>
                  <a:lnTo>
                    <a:pt x="429" y="172"/>
                  </a:lnTo>
                  <a:lnTo>
                    <a:pt x="462" y="66"/>
                  </a:lnTo>
                  <a:lnTo>
                    <a:pt x="455" y="64"/>
                  </a:lnTo>
                  <a:close/>
                  <a:moveTo>
                    <a:pt x="483" y="73"/>
                  </a:moveTo>
                  <a:lnTo>
                    <a:pt x="450" y="179"/>
                  </a:lnTo>
                  <a:lnTo>
                    <a:pt x="457" y="181"/>
                  </a:lnTo>
                  <a:lnTo>
                    <a:pt x="490" y="75"/>
                  </a:lnTo>
                  <a:lnTo>
                    <a:pt x="483" y="73"/>
                  </a:lnTo>
                  <a:close/>
                  <a:moveTo>
                    <a:pt x="512" y="82"/>
                  </a:moveTo>
                  <a:lnTo>
                    <a:pt x="479" y="186"/>
                  </a:lnTo>
                  <a:lnTo>
                    <a:pt x="486" y="188"/>
                  </a:lnTo>
                  <a:lnTo>
                    <a:pt x="521" y="85"/>
                  </a:lnTo>
                  <a:lnTo>
                    <a:pt x="512" y="82"/>
                  </a:lnTo>
                  <a:close/>
                  <a:moveTo>
                    <a:pt x="542" y="92"/>
                  </a:moveTo>
                  <a:lnTo>
                    <a:pt x="505" y="196"/>
                  </a:lnTo>
                  <a:lnTo>
                    <a:pt x="512" y="198"/>
                  </a:lnTo>
                  <a:lnTo>
                    <a:pt x="549" y="94"/>
                  </a:lnTo>
                  <a:lnTo>
                    <a:pt x="542" y="92"/>
                  </a:lnTo>
                  <a:close/>
                  <a:moveTo>
                    <a:pt x="571" y="104"/>
                  </a:moveTo>
                  <a:lnTo>
                    <a:pt x="530" y="205"/>
                  </a:lnTo>
                  <a:lnTo>
                    <a:pt x="538" y="210"/>
                  </a:lnTo>
                  <a:lnTo>
                    <a:pt x="578" y="106"/>
                  </a:lnTo>
                  <a:lnTo>
                    <a:pt x="571" y="104"/>
                  </a:lnTo>
                  <a:close/>
                  <a:moveTo>
                    <a:pt x="599" y="113"/>
                  </a:moveTo>
                  <a:lnTo>
                    <a:pt x="559" y="217"/>
                  </a:lnTo>
                  <a:lnTo>
                    <a:pt x="563" y="219"/>
                  </a:lnTo>
                  <a:lnTo>
                    <a:pt x="606" y="115"/>
                  </a:lnTo>
                  <a:lnTo>
                    <a:pt x="599" y="113"/>
                  </a:lnTo>
                  <a:close/>
                  <a:moveTo>
                    <a:pt x="627" y="125"/>
                  </a:moveTo>
                  <a:lnTo>
                    <a:pt x="585" y="226"/>
                  </a:lnTo>
                  <a:lnTo>
                    <a:pt x="592" y="231"/>
                  </a:lnTo>
                  <a:lnTo>
                    <a:pt x="634" y="127"/>
                  </a:lnTo>
                  <a:lnTo>
                    <a:pt x="627" y="125"/>
                  </a:lnTo>
                  <a:close/>
                  <a:moveTo>
                    <a:pt x="655" y="137"/>
                  </a:moveTo>
                  <a:lnTo>
                    <a:pt x="611" y="238"/>
                  </a:lnTo>
                  <a:lnTo>
                    <a:pt x="618" y="240"/>
                  </a:lnTo>
                  <a:lnTo>
                    <a:pt x="663" y="141"/>
                  </a:lnTo>
                  <a:lnTo>
                    <a:pt x="655" y="137"/>
                  </a:lnTo>
                  <a:close/>
                  <a:moveTo>
                    <a:pt x="684" y="151"/>
                  </a:moveTo>
                  <a:lnTo>
                    <a:pt x="637" y="250"/>
                  </a:lnTo>
                  <a:lnTo>
                    <a:pt x="644" y="252"/>
                  </a:lnTo>
                  <a:lnTo>
                    <a:pt x="691" y="153"/>
                  </a:lnTo>
                  <a:lnTo>
                    <a:pt x="684" y="151"/>
                  </a:lnTo>
                  <a:close/>
                  <a:moveTo>
                    <a:pt x="710" y="163"/>
                  </a:moveTo>
                  <a:lnTo>
                    <a:pt x="663" y="262"/>
                  </a:lnTo>
                  <a:lnTo>
                    <a:pt x="670" y="266"/>
                  </a:lnTo>
                  <a:lnTo>
                    <a:pt x="717" y="167"/>
                  </a:lnTo>
                  <a:lnTo>
                    <a:pt x="710" y="163"/>
                  </a:lnTo>
                  <a:close/>
                  <a:moveTo>
                    <a:pt x="738" y="177"/>
                  </a:moveTo>
                  <a:lnTo>
                    <a:pt x="688" y="276"/>
                  </a:lnTo>
                  <a:lnTo>
                    <a:pt x="693" y="278"/>
                  </a:lnTo>
                  <a:lnTo>
                    <a:pt x="745" y="181"/>
                  </a:lnTo>
                  <a:lnTo>
                    <a:pt x="738" y="177"/>
                  </a:lnTo>
                  <a:close/>
                  <a:moveTo>
                    <a:pt x="766" y="191"/>
                  </a:moveTo>
                  <a:lnTo>
                    <a:pt x="712" y="287"/>
                  </a:lnTo>
                  <a:lnTo>
                    <a:pt x="719" y="292"/>
                  </a:lnTo>
                  <a:lnTo>
                    <a:pt x="771" y="196"/>
                  </a:lnTo>
                  <a:lnTo>
                    <a:pt x="766" y="191"/>
                  </a:lnTo>
                  <a:close/>
                  <a:moveTo>
                    <a:pt x="792" y="205"/>
                  </a:moveTo>
                  <a:lnTo>
                    <a:pt x="738" y="302"/>
                  </a:lnTo>
                  <a:lnTo>
                    <a:pt x="745" y="306"/>
                  </a:lnTo>
                  <a:lnTo>
                    <a:pt x="799" y="210"/>
                  </a:lnTo>
                  <a:lnTo>
                    <a:pt x="792" y="205"/>
                  </a:lnTo>
                  <a:close/>
                  <a:moveTo>
                    <a:pt x="818" y="221"/>
                  </a:moveTo>
                  <a:lnTo>
                    <a:pt x="762" y="316"/>
                  </a:lnTo>
                  <a:lnTo>
                    <a:pt x="769" y="320"/>
                  </a:lnTo>
                  <a:lnTo>
                    <a:pt x="825" y="224"/>
                  </a:lnTo>
                  <a:lnTo>
                    <a:pt x="818" y="221"/>
                  </a:lnTo>
                  <a:close/>
                  <a:moveTo>
                    <a:pt x="844" y="236"/>
                  </a:moveTo>
                  <a:lnTo>
                    <a:pt x="787" y="330"/>
                  </a:lnTo>
                  <a:lnTo>
                    <a:pt x="792" y="335"/>
                  </a:lnTo>
                  <a:lnTo>
                    <a:pt x="851" y="240"/>
                  </a:lnTo>
                  <a:lnTo>
                    <a:pt x="844" y="236"/>
                  </a:lnTo>
                  <a:close/>
                  <a:moveTo>
                    <a:pt x="870" y="252"/>
                  </a:moveTo>
                  <a:lnTo>
                    <a:pt x="811" y="346"/>
                  </a:lnTo>
                  <a:lnTo>
                    <a:pt x="816" y="351"/>
                  </a:lnTo>
                  <a:lnTo>
                    <a:pt x="877" y="257"/>
                  </a:lnTo>
                  <a:lnTo>
                    <a:pt x="870" y="252"/>
                  </a:lnTo>
                  <a:close/>
                  <a:moveTo>
                    <a:pt x="896" y="269"/>
                  </a:moveTo>
                  <a:lnTo>
                    <a:pt x="835" y="361"/>
                  </a:lnTo>
                  <a:lnTo>
                    <a:pt x="842" y="365"/>
                  </a:lnTo>
                  <a:lnTo>
                    <a:pt x="903" y="273"/>
                  </a:lnTo>
                  <a:lnTo>
                    <a:pt x="896" y="269"/>
                  </a:lnTo>
                  <a:close/>
                  <a:moveTo>
                    <a:pt x="922" y="287"/>
                  </a:moveTo>
                  <a:lnTo>
                    <a:pt x="858" y="377"/>
                  </a:lnTo>
                  <a:lnTo>
                    <a:pt x="865" y="382"/>
                  </a:lnTo>
                  <a:lnTo>
                    <a:pt x="927" y="292"/>
                  </a:lnTo>
                  <a:lnTo>
                    <a:pt x="922" y="287"/>
                  </a:lnTo>
                  <a:close/>
                  <a:moveTo>
                    <a:pt x="945" y="304"/>
                  </a:moveTo>
                  <a:lnTo>
                    <a:pt x="882" y="394"/>
                  </a:lnTo>
                  <a:lnTo>
                    <a:pt x="887" y="398"/>
                  </a:lnTo>
                  <a:lnTo>
                    <a:pt x="953" y="309"/>
                  </a:lnTo>
                  <a:lnTo>
                    <a:pt x="945" y="304"/>
                  </a:lnTo>
                  <a:close/>
                  <a:moveTo>
                    <a:pt x="971" y="323"/>
                  </a:moveTo>
                  <a:lnTo>
                    <a:pt x="905" y="410"/>
                  </a:lnTo>
                  <a:lnTo>
                    <a:pt x="910" y="415"/>
                  </a:lnTo>
                  <a:lnTo>
                    <a:pt x="976" y="328"/>
                  </a:lnTo>
                  <a:lnTo>
                    <a:pt x="971" y="323"/>
                  </a:lnTo>
                  <a:close/>
                  <a:moveTo>
                    <a:pt x="995" y="342"/>
                  </a:moveTo>
                  <a:lnTo>
                    <a:pt x="927" y="429"/>
                  </a:lnTo>
                  <a:lnTo>
                    <a:pt x="934" y="434"/>
                  </a:lnTo>
                  <a:lnTo>
                    <a:pt x="1002" y="346"/>
                  </a:lnTo>
                  <a:lnTo>
                    <a:pt x="995" y="342"/>
                  </a:lnTo>
                  <a:close/>
                  <a:moveTo>
                    <a:pt x="1019" y="361"/>
                  </a:moveTo>
                  <a:lnTo>
                    <a:pt x="950" y="445"/>
                  </a:lnTo>
                  <a:lnTo>
                    <a:pt x="955" y="450"/>
                  </a:lnTo>
                  <a:lnTo>
                    <a:pt x="1026" y="365"/>
                  </a:lnTo>
                  <a:lnTo>
                    <a:pt x="1019" y="361"/>
                  </a:lnTo>
                  <a:close/>
                  <a:moveTo>
                    <a:pt x="1042" y="379"/>
                  </a:moveTo>
                  <a:lnTo>
                    <a:pt x="971" y="464"/>
                  </a:lnTo>
                  <a:lnTo>
                    <a:pt x="976" y="469"/>
                  </a:lnTo>
                  <a:lnTo>
                    <a:pt x="1047" y="384"/>
                  </a:lnTo>
                  <a:lnTo>
                    <a:pt x="1042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AD7E3BEE-C752-4243-A23F-9E220D76CF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27" y="3328"/>
              <a:ext cx="1054" cy="448"/>
            </a:xfrm>
            <a:custGeom>
              <a:avLst/>
              <a:gdLst>
                <a:gd name="T0" fmla="*/ 1054 w 1054"/>
                <a:gd name="T1" fmla="*/ 85 h 448"/>
                <a:gd name="T2" fmla="*/ 1026 w 1054"/>
                <a:gd name="T3" fmla="*/ 108 h 448"/>
                <a:gd name="T4" fmla="*/ 934 w 1054"/>
                <a:gd name="T5" fmla="*/ 38 h 448"/>
                <a:gd name="T6" fmla="*/ 917 w 1054"/>
                <a:gd name="T7" fmla="*/ 52 h 448"/>
                <a:gd name="T8" fmla="*/ 917 w 1054"/>
                <a:gd name="T9" fmla="*/ 52 h 448"/>
                <a:gd name="T10" fmla="*/ 957 w 1054"/>
                <a:gd name="T11" fmla="*/ 158 h 448"/>
                <a:gd name="T12" fmla="*/ 927 w 1054"/>
                <a:gd name="T13" fmla="*/ 179 h 448"/>
                <a:gd name="T14" fmla="*/ 839 w 1054"/>
                <a:gd name="T15" fmla="*/ 104 h 448"/>
                <a:gd name="T16" fmla="*/ 823 w 1054"/>
                <a:gd name="T17" fmla="*/ 116 h 448"/>
                <a:gd name="T18" fmla="*/ 823 w 1054"/>
                <a:gd name="T19" fmla="*/ 116 h 448"/>
                <a:gd name="T20" fmla="*/ 853 w 1054"/>
                <a:gd name="T21" fmla="*/ 224 h 448"/>
                <a:gd name="T22" fmla="*/ 820 w 1054"/>
                <a:gd name="T23" fmla="*/ 243 h 448"/>
                <a:gd name="T24" fmla="*/ 743 w 1054"/>
                <a:gd name="T25" fmla="*/ 160 h 448"/>
                <a:gd name="T26" fmla="*/ 724 w 1054"/>
                <a:gd name="T27" fmla="*/ 172 h 448"/>
                <a:gd name="T28" fmla="*/ 724 w 1054"/>
                <a:gd name="T29" fmla="*/ 172 h 448"/>
                <a:gd name="T30" fmla="*/ 747 w 1054"/>
                <a:gd name="T31" fmla="*/ 283 h 448"/>
                <a:gd name="T32" fmla="*/ 712 w 1054"/>
                <a:gd name="T33" fmla="*/ 299 h 448"/>
                <a:gd name="T34" fmla="*/ 639 w 1054"/>
                <a:gd name="T35" fmla="*/ 212 h 448"/>
                <a:gd name="T36" fmla="*/ 620 w 1054"/>
                <a:gd name="T37" fmla="*/ 219 h 448"/>
                <a:gd name="T38" fmla="*/ 620 w 1054"/>
                <a:gd name="T39" fmla="*/ 219 h 448"/>
                <a:gd name="T40" fmla="*/ 634 w 1054"/>
                <a:gd name="T41" fmla="*/ 332 h 448"/>
                <a:gd name="T42" fmla="*/ 599 w 1054"/>
                <a:gd name="T43" fmla="*/ 347 h 448"/>
                <a:gd name="T44" fmla="*/ 533 w 1054"/>
                <a:gd name="T45" fmla="*/ 252 h 448"/>
                <a:gd name="T46" fmla="*/ 514 w 1054"/>
                <a:gd name="T47" fmla="*/ 259 h 448"/>
                <a:gd name="T48" fmla="*/ 514 w 1054"/>
                <a:gd name="T49" fmla="*/ 259 h 448"/>
                <a:gd name="T50" fmla="*/ 519 w 1054"/>
                <a:gd name="T51" fmla="*/ 375 h 448"/>
                <a:gd name="T52" fmla="*/ 483 w 1054"/>
                <a:gd name="T53" fmla="*/ 384 h 448"/>
                <a:gd name="T54" fmla="*/ 424 w 1054"/>
                <a:gd name="T55" fmla="*/ 285 h 448"/>
                <a:gd name="T56" fmla="*/ 403 w 1054"/>
                <a:gd name="T57" fmla="*/ 292 h 448"/>
                <a:gd name="T58" fmla="*/ 403 w 1054"/>
                <a:gd name="T59" fmla="*/ 292 h 448"/>
                <a:gd name="T60" fmla="*/ 401 w 1054"/>
                <a:gd name="T61" fmla="*/ 405 h 448"/>
                <a:gd name="T62" fmla="*/ 363 w 1054"/>
                <a:gd name="T63" fmla="*/ 415 h 448"/>
                <a:gd name="T64" fmla="*/ 314 w 1054"/>
                <a:gd name="T65" fmla="*/ 311 h 448"/>
                <a:gd name="T66" fmla="*/ 292 w 1054"/>
                <a:gd name="T67" fmla="*/ 316 h 448"/>
                <a:gd name="T68" fmla="*/ 292 w 1054"/>
                <a:gd name="T69" fmla="*/ 316 h 448"/>
                <a:gd name="T70" fmla="*/ 281 w 1054"/>
                <a:gd name="T71" fmla="*/ 429 h 448"/>
                <a:gd name="T72" fmla="*/ 243 w 1054"/>
                <a:gd name="T73" fmla="*/ 434 h 448"/>
                <a:gd name="T74" fmla="*/ 200 w 1054"/>
                <a:gd name="T75" fmla="*/ 328 h 448"/>
                <a:gd name="T76" fmla="*/ 179 w 1054"/>
                <a:gd name="T77" fmla="*/ 330 h 448"/>
                <a:gd name="T78" fmla="*/ 179 w 1054"/>
                <a:gd name="T79" fmla="*/ 330 h 448"/>
                <a:gd name="T80" fmla="*/ 160 w 1054"/>
                <a:gd name="T81" fmla="*/ 443 h 448"/>
                <a:gd name="T82" fmla="*/ 123 w 1054"/>
                <a:gd name="T83" fmla="*/ 446 h 448"/>
                <a:gd name="T84" fmla="*/ 87 w 1054"/>
                <a:gd name="T85" fmla="*/ 337 h 448"/>
                <a:gd name="T86" fmla="*/ 2 w 1054"/>
                <a:gd name="T87" fmla="*/ 337 h 448"/>
                <a:gd name="T88" fmla="*/ 2 w 1054"/>
                <a:gd name="T89" fmla="*/ 337 h 448"/>
                <a:gd name="T90" fmla="*/ 68 w 1054"/>
                <a:gd name="T91" fmla="*/ 448 h 448"/>
                <a:gd name="T92" fmla="*/ 31 w 1054"/>
                <a:gd name="T93" fmla="*/ 337 h 448"/>
                <a:gd name="T94" fmla="*/ 38 w 1054"/>
                <a:gd name="T95" fmla="*/ 337 h 4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1054" h="448">
                  <a:moveTo>
                    <a:pt x="986" y="0"/>
                  </a:moveTo>
                  <a:lnTo>
                    <a:pt x="978" y="5"/>
                  </a:lnTo>
                  <a:lnTo>
                    <a:pt x="1049" y="90"/>
                  </a:lnTo>
                  <a:lnTo>
                    <a:pt x="1054" y="85"/>
                  </a:lnTo>
                  <a:lnTo>
                    <a:pt x="986" y="0"/>
                  </a:lnTo>
                  <a:close/>
                  <a:moveTo>
                    <a:pt x="962" y="17"/>
                  </a:moveTo>
                  <a:lnTo>
                    <a:pt x="957" y="21"/>
                  </a:lnTo>
                  <a:lnTo>
                    <a:pt x="1026" y="108"/>
                  </a:lnTo>
                  <a:lnTo>
                    <a:pt x="1030" y="104"/>
                  </a:lnTo>
                  <a:lnTo>
                    <a:pt x="962" y="17"/>
                  </a:lnTo>
                  <a:close/>
                  <a:moveTo>
                    <a:pt x="941" y="35"/>
                  </a:moveTo>
                  <a:lnTo>
                    <a:pt x="934" y="38"/>
                  </a:lnTo>
                  <a:lnTo>
                    <a:pt x="1000" y="127"/>
                  </a:lnTo>
                  <a:lnTo>
                    <a:pt x="1007" y="123"/>
                  </a:lnTo>
                  <a:lnTo>
                    <a:pt x="941" y="35"/>
                  </a:lnTo>
                  <a:close/>
                  <a:moveTo>
                    <a:pt x="917" y="52"/>
                  </a:moveTo>
                  <a:lnTo>
                    <a:pt x="912" y="57"/>
                  </a:lnTo>
                  <a:lnTo>
                    <a:pt x="976" y="146"/>
                  </a:lnTo>
                  <a:lnTo>
                    <a:pt x="983" y="141"/>
                  </a:lnTo>
                  <a:lnTo>
                    <a:pt x="917" y="52"/>
                  </a:lnTo>
                  <a:close/>
                  <a:moveTo>
                    <a:pt x="894" y="68"/>
                  </a:moveTo>
                  <a:lnTo>
                    <a:pt x="889" y="73"/>
                  </a:lnTo>
                  <a:lnTo>
                    <a:pt x="950" y="163"/>
                  </a:lnTo>
                  <a:lnTo>
                    <a:pt x="957" y="158"/>
                  </a:lnTo>
                  <a:lnTo>
                    <a:pt x="894" y="68"/>
                  </a:lnTo>
                  <a:close/>
                  <a:moveTo>
                    <a:pt x="870" y="85"/>
                  </a:moveTo>
                  <a:lnTo>
                    <a:pt x="865" y="87"/>
                  </a:lnTo>
                  <a:lnTo>
                    <a:pt x="927" y="179"/>
                  </a:lnTo>
                  <a:lnTo>
                    <a:pt x="931" y="177"/>
                  </a:lnTo>
                  <a:lnTo>
                    <a:pt x="870" y="85"/>
                  </a:lnTo>
                  <a:close/>
                  <a:moveTo>
                    <a:pt x="846" y="99"/>
                  </a:moveTo>
                  <a:lnTo>
                    <a:pt x="839" y="104"/>
                  </a:lnTo>
                  <a:lnTo>
                    <a:pt x="901" y="196"/>
                  </a:lnTo>
                  <a:lnTo>
                    <a:pt x="905" y="193"/>
                  </a:lnTo>
                  <a:lnTo>
                    <a:pt x="846" y="99"/>
                  </a:lnTo>
                  <a:close/>
                  <a:moveTo>
                    <a:pt x="823" y="116"/>
                  </a:moveTo>
                  <a:lnTo>
                    <a:pt x="816" y="118"/>
                  </a:lnTo>
                  <a:lnTo>
                    <a:pt x="875" y="212"/>
                  </a:lnTo>
                  <a:lnTo>
                    <a:pt x="879" y="210"/>
                  </a:lnTo>
                  <a:lnTo>
                    <a:pt x="823" y="116"/>
                  </a:lnTo>
                  <a:close/>
                  <a:moveTo>
                    <a:pt x="797" y="130"/>
                  </a:moveTo>
                  <a:lnTo>
                    <a:pt x="792" y="134"/>
                  </a:lnTo>
                  <a:lnTo>
                    <a:pt x="849" y="229"/>
                  </a:lnTo>
                  <a:lnTo>
                    <a:pt x="853" y="224"/>
                  </a:lnTo>
                  <a:lnTo>
                    <a:pt x="797" y="130"/>
                  </a:lnTo>
                  <a:close/>
                  <a:moveTo>
                    <a:pt x="773" y="144"/>
                  </a:moveTo>
                  <a:lnTo>
                    <a:pt x="766" y="149"/>
                  </a:lnTo>
                  <a:lnTo>
                    <a:pt x="820" y="243"/>
                  </a:lnTo>
                  <a:lnTo>
                    <a:pt x="828" y="240"/>
                  </a:lnTo>
                  <a:lnTo>
                    <a:pt x="773" y="144"/>
                  </a:lnTo>
                  <a:close/>
                  <a:moveTo>
                    <a:pt x="747" y="158"/>
                  </a:moveTo>
                  <a:lnTo>
                    <a:pt x="743" y="160"/>
                  </a:lnTo>
                  <a:lnTo>
                    <a:pt x="795" y="259"/>
                  </a:lnTo>
                  <a:lnTo>
                    <a:pt x="802" y="255"/>
                  </a:lnTo>
                  <a:lnTo>
                    <a:pt x="747" y="158"/>
                  </a:lnTo>
                  <a:close/>
                  <a:moveTo>
                    <a:pt x="724" y="172"/>
                  </a:moveTo>
                  <a:lnTo>
                    <a:pt x="717" y="174"/>
                  </a:lnTo>
                  <a:lnTo>
                    <a:pt x="766" y="273"/>
                  </a:lnTo>
                  <a:lnTo>
                    <a:pt x="773" y="269"/>
                  </a:lnTo>
                  <a:lnTo>
                    <a:pt x="724" y="172"/>
                  </a:lnTo>
                  <a:close/>
                  <a:moveTo>
                    <a:pt x="698" y="184"/>
                  </a:moveTo>
                  <a:lnTo>
                    <a:pt x="691" y="186"/>
                  </a:lnTo>
                  <a:lnTo>
                    <a:pt x="740" y="288"/>
                  </a:lnTo>
                  <a:lnTo>
                    <a:pt x="747" y="283"/>
                  </a:lnTo>
                  <a:lnTo>
                    <a:pt x="698" y="184"/>
                  </a:lnTo>
                  <a:close/>
                  <a:moveTo>
                    <a:pt x="672" y="196"/>
                  </a:moveTo>
                  <a:lnTo>
                    <a:pt x="665" y="200"/>
                  </a:lnTo>
                  <a:lnTo>
                    <a:pt x="712" y="299"/>
                  </a:lnTo>
                  <a:lnTo>
                    <a:pt x="719" y="297"/>
                  </a:lnTo>
                  <a:lnTo>
                    <a:pt x="672" y="196"/>
                  </a:lnTo>
                  <a:close/>
                  <a:moveTo>
                    <a:pt x="646" y="207"/>
                  </a:moveTo>
                  <a:lnTo>
                    <a:pt x="639" y="212"/>
                  </a:lnTo>
                  <a:lnTo>
                    <a:pt x="684" y="311"/>
                  </a:lnTo>
                  <a:lnTo>
                    <a:pt x="691" y="309"/>
                  </a:lnTo>
                  <a:lnTo>
                    <a:pt x="646" y="207"/>
                  </a:lnTo>
                  <a:close/>
                  <a:moveTo>
                    <a:pt x="620" y="219"/>
                  </a:moveTo>
                  <a:lnTo>
                    <a:pt x="613" y="222"/>
                  </a:lnTo>
                  <a:lnTo>
                    <a:pt x="655" y="323"/>
                  </a:lnTo>
                  <a:lnTo>
                    <a:pt x="663" y="321"/>
                  </a:lnTo>
                  <a:lnTo>
                    <a:pt x="620" y="219"/>
                  </a:lnTo>
                  <a:close/>
                  <a:moveTo>
                    <a:pt x="594" y="231"/>
                  </a:moveTo>
                  <a:lnTo>
                    <a:pt x="587" y="233"/>
                  </a:lnTo>
                  <a:lnTo>
                    <a:pt x="627" y="335"/>
                  </a:lnTo>
                  <a:lnTo>
                    <a:pt x="634" y="332"/>
                  </a:lnTo>
                  <a:lnTo>
                    <a:pt x="594" y="231"/>
                  </a:lnTo>
                  <a:close/>
                  <a:moveTo>
                    <a:pt x="566" y="240"/>
                  </a:moveTo>
                  <a:lnTo>
                    <a:pt x="561" y="243"/>
                  </a:lnTo>
                  <a:lnTo>
                    <a:pt x="599" y="347"/>
                  </a:lnTo>
                  <a:lnTo>
                    <a:pt x="606" y="344"/>
                  </a:lnTo>
                  <a:lnTo>
                    <a:pt x="566" y="240"/>
                  </a:lnTo>
                  <a:close/>
                  <a:moveTo>
                    <a:pt x="540" y="250"/>
                  </a:moveTo>
                  <a:lnTo>
                    <a:pt x="533" y="252"/>
                  </a:lnTo>
                  <a:lnTo>
                    <a:pt x="571" y="356"/>
                  </a:lnTo>
                  <a:lnTo>
                    <a:pt x="578" y="354"/>
                  </a:lnTo>
                  <a:lnTo>
                    <a:pt x="540" y="250"/>
                  </a:lnTo>
                  <a:close/>
                  <a:moveTo>
                    <a:pt x="514" y="259"/>
                  </a:moveTo>
                  <a:lnTo>
                    <a:pt x="507" y="262"/>
                  </a:lnTo>
                  <a:lnTo>
                    <a:pt x="542" y="368"/>
                  </a:lnTo>
                  <a:lnTo>
                    <a:pt x="549" y="365"/>
                  </a:lnTo>
                  <a:lnTo>
                    <a:pt x="514" y="259"/>
                  </a:lnTo>
                  <a:close/>
                  <a:moveTo>
                    <a:pt x="486" y="269"/>
                  </a:moveTo>
                  <a:lnTo>
                    <a:pt x="479" y="271"/>
                  </a:lnTo>
                  <a:lnTo>
                    <a:pt x="512" y="377"/>
                  </a:lnTo>
                  <a:lnTo>
                    <a:pt x="519" y="375"/>
                  </a:lnTo>
                  <a:lnTo>
                    <a:pt x="486" y="269"/>
                  </a:lnTo>
                  <a:close/>
                  <a:moveTo>
                    <a:pt x="460" y="276"/>
                  </a:moveTo>
                  <a:lnTo>
                    <a:pt x="453" y="278"/>
                  </a:lnTo>
                  <a:lnTo>
                    <a:pt x="483" y="384"/>
                  </a:lnTo>
                  <a:lnTo>
                    <a:pt x="490" y="382"/>
                  </a:lnTo>
                  <a:lnTo>
                    <a:pt x="460" y="276"/>
                  </a:lnTo>
                  <a:close/>
                  <a:moveTo>
                    <a:pt x="431" y="285"/>
                  </a:moveTo>
                  <a:lnTo>
                    <a:pt x="424" y="285"/>
                  </a:lnTo>
                  <a:lnTo>
                    <a:pt x="453" y="394"/>
                  </a:lnTo>
                  <a:lnTo>
                    <a:pt x="460" y="391"/>
                  </a:lnTo>
                  <a:lnTo>
                    <a:pt x="431" y="285"/>
                  </a:lnTo>
                  <a:close/>
                  <a:moveTo>
                    <a:pt x="403" y="292"/>
                  </a:moveTo>
                  <a:lnTo>
                    <a:pt x="396" y="292"/>
                  </a:lnTo>
                  <a:lnTo>
                    <a:pt x="424" y="401"/>
                  </a:lnTo>
                  <a:lnTo>
                    <a:pt x="431" y="398"/>
                  </a:lnTo>
                  <a:lnTo>
                    <a:pt x="403" y="292"/>
                  </a:lnTo>
                  <a:close/>
                  <a:moveTo>
                    <a:pt x="377" y="299"/>
                  </a:moveTo>
                  <a:lnTo>
                    <a:pt x="370" y="299"/>
                  </a:lnTo>
                  <a:lnTo>
                    <a:pt x="394" y="408"/>
                  </a:lnTo>
                  <a:lnTo>
                    <a:pt x="401" y="405"/>
                  </a:lnTo>
                  <a:lnTo>
                    <a:pt x="377" y="299"/>
                  </a:lnTo>
                  <a:close/>
                  <a:moveTo>
                    <a:pt x="349" y="304"/>
                  </a:moveTo>
                  <a:lnTo>
                    <a:pt x="342" y="306"/>
                  </a:lnTo>
                  <a:lnTo>
                    <a:pt x="363" y="415"/>
                  </a:lnTo>
                  <a:lnTo>
                    <a:pt x="373" y="413"/>
                  </a:lnTo>
                  <a:lnTo>
                    <a:pt x="349" y="304"/>
                  </a:lnTo>
                  <a:close/>
                  <a:moveTo>
                    <a:pt x="321" y="311"/>
                  </a:moveTo>
                  <a:lnTo>
                    <a:pt x="314" y="311"/>
                  </a:lnTo>
                  <a:lnTo>
                    <a:pt x="335" y="420"/>
                  </a:lnTo>
                  <a:lnTo>
                    <a:pt x="342" y="420"/>
                  </a:lnTo>
                  <a:lnTo>
                    <a:pt x="321" y="311"/>
                  </a:lnTo>
                  <a:close/>
                  <a:moveTo>
                    <a:pt x="292" y="316"/>
                  </a:moveTo>
                  <a:lnTo>
                    <a:pt x="285" y="316"/>
                  </a:lnTo>
                  <a:lnTo>
                    <a:pt x="304" y="427"/>
                  </a:lnTo>
                  <a:lnTo>
                    <a:pt x="311" y="424"/>
                  </a:lnTo>
                  <a:lnTo>
                    <a:pt x="292" y="316"/>
                  </a:lnTo>
                  <a:close/>
                  <a:moveTo>
                    <a:pt x="264" y="321"/>
                  </a:moveTo>
                  <a:lnTo>
                    <a:pt x="257" y="321"/>
                  </a:lnTo>
                  <a:lnTo>
                    <a:pt x="273" y="431"/>
                  </a:lnTo>
                  <a:lnTo>
                    <a:pt x="281" y="429"/>
                  </a:lnTo>
                  <a:lnTo>
                    <a:pt x="264" y="321"/>
                  </a:lnTo>
                  <a:close/>
                  <a:moveTo>
                    <a:pt x="236" y="323"/>
                  </a:moveTo>
                  <a:lnTo>
                    <a:pt x="229" y="325"/>
                  </a:lnTo>
                  <a:lnTo>
                    <a:pt x="243" y="434"/>
                  </a:lnTo>
                  <a:lnTo>
                    <a:pt x="252" y="434"/>
                  </a:lnTo>
                  <a:lnTo>
                    <a:pt x="236" y="323"/>
                  </a:lnTo>
                  <a:close/>
                  <a:moveTo>
                    <a:pt x="207" y="328"/>
                  </a:moveTo>
                  <a:lnTo>
                    <a:pt x="200" y="328"/>
                  </a:lnTo>
                  <a:lnTo>
                    <a:pt x="215" y="439"/>
                  </a:lnTo>
                  <a:lnTo>
                    <a:pt x="222" y="439"/>
                  </a:lnTo>
                  <a:lnTo>
                    <a:pt x="207" y="328"/>
                  </a:lnTo>
                  <a:close/>
                  <a:moveTo>
                    <a:pt x="179" y="330"/>
                  </a:moveTo>
                  <a:lnTo>
                    <a:pt x="172" y="332"/>
                  </a:lnTo>
                  <a:lnTo>
                    <a:pt x="184" y="441"/>
                  </a:lnTo>
                  <a:lnTo>
                    <a:pt x="191" y="441"/>
                  </a:lnTo>
                  <a:lnTo>
                    <a:pt x="179" y="330"/>
                  </a:lnTo>
                  <a:close/>
                  <a:moveTo>
                    <a:pt x="151" y="332"/>
                  </a:moveTo>
                  <a:lnTo>
                    <a:pt x="144" y="335"/>
                  </a:lnTo>
                  <a:lnTo>
                    <a:pt x="153" y="443"/>
                  </a:lnTo>
                  <a:lnTo>
                    <a:pt x="160" y="443"/>
                  </a:lnTo>
                  <a:lnTo>
                    <a:pt x="151" y="332"/>
                  </a:lnTo>
                  <a:close/>
                  <a:moveTo>
                    <a:pt x="123" y="335"/>
                  </a:moveTo>
                  <a:lnTo>
                    <a:pt x="116" y="335"/>
                  </a:lnTo>
                  <a:lnTo>
                    <a:pt x="123" y="446"/>
                  </a:lnTo>
                  <a:lnTo>
                    <a:pt x="130" y="446"/>
                  </a:lnTo>
                  <a:lnTo>
                    <a:pt x="123" y="335"/>
                  </a:lnTo>
                  <a:close/>
                  <a:moveTo>
                    <a:pt x="94" y="337"/>
                  </a:moveTo>
                  <a:lnTo>
                    <a:pt x="87" y="337"/>
                  </a:lnTo>
                  <a:lnTo>
                    <a:pt x="92" y="448"/>
                  </a:lnTo>
                  <a:lnTo>
                    <a:pt x="99" y="448"/>
                  </a:lnTo>
                  <a:lnTo>
                    <a:pt x="94" y="337"/>
                  </a:lnTo>
                  <a:close/>
                  <a:moveTo>
                    <a:pt x="2" y="337"/>
                  </a:moveTo>
                  <a:lnTo>
                    <a:pt x="0" y="448"/>
                  </a:lnTo>
                  <a:lnTo>
                    <a:pt x="7" y="448"/>
                  </a:lnTo>
                  <a:lnTo>
                    <a:pt x="9" y="337"/>
                  </a:lnTo>
                  <a:lnTo>
                    <a:pt x="2" y="337"/>
                  </a:lnTo>
                  <a:close/>
                  <a:moveTo>
                    <a:pt x="66" y="337"/>
                  </a:moveTo>
                  <a:lnTo>
                    <a:pt x="59" y="337"/>
                  </a:lnTo>
                  <a:lnTo>
                    <a:pt x="61" y="448"/>
                  </a:lnTo>
                  <a:lnTo>
                    <a:pt x="68" y="448"/>
                  </a:lnTo>
                  <a:lnTo>
                    <a:pt x="66" y="337"/>
                  </a:lnTo>
                  <a:close/>
                  <a:moveTo>
                    <a:pt x="38" y="337"/>
                  </a:moveTo>
                  <a:lnTo>
                    <a:pt x="35" y="337"/>
                  </a:lnTo>
                  <a:lnTo>
                    <a:pt x="31" y="337"/>
                  </a:lnTo>
                  <a:lnTo>
                    <a:pt x="31" y="448"/>
                  </a:lnTo>
                  <a:lnTo>
                    <a:pt x="35" y="448"/>
                  </a:lnTo>
                  <a:lnTo>
                    <a:pt x="38" y="448"/>
                  </a:lnTo>
                  <a:lnTo>
                    <a:pt x="38" y="33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0F29B635-EA26-422E-B84A-47E18F85434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137" y="1635"/>
              <a:ext cx="1049" cy="1049"/>
            </a:xfrm>
            <a:custGeom>
              <a:avLst/>
              <a:gdLst>
                <a:gd name="T0" fmla="*/ 222 w 445"/>
                <a:gd name="T1" fmla="*/ 0 h 445"/>
                <a:gd name="T2" fmla="*/ 0 w 445"/>
                <a:gd name="T3" fmla="*/ 220 h 445"/>
                <a:gd name="T4" fmla="*/ 3 w 445"/>
                <a:gd name="T5" fmla="*/ 220 h 445"/>
                <a:gd name="T6" fmla="*/ 222 w 445"/>
                <a:gd name="T7" fmla="*/ 3 h 445"/>
                <a:gd name="T8" fmla="*/ 442 w 445"/>
                <a:gd name="T9" fmla="*/ 222 h 445"/>
                <a:gd name="T10" fmla="*/ 229 w 445"/>
                <a:gd name="T11" fmla="*/ 442 h 445"/>
                <a:gd name="T12" fmla="*/ 229 w 445"/>
                <a:gd name="T13" fmla="*/ 445 h 445"/>
                <a:gd name="T14" fmla="*/ 381 w 445"/>
                <a:gd name="T15" fmla="*/ 379 h 445"/>
                <a:gd name="T16" fmla="*/ 445 w 445"/>
                <a:gd name="T17" fmla="*/ 222 h 445"/>
                <a:gd name="T18" fmla="*/ 222 w 445"/>
                <a:gd name="T19" fmla="*/ 0 h 4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45" h="445">
                  <a:moveTo>
                    <a:pt x="222" y="0"/>
                  </a:moveTo>
                  <a:cubicBezTo>
                    <a:pt x="100" y="0"/>
                    <a:pt x="1" y="98"/>
                    <a:pt x="0" y="220"/>
                  </a:cubicBezTo>
                  <a:cubicBezTo>
                    <a:pt x="3" y="220"/>
                    <a:pt x="3" y="220"/>
                    <a:pt x="3" y="220"/>
                  </a:cubicBezTo>
                  <a:cubicBezTo>
                    <a:pt x="5" y="100"/>
                    <a:pt x="102" y="3"/>
                    <a:pt x="222" y="3"/>
                  </a:cubicBezTo>
                  <a:cubicBezTo>
                    <a:pt x="343" y="3"/>
                    <a:pt x="442" y="102"/>
                    <a:pt x="442" y="222"/>
                  </a:cubicBezTo>
                  <a:cubicBezTo>
                    <a:pt x="442" y="340"/>
                    <a:pt x="347" y="438"/>
                    <a:pt x="229" y="442"/>
                  </a:cubicBezTo>
                  <a:cubicBezTo>
                    <a:pt x="229" y="445"/>
                    <a:pt x="229" y="445"/>
                    <a:pt x="229" y="445"/>
                  </a:cubicBezTo>
                  <a:cubicBezTo>
                    <a:pt x="287" y="444"/>
                    <a:pt x="341" y="420"/>
                    <a:pt x="381" y="379"/>
                  </a:cubicBezTo>
                  <a:cubicBezTo>
                    <a:pt x="423" y="337"/>
                    <a:pt x="445" y="281"/>
                    <a:pt x="445" y="222"/>
                  </a:cubicBezTo>
                  <a:cubicBezTo>
                    <a:pt x="445" y="100"/>
                    <a:pt x="345" y="0"/>
                    <a:pt x="22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D0A418D4-0A28-492B-AB97-0B494FAB3BB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200" y="1699"/>
              <a:ext cx="922" cy="922"/>
            </a:xfrm>
            <a:custGeom>
              <a:avLst/>
              <a:gdLst>
                <a:gd name="T0" fmla="*/ 195 w 391"/>
                <a:gd name="T1" fmla="*/ 0 h 391"/>
                <a:gd name="T2" fmla="*/ 0 w 391"/>
                <a:gd name="T3" fmla="*/ 195 h 391"/>
                <a:gd name="T4" fmla="*/ 195 w 391"/>
                <a:gd name="T5" fmla="*/ 391 h 391"/>
                <a:gd name="T6" fmla="*/ 391 w 391"/>
                <a:gd name="T7" fmla="*/ 195 h 391"/>
                <a:gd name="T8" fmla="*/ 195 w 391"/>
                <a:gd name="T9" fmla="*/ 0 h 391"/>
                <a:gd name="T10" fmla="*/ 195 w 391"/>
                <a:gd name="T11" fmla="*/ 388 h 391"/>
                <a:gd name="T12" fmla="*/ 3 w 391"/>
                <a:gd name="T13" fmla="*/ 195 h 391"/>
                <a:gd name="T14" fmla="*/ 195 w 391"/>
                <a:gd name="T15" fmla="*/ 3 h 391"/>
                <a:gd name="T16" fmla="*/ 388 w 391"/>
                <a:gd name="T17" fmla="*/ 195 h 391"/>
                <a:gd name="T18" fmla="*/ 195 w 391"/>
                <a:gd name="T19" fmla="*/ 388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1" h="391">
                  <a:moveTo>
                    <a:pt x="195" y="0"/>
                  </a:moveTo>
                  <a:cubicBezTo>
                    <a:pt x="88" y="0"/>
                    <a:pt x="0" y="88"/>
                    <a:pt x="0" y="195"/>
                  </a:cubicBezTo>
                  <a:cubicBezTo>
                    <a:pt x="0" y="303"/>
                    <a:pt x="88" y="391"/>
                    <a:pt x="195" y="391"/>
                  </a:cubicBezTo>
                  <a:cubicBezTo>
                    <a:pt x="303" y="391"/>
                    <a:pt x="391" y="303"/>
                    <a:pt x="391" y="195"/>
                  </a:cubicBezTo>
                  <a:cubicBezTo>
                    <a:pt x="391" y="88"/>
                    <a:pt x="303" y="0"/>
                    <a:pt x="195" y="0"/>
                  </a:cubicBezTo>
                  <a:moveTo>
                    <a:pt x="195" y="388"/>
                  </a:moveTo>
                  <a:cubicBezTo>
                    <a:pt x="89" y="388"/>
                    <a:pt x="3" y="302"/>
                    <a:pt x="3" y="195"/>
                  </a:cubicBezTo>
                  <a:cubicBezTo>
                    <a:pt x="3" y="89"/>
                    <a:pt x="89" y="3"/>
                    <a:pt x="195" y="3"/>
                  </a:cubicBezTo>
                  <a:cubicBezTo>
                    <a:pt x="301" y="3"/>
                    <a:pt x="388" y="89"/>
                    <a:pt x="388" y="195"/>
                  </a:cubicBezTo>
                  <a:cubicBezTo>
                    <a:pt x="388" y="302"/>
                    <a:pt x="301" y="388"/>
                    <a:pt x="195" y="38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0" name="Freeform 10">
              <a:extLst>
                <a:ext uri="{FF2B5EF4-FFF2-40B4-BE49-F238E27FC236}">
                  <a16:creationId xmlns:a16="http://schemas.microsoft.com/office/drawing/2014/main" id="{9A9DCCF7-794F-46A1-9DBD-76B44056F5C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731" y="2166"/>
              <a:ext cx="731" cy="790"/>
            </a:xfrm>
            <a:custGeom>
              <a:avLst/>
              <a:gdLst>
                <a:gd name="T0" fmla="*/ 294 w 310"/>
                <a:gd name="T1" fmla="*/ 0 h 335"/>
                <a:gd name="T2" fmla="*/ 310 w 310"/>
                <a:gd name="T3" fmla="*/ 0 h 335"/>
                <a:gd name="T4" fmla="*/ 291 w 310"/>
                <a:gd name="T5" fmla="*/ 40 h 335"/>
                <a:gd name="T6" fmla="*/ 299 w 310"/>
                <a:gd name="T7" fmla="*/ 49 h 335"/>
                <a:gd name="T8" fmla="*/ 300 w 310"/>
                <a:gd name="T9" fmla="*/ 33 h 335"/>
                <a:gd name="T10" fmla="*/ 291 w 310"/>
                <a:gd name="T11" fmla="*/ 76 h 335"/>
                <a:gd name="T12" fmla="*/ 288 w 310"/>
                <a:gd name="T13" fmla="*/ 92 h 335"/>
                <a:gd name="T14" fmla="*/ 298 w 310"/>
                <a:gd name="T15" fmla="*/ 86 h 335"/>
                <a:gd name="T16" fmla="*/ 291 w 310"/>
                <a:gd name="T17" fmla="*/ 76 h 335"/>
                <a:gd name="T18" fmla="*/ 269 w 310"/>
                <a:gd name="T19" fmla="*/ 123 h 335"/>
                <a:gd name="T20" fmla="*/ 276 w 310"/>
                <a:gd name="T21" fmla="*/ 134 h 335"/>
                <a:gd name="T22" fmla="*/ 279 w 310"/>
                <a:gd name="T23" fmla="*/ 118 h 335"/>
                <a:gd name="T24" fmla="*/ 257 w 310"/>
                <a:gd name="T25" fmla="*/ 157 h 335"/>
                <a:gd name="T26" fmla="*/ 252 w 310"/>
                <a:gd name="T27" fmla="*/ 172 h 335"/>
                <a:gd name="T28" fmla="*/ 264 w 310"/>
                <a:gd name="T29" fmla="*/ 169 h 335"/>
                <a:gd name="T30" fmla="*/ 257 w 310"/>
                <a:gd name="T31" fmla="*/ 157 h 335"/>
                <a:gd name="T32" fmla="*/ 225 w 310"/>
                <a:gd name="T33" fmla="*/ 196 h 335"/>
                <a:gd name="T34" fmla="*/ 227 w 310"/>
                <a:gd name="T35" fmla="*/ 208 h 335"/>
                <a:gd name="T36" fmla="*/ 238 w 310"/>
                <a:gd name="T37" fmla="*/ 206 h 335"/>
                <a:gd name="T38" fmla="*/ 232 w 310"/>
                <a:gd name="T39" fmla="*/ 193 h 335"/>
                <a:gd name="T40" fmla="*/ 197 w 310"/>
                <a:gd name="T41" fmla="*/ 228 h 335"/>
                <a:gd name="T42" fmla="*/ 203 w 310"/>
                <a:gd name="T43" fmla="*/ 242 h 335"/>
                <a:gd name="T44" fmla="*/ 209 w 310"/>
                <a:gd name="T45" fmla="*/ 228 h 335"/>
                <a:gd name="T46" fmla="*/ 169 w 310"/>
                <a:gd name="T47" fmla="*/ 254 h 335"/>
                <a:gd name="T48" fmla="*/ 163 w 310"/>
                <a:gd name="T49" fmla="*/ 268 h 335"/>
                <a:gd name="T50" fmla="*/ 174 w 310"/>
                <a:gd name="T51" fmla="*/ 269 h 335"/>
                <a:gd name="T52" fmla="*/ 169 w 310"/>
                <a:gd name="T53" fmla="*/ 254 h 335"/>
                <a:gd name="T54" fmla="*/ 129 w 310"/>
                <a:gd name="T55" fmla="*/ 279 h 335"/>
                <a:gd name="T56" fmla="*/ 133 w 310"/>
                <a:gd name="T57" fmla="*/ 295 h 335"/>
                <a:gd name="T58" fmla="*/ 140 w 310"/>
                <a:gd name="T59" fmla="*/ 283 h 335"/>
                <a:gd name="T60" fmla="*/ 93 w 310"/>
                <a:gd name="T61" fmla="*/ 297 h 335"/>
                <a:gd name="T62" fmla="*/ 86 w 310"/>
                <a:gd name="T63" fmla="*/ 309 h 335"/>
                <a:gd name="T64" fmla="*/ 96 w 310"/>
                <a:gd name="T65" fmla="*/ 313 h 335"/>
                <a:gd name="T66" fmla="*/ 93 w 310"/>
                <a:gd name="T67" fmla="*/ 297 h 335"/>
                <a:gd name="T68" fmla="*/ 49 w 310"/>
                <a:gd name="T69" fmla="*/ 311 h 335"/>
                <a:gd name="T70" fmla="*/ 51 w 310"/>
                <a:gd name="T71" fmla="*/ 327 h 335"/>
                <a:gd name="T72" fmla="*/ 59 w 310"/>
                <a:gd name="T73" fmla="*/ 317 h 335"/>
                <a:gd name="T74" fmla="*/ 8 w 310"/>
                <a:gd name="T75" fmla="*/ 319 h 335"/>
                <a:gd name="T76" fmla="*/ 0 w 310"/>
                <a:gd name="T77" fmla="*/ 328 h 335"/>
                <a:gd name="T78" fmla="*/ 9 w 310"/>
                <a:gd name="T79" fmla="*/ 335 h 335"/>
                <a:gd name="T80" fmla="*/ 8 w 310"/>
                <a:gd name="T81" fmla="*/ 319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10" h="335">
                  <a:moveTo>
                    <a:pt x="310" y="0"/>
                  </a:moveTo>
                  <a:cubicBezTo>
                    <a:pt x="294" y="0"/>
                    <a:pt x="294" y="0"/>
                    <a:pt x="294" y="0"/>
                  </a:cubicBezTo>
                  <a:cubicBezTo>
                    <a:pt x="295" y="3"/>
                    <a:pt x="298" y="6"/>
                    <a:pt x="302" y="6"/>
                  </a:cubicBezTo>
                  <a:cubicBezTo>
                    <a:pt x="306" y="6"/>
                    <a:pt x="309" y="3"/>
                    <a:pt x="310" y="0"/>
                  </a:cubicBezTo>
                  <a:moveTo>
                    <a:pt x="299" y="33"/>
                  </a:moveTo>
                  <a:cubicBezTo>
                    <a:pt x="295" y="33"/>
                    <a:pt x="291" y="36"/>
                    <a:pt x="291" y="40"/>
                  </a:cubicBezTo>
                  <a:cubicBezTo>
                    <a:pt x="290" y="45"/>
                    <a:pt x="294" y="49"/>
                    <a:pt x="298" y="49"/>
                  </a:cubicBezTo>
                  <a:cubicBezTo>
                    <a:pt x="298" y="49"/>
                    <a:pt x="299" y="49"/>
                    <a:pt x="299" y="49"/>
                  </a:cubicBezTo>
                  <a:cubicBezTo>
                    <a:pt x="303" y="49"/>
                    <a:pt x="307" y="46"/>
                    <a:pt x="307" y="42"/>
                  </a:cubicBezTo>
                  <a:cubicBezTo>
                    <a:pt x="308" y="38"/>
                    <a:pt x="305" y="34"/>
                    <a:pt x="300" y="33"/>
                  </a:cubicBezTo>
                  <a:cubicBezTo>
                    <a:pt x="300" y="33"/>
                    <a:pt x="299" y="33"/>
                    <a:pt x="299" y="33"/>
                  </a:cubicBezTo>
                  <a:moveTo>
                    <a:pt x="291" y="76"/>
                  </a:moveTo>
                  <a:cubicBezTo>
                    <a:pt x="287" y="76"/>
                    <a:pt x="284" y="78"/>
                    <a:pt x="283" y="82"/>
                  </a:cubicBezTo>
                  <a:cubicBezTo>
                    <a:pt x="281" y="87"/>
                    <a:pt x="284" y="91"/>
                    <a:pt x="288" y="92"/>
                  </a:cubicBezTo>
                  <a:cubicBezTo>
                    <a:pt x="289" y="92"/>
                    <a:pt x="290" y="93"/>
                    <a:pt x="291" y="93"/>
                  </a:cubicBezTo>
                  <a:cubicBezTo>
                    <a:pt x="294" y="93"/>
                    <a:pt x="297" y="90"/>
                    <a:pt x="298" y="86"/>
                  </a:cubicBezTo>
                  <a:cubicBezTo>
                    <a:pt x="300" y="82"/>
                    <a:pt x="297" y="77"/>
                    <a:pt x="293" y="76"/>
                  </a:cubicBezTo>
                  <a:cubicBezTo>
                    <a:pt x="292" y="76"/>
                    <a:pt x="291" y="76"/>
                    <a:pt x="291" y="76"/>
                  </a:cubicBezTo>
                  <a:moveTo>
                    <a:pt x="276" y="118"/>
                  </a:moveTo>
                  <a:cubicBezTo>
                    <a:pt x="273" y="118"/>
                    <a:pt x="270" y="119"/>
                    <a:pt x="269" y="123"/>
                  </a:cubicBezTo>
                  <a:cubicBezTo>
                    <a:pt x="267" y="127"/>
                    <a:pt x="269" y="132"/>
                    <a:pt x="273" y="133"/>
                  </a:cubicBezTo>
                  <a:cubicBezTo>
                    <a:pt x="274" y="134"/>
                    <a:pt x="275" y="134"/>
                    <a:pt x="276" y="134"/>
                  </a:cubicBezTo>
                  <a:cubicBezTo>
                    <a:pt x="279" y="134"/>
                    <a:pt x="283" y="132"/>
                    <a:pt x="284" y="129"/>
                  </a:cubicBezTo>
                  <a:cubicBezTo>
                    <a:pt x="286" y="125"/>
                    <a:pt x="284" y="120"/>
                    <a:pt x="279" y="118"/>
                  </a:cubicBezTo>
                  <a:cubicBezTo>
                    <a:pt x="278" y="118"/>
                    <a:pt x="277" y="118"/>
                    <a:pt x="276" y="118"/>
                  </a:cubicBezTo>
                  <a:moveTo>
                    <a:pt x="257" y="157"/>
                  </a:moveTo>
                  <a:cubicBezTo>
                    <a:pt x="254" y="157"/>
                    <a:pt x="251" y="158"/>
                    <a:pt x="250" y="161"/>
                  </a:cubicBezTo>
                  <a:cubicBezTo>
                    <a:pt x="247" y="165"/>
                    <a:pt x="249" y="170"/>
                    <a:pt x="252" y="172"/>
                  </a:cubicBezTo>
                  <a:cubicBezTo>
                    <a:pt x="254" y="173"/>
                    <a:pt x="255" y="173"/>
                    <a:pt x="257" y="173"/>
                  </a:cubicBezTo>
                  <a:cubicBezTo>
                    <a:pt x="259" y="173"/>
                    <a:pt x="262" y="172"/>
                    <a:pt x="264" y="169"/>
                  </a:cubicBezTo>
                  <a:cubicBezTo>
                    <a:pt x="266" y="165"/>
                    <a:pt x="265" y="160"/>
                    <a:pt x="261" y="158"/>
                  </a:cubicBezTo>
                  <a:cubicBezTo>
                    <a:pt x="259" y="157"/>
                    <a:pt x="258" y="157"/>
                    <a:pt x="257" y="157"/>
                  </a:cubicBezTo>
                  <a:moveTo>
                    <a:pt x="232" y="193"/>
                  </a:moveTo>
                  <a:cubicBezTo>
                    <a:pt x="230" y="193"/>
                    <a:pt x="227" y="194"/>
                    <a:pt x="225" y="196"/>
                  </a:cubicBezTo>
                  <a:cubicBezTo>
                    <a:pt x="225" y="196"/>
                    <a:pt x="225" y="196"/>
                    <a:pt x="225" y="196"/>
                  </a:cubicBezTo>
                  <a:cubicBezTo>
                    <a:pt x="223" y="200"/>
                    <a:pt x="223" y="205"/>
                    <a:pt x="227" y="208"/>
                  </a:cubicBezTo>
                  <a:cubicBezTo>
                    <a:pt x="228" y="209"/>
                    <a:pt x="230" y="210"/>
                    <a:pt x="232" y="210"/>
                  </a:cubicBezTo>
                  <a:cubicBezTo>
                    <a:pt x="234" y="210"/>
                    <a:pt x="237" y="208"/>
                    <a:pt x="238" y="206"/>
                  </a:cubicBezTo>
                  <a:cubicBezTo>
                    <a:pt x="241" y="203"/>
                    <a:pt x="241" y="198"/>
                    <a:pt x="237" y="195"/>
                  </a:cubicBezTo>
                  <a:cubicBezTo>
                    <a:pt x="236" y="194"/>
                    <a:pt x="234" y="193"/>
                    <a:pt x="232" y="193"/>
                  </a:cubicBezTo>
                  <a:moveTo>
                    <a:pt x="203" y="226"/>
                  </a:moveTo>
                  <a:cubicBezTo>
                    <a:pt x="201" y="226"/>
                    <a:pt x="199" y="227"/>
                    <a:pt x="197" y="228"/>
                  </a:cubicBezTo>
                  <a:cubicBezTo>
                    <a:pt x="194" y="231"/>
                    <a:pt x="194" y="237"/>
                    <a:pt x="197" y="240"/>
                  </a:cubicBezTo>
                  <a:cubicBezTo>
                    <a:pt x="198" y="241"/>
                    <a:pt x="201" y="242"/>
                    <a:pt x="203" y="242"/>
                  </a:cubicBezTo>
                  <a:cubicBezTo>
                    <a:pt x="205" y="242"/>
                    <a:pt x="207" y="241"/>
                    <a:pt x="208" y="240"/>
                  </a:cubicBezTo>
                  <a:cubicBezTo>
                    <a:pt x="212" y="237"/>
                    <a:pt x="212" y="232"/>
                    <a:pt x="209" y="228"/>
                  </a:cubicBezTo>
                  <a:cubicBezTo>
                    <a:pt x="207" y="227"/>
                    <a:pt x="205" y="226"/>
                    <a:pt x="203" y="226"/>
                  </a:cubicBezTo>
                  <a:moveTo>
                    <a:pt x="169" y="254"/>
                  </a:moveTo>
                  <a:cubicBezTo>
                    <a:pt x="168" y="254"/>
                    <a:pt x="166" y="255"/>
                    <a:pt x="165" y="256"/>
                  </a:cubicBezTo>
                  <a:cubicBezTo>
                    <a:pt x="161" y="259"/>
                    <a:pt x="160" y="264"/>
                    <a:pt x="163" y="268"/>
                  </a:cubicBezTo>
                  <a:cubicBezTo>
                    <a:pt x="165" y="270"/>
                    <a:pt x="167" y="271"/>
                    <a:pt x="169" y="271"/>
                  </a:cubicBezTo>
                  <a:cubicBezTo>
                    <a:pt x="171" y="271"/>
                    <a:pt x="173" y="270"/>
                    <a:pt x="174" y="269"/>
                  </a:cubicBezTo>
                  <a:cubicBezTo>
                    <a:pt x="178" y="266"/>
                    <a:pt x="179" y="261"/>
                    <a:pt x="176" y="258"/>
                  </a:cubicBezTo>
                  <a:cubicBezTo>
                    <a:pt x="174" y="256"/>
                    <a:pt x="172" y="254"/>
                    <a:pt x="169" y="254"/>
                  </a:cubicBezTo>
                  <a:moveTo>
                    <a:pt x="133" y="278"/>
                  </a:moveTo>
                  <a:cubicBezTo>
                    <a:pt x="131" y="278"/>
                    <a:pt x="130" y="279"/>
                    <a:pt x="129" y="279"/>
                  </a:cubicBezTo>
                  <a:cubicBezTo>
                    <a:pt x="125" y="282"/>
                    <a:pt x="123" y="287"/>
                    <a:pt x="126" y="291"/>
                  </a:cubicBezTo>
                  <a:cubicBezTo>
                    <a:pt x="127" y="293"/>
                    <a:pt x="130" y="295"/>
                    <a:pt x="133" y="295"/>
                  </a:cubicBezTo>
                  <a:cubicBezTo>
                    <a:pt x="134" y="295"/>
                    <a:pt x="136" y="295"/>
                    <a:pt x="137" y="294"/>
                  </a:cubicBezTo>
                  <a:cubicBezTo>
                    <a:pt x="141" y="292"/>
                    <a:pt x="142" y="287"/>
                    <a:pt x="140" y="283"/>
                  </a:cubicBezTo>
                  <a:cubicBezTo>
                    <a:pt x="138" y="280"/>
                    <a:pt x="136" y="278"/>
                    <a:pt x="133" y="278"/>
                  </a:cubicBezTo>
                  <a:moveTo>
                    <a:pt x="93" y="297"/>
                  </a:moveTo>
                  <a:cubicBezTo>
                    <a:pt x="92" y="297"/>
                    <a:pt x="91" y="297"/>
                    <a:pt x="90" y="298"/>
                  </a:cubicBezTo>
                  <a:cubicBezTo>
                    <a:pt x="86" y="300"/>
                    <a:pt x="84" y="304"/>
                    <a:pt x="86" y="309"/>
                  </a:cubicBezTo>
                  <a:cubicBezTo>
                    <a:pt x="87" y="312"/>
                    <a:pt x="90" y="314"/>
                    <a:pt x="93" y="314"/>
                  </a:cubicBezTo>
                  <a:cubicBezTo>
                    <a:pt x="94" y="314"/>
                    <a:pt x="95" y="314"/>
                    <a:pt x="96" y="313"/>
                  </a:cubicBezTo>
                  <a:cubicBezTo>
                    <a:pt x="100" y="311"/>
                    <a:pt x="103" y="307"/>
                    <a:pt x="101" y="302"/>
                  </a:cubicBezTo>
                  <a:cubicBezTo>
                    <a:pt x="100" y="299"/>
                    <a:pt x="96" y="297"/>
                    <a:pt x="93" y="297"/>
                  </a:cubicBezTo>
                  <a:moveTo>
                    <a:pt x="51" y="311"/>
                  </a:moveTo>
                  <a:cubicBezTo>
                    <a:pt x="51" y="311"/>
                    <a:pt x="50" y="311"/>
                    <a:pt x="49" y="311"/>
                  </a:cubicBezTo>
                  <a:cubicBezTo>
                    <a:pt x="45" y="312"/>
                    <a:pt x="42" y="317"/>
                    <a:pt x="43" y="321"/>
                  </a:cubicBezTo>
                  <a:cubicBezTo>
                    <a:pt x="44" y="325"/>
                    <a:pt x="48" y="327"/>
                    <a:pt x="51" y="327"/>
                  </a:cubicBezTo>
                  <a:cubicBezTo>
                    <a:pt x="52" y="327"/>
                    <a:pt x="53" y="327"/>
                    <a:pt x="54" y="327"/>
                  </a:cubicBezTo>
                  <a:cubicBezTo>
                    <a:pt x="58" y="326"/>
                    <a:pt x="61" y="321"/>
                    <a:pt x="59" y="317"/>
                  </a:cubicBezTo>
                  <a:cubicBezTo>
                    <a:pt x="59" y="313"/>
                    <a:pt x="55" y="311"/>
                    <a:pt x="51" y="311"/>
                  </a:cubicBezTo>
                  <a:moveTo>
                    <a:pt x="8" y="319"/>
                  </a:moveTo>
                  <a:cubicBezTo>
                    <a:pt x="8" y="319"/>
                    <a:pt x="8" y="319"/>
                    <a:pt x="7" y="319"/>
                  </a:cubicBezTo>
                  <a:cubicBezTo>
                    <a:pt x="3" y="319"/>
                    <a:pt x="0" y="323"/>
                    <a:pt x="0" y="328"/>
                  </a:cubicBezTo>
                  <a:cubicBezTo>
                    <a:pt x="1" y="332"/>
                    <a:pt x="4" y="335"/>
                    <a:pt x="8" y="335"/>
                  </a:cubicBezTo>
                  <a:cubicBezTo>
                    <a:pt x="9" y="335"/>
                    <a:pt x="9" y="335"/>
                    <a:pt x="9" y="335"/>
                  </a:cubicBezTo>
                  <a:cubicBezTo>
                    <a:pt x="14" y="335"/>
                    <a:pt x="17" y="330"/>
                    <a:pt x="17" y="326"/>
                  </a:cubicBezTo>
                  <a:cubicBezTo>
                    <a:pt x="16" y="322"/>
                    <a:pt x="12" y="319"/>
                    <a:pt x="8" y="3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1" name="Freeform 11">
              <a:extLst>
                <a:ext uri="{FF2B5EF4-FFF2-40B4-BE49-F238E27FC236}">
                  <a16:creationId xmlns:a16="http://schemas.microsoft.com/office/drawing/2014/main" id="{25D2D39B-0958-498D-B822-772456143FC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95" y="2097"/>
              <a:ext cx="94" cy="50"/>
            </a:xfrm>
            <a:custGeom>
              <a:avLst/>
              <a:gdLst>
                <a:gd name="T0" fmla="*/ 1 w 40"/>
                <a:gd name="T1" fmla="*/ 0 h 21"/>
                <a:gd name="T2" fmla="*/ 0 w 40"/>
                <a:gd name="T3" fmla="*/ 21 h 21"/>
                <a:gd name="T4" fmla="*/ 39 w 40"/>
                <a:gd name="T5" fmla="*/ 21 h 21"/>
                <a:gd name="T6" fmla="*/ 40 w 40"/>
                <a:gd name="T7" fmla="*/ 4 h 21"/>
                <a:gd name="T8" fmla="*/ 1 w 40"/>
                <a:gd name="T9" fmla="*/ 0 h 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21">
                  <a:moveTo>
                    <a:pt x="1" y="0"/>
                  </a:moveTo>
                  <a:cubicBezTo>
                    <a:pt x="1" y="7"/>
                    <a:pt x="0" y="14"/>
                    <a:pt x="0" y="21"/>
                  </a:cubicBezTo>
                  <a:cubicBezTo>
                    <a:pt x="39" y="21"/>
                    <a:pt x="39" y="21"/>
                    <a:pt x="39" y="21"/>
                  </a:cubicBezTo>
                  <a:cubicBezTo>
                    <a:pt x="39" y="15"/>
                    <a:pt x="39" y="9"/>
                    <a:pt x="40" y="4"/>
                  </a:cubicBezTo>
                  <a:lnTo>
                    <a:pt x="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2" name="Freeform 12">
              <a:extLst>
                <a:ext uri="{FF2B5EF4-FFF2-40B4-BE49-F238E27FC236}">
                  <a16:creationId xmlns:a16="http://schemas.microsoft.com/office/drawing/2014/main" id="{2EDE02EC-CE3D-4787-9D10-4CD910F49D20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016" y="1513"/>
              <a:ext cx="514" cy="504"/>
            </a:xfrm>
            <a:custGeom>
              <a:avLst/>
              <a:gdLst>
                <a:gd name="T0" fmla="*/ 209 w 218"/>
                <a:gd name="T1" fmla="*/ 0 h 214"/>
                <a:gd name="T2" fmla="*/ 167 w 218"/>
                <a:gd name="T3" fmla="*/ 13 h 214"/>
                <a:gd name="T4" fmla="*/ 182 w 218"/>
                <a:gd name="T5" fmla="*/ 48 h 214"/>
                <a:gd name="T6" fmla="*/ 218 w 218"/>
                <a:gd name="T7" fmla="*/ 37 h 214"/>
                <a:gd name="T8" fmla="*/ 209 w 218"/>
                <a:gd name="T9" fmla="*/ 0 h 214"/>
                <a:gd name="T10" fmla="*/ 128 w 218"/>
                <a:gd name="T11" fmla="*/ 33 h 214"/>
                <a:gd name="T12" fmla="*/ 92 w 218"/>
                <a:gd name="T13" fmla="*/ 58 h 214"/>
                <a:gd name="T14" fmla="*/ 117 w 218"/>
                <a:gd name="T15" fmla="*/ 88 h 214"/>
                <a:gd name="T16" fmla="*/ 148 w 218"/>
                <a:gd name="T17" fmla="*/ 65 h 214"/>
                <a:gd name="T18" fmla="*/ 128 w 218"/>
                <a:gd name="T19" fmla="*/ 33 h 214"/>
                <a:gd name="T20" fmla="*/ 61 w 218"/>
                <a:gd name="T21" fmla="*/ 89 h 214"/>
                <a:gd name="T22" fmla="*/ 35 w 218"/>
                <a:gd name="T23" fmla="*/ 124 h 214"/>
                <a:gd name="T24" fmla="*/ 67 w 218"/>
                <a:gd name="T25" fmla="*/ 145 h 214"/>
                <a:gd name="T26" fmla="*/ 90 w 218"/>
                <a:gd name="T27" fmla="*/ 114 h 214"/>
                <a:gd name="T28" fmla="*/ 61 w 218"/>
                <a:gd name="T29" fmla="*/ 89 h 214"/>
                <a:gd name="T30" fmla="*/ 14 w 218"/>
                <a:gd name="T31" fmla="*/ 163 h 214"/>
                <a:gd name="T32" fmla="*/ 0 w 218"/>
                <a:gd name="T33" fmla="*/ 205 h 214"/>
                <a:gd name="T34" fmla="*/ 37 w 218"/>
                <a:gd name="T35" fmla="*/ 214 h 214"/>
                <a:gd name="T36" fmla="*/ 49 w 218"/>
                <a:gd name="T37" fmla="*/ 178 h 214"/>
                <a:gd name="T38" fmla="*/ 14 w 218"/>
                <a:gd name="T39" fmla="*/ 163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18" h="214">
                  <a:moveTo>
                    <a:pt x="209" y="0"/>
                  </a:moveTo>
                  <a:cubicBezTo>
                    <a:pt x="195" y="3"/>
                    <a:pt x="181" y="7"/>
                    <a:pt x="167" y="13"/>
                  </a:cubicBezTo>
                  <a:cubicBezTo>
                    <a:pt x="182" y="48"/>
                    <a:pt x="182" y="48"/>
                    <a:pt x="182" y="48"/>
                  </a:cubicBezTo>
                  <a:cubicBezTo>
                    <a:pt x="194" y="44"/>
                    <a:pt x="206" y="40"/>
                    <a:pt x="218" y="37"/>
                  </a:cubicBezTo>
                  <a:lnTo>
                    <a:pt x="209" y="0"/>
                  </a:lnTo>
                  <a:close/>
                  <a:moveTo>
                    <a:pt x="128" y="33"/>
                  </a:moveTo>
                  <a:cubicBezTo>
                    <a:pt x="116" y="40"/>
                    <a:pt x="103" y="49"/>
                    <a:pt x="92" y="58"/>
                  </a:cubicBezTo>
                  <a:cubicBezTo>
                    <a:pt x="117" y="88"/>
                    <a:pt x="117" y="88"/>
                    <a:pt x="117" y="88"/>
                  </a:cubicBezTo>
                  <a:cubicBezTo>
                    <a:pt x="127" y="79"/>
                    <a:pt x="137" y="72"/>
                    <a:pt x="148" y="65"/>
                  </a:cubicBezTo>
                  <a:lnTo>
                    <a:pt x="128" y="33"/>
                  </a:lnTo>
                  <a:close/>
                  <a:moveTo>
                    <a:pt x="61" y="89"/>
                  </a:moveTo>
                  <a:cubicBezTo>
                    <a:pt x="51" y="100"/>
                    <a:pt x="42" y="112"/>
                    <a:pt x="35" y="124"/>
                  </a:cubicBezTo>
                  <a:cubicBezTo>
                    <a:pt x="67" y="145"/>
                    <a:pt x="67" y="145"/>
                    <a:pt x="67" y="145"/>
                  </a:cubicBezTo>
                  <a:cubicBezTo>
                    <a:pt x="74" y="134"/>
                    <a:pt x="81" y="124"/>
                    <a:pt x="90" y="114"/>
                  </a:cubicBezTo>
                  <a:lnTo>
                    <a:pt x="61" y="89"/>
                  </a:lnTo>
                  <a:close/>
                  <a:moveTo>
                    <a:pt x="14" y="163"/>
                  </a:moveTo>
                  <a:cubicBezTo>
                    <a:pt x="8" y="176"/>
                    <a:pt x="4" y="190"/>
                    <a:pt x="0" y="205"/>
                  </a:cubicBezTo>
                  <a:cubicBezTo>
                    <a:pt x="37" y="214"/>
                    <a:pt x="37" y="214"/>
                    <a:pt x="37" y="214"/>
                  </a:cubicBezTo>
                  <a:cubicBezTo>
                    <a:pt x="40" y="202"/>
                    <a:pt x="44" y="190"/>
                    <a:pt x="49" y="178"/>
                  </a:cubicBezTo>
                  <a:lnTo>
                    <a:pt x="14" y="1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3" name="Freeform 13">
              <a:extLst>
                <a:ext uri="{FF2B5EF4-FFF2-40B4-BE49-F238E27FC236}">
                  <a16:creationId xmlns:a16="http://schemas.microsoft.com/office/drawing/2014/main" id="{B8352A97-7407-40DF-B462-9A9FBA5CDE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13" y="1494"/>
              <a:ext cx="47" cy="92"/>
            </a:xfrm>
            <a:custGeom>
              <a:avLst/>
              <a:gdLst>
                <a:gd name="T0" fmla="*/ 20 w 20"/>
                <a:gd name="T1" fmla="*/ 0 h 39"/>
                <a:gd name="T2" fmla="*/ 0 w 20"/>
                <a:gd name="T3" fmla="*/ 1 h 39"/>
                <a:gd name="T4" fmla="*/ 3 w 20"/>
                <a:gd name="T5" fmla="*/ 39 h 39"/>
                <a:gd name="T6" fmla="*/ 20 w 20"/>
                <a:gd name="T7" fmla="*/ 39 h 39"/>
                <a:gd name="T8" fmla="*/ 20 w 20"/>
                <a:gd name="T9" fmla="*/ 0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39">
                  <a:moveTo>
                    <a:pt x="20" y="0"/>
                  </a:moveTo>
                  <a:cubicBezTo>
                    <a:pt x="14" y="0"/>
                    <a:pt x="7" y="0"/>
                    <a:pt x="0" y="1"/>
                  </a:cubicBezTo>
                  <a:cubicBezTo>
                    <a:pt x="3" y="39"/>
                    <a:pt x="3" y="39"/>
                    <a:pt x="3" y="39"/>
                  </a:cubicBezTo>
                  <a:cubicBezTo>
                    <a:pt x="9" y="39"/>
                    <a:pt x="15" y="39"/>
                    <a:pt x="20" y="39"/>
                  </a:cubicBezTo>
                  <a:lnTo>
                    <a:pt x="2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4" name="Freeform 14">
              <a:extLst>
                <a:ext uri="{FF2B5EF4-FFF2-40B4-BE49-F238E27FC236}">
                  <a16:creationId xmlns:a16="http://schemas.microsoft.com/office/drawing/2014/main" id="{5D82B42E-E006-4C88-9E74-DEBF3984293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79" y="2166"/>
              <a:ext cx="615" cy="627"/>
            </a:xfrm>
            <a:custGeom>
              <a:avLst/>
              <a:gdLst>
                <a:gd name="T0" fmla="*/ 261 w 261"/>
                <a:gd name="T1" fmla="*/ 0 h 266"/>
                <a:gd name="T2" fmla="*/ 250 w 261"/>
                <a:gd name="T3" fmla="*/ 0 h 266"/>
                <a:gd name="T4" fmla="*/ 0 w 261"/>
                <a:gd name="T5" fmla="*/ 255 h 266"/>
                <a:gd name="T6" fmla="*/ 0 w 261"/>
                <a:gd name="T7" fmla="*/ 266 h 266"/>
                <a:gd name="T8" fmla="*/ 185 w 261"/>
                <a:gd name="T9" fmla="*/ 185 h 266"/>
                <a:gd name="T10" fmla="*/ 261 w 261"/>
                <a:gd name="T11" fmla="*/ 0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61" h="266">
                  <a:moveTo>
                    <a:pt x="261" y="0"/>
                  </a:moveTo>
                  <a:cubicBezTo>
                    <a:pt x="250" y="0"/>
                    <a:pt x="250" y="0"/>
                    <a:pt x="250" y="0"/>
                  </a:cubicBezTo>
                  <a:cubicBezTo>
                    <a:pt x="249" y="139"/>
                    <a:pt x="139" y="251"/>
                    <a:pt x="0" y="255"/>
                  </a:cubicBezTo>
                  <a:cubicBezTo>
                    <a:pt x="0" y="266"/>
                    <a:pt x="0" y="266"/>
                    <a:pt x="0" y="266"/>
                  </a:cubicBezTo>
                  <a:cubicBezTo>
                    <a:pt x="70" y="264"/>
                    <a:pt x="136" y="235"/>
                    <a:pt x="185" y="185"/>
                  </a:cubicBezTo>
                  <a:cubicBezTo>
                    <a:pt x="233" y="135"/>
                    <a:pt x="260" y="70"/>
                    <a:pt x="26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5" name="Freeform 15">
              <a:extLst>
                <a:ext uri="{FF2B5EF4-FFF2-40B4-BE49-F238E27FC236}">
                  <a16:creationId xmlns:a16="http://schemas.microsoft.com/office/drawing/2014/main" id="{C03BA79B-962D-4133-94F1-A2DD393786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587" y="2166"/>
              <a:ext cx="1382" cy="1301"/>
            </a:xfrm>
            <a:custGeom>
              <a:avLst/>
              <a:gdLst>
                <a:gd name="T0" fmla="*/ 586 w 586"/>
                <a:gd name="T1" fmla="*/ 0 h 552"/>
                <a:gd name="T2" fmla="*/ 571 w 586"/>
                <a:gd name="T3" fmla="*/ 0 h 552"/>
                <a:gd name="T4" fmla="*/ 31 w 586"/>
                <a:gd name="T5" fmla="*/ 537 h 552"/>
                <a:gd name="T6" fmla="*/ 1 w 586"/>
                <a:gd name="T7" fmla="*/ 536 h 552"/>
                <a:gd name="T8" fmla="*/ 0 w 586"/>
                <a:gd name="T9" fmla="*/ 551 h 552"/>
                <a:gd name="T10" fmla="*/ 31 w 586"/>
                <a:gd name="T11" fmla="*/ 552 h 552"/>
                <a:gd name="T12" fmla="*/ 586 w 586"/>
                <a:gd name="T13" fmla="*/ 0 h 5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86" h="552">
                  <a:moveTo>
                    <a:pt x="586" y="0"/>
                  </a:moveTo>
                  <a:cubicBezTo>
                    <a:pt x="571" y="0"/>
                    <a:pt x="571" y="0"/>
                    <a:pt x="571" y="0"/>
                  </a:cubicBezTo>
                  <a:cubicBezTo>
                    <a:pt x="569" y="296"/>
                    <a:pt x="328" y="537"/>
                    <a:pt x="31" y="537"/>
                  </a:cubicBezTo>
                  <a:cubicBezTo>
                    <a:pt x="21" y="537"/>
                    <a:pt x="11" y="537"/>
                    <a:pt x="1" y="536"/>
                  </a:cubicBezTo>
                  <a:cubicBezTo>
                    <a:pt x="0" y="551"/>
                    <a:pt x="0" y="551"/>
                    <a:pt x="0" y="551"/>
                  </a:cubicBezTo>
                  <a:cubicBezTo>
                    <a:pt x="10" y="552"/>
                    <a:pt x="21" y="552"/>
                    <a:pt x="31" y="552"/>
                  </a:cubicBezTo>
                  <a:cubicBezTo>
                    <a:pt x="336" y="552"/>
                    <a:pt x="584" y="305"/>
                    <a:pt x="586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6" name="Freeform 16">
              <a:extLst>
                <a:ext uri="{FF2B5EF4-FFF2-40B4-BE49-F238E27FC236}">
                  <a16:creationId xmlns:a16="http://schemas.microsoft.com/office/drawing/2014/main" id="{2326BD2C-9210-4994-A4EB-47EECAC217C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359" y="862"/>
              <a:ext cx="1376" cy="1410"/>
            </a:xfrm>
            <a:custGeom>
              <a:avLst/>
              <a:gdLst>
                <a:gd name="T0" fmla="*/ 552 w 584"/>
                <a:gd name="T1" fmla="*/ 0 h 598"/>
                <a:gd name="T2" fmla="*/ 0 w 584"/>
                <a:gd name="T3" fmla="*/ 549 h 598"/>
                <a:gd name="T4" fmla="*/ 2 w 584"/>
                <a:gd name="T5" fmla="*/ 598 h 598"/>
                <a:gd name="T6" fmla="*/ 52 w 584"/>
                <a:gd name="T7" fmla="*/ 593 h 598"/>
                <a:gd name="T8" fmla="*/ 50 w 584"/>
                <a:gd name="T9" fmla="*/ 550 h 598"/>
                <a:gd name="T10" fmla="*/ 552 w 584"/>
                <a:gd name="T11" fmla="*/ 50 h 598"/>
                <a:gd name="T12" fmla="*/ 554 w 584"/>
                <a:gd name="T13" fmla="*/ 50 h 598"/>
                <a:gd name="T14" fmla="*/ 581 w 584"/>
                <a:gd name="T15" fmla="*/ 50 h 598"/>
                <a:gd name="T16" fmla="*/ 584 w 584"/>
                <a:gd name="T17" fmla="*/ 1 h 598"/>
                <a:gd name="T18" fmla="*/ 554 w 584"/>
                <a:gd name="T19" fmla="*/ 0 h 598"/>
                <a:gd name="T20" fmla="*/ 552 w 584"/>
                <a:gd name="T21" fmla="*/ 0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4" h="598">
                  <a:moveTo>
                    <a:pt x="552" y="0"/>
                  </a:moveTo>
                  <a:cubicBezTo>
                    <a:pt x="249" y="0"/>
                    <a:pt x="1" y="246"/>
                    <a:pt x="0" y="549"/>
                  </a:cubicBezTo>
                  <a:cubicBezTo>
                    <a:pt x="0" y="566"/>
                    <a:pt x="1" y="582"/>
                    <a:pt x="2" y="598"/>
                  </a:cubicBezTo>
                  <a:cubicBezTo>
                    <a:pt x="52" y="593"/>
                    <a:pt x="52" y="593"/>
                    <a:pt x="52" y="593"/>
                  </a:cubicBezTo>
                  <a:cubicBezTo>
                    <a:pt x="51" y="579"/>
                    <a:pt x="50" y="564"/>
                    <a:pt x="50" y="550"/>
                  </a:cubicBezTo>
                  <a:cubicBezTo>
                    <a:pt x="51" y="273"/>
                    <a:pt x="276" y="50"/>
                    <a:pt x="552" y="50"/>
                  </a:cubicBezTo>
                  <a:cubicBezTo>
                    <a:pt x="553" y="50"/>
                    <a:pt x="553" y="50"/>
                    <a:pt x="554" y="50"/>
                  </a:cubicBezTo>
                  <a:cubicBezTo>
                    <a:pt x="563" y="50"/>
                    <a:pt x="572" y="50"/>
                    <a:pt x="581" y="50"/>
                  </a:cubicBezTo>
                  <a:cubicBezTo>
                    <a:pt x="584" y="1"/>
                    <a:pt x="584" y="1"/>
                    <a:pt x="584" y="1"/>
                  </a:cubicBezTo>
                  <a:cubicBezTo>
                    <a:pt x="574" y="0"/>
                    <a:pt x="564" y="0"/>
                    <a:pt x="554" y="0"/>
                  </a:cubicBezTo>
                  <a:cubicBezTo>
                    <a:pt x="554" y="0"/>
                    <a:pt x="553" y="0"/>
                    <a:pt x="552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7" name="Freeform 17">
              <a:extLst>
                <a:ext uri="{FF2B5EF4-FFF2-40B4-BE49-F238E27FC236}">
                  <a16:creationId xmlns:a16="http://schemas.microsoft.com/office/drawing/2014/main" id="{CEFF20FA-843A-4A87-BB30-C2309F483E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05" y="1204"/>
              <a:ext cx="1912" cy="1912"/>
            </a:xfrm>
            <a:custGeom>
              <a:avLst/>
              <a:gdLst>
                <a:gd name="T0" fmla="*/ 408 w 811"/>
                <a:gd name="T1" fmla="*/ 0 h 811"/>
                <a:gd name="T2" fmla="*/ 408 w 811"/>
                <a:gd name="T3" fmla="*/ 11 h 811"/>
                <a:gd name="T4" fmla="*/ 427 w 811"/>
                <a:gd name="T5" fmla="*/ 12 h 811"/>
                <a:gd name="T6" fmla="*/ 428 w 811"/>
                <a:gd name="T7" fmla="*/ 1 h 811"/>
                <a:gd name="T8" fmla="*/ 408 w 811"/>
                <a:gd name="T9" fmla="*/ 0 h 811"/>
                <a:gd name="T10" fmla="*/ 403 w 811"/>
                <a:gd name="T11" fmla="*/ 0 h 811"/>
                <a:gd name="T12" fmla="*/ 0 w 811"/>
                <a:gd name="T13" fmla="*/ 403 h 811"/>
                <a:gd name="T14" fmla="*/ 11 w 811"/>
                <a:gd name="T15" fmla="*/ 403 h 811"/>
                <a:gd name="T16" fmla="*/ 403 w 811"/>
                <a:gd name="T17" fmla="*/ 11 h 811"/>
                <a:gd name="T18" fmla="*/ 403 w 811"/>
                <a:gd name="T19" fmla="*/ 0 h 811"/>
                <a:gd name="T20" fmla="*/ 433 w 811"/>
                <a:gd name="T21" fmla="*/ 1 h 811"/>
                <a:gd name="T22" fmla="*/ 433 w 811"/>
                <a:gd name="T23" fmla="*/ 12 h 811"/>
                <a:gd name="T24" fmla="*/ 655 w 811"/>
                <a:gd name="T25" fmla="*/ 100 h 811"/>
                <a:gd name="T26" fmla="*/ 662 w 811"/>
                <a:gd name="T27" fmla="*/ 92 h 811"/>
                <a:gd name="T28" fmla="*/ 433 w 811"/>
                <a:gd name="T29" fmla="*/ 1 h 811"/>
                <a:gd name="T30" fmla="*/ 666 w 811"/>
                <a:gd name="T31" fmla="*/ 95 h 811"/>
                <a:gd name="T32" fmla="*/ 659 w 811"/>
                <a:gd name="T33" fmla="*/ 104 h 811"/>
                <a:gd name="T34" fmla="*/ 681 w 811"/>
                <a:gd name="T35" fmla="*/ 123 h 811"/>
                <a:gd name="T36" fmla="*/ 689 w 811"/>
                <a:gd name="T37" fmla="*/ 116 h 811"/>
                <a:gd name="T38" fmla="*/ 666 w 811"/>
                <a:gd name="T39" fmla="*/ 95 h 811"/>
                <a:gd name="T40" fmla="*/ 693 w 811"/>
                <a:gd name="T41" fmla="*/ 119 h 811"/>
                <a:gd name="T42" fmla="*/ 685 w 811"/>
                <a:gd name="T43" fmla="*/ 127 h 811"/>
                <a:gd name="T44" fmla="*/ 800 w 811"/>
                <a:gd name="T45" fmla="*/ 403 h 811"/>
                <a:gd name="T46" fmla="*/ 811 w 811"/>
                <a:gd name="T47" fmla="*/ 403 h 811"/>
                <a:gd name="T48" fmla="*/ 693 w 811"/>
                <a:gd name="T49" fmla="*/ 119 h 811"/>
                <a:gd name="T50" fmla="*/ 811 w 811"/>
                <a:gd name="T51" fmla="*/ 408 h 811"/>
                <a:gd name="T52" fmla="*/ 800 w 811"/>
                <a:gd name="T53" fmla="*/ 408 h 811"/>
                <a:gd name="T54" fmla="*/ 408 w 811"/>
                <a:gd name="T55" fmla="*/ 800 h 811"/>
                <a:gd name="T56" fmla="*/ 408 w 811"/>
                <a:gd name="T57" fmla="*/ 811 h 811"/>
                <a:gd name="T58" fmla="*/ 811 w 811"/>
                <a:gd name="T59" fmla="*/ 408 h 811"/>
                <a:gd name="T60" fmla="*/ 11 w 811"/>
                <a:gd name="T61" fmla="*/ 408 h 811"/>
                <a:gd name="T62" fmla="*/ 0 w 811"/>
                <a:gd name="T63" fmla="*/ 408 h 811"/>
                <a:gd name="T64" fmla="*/ 1 w 811"/>
                <a:gd name="T65" fmla="*/ 440 h 811"/>
                <a:gd name="T66" fmla="*/ 12 w 811"/>
                <a:gd name="T67" fmla="*/ 439 h 811"/>
                <a:gd name="T68" fmla="*/ 11 w 811"/>
                <a:gd name="T69" fmla="*/ 408 h 811"/>
                <a:gd name="T70" fmla="*/ 13 w 811"/>
                <a:gd name="T71" fmla="*/ 444 h 811"/>
                <a:gd name="T72" fmla="*/ 2 w 811"/>
                <a:gd name="T73" fmla="*/ 445 h 811"/>
                <a:gd name="T74" fmla="*/ 99 w 811"/>
                <a:gd name="T75" fmla="*/ 671 h 811"/>
                <a:gd name="T76" fmla="*/ 107 w 811"/>
                <a:gd name="T77" fmla="*/ 664 h 811"/>
                <a:gd name="T78" fmla="*/ 13 w 811"/>
                <a:gd name="T79" fmla="*/ 444 h 811"/>
                <a:gd name="T80" fmla="*/ 111 w 811"/>
                <a:gd name="T81" fmla="*/ 668 h 811"/>
                <a:gd name="T82" fmla="*/ 103 w 811"/>
                <a:gd name="T83" fmla="*/ 675 h 811"/>
                <a:gd name="T84" fmla="*/ 145 w 811"/>
                <a:gd name="T85" fmla="*/ 716 h 811"/>
                <a:gd name="T86" fmla="*/ 152 w 811"/>
                <a:gd name="T87" fmla="*/ 707 h 811"/>
                <a:gd name="T88" fmla="*/ 111 w 811"/>
                <a:gd name="T89" fmla="*/ 668 h 811"/>
                <a:gd name="T90" fmla="*/ 156 w 811"/>
                <a:gd name="T91" fmla="*/ 711 h 811"/>
                <a:gd name="T92" fmla="*/ 149 w 811"/>
                <a:gd name="T93" fmla="*/ 719 h 811"/>
                <a:gd name="T94" fmla="*/ 377 w 811"/>
                <a:gd name="T95" fmla="*/ 810 h 811"/>
                <a:gd name="T96" fmla="*/ 378 w 811"/>
                <a:gd name="T97" fmla="*/ 799 h 811"/>
                <a:gd name="T98" fmla="*/ 156 w 811"/>
                <a:gd name="T99" fmla="*/ 711 h 811"/>
                <a:gd name="T100" fmla="*/ 384 w 811"/>
                <a:gd name="T101" fmla="*/ 799 h 811"/>
                <a:gd name="T102" fmla="*/ 383 w 811"/>
                <a:gd name="T103" fmla="*/ 810 h 811"/>
                <a:gd name="T104" fmla="*/ 403 w 811"/>
                <a:gd name="T105" fmla="*/ 811 h 811"/>
                <a:gd name="T106" fmla="*/ 403 w 811"/>
                <a:gd name="T107" fmla="*/ 800 h 811"/>
                <a:gd name="T108" fmla="*/ 384 w 811"/>
                <a:gd name="T109" fmla="*/ 799 h 8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811" h="811">
                  <a:moveTo>
                    <a:pt x="408" y="0"/>
                  </a:moveTo>
                  <a:cubicBezTo>
                    <a:pt x="408" y="11"/>
                    <a:pt x="408" y="11"/>
                    <a:pt x="408" y="11"/>
                  </a:cubicBezTo>
                  <a:cubicBezTo>
                    <a:pt x="415" y="11"/>
                    <a:pt x="421" y="11"/>
                    <a:pt x="427" y="12"/>
                  </a:cubicBezTo>
                  <a:cubicBezTo>
                    <a:pt x="428" y="1"/>
                    <a:pt x="428" y="1"/>
                    <a:pt x="428" y="1"/>
                  </a:cubicBezTo>
                  <a:cubicBezTo>
                    <a:pt x="421" y="0"/>
                    <a:pt x="415" y="0"/>
                    <a:pt x="408" y="0"/>
                  </a:cubicBezTo>
                  <a:moveTo>
                    <a:pt x="403" y="0"/>
                  </a:moveTo>
                  <a:cubicBezTo>
                    <a:pt x="181" y="1"/>
                    <a:pt x="1" y="181"/>
                    <a:pt x="0" y="403"/>
                  </a:cubicBezTo>
                  <a:cubicBezTo>
                    <a:pt x="11" y="403"/>
                    <a:pt x="11" y="403"/>
                    <a:pt x="11" y="403"/>
                  </a:cubicBezTo>
                  <a:cubicBezTo>
                    <a:pt x="12" y="187"/>
                    <a:pt x="187" y="12"/>
                    <a:pt x="403" y="11"/>
                  </a:cubicBezTo>
                  <a:lnTo>
                    <a:pt x="403" y="0"/>
                  </a:lnTo>
                  <a:close/>
                  <a:moveTo>
                    <a:pt x="433" y="1"/>
                  </a:moveTo>
                  <a:cubicBezTo>
                    <a:pt x="433" y="12"/>
                    <a:pt x="433" y="12"/>
                    <a:pt x="433" y="12"/>
                  </a:cubicBezTo>
                  <a:cubicBezTo>
                    <a:pt x="517" y="18"/>
                    <a:pt x="594" y="50"/>
                    <a:pt x="655" y="100"/>
                  </a:cubicBezTo>
                  <a:cubicBezTo>
                    <a:pt x="662" y="92"/>
                    <a:pt x="662" y="92"/>
                    <a:pt x="662" y="92"/>
                  </a:cubicBezTo>
                  <a:cubicBezTo>
                    <a:pt x="599" y="40"/>
                    <a:pt x="520" y="7"/>
                    <a:pt x="433" y="1"/>
                  </a:cubicBezTo>
                  <a:moveTo>
                    <a:pt x="666" y="95"/>
                  </a:moveTo>
                  <a:cubicBezTo>
                    <a:pt x="659" y="104"/>
                    <a:pt x="659" y="104"/>
                    <a:pt x="659" y="104"/>
                  </a:cubicBezTo>
                  <a:cubicBezTo>
                    <a:pt x="667" y="110"/>
                    <a:pt x="674" y="117"/>
                    <a:pt x="681" y="123"/>
                  </a:cubicBezTo>
                  <a:cubicBezTo>
                    <a:pt x="689" y="116"/>
                    <a:pt x="689" y="116"/>
                    <a:pt x="689" y="116"/>
                  </a:cubicBezTo>
                  <a:cubicBezTo>
                    <a:pt x="681" y="109"/>
                    <a:pt x="674" y="102"/>
                    <a:pt x="666" y="95"/>
                  </a:cubicBezTo>
                  <a:moveTo>
                    <a:pt x="693" y="119"/>
                  </a:moveTo>
                  <a:cubicBezTo>
                    <a:pt x="685" y="127"/>
                    <a:pt x="685" y="127"/>
                    <a:pt x="685" y="127"/>
                  </a:cubicBezTo>
                  <a:cubicBezTo>
                    <a:pt x="755" y="198"/>
                    <a:pt x="799" y="295"/>
                    <a:pt x="800" y="403"/>
                  </a:cubicBezTo>
                  <a:cubicBezTo>
                    <a:pt x="811" y="403"/>
                    <a:pt x="811" y="403"/>
                    <a:pt x="811" y="403"/>
                  </a:cubicBezTo>
                  <a:cubicBezTo>
                    <a:pt x="810" y="292"/>
                    <a:pt x="765" y="192"/>
                    <a:pt x="693" y="119"/>
                  </a:cubicBezTo>
                  <a:moveTo>
                    <a:pt x="811" y="408"/>
                  </a:moveTo>
                  <a:cubicBezTo>
                    <a:pt x="800" y="408"/>
                    <a:pt x="800" y="408"/>
                    <a:pt x="800" y="408"/>
                  </a:cubicBezTo>
                  <a:cubicBezTo>
                    <a:pt x="798" y="624"/>
                    <a:pt x="624" y="798"/>
                    <a:pt x="408" y="800"/>
                  </a:cubicBezTo>
                  <a:cubicBezTo>
                    <a:pt x="408" y="811"/>
                    <a:pt x="408" y="811"/>
                    <a:pt x="408" y="811"/>
                  </a:cubicBezTo>
                  <a:cubicBezTo>
                    <a:pt x="630" y="809"/>
                    <a:pt x="809" y="630"/>
                    <a:pt x="811" y="408"/>
                  </a:cubicBezTo>
                  <a:moveTo>
                    <a:pt x="11" y="408"/>
                  </a:moveTo>
                  <a:cubicBezTo>
                    <a:pt x="0" y="408"/>
                    <a:pt x="0" y="408"/>
                    <a:pt x="0" y="408"/>
                  </a:cubicBezTo>
                  <a:cubicBezTo>
                    <a:pt x="0" y="419"/>
                    <a:pt x="1" y="429"/>
                    <a:pt x="1" y="440"/>
                  </a:cubicBezTo>
                  <a:cubicBezTo>
                    <a:pt x="12" y="439"/>
                    <a:pt x="12" y="439"/>
                    <a:pt x="12" y="439"/>
                  </a:cubicBezTo>
                  <a:cubicBezTo>
                    <a:pt x="12" y="429"/>
                    <a:pt x="11" y="419"/>
                    <a:pt x="11" y="408"/>
                  </a:cubicBezTo>
                  <a:moveTo>
                    <a:pt x="13" y="444"/>
                  </a:moveTo>
                  <a:cubicBezTo>
                    <a:pt x="2" y="445"/>
                    <a:pt x="2" y="445"/>
                    <a:pt x="2" y="445"/>
                  </a:cubicBezTo>
                  <a:cubicBezTo>
                    <a:pt x="10" y="531"/>
                    <a:pt x="46" y="609"/>
                    <a:pt x="99" y="671"/>
                  </a:cubicBezTo>
                  <a:cubicBezTo>
                    <a:pt x="107" y="664"/>
                    <a:pt x="107" y="664"/>
                    <a:pt x="107" y="664"/>
                  </a:cubicBezTo>
                  <a:cubicBezTo>
                    <a:pt x="55" y="604"/>
                    <a:pt x="21" y="528"/>
                    <a:pt x="13" y="444"/>
                  </a:cubicBezTo>
                  <a:moveTo>
                    <a:pt x="111" y="668"/>
                  </a:moveTo>
                  <a:cubicBezTo>
                    <a:pt x="103" y="675"/>
                    <a:pt x="103" y="675"/>
                    <a:pt x="103" y="675"/>
                  </a:cubicBezTo>
                  <a:cubicBezTo>
                    <a:pt x="116" y="689"/>
                    <a:pt x="130" y="703"/>
                    <a:pt x="145" y="716"/>
                  </a:cubicBezTo>
                  <a:cubicBezTo>
                    <a:pt x="152" y="707"/>
                    <a:pt x="152" y="707"/>
                    <a:pt x="152" y="707"/>
                  </a:cubicBezTo>
                  <a:cubicBezTo>
                    <a:pt x="137" y="695"/>
                    <a:pt x="124" y="682"/>
                    <a:pt x="111" y="668"/>
                  </a:cubicBezTo>
                  <a:moveTo>
                    <a:pt x="156" y="711"/>
                  </a:moveTo>
                  <a:cubicBezTo>
                    <a:pt x="149" y="719"/>
                    <a:pt x="149" y="719"/>
                    <a:pt x="149" y="719"/>
                  </a:cubicBezTo>
                  <a:cubicBezTo>
                    <a:pt x="212" y="771"/>
                    <a:pt x="291" y="804"/>
                    <a:pt x="377" y="810"/>
                  </a:cubicBezTo>
                  <a:cubicBezTo>
                    <a:pt x="378" y="799"/>
                    <a:pt x="378" y="799"/>
                    <a:pt x="378" y="799"/>
                  </a:cubicBezTo>
                  <a:cubicBezTo>
                    <a:pt x="294" y="793"/>
                    <a:pt x="217" y="761"/>
                    <a:pt x="156" y="711"/>
                  </a:cubicBezTo>
                  <a:moveTo>
                    <a:pt x="384" y="799"/>
                  </a:moveTo>
                  <a:cubicBezTo>
                    <a:pt x="383" y="810"/>
                    <a:pt x="383" y="810"/>
                    <a:pt x="383" y="810"/>
                  </a:cubicBezTo>
                  <a:cubicBezTo>
                    <a:pt x="389" y="811"/>
                    <a:pt x="396" y="811"/>
                    <a:pt x="403" y="811"/>
                  </a:cubicBezTo>
                  <a:cubicBezTo>
                    <a:pt x="403" y="800"/>
                    <a:pt x="403" y="800"/>
                    <a:pt x="403" y="800"/>
                  </a:cubicBezTo>
                  <a:cubicBezTo>
                    <a:pt x="396" y="800"/>
                    <a:pt x="390" y="800"/>
                    <a:pt x="384" y="79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8" name="Freeform 18">
              <a:extLst>
                <a:ext uri="{FF2B5EF4-FFF2-40B4-BE49-F238E27FC236}">
                  <a16:creationId xmlns:a16="http://schemas.microsoft.com/office/drawing/2014/main" id="{EE1A7787-C012-4AA3-AF04-B3A05A7B68C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3073" y="1176"/>
              <a:ext cx="969" cy="990"/>
            </a:xfrm>
            <a:custGeom>
              <a:avLst/>
              <a:gdLst>
                <a:gd name="T0" fmla="*/ 235 w 411"/>
                <a:gd name="T1" fmla="*/ 0 h 420"/>
                <a:gd name="T2" fmla="*/ 109 w 411"/>
                <a:gd name="T3" fmla="*/ 128 h 420"/>
                <a:gd name="T4" fmla="*/ 101 w 411"/>
                <a:gd name="T5" fmla="*/ 135 h 420"/>
                <a:gd name="T6" fmla="*/ 88 w 411"/>
                <a:gd name="T7" fmla="*/ 149 h 420"/>
                <a:gd name="T8" fmla="*/ 91 w 411"/>
                <a:gd name="T9" fmla="*/ 153 h 420"/>
                <a:gd name="T10" fmla="*/ 105 w 411"/>
                <a:gd name="T11" fmla="*/ 139 h 420"/>
                <a:gd name="T12" fmla="*/ 113 w 411"/>
                <a:gd name="T13" fmla="*/ 131 h 420"/>
                <a:gd name="T14" fmla="*/ 235 w 411"/>
                <a:gd name="T15" fmla="*/ 8 h 420"/>
                <a:gd name="T16" fmla="*/ 405 w 411"/>
                <a:gd name="T17" fmla="*/ 415 h 420"/>
                <a:gd name="T18" fmla="*/ 305 w 411"/>
                <a:gd name="T19" fmla="*/ 415 h 420"/>
                <a:gd name="T20" fmla="*/ 305 w 411"/>
                <a:gd name="T21" fmla="*/ 417 h 420"/>
                <a:gd name="T22" fmla="*/ 305 w 411"/>
                <a:gd name="T23" fmla="*/ 420 h 420"/>
                <a:gd name="T24" fmla="*/ 365 w 411"/>
                <a:gd name="T25" fmla="*/ 420 h 420"/>
                <a:gd name="T26" fmla="*/ 380 w 411"/>
                <a:gd name="T27" fmla="*/ 420 h 420"/>
                <a:gd name="T28" fmla="*/ 411 w 411"/>
                <a:gd name="T29" fmla="*/ 420 h 420"/>
                <a:gd name="T30" fmla="*/ 411 w 411"/>
                <a:gd name="T31" fmla="*/ 417 h 420"/>
                <a:gd name="T32" fmla="*/ 237 w 411"/>
                <a:gd name="T33" fmla="*/ 2 h 420"/>
                <a:gd name="T34" fmla="*/ 235 w 411"/>
                <a:gd name="T35" fmla="*/ 0 h 420"/>
                <a:gd name="T36" fmla="*/ 26 w 411"/>
                <a:gd name="T37" fmla="*/ 211 h 420"/>
                <a:gd name="T38" fmla="*/ 0 w 411"/>
                <a:gd name="T39" fmla="*/ 238 h 420"/>
                <a:gd name="T40" fmla="*/ 2 w 411"/>
                <a:gd name="T41" fmla="*/ 240 h 420"/>
                <a:gd name="T42" fmla="*/ 76 w 411"/>
                <a:gd name="T43" fmla="*/ 417 h 420"/>
                <a:gd name="T44" fmla="*/ 76 w 411"/>
                <a:gd name="T45" fmla="*/ 420 h 420"/>
                <a:gd name="T46" fmla="*/ 83 w 411"/>
                <a:gd name="T47" fmla="*/ 420 h 420"/>
                <a:gd name="T48" fmla="*/ 94 w 411"/>
                <a:gd name="T49" fmla="*/ 420 h 420"/>
                <a:gd name="T50" fmla="*/ 135 w 411"/>
                <a:gd name="T51" fmla="*/ 420 h 420"/>
                <a:gd name="T52" fmla="*/ 135 w 411"/>
                <a:gd name="T53" fmla="*/ 417 h 420"/>
                <a:gd name="T54" fmla="*/ 113 w 411"/>
                <a:gd name="T55" fmla="*/ 417 h 420"/>
                <a:gd name="T56" fmla="*/ 113 w 411"/>
                <a:gd name="T57" fmla="*/ 415 h 420"/>
                <a:gd name="T58" fmla="*/ 81 w 411"/>
                <a:gd name="T59" fmla="*/ 415 h 420"/>
                <a:gd name="T60" fmla="*/ 7 w 411"/>
                <a:gd name="T61" fmla="*/ 238 h 420"/>
                <a:gd name="T62" fmla="*/ 30 w 411"/>
                <a:gd name="T63" fmla="*/ 215 h 420"/>
                <a:gd name="T64" fmla="*/ 26 w 411"/>
                <a:gd name="T65" fmla="*/ 211 h 4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411" h="420">
                  <a:moveTo>
                    <a:pt x="235" y="0"/>
                  </a:moveTo>
                  <a:cubicBezTo>
                    <a:pt x="109" y="128"/>
                    <a:pt x="109" y="128"/>
                    <a:pt x="109" y="128"/>
                  </a:cubicBezTo>
                  <a:cubicBezTo>
                    <a:pt x="101" y="135"/>
                    <a:pt x="101" y="135"/>
                    <a:pt x="101" y="135"/>
                  </a:cubicBezTo>
                  <a:cubicBezTo>
                    <a:pt x="88" y="149"/>
                    <a:pt x="88" y="149"/>
                    <a:pt x="88" y="149"/>
                  </a:cubicBezTo>
                  <a:cubicBezTo>
                    <a:pt x="89" y="150"/>
                    <a:pt x="90" y="151"/>
                    <a:pt x="91" y="153"/>
                  </a:cubicBezTo>
                  <a:cubicBezTo>
                    <a:pt x="105" y="139"/>
                    <a:pt x="105" y="139"/>
                    <a:pt x="105" y="139"/>
                  </a:cubicBezTo>
                  <a:cubicBezTo>
                    <a:pt x="113" y="131"/>
                    <a:pt x="113" y="131"/>
                    <a:pt x="113" y="131"/>
                  </a:cubicBezTo>
                  <a:cubicBezTo>
                    <a:pt x="235" y="8"/>
                    <a:pt x="235" y="8"/>
                    <a:pt x="235" y="8"/>
                  </a:cubicBezTo>
                  <a:cubicBezTo>
                    <a:pt x="344" y="116"/>
                    <a:pt x="404" y="261"/>
                    <a:pt x="405" y="415"/>
                  </a:cubicBezTo>
                  <a:cubicBezTo>
                    <a:pt x="305" y="415"/>
                    <a:pt x="305" y="415"/>
                    <a:pt x="305" y="415"/>
                  </a:cubicBezTo>
                  <a:cubicBezTo>
                    <a:pt x="305" y="417"/>
                    <a:pt x="305" y="417"/>
                    <a:pt x="305" y="417"/>
                  </a:cubicBezTo>
                  <a:cubicBezTo>
                    <a:pt x="305" y="418"/>
                    <a:pt x="305" y="419"/>
                    <a:pt x="305" y="420"/>
                  </a:cubicBezTo>
                  <a:cubicBezTo>
                    <a:pt x="365" y="420"/>
                    <a:pt x="365" y="420"/>
                    <a:pt x="365" y="420"/>
                  </a:cubicBezTo>
                  <a:cubicBezTo>
                    <a:pt x="380" y="420"/>
                    <a:pt x="380" y="420"/>
                    <a:pt x="380" y="420"/>
                  </a:cubicBezTo>
                  <a:cubicBezTo>
                    <a:pt x="411" y="420"/>
                    <a:pt x="411" y="420"/>
                    <a:pt x="411" y="420"/>
                  </a:cubicBezTo>
                  <a:cubicBezTo>
                    <a:pt x="411" y="417"/>
                    <a:pt x="411" y="417"/>
                    <a:pt x="411" y="417"/>
                  </a:cubicBezTo>
                  <a:cubicBezTo>
                    <a:pt x="411" y="260"/>
                    <a:pt x="349" y="112"/>
                    <a:pt x="237" y="2"/>
                  </a:cubicBezTo>
                  <a:lnTo>
                    <a:pt x="235" y="0"/>
                  </a:lnTo>
                  <a:close/>
                  <a:moveTo>
                    <a:pt x="26" y="211"/>
                  </a:moveTo>
                  <a:cubicBezTo>
                    <a:pt x="0" y="238"/>
                    <a:pt x="0" y="238"/>
                    <a:pt x="0" y="238"/>
                  </a:cubicBezTo>
                  <a:cubicBezTo>
                    <a:pt x="2" y="240"/>
                    <a:pt x="2" y="240"/>
                    <a:pt x="2" y="240"/>
                  </a:cubicBezTo>
                  <a:cubicBezTo>
                    <a:pt x="49" y="287"/>
                    <a:pt x="76" y="350"/>
                    <a:pt x="76" y="417"/>
                  </a:cubicBezTo>
                  <a:cubicBezTo>
                    <a:pt x="76" y="420"/>
                    <a:pt x="76" y="420"/>
                    <a:pt x="76" y="420"/>
                  </a:cubicBezTo>
                  <a:cubicBezTo>
                    <a:pt x="83" y="420"/>
                    <a:pt x="83" y="420"/>
                    <a:pt x="83" y="420"/>
                  </a:cubicBezTo>
                  <a:cubicBezTo>
                    <a:pt x="94" y="420"/>
                    <a:pt x="94" y="420"/>
                    <a:pt x="94" y="420"/>
                  </a:cubicBezTo>
                  <a:cubicBezTo>
                    <a:pt x="135" y="420"/>
                    <a:pt x="135" y="420"/>
                    <a:pt x="135" y="420"/>
                  </a:cubicBezTo>
                  <a:cubicBezTo>
                    <a:pt x="135" y="419"/>
                    <a:pt x="135" y="418"/>
                    <a:pt x="135" y="417"/>
                  </a:cubicBezTo>
                  <a:cubicBezTo>
                    <a:pt x="113" y="417"/>
                    <a:pt x="113" y="417"/>
                    <a:pt x="113" y="417"/>
                  </a:cubicBezTo>
                  <a:cubicBezTo>
                    <a:pt x="113" y="417"/>
                    <a:pt x="113" y="416"/>
                    <a:pt x="113" y="415"/>
                  </a:cubicBezTo>
                  <a:cubicBezTo>
                    <a:pt x="81" y="415"/>
                    <a:pt x="81" y="415"/>
                    <a:pt x="81" y="415"/>
                  </a:cubicBezTo>
                  <a:cubicBezTo>
                    <a:pt x="81" y="348"/>
                    <a:pt x="54" y="285"/>
                    <a:pt x="7" y="238"/>
                  </a:cubicBezTo>
                  <a:cubicBezTo>
                    <a:pt x="30" y="215"/>
                    <a:pt x="30" y="215"/>
                    <a:pt x="30" y="215"/>
                  </a:cubicBezTo>
                  <a:cubicBezTo>
                    <a:pt x="28" y="214"/>
                    <a:pt x="27" y="213"/>
                    <a:pt x="26" y="211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29" name="Freeform 19">
              <a:extLst>
                <a:ext uri="{FF2B5EF4-FFF2-40B4-BE49-F238E27FC236}">
                  <a16:creationId xmlns:a16="http://schemas.microsoft.com/office/drawing/2014/main" id="{205F8769-094F-4E74-88C1-53DCA4E741F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691" y="782"/>
              <a:ext cx="856" cy="926"/>
            </a:xfrm>
            <a:custGeom>
              <a:avLst/>
              <a:gdLst>
                <a:gd name="T0" fmla="*/ 21 w 363"/>
                <a:gd name="T1" fmla="*/ 0 h 393"/>
                <a:gd name="T2" fmla="*/ 19 w 363"/>
                <a:gd name="T3" fmla="*/ 35 h 393"/>
                <a:gd name="T4" fmla="*/ 16 w 363"/>
                <a:gd name="T5" fmla="*/ 84 h 393"/>
                <a:gd name="T6" fmla="*/ 10 w 363"/>
                <a:gd name="T7" fmla="*/ 180 h 393"/>
                <a:gd name="T8" fmla="*/ 9 w 363"/>
                <a:gd name="T9" fmla="*/ 191 h 393"/>
                <a:gd name="T10" fmla="*/ 8 w 363"/>
                <a:gd name="T11" fmla="*/ 210 h 393"/>
                <a:gd name="T12" fmla="*/ 14 w 363"/>
                <a:gd name="T13" fmla="*/ 210 h 393"/>
                <a:gd name="T14" fmla="*/ 15 w 363"/>
                <a:gd name="T15" fmla="*/ 191 h 393"/>
                <a:gd name="T16" fmla="*/ 15 w 363"/>
                <a:gd name="T17" fmla="*/ 180 h 393"/>
                <a:gd name="T18" fmla="*/ 26 w 363"/>
                <a:gd name="T19" fmla="*/ 6 h 393"/>
                <a:gd name="T20" fmla="*/ 355 w 363"/>
                <a:gd name="T21" fmla="*/ 137 h 393"/>
                <a:gd name="T22" fmla="*/ 244 w 363"/>
                <a:gd name="T23" fmla="*/ 271 h 393"/>
                <a:gd name="T24" fmla="*/ 237 w 363"/>
                <a:gd name="T25" fmla="*/ 279 h 393"/>
                <a:gd name="T26" fmla="*/ 225 w 363"/>
                <a:gd name="T27" fmla="*/ 294 h 393"/>
                <a:gd name="T28" fmla="*/ 229 w 363"/>
                <a:gd name="T29" fmla="*/ 297 h 393"/>
                <a:gd name="T30" fmla="*/ 241 w 363"/>
                <a:gd name="T31" fmla="*/ 283 h 393"/>
                <a:gd name="T32" fmla="*/ 248 w 363"/>
                <a:gd name="T33" fmla="*/ 274 h 393"/>
                <a:gd name="T34" fmla="*/ 361 w 363"/>
                <a:gd name="T35" fmla="*/ 138 h 393"/>
                <a:gd name="T36" fmla="*/ 363 w 363"/>
                <a:gd name="T37" fmla="*/ 136 h 393"/>
                <a:gd name="T38" fmla="*/ 361 w 363"/>
                <a:gd name="T39" fmla="*/ 134 h 393"/>
                <a:gd name="T40" fmla="*/ 24 w 363"/>
                <a:gd name="T41" fmla="*/ 0 h 393"/>
                <a:gd name="T42" fmla="*/ 21 w 363"/>
                <a:gd name="T43" fmla="*/ 0 h 393"/>
                <a:gd name="T44" fmla="*/ 3 w 363"/>
                <a:gd name="T45" fmla="*/ 297 h 393"/>
                <a:gd name="T46" fmla="*/ 0 w 363"/>
                <a:gd name="T47" fmla="*/ 334 h 393"/>
                <a:gd name="T48" fmla="*/ 3 w 363"/>
                <a:gd name="T49" fmla="*/ 335 h 393"/>
                <a:gd name="T50" fmla="*/ 147 w 363"/>
                <a:gd name="T51" fmla="*/ 392 h 393"/>
                <a:gd name="T52" fmla="*/ 149 w 363"/>
                <a:gd name="T53" fmla="*/ 393 h 393"/>
                <a:gd name="T54" fmla="*/ 173 w 363"/>
                <a:gd name="T55" fmla="*/ 365 h 393"/>
                <a:gd name="T56" fmla="*/ 169 w 363"/>
                <a:gd name="T57" fmla="*/ 361 h 393"/>
                <a:gd name="T58" fmla="*/ 149 w 363"/>
                <a:gd name="T59" fmla="*/ 386 h 393"/>
                <a:gd name="T60" fmla="*/ 6 w 363"/>
                <a:gd name="T61" fmla="*/ 329 h 393"/>
                <a:gd name="T62" fmla="*/ 8 w 363"/>
                <a:gd name="T63" fmla="*/ 298 h 393"/>
                <a:gd name="T64" fmla="*/ 3 w 363"/>
                <a:gd name="T65" fmla="*/ 297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63" h="393">
                  <a:moveTo>
                    <a:pt x="21" y="0"/>
                  </a:moveTo>
                  <a:cubicBezTo>
                    <a:pt x="19" y="35"/>
                    <a:pt x="19" y="35"/>
                    <a:pt x="19" y="35"/>
                  </a:cubicBezTo>
                  <a:cubicBezTo>
                    <a:pt x="16" y="84"/>
                    <a:pt x="16" y="84"/>
                    <a:pt x="16" y="84"/>
                  </a:cubicBezTo>
                  <a:cubicBezTo>
                    <a:pt x="10" y="180"/>
                    <a:pt x="10" y="180"/>
                    <a:pt x="10" y="180"/>
                  </a:cubicBezTo>
                  <a:cubicBezTo>
                    <a:pt x="9" y="191"/>
                    <a:pt x="9" y="191"/>
                    <a:pt x="9" y="191"/>
                  </a:cubicBezTo>
                  <a:cubicBezTo>
                    <a:pt x="8" y="210"/>
                    <a:pt x="8" y="210"/>
                    <a:pt x="8" y="210"/>
                  </a:cubicBezTo>
                  <a:cubicBezTo>
                    <a:pt x="10" y="210"/>
                    <a:pt x="12" y="210"/>
                    <a:pt x="14" y="210"/>
                  </a:cubicBezTo>
                  <a:cubicBezTo>
                    <a:pt x="15" y="191"/>
                    <a:pt x="15" y="191"/>
                    <a:pt x="15" y="191"/>
                  </a:cubicBezTo>
                  <a:cubicBezTo>
                    <a:pt x="15" y="180"/>
                    <a:pt x="15" y="180"/>
                    <a:pt x="15" y="180"/>
                  </a:cubicBezTo>
                  <a:cubicBezTo>
                    <a:pt x="26" y="6"/>
                    <a:pt x="26" y="6"/>
                    <a:pt x="26" y="6"/>
                  </a:cubicBezTo>
                  <a:cubicBezTo>
                    <a:pt x="148" y="14"/>
                    <a:pt x="261" y="59"/>
                    <a:pt x="355" y="137"/>
                  </a:cubicBezTo>
                  <a:cubicBezTo>
                    <a:pt x="244" y="271"/>
                    <a:pt x="244" y="271"/>
                    <a:pt x="244" y="271"/>
                  </a:cubicBezTo>
                  <a:cubicBezTo>
                    <a:pt x="237" y="279"/>
                    <a:pt x="237" y="279"/>
                    <a:pt x="237" y="279"/>
                  </a:cubicBezTo>
                  <a:cubicBezTo>
                    <a:pt x="225" y="294"/>
                    <a:pt x="225" y="294"/>
                    <a:pt x="225" y="294"/>
                  </a:cubicBezTo>
                  <a:cubicBezTo>
                    <a:pt x="226" y="295"/>
                    <a:pt x="228" y="296"/>
                    <a:pt x="229" y="297"/>
                  </a:cubicBezTo>
                  <a:cubicBezTo>
                    <a:pt x="241" y="283"/>
                    <a:pt x="241" y="283"/>
                    <a:pt x="241" y="283"/>
                  </a:cubicBezTo>
                  <a:cubicBezTo>
                    <a:pt x="248" y="274"/>
                    <a:pt x="248" y="274"/>
                    <a:pt x="248" y="274"/>
                  </a:cubicBezTo>
                  <a:cubicBezTo>
                    <a:pt x="361" y="138"/>
                    <a:pt x="361" y="138"/>
                    <a:pt x="361" y="138"/>
                  </a:cubicBezTo>
                  <a:cubicBezTo>
                    <a:pt x="363" y="136"/>
                    <a:pt x="363" y="136"/>
                    <a:pt x="363" y="136"/>
                  </a:cubicBezTo>
                  <a:cubicBezTo>
                    <a:pt x="361" y="134"/>
                    <a:pt x="361" y="134"/>
                    <a:pt x="361" y="134"/>
                  </a:cubicBezTo>
                  <a:cubicBezTo>
                    <a:pt x="265" y="54"/>
                    <a:pt x="148" y="8"/>
                    <a:pt x="24" y="0"/>
                  </a:cubicBezTo>
                  <a:lnTo>
                    <a:pt x="21" y="0"/>
                  </a:lnTo>
                  <a:close/>
                  <a:moveTo>
                    <a:pt x="3" y="297"/>
                  </a:moveTo>
                  <a:cubicBezTo>
                    <a:pt x="0" y="334"/>
                    <a:pt x="0" y="334"/>
                    <a:pt x="0" y="334"/>
                  </a:cubicBezTo>
                  <a:cubicBezTo>
                    <a:pt x="3" y="335"/>
                    <a:pt x="3" y="335"/>
                    <a:pt x="3" y="335"/>
                  </a:cubicBezTo>
                  <a:cubicBezTo>
                    <a:pt x="56" y="338"/>
                    <a:pt x="106" y="358"/>
                    <a:pt x="147" y="392"/>
                  </a:cubicBezTo>
                  <a:cubicBezTo>
                    <a:pt x="149" y="393"/>
                    <a:pt x="149" y="393"/>
                    <a:pt x="149" y="393"/>
                  </a:cubicBezTo>
                  <a:cubicBezTo>
                    <a:pt x="173" y="365"/>
                    <a:pt x="173" y="365"/>
                    <a:pt x="173" y="365"/>
                  </a:cubicBezTo>
                  <a:cubicBezTo>
                    <a:pt x="172" y="364"/>
                    <a:pt x="170" y="363"/>
                    <a:pt x="169" y="361"/>
                  </a:cubicBezTo>
                  <a:cubicBezTo>
                    <a:pt x="149" y="386"/>
                    <a:pt x="149" y="386"/>
                    <a:pt x="149" y="386"/>
                  </a:cubicBezTo>
                  <a:cubicBezTo>
                    <a:pt x="108" y="353"/>
                    <a:pt x="59" y="333"/>
                    <a:pt x="6" y="329"/>
                  </a:cubicBezTo>
                  <a:cubicBezTo>
                    <a:pt x="8" y="298"/>
                    <a:pt x="8" y="298"/>
                    <a:pt x="8" y="298"/>
                  </a:cubicBezTo>
                  <a:cubicBezTo>
                    <a:pt x="6" y="297"/>
                    <a:pt x="5" y="297"/>
                    <a:pt x="3" y="29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0" name="Freeform 20">
              <a:extLst>
                <a:ext uri="{FF2B5EF4-FFF2-40B4-BE49-F238E27FC236}">
                  <a16:creationId xmlns:a16="http://schemas.microsoft.com/office/drawing/2014/main" id="{90B693E1-982F-42BF-BAF5-8F45F87B8D77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285" y="2208"/>
              <a:ext cx="934" cy="868"/>
            </a:xfrm>
            <a:custGeom>
              <a:avLst/>
              <a:gdLst>
                <a:gd name="T0" fmla="*/ 334 w 396"/>
                <a:gd name="T1" fmla="*/ 0 h 368"/>
                <a:gd name="T2" fmla="*/ 283 w 396"/>
                <a:gd name="T3" fmla="*/ 5 h 368"/>
                <a:gd name="T4" fmla="*/ 284 w 396"/>
                <a:gd name="T5" fmla="*/ 10 h 368"/>
                <a:gd name="T6" fmla="*/ 329 w 396"/>
                <a:gd name="T7" fmla="*/ 6 h 368"/>
                <a:gd name="T8" fmla="*/ 389 w 396"/>
                <a:gd name="T9" fmla="*/ 147 h 368"/>
                <a:gd name="T10" fmla="*/ 355 w 396"/>
                <a:gd name="T11" fmla="*/ 176 h 368"/>
                <a:gd name="T12" fmla="*/ 359 w 396"/>
                <a:gd name="T13" fmla="*/ 180 h 368"/>
                <a:gd name="T14" fmla="*/ 396 w 396"/>
                <a:gd name="T15" fmla="*/ 147 h 368"/>
                <a:gd name="T16" fmla="*/ 395 w 396"/>
                <a:gd name="T17" fmla="*/ 145 h 368"/>
                <a:gd name="T18" fmla="*/ 334 w 396"/>
                <a:gd name="T19" fmla="*/ 3 h 368"/>
                <a:gd name="T20" fmla="*/ 334 w 396"/>
                <a:gd name="T21" fmla="*/ 0 h 368"/>
                <a:gd name="T22" fmla="*/ 278 w 396"/>
                <a:gd name="T23" fmla="*/ 5 h 368"/>
                <a:gd name="T24" fmla="*/ 190 w 396"/>
                <a:gd name="T25" fmla="*/ 13 h 368"/>
                <a:gd name="T26" fmla="*/ 179 w 396"/>
                <a:gd name="T27" fmla="*/ 14 h 368"/>
                <a:gd name="T28" fmla="*/ 83 w 396"/>
                <a:gd name="T29" fmla="*/ 22 h 368"/>
                <a:gd name="T30" fmla="*/ 33 w 396"/>
                <a:gd name="T31" fmla="*/ 27 h 368"/>
                <a:gd name="T32" fmla="*/ 0 w 396"/>
                <a:gd name="T33" fmla="*/ 30 h 368"/>
                <a:gd name="T34" fmla="*/ 0 w 396"/>
                <a:gd name="T35" fmla="*/ 33 h 368"/>
                <a:gd name="T36" fmla="*/ 143 w 396"/>
                <a:gd name="T37" fmla="*/ 366 h 368"/>
                <a:gd name="T38" fmla="*/ 145 w 396"/>
                <a:gd name="T39" fmla="*/ 368 h 368"/>
                <a:gd name="T40" fmla="*/ 281 w 396"/>
                <a:gd name="T41" fmla="*/ 249 h 368"/>
                <a:gd name="T42" fmla="*/ 289 w 396"/>
                <a:gd name="T43" fmla="*/ 242 h 368"/>
                <a:gd name="T44" fmla="*/ 355 w 396"/>
                <a:gd name="T45" fmla="*/ 184 h 368"/>
                <a:gd name="T46" fmla="*/ 351 w 396"/>
                <a:gd name="T47" fmla="*/ 180 h 368"/>
                <a:gd name="T48" fmla="*/ 285 w 396"/>
                <a:gd name="T49" fmla="*/ 238 h 368"/>
                <a:gd name="T50" fmla="*/ 277 w 396"/>
                <a:gd name="T51" fmla="*/ 245 h 368"/>
                <a:gd name="T52" fmla="*/ 145 w 396"/>
                <a:gd name="T53" fmla="*/ 360 h 368"/>
                <a:gd name="T54" fmla="*/ 6 w 396"/>
                <a:gd name="T55" fmla="*/ 35 h 368"/>
                <a:gd name="T56" fmla="*/ 180 w 396"/>
                <a:gd name="T57" fmla="*/ 19 h 368"/>
                <a:gd name="T58" fmla="*/ 191 w 396"/>
                <a:gd name="T59" fmla="*/ 18 h 368"/>
                <a:gd name="T60" fmla="*/ 247 w 396"/>
                <a:gd name="T61" fmla="*/ 13 h 368"/>
                <a:gd name="T62" fmla="*/ 253 w 396"/>
                <a:gd name="T63" fmla="*/ 9 h 368"/>
                <a:gd name="T64" fmla="*/ 254 w 396"/>
                <a:gd name="T65" fmla="*/ 9 h 368"/>
                <a:gd name="T66" fmla="*/ 260 w 396"/>
                <a:gd name="T67" fmla="*/ 12 h 368"/>
                <a:gd name="T68" fmla="*/ 278 w 396"/>
                <a:gd name="T69" fmla="*/ 11 h 368"/>
                <a:gd name="T70" fmla="*/ 278 w 396"/>
                <a:gd name="T71" fmla="*/ 5 h 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96" h="368">
                  <a:moveTo>
                    <a:pt x="334" y="0"/>
                  </a:moveTo>
                  <a:cubicBezTo>
                    <a:pt x="283" y="5"/>
                    <a:pt x="283" y="5"/>
                    <a:pt x="283" y="5"/>
                  </a:cubicBezTo>
                  <a:cubicBezTo>
                    <a:pt x="283" y="7"/>
                    <a:pt x="283" y="8"/>
                    <a:pt x="284" y="10"/>
                  </a:cubicBezTo>
                  <a:cubicBezTo>
                    <a:pt x="329" y="6"/>
                    <a:pt x="329" y="6"/>
                    <a:pt x="329" y="6"/>
                  </a:cubicBezTo>
                  <a:cubicBezTo>
                    <a:pt x="334" y="59"/>
                    <a:pt x="354" y="107"/>
                    <a:pt x="389" y="147"/>
                  </a:cubicBezTo>
                  <a:cubicBezTo>
                    <a:pt x="355" y="176"/>
                    <a:pt x="355" y="176"/>
                    <a:pt x="355" y="176"/>
                  </a:cubicBezTo>
                  <a:cubicBezTo>
                    <a:pt x="356" y="178"/>
                    <a:pt x="358" y="179"/>
                    <a:pt x="359" y="180"/>
                  </a:cubicBezTo>
                  <a:cubicBezTo>
                    <a:pt x="396" y="147"/>
                    <a:pt x="396" y="147"/>
                    <a:pt x="396" y="147"/>
                  </a:cubicBezTo>
                  <a:cubicBezTo>
                    <a:pt x="395" y="145"/>
                    <a:pt x="395" y="145"/>
                    <a:pt x="395" y="145"/>
                  </a:cubicBezTo>
                  <a:cubicBezTo>
                    <a:pt x="360" y="105"/>
                    <a:pt x="338" y="56"/>
                    <a:pt x="334" y="3"/>
                  </a:cubicBezTo>
                  <a:lnTo>
                    <a:pt x="334" y="0"/>
                  </a:lnTo>
                  <a:close/>
                  <a:moveTo>
                    <a:pt x="278" y="5"/>
                  </a:moveTo>
                  <a:cubicBezTo>
                    <a:pt x="190" y="13"/>
                    <a:pt x="190" y="13"/>
                    <a:pt x="190" y="13"/>
                  </a:cubicBezTo>
                  <a:cubicBezTo>
                    <a:pt x="179" y="14"/>
                    <a:pt x="179" y="14"/>
                    <a:pt x="179" y="14"/>
                  </a:cubicBezTo>
                  <a:cubicBezTo>
                    <a:pt x="83" y="22"/>
                    <a:pt x="83" y="22"/>
                    <a:pt x="83" y="22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11" y="157"/>
                    <a:pt x="61" y="272"/>
                    <a:pt x="143" y="366"/>
                  </a:cubicBezTo>
                  <a:cubicBezTo>
                    <a:pt x="145" y="368"/>
                    <a:pt x="145" y="368"/>
                    <a:pt x="145" y="368"/>
                  </a:cubicBezTo>
                  <a:cubicBezTo>
                    <a:pt x="281" y="249"/>
                    <a:pt x="281" y="249"/>
                    <a:pt x="281" y="249"/>
                  </a:cubicBezTo>
                  <a:cubicBezTo>
                    <a:pt x="289" y="242"/>
                    <a:pt x="289" y="242"/>
                    <a:pt x="289" y="242"/>
                  </a:cubicBezTo>
                  <a:cubicBezTo>
                    <a:pt x="355" y="184"/>
                    <a:pt x="355" y="184"/>
                    <a:pt x="355" y="184"/>
                  </a:cubicBezTo>
                  <a:cubicBezTo>
                    <a:pt x="354" y="183"/>
                    <a:pt x="352" y="181"/>
                    <a:pt x="351" y="180"/>
                  </a:cubicBezTo>
                  <a:cubicBezTo>
                    <a:pt x="285" y="238"/>
                    <a:pt x="285" y="238"/>
                    <a:pt x="285" y="238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145" y="360"/>
                    <a:pt x="145" y="360"/>
                    <a:pt x="145" y="360"/>
                  </a:cubicBezTo>
                  <a:cubicBezTo>
                    <a:pt x="65" y="269"/>
                    <a:pt x="17" y="156"/>
                    <a:pt x="6" y="35"/>
                  </a:cubicBezTo>
                  <a:cubicBezTo>
                    <a:pt x="180" y="19"/>
                    <a:pt x="180" y="19"/>
                    <a:pt x="180" y="19"/>
                  </a:cubicBezTo>
                  <a:cubicBezTo>
                    <a:pt x="191" y="18"/>
                    <a:pt x="191" y="18"/>
                    <a:pt x="191" y="18"/>
                  </a:cubicBezTo>
                  <a:cubicBezTo>
                    <a:pt x="247" y="13"/>
                    <a:pt x="247" y="13"/>
                    <a:pt x="247" y="13"/>
                  </a:cubicBezTo>
                  <a:cubicBezTo>
                    <a:pt x="248" y="11"/>
                    <a:pt x="250" y="10"/>
                    <a:pt x="253" y="9"/>
                  </a:cubicBezTo>
                  <a:cubicBezTo>
                    <a:pt x="253" y="9"/>
                    <a:pt x="254" y="9"/>
                    <a:pt x="254" y="9"/>
                  </a:cubicBezTo>
                  <a:cubicBezTo>
                    <a:pt x="257" y="9"/>
                    <a:pt x="259" y="10"/>
                    <a:pt x="260" y="12"/>
                  </a:cubicBezTo>
                  <a:cubicBezTo>
                    <a:pt x="278" y="11"/>
                    <a:pt x="278" y="11"/>
                    <a:pt x="278" y="11"/>
                  </a:cubicBezTo>
                  <a:cubicBezTo>
                    <a:pt x="278" y="9"/>
                    <a:pt x="278" y="7"/>
                    <a:pt x="278" y="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1" name="Freeform 21">
              <a:extLst>
                <a:ext uri="{FF2B5EF4-FFF2-40B4-BE49-F238E27FC236}">
                  <a16:creationId xmlns:a16="http://schemas.microsoft.com/office/drawing/2014/main" id="{F01CF96E-4C88-4310-B931-E8342B284C6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776" y="2611"/>
              <a:ext cx="853" cy="927"/>
            </a:xfrm>
            <a:custGeom>
              <a:avLst/>
              <a:gdLst>
                <a:gd name="T0" fmla="*/ 214 w 362"/>
                <a:gd name="T1" fmla="*/ 0 h 393"/>
                <a:gd name="T2" fmla="*/ 181 w 362"/>
                <a:gd name="T3" fmla="*/ 39 h 393"/>
                <a:gd name="T4" fmla="*/ 185 w 362"/>
                <a:gd name="T5" fmla="*/ 42 h 393"/>
                <a:gd name="T6" fmla="*/ 214 w 362"/>
                <a:gd name="T7" fmla="*/ 7 h 393"/>
                <a:gd name="T8" fmla="*/ 357 w 362"/>
                <a:gd name="T9" fmla="*/ 64 h 393"/>
                <a:gd name="T10" fmla="*/ 354 w 362"/>
                <a:gd name="T11" fmla="*/ 109 h 393"/>
                <a:gd name="T12" fmla="*/ 359 w 362"/>
                <a:gd name="T13" fmla="*/ 110 h 393"/>
                <a:gd name="T14" fmla="*/ 362 w 362"/>
                <a:gd name="T15" fmla="*/ 59 h 393"/>
                <a:gd name="T16" fmla="*/ 360 w 362"/>
                <a:gd name="T17" fmla="*/ 58 h 393"/>
                <a:gd name="T18" fmla="*/ 216 w 362"/>
                <a:gd name="T19" fmla="*/ 1 h 393"/>
                <a:gd name="T20" fmla="*/ 214 w 362"/>
                <a:gd name="T21" fmla="*/ 0 h 393"/>
                <a:gd name="T22" fmla="*/ 178 w 362"/>
                <a:gd name="T23" fmla="*/ 43 h 393"/>
                <a:gd name="T24" fmla="*/ 122 w 362"/>
                <a:gd name="T25" fmla="*/ 110 h 393"/>
                <a:gd name="T26" fmla="*/ 115 w 362"/>
                <a:gd name="T27" fmla="*/ 119 h 393"/>
                <a:gd name="T28" fmla="*/ 0 w 362"/>
                <a:gd name="T29" fmla="*/ 257 h 393"/>
                <a:gd name="T30" fmla="*/ 2 w 362"/>
                <a:gd name="T31" fmla="*/ 259 h 393"/>
                <a:gd name="T32" fmla="*/ 339 w 362"/>
                <a:gd name="T33" fmla="*/ 393 h 393"/>
                <a:gd name="T34" fmla="*/ 342 w 362"/>
                <a:gd name="T35" fmla="*/ 393 h 393"/>
                <a:gd name="T36" fmla="*/ 344 w 362"/>
                <a:gd name="T37" fmla="*/ 362 h 393"/>
                <a:gd name="T38" fmla="*/ 345 w 362"/>
                <a:gd name="T39" fmla="*/ 347 h 393"/>
                <a:gd name="T40" fmla="*/ 353 w 362"/>
                <a:gd name="T41" fmla="*/ 213 h 393"/>
                <a:gd name="T42" fmla="*/ 354 w 362"/>
                <a:gd name="T43" fmla="*/ 202 h 393"/>
                <a:gd name="T44" fmla="*/ 359 w 362"/>
                <a:gd name="T45" fmla="*/ 115 h 393"/>
                <a:gd name="T46" fmla="*/ 353 w 362"/>
                <a:gd name="T47" fmla="*/ 115 h 393"/>
                <a:gd name="T48" fmla="*/ 348 w 362"/>
                <a:gd name="T49" fmla="*/ 202 h 393"/>
                <a:gd name="T50" fmla="*/ 347 w 362"/>
                <a:gd name="T51" fmla="*/ 213 h 393"/>
                <a:gd name="T52" fmla="*/ 337 w 362"/>
                <a:gd name="T53" fmla="*/ 387 h 393"/>
                <a:gd name="T54" fmla="*/ 7 w 362"/>
                <a:gd name="T55" fmla="*/ 256 h 393"/>
                <a:gd name="T56" fmla="*/ 119 w 362"/>
                <a:gd name="T57" fmla="*/ 122 h 393"/>
                <a:gd name="T58" fmla="*/ 126 w 362"/>
                <a:gd name="T59" fmla="*/ 114 h 393"/>
                <a:gd name="T60" fmla="*/ 164 w 362"/>
                <a:gd name="T61" fmla="*/ 68 h 393"/>
                <a:gd name="T62" fmla="*/ 165 w 362"/>
                <a:gd name="T63" fmla="*/ 65 h 393"/>
                <a:gd name="T64" fmla="*/ 169 w 362"/>
                <a:gd name="T65" fmla="*/ 62 h 393"/>
                <a:gd name="T66" fmla="*/ 182 w 362"/>
                <a:gd name="T67" fmla="*/ 46 h 393"/>
                <a:gd name="T68" fmla="*/ 178 w 362"/>
                <a:gd name="T69" fmla="*/ 43 h 3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362" h="393">
                  <a:moveTo>
                    <a:pt x="214" y="0"/>
                  </a:moveTo>
                  <a:cubicBezTo>
                    <a:pt x="181" y="39"/>
                    <a:pt x="181" y="39"/>
                    <a:pt x="181" y="39"/>
                  </a:cubicBezTo>
                  <a:cubicBezTo>
                    <a:pt x="182" y="40"/>
                    <a:pt x="184" y="41"/>
                    <a:pt x="185" y="42"/>
                  </a:cubicBezTo>
                  <a:cubicBezTo>
                    <a:pt x="214" y="7"/>
                    <a:pt x="214" y="7"/>
                    <a:pt x="214" y="7"/>
                  </a:cubicBezTo>
                  <a:cubicBezTo>
                    <a:pt x="255" y="40"/>
                    <a:pt x="304" y="60"/>
                    <a:pt x="357" y="64"/>
                  </a:cubicBezTo>
                  <a:cubicBezTo>
                    <a:pt x="354" y="109"/>
                    <a:pt x="354" y="109"/>
                    <a:pt x="354" y="109"/>
                  </a:cubicBezTo>
                  <a:cubicBezTo>
                    <a:pt x="356" y="109"/>
                    <a:pt x="357" y="109"/>
                    <a:pt x="359" y="110"/>
                  </a:cubicBezTo>
                  <a:cubicBezTo>
                    <a:pt x="362" y="59"/>
                    <a:pt x="362" y="59"/>
                    <a:pt x="362" y="59"/>
                  </a:cubicBezTo>
                  <a:cubicBezTo>
                    <a:pt x="360" y="58"/>
                    <a:pt x="360" y="58"/>
                    <a:pt x="360" y="58"/>
                  </a:cubicBezTo>
                  <a:cubicBezTo>
                    <a:pt x="307" y="55"/>
                    <a:pt x="257" y="35"/>
                    <a:pt x="216" y="1"/>
                  </a:cubicBezTo>
                  <a:lnTo>
                    <a:pt x="214" y="0"/>
                  </a:lnTo>
                  <a:close/>
                  <a:moveTo>
                    <a:pt x="178" y="43"/>
                  </a:moveTo>
                  <a:cubicBezTo>
                    <a:pt x="122" y="110"/>
                    <a:pt x="122" y="110"/>
                    <a:pt x="122" y="110"/>
                  </a:cubicBezTo>
                  <a:cubicBezTo>
                    <a:pt x="115" y="119"/>
                    <a:pt x="115" y="119"/>
                    <a:pt x="115" y="119"/>
                  </a:cubicBezTo>
                  <a:cubicBezTo>
                    <a:pt x="0" y="257"/>
                    <a:pt x="0" y="257"/>
                    <a:pt x="0" y="257"/>
                  </a:cubicBezTo>
                  <a:cubicBezTo>
                    <a:pt x="2" y="259"/>
                    <a:pt x="2" y="259"/>
                    <a:pt x="2" y="259"/>
                  </a:cubicBezTo>
                  <a:cubicBezTo>
                    <a:pt x="98" y="339"/>
                    <a:pt x="215" y="385"/>
                    <a:pt x="339" y="393"/>
                  </a:cubicBezTo>
                  <a:cubicBezTo>
                    <a:pt x="342" y="393"/>
                    <a:pt x="342" y="393"/>
                    <a:pt x="342" y="393"/>
                  </a:cubicBezTo>
                  <a:cubicBezTo>
                    <a:pt x="344" y="362"/>
                    <a:pt x="344" y="362"/>
                    <a:pt x="344" y="362"/>
                  </a:cubicBezTo>
                  <a:cubicBezTo>
                    <a:pt x="345" y="347"/>
                    <a:pt x="345" y="347"/>
                    <a:pt x="345" y="347"/>
                  </a:cubicBezTo>
                  <a:cubicBezTo>
                    <a:pt x="353" y="213"/>
                    <a:pt x="353" y="213"/>
                    <a:pt x="353" y="213"/>
                  </a:cubicBezTo>
                  <a:cubicBezTo>
                    <a:pt x="354" y="202"/>
                    <a:pt x="354" y="202"/>
                    <a:pt x="354" y="202"/>
                  </a:cubicBezTo>
                  <a:cubicBezTo>
                    <a:pt x="359" y="115"/>
                    <a:pt x="359" y="115"/>
                    <a:pt x="359" y="115"/>
                  </a:cubicBezTo>
                  <a:cubicBezTo>
                    <a:pt x="357" y="115"/>
                    <a:pt x="355" y="115"/>
                    <a:pt x="353" y="115"/>
                  </a:cubicBezTo>
                  <a:cubicBezTo>
                    <a:pt x="348" y="202"/>
                    <a:pt x="348" y="202"/>
                    <a:pt x="348" y="202"/>
                  </a:cubicBezTo>
                  <a:cubicBezTo>
                    <a:pt x="347" y="213"/>
                    <a:pt x="347" y="213"/>
                    <a:pt x="347" y="213"/>
                  </a:cubicBezTo>
                  <a:cubicBezTo>
                    <a:pt x="337" y="387"/>
                    <a:pt x="337" y="387"/>
                    <a:pt x="337" y="387"/>
                  </a:cubicBezTo>
                  <a:cubicBezTo>
                    <a:pt x="215" y="379"/>
                    <a:pt x="102" y="334"/>
                    <a:pt x="7" y="256"/>
                  </a:cubicBezTo>
                  <a:cubicBezTo>
                    <a:pt x="119" y="122"/>
                    <a:pt x="119" y="122"/>
                    <a:pt x="119" y="122"/>
                  </a:cubicBezTo>
                  <a:cubicBezTo>
                    <a:pt x="126" y="114"/>
                    <a:pt x="126" y="114"/>
                    <a:pt x="126" y="114"/>
                  </a:cubicBezTo>
                  <a:cubicBezTo>
                    <a:pt x="164" y="68"/>
                    <a:pt x="164" y="68"/>
                    <a:pt x="164" y="68"/>
                  </a:cubicBezTo>
                  <a:cubicBezTo>
                    <a:pt x="164" y="67"/>
                    <a:pt x="164" y="66"/>
                    <a:pt x="165" y="65"/>
                  </a:cubicBezTo>
                  <a:cubicBezTo>
                    <a:pt x="166" y="64"/>
                    <a:pt x="167" y="63"/>
                    <a:pt x="169" y="62"/>
                  </a:cubicBezTo>
                  <a:cubicBezTo>
                    <a:pt x="182" y="46"/>
                    <a:pt x="182" y="46"/>
                    <a:pt x="182" y="46"/>
                  </a:cubicBezTo>
                  <a:cubicBezTo>
                    <a:pt x="180" y="45"/>
                    <a:pt x="179" y="44"/>
                    <a:pt x="178" y="4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2" name="Freeform 22">
              <a:extLst>
                <a:ext uri="{FF2B5EF4-FFF2-40B4-BE49-F238E27FC236}">
                  <a16:creationId xmlns:a16="http://schemas.microsoft.com/office/drawing/2014/main" id="{4349E547-5B36-452A-9669-48D199D0053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55" y="2154"/>
              <a:ext cx="1137" cy="1136"/>
            </a:xfrm>
            <a:custGeom>
              <a:avLst/>
              <a:gdLst>
                <a:gd name="T0" fmla="*/ 482 w 482"/>
                <a:gd name="T1" fmla="*/ 0 h 482"/>
                <a:gd name="T2" fmla="*/ 408 w 482"/>
                <a:gd name="T3" fmla="*/ 0 h 482"/>
                <a:gd name="T4" fmla="*/ 397 w 482"/>
                <a:gd name="T5" fmla="*/ 0 h 482"/>
                <a:gd name="T6" fmla="*/ 378 w 482"/>
                <a:gd name="T7" fmla="*/ 0 h 482"/>
                <a:gd name="T8" fmla="*/ 378 w 482"/>
                <a:gd name="T9" fmla="*/ 2 h 482"/>
                <a:gd name="T10" fmla="*/ 312 w 482"/>
                <a:gd name="T11" fmla="*/ 2 h 482"/>
                <a:gd name="T12" fmla="*/ 312 w 482"/>
                <a:gd name="T13" fmla="*/ 5 h 482"/>
                <a:gd name="T14" fmla="*/ 2 w 482"/>
                <a:gd name="T15" fmla="*/ 312 h 482"/>
                <a:gd name="T16" fmla="*/ 0 w 482"/>
                <a:gd name="T17" fmla="*/ 312 h 482"/>
                <a:gd name="T18" fmla="*/ 0 w 482"/>
                <a:gd name="T19" fmla="*/ 326 h 482"/>
                <a:gd name="T20" fmla="*/ 2 w 482"/>
                <a:gd name="T21" fmla="*/ 326 h 482"/>
                <a:gd name="T22" fmla="*/ 5 w 482"/>
                <a:gd name="T23" fmla="*/ 326 h 482"/>
                <a:gd name="T24" fmla="*/ 5 w 482"/>
                <a:gd name="T25" fmla="*/ 317 h 482"/>
                <a:gd name="T26" fmla="*/ 317 w 482"/>
                <a:gd name="T27" fmla="*/ 5 h 482"/>
                <a:gd name="T28" fmla="*/ 476 w 482"/>
                <a:gd name="T29" fmla="*/ 5 h 482"/>
                <a:gd name="T30" fmla="*/ 5 w 482"/>
                <a:gd name="T31" fmla="*/ 476 h 482"/>
                <a:gd name="T32" fmla="*/ 5 w 482"/>
                <a:gd name="T33" fmla="*/ 408 h 482"/>
                <a:gd name="T34" fmla="*/ 5 w 482"/>
                <a:gd name="T35" fmla="*/ 397 h 482"/>
                <a:gd name="T36" fmla="*/ 5 w 482"/>
                <a:gd name="T37" fmla="*/ 342 h 482"/>
                <a:gd name="T38" fmla="*/ 2 w 482"/>
                <a:gd name="T39" fmla="*/ 342 h 482"/>
                <a:gd name="T40" fmla="*/ 2 w 482"/>
                <a:gd name="T41" fmla="*/ 342 h 482"/>
                <a:gd name="T42" fmla="*/ 0 w 482"/>
                <a:gd name="T43" fmla="*/ 342 h 482"/>
                <a:gd name="T44" fmla="*/ 0 w 482"/>
                <a:gd name="T45" fmla="*/ 397 h 482"/>
                <a:gd name="T46" fmla="*/ 0 w 482"/>
                <a:gd name="T47" fmla="*/ 408 h 482"/>
                <a:gd name="T48" fmla="*/ 0 w 482"/>
                <a:gd name="T49" fmla="*/ 482 h 482"/>
                <a:gd name="T50" fmla="*/ 2 w 482"/>
                <a:gd name="T51" fmla="*/ 482 h 482"/>
                <a:gd name="T52" fmla="*/ 482 w 482"/>
                <a:gd name="T53" fmla="*/ 5 h 482"/>
                <a:gd name="T54" fmla="*/ 482 w 482"/>
                <a:gd name="T55" fmla="*/ 2 h 482"/>
                <a:gd name="T56" fmla="*/ 482 w 482"/>
                <a:gd name="T57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08" y="0"/>
                    <a:pt x="408" y="0"/>
                    <a:pt x="408" y="0"/>
                  </a:cubicBezTo>
                  <a:cubicBezTo>
                    <a:pt x="397" y="0"/>
                    <a:pt x="397" y="0"/>
                    <a:pt x="397" y="0"/>
                  </a:cubicBezTo>
                  <a:cubicBezTo>
                    <a:pt x="378" y="0"/>
                    <a:pt x="378" y="0"/>
                    <a:pt x="378" y="0"/>
                  </a:cubicBezTo>
                  <a:cubicBezTo>
                    <a:pt x="378" y="1"/>
                    <a:pt x="378" y="2"/>
                    <a:pt x="378" y="2"/>
                  </a:cubicBezTo>
                  <a:cubicBezTo>
                    <a:pt x="312" y="2"/>
                    <a:pt x="312" y="2"/>
                    <a:pt x="312" y="2"/>
                  </a:cubicBezTo>
                  <a:cubicBezTo>
                    <a:pt x="312" y="3"/>
                    <a:pt x="312" y="4"/>
                    <a:pt x="312" y="5"/>
                  </a:cubicBezTo>
                  <a:cubicBezTo>
                    <a:pt x="310" y="174"/>
                    <a:pt x="172" y="312"/>
                    <a:pt x="2" y="312"/>
                  </a:cubicBezTo>
                  <a:cubicBezTo>
                    <a:pt x="0" y="312"/>
                    <a:pt x="0" y="312"/>
                    <a:pt x="0" y="312"/>
                  </a:cubicBezTo>
                  <a:cubicBezTo>
                    <a:pt x="0" y="326"/>
                    <a:pt x="0" y="326"/>
                    <a:pt x="0" y="326"/>
                  </a:cubicBezTo>
                  <a:cubicBezTo>
                    <a:pt x="1" y="326"/>
                    <a:pt x="1" y="326"/>
                    <a:pt x="2" y="326"/>
                  </a:cubicBezTo>
                  <a:cubicBezTo>
                    <a:pt x="3" y="326"/>
                    <a:pt x="4" y="326"/>
                    <a:pt x="5" y="326"/>
                  </a:cubicBezTo>
                  <a:cubicBezTo>
                    <a:pt x="5" y="317"/>
                    <a:pt x="5" y="317"/>
                    <a:pt x="5" y="317"/>
                  </a:cubicBezTo>
                  <a:cubicBezTo>
                    <a:pt x="177" y="316"/>
                    <a:pt x="316" y="177"/>
                    <a:pt x="317" y="5"/>
                  </a:cubicBezTo>
                  <a:cubicBezTo>
                    <a:pt x="476" y="5"/>
                    <a:pt x="476" y="5"/>
                    <a:pt x="476" y="5"/>
                  </a:cubicBezTo>
                  <a:cubicBezTo>
                    <a:pt x="475" y="264"/>
                    <a:pt x="264" y="475"/>
                    <a:pt x="5" y="476"/>
                  </a:cubicBezTo>
                  <a:cubicBezTo>
                    <a:pt x="5" y="408"/>
                    <a:pt x="5" y="408"/>
                    <a:pt x="5" y="408"/>
                  </a:cubicBezTo>
                  <a:cubicBezTo>
                    <a:pt x="5" y="397"/>
                    <a:pt x="5" y="397"/>
                    <a:pt x="5" y="397"/>
                  </a:cubicBezTo>
                  <a:cubicBezTo>
                    <a:pt x="5" y="342"/>
                    <a:pt x="5" y="342"/>
                    <a:pt x="5" y="342"/>
                  </a:cubicBezTo>
                  <a:cubicBezTo>
                    <a:pt x="4" y="342"/>
                    <a:pt x="3" y="342"/>
                    <a:pt x="2" y="342"/>
                  </a:cubicBezTo>
                  <a:cubicBezTo>
                    <a:pt x="2" y="342"/>
                    <a:pt x="2" y="342"/>
                    <a:pt x="2" y="342"/>
                  </a:cubicBezTo>
                  <a:cubicBezTo>
                    <a:pt x="1" y="342"/>
                    <a:pt x="1" y="342"/>
                    <a:pt x="0" y="342"/>
                  </a:cubicBezTo>
                  <a:cubicBezTo>
                    <a:pt x="0" y="397"/>
                    <a:pt x="0" y="397"/>
                    <a:pt x="0" y="397"/>
                  </a:cubicBezTo>
                  <a:cubicBezTo>
                    <a:pt x="0" y="408"/>
                    <a:pt x="0" y="408"/>
                    <a:pt x="0" y="408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2" y="482"/>
                    <a:pt x="2" y="482"/>
                    <a:pt x="2" y="482"/>
                  </a:cubicBezTo>
                  <a:cubicBezTo>
                    <a:pt x="266" y="482"/>
                    <a:pt x="480" y="268"/>
                    <a:pt x="482" y="5"/>
                  </a:cubicBezTo>
                  <a:cubicBezTo>
                    <a:pt x="482" y="4"/>
                    <a:pt x="482" y="3"/>
                    <a:pt x="482" y="2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3" name="Freeform 23">
              <a:extLst>
                <a:ext uri="{FF2B5EF4-FFF2-40B4-BE49-F238E27FC236}">
                  <a16:creationId xmlns:a16="http://schemas.microsoft.com/office/drawing/2014/main" id="{2AB94FBF-8CDC-436E-8E0C-7B5851D7281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531" y="1030"/>
              <a:ext cx="1136" cy="1136"/>
            </a:xfrm>
            <a:custGeom>
              <a:avLst/>
              <a:gdLst>
                <a:gd name="T0" fmla="*/ 482 w 482"/>
                <a:gd name="T1" fmla="*/ 0 h 482"/>
                <a:gd name="T2" fmla="*/ 479 w 482"/>
                <a:gd name="T3" fmla="*/ 0 h 482"/>
                <a:gd name="T4" fmla="*/ 0 w 482"/>
                <a:gd name="T5" fmla="*/ 479 h 482"/>
                <a:gd name="T6" fmla="*/ 0 w 482"/>
                <a:gd name="T7" fmla="*/ 482 h 482"/>
                <a:gd name="T8" fmla="*/ 74 w 482"/>
                <a:gd name="T9" fmla="*/ 482 h 482"/>
                <a:gd name="T10" fmla="*/ 85 w 482"/>
                <a:gd name="T11" fmla="*/ 482 h 482"/>
                <a:gd name="T12" fmla="*/ 170 w 482"/>
                <a:gd name="T13" fmla="*/ 482 h 482"/>
                <a:gd name="T14" fmla="*/ 170 w 482"/>
                <a:gd name="T15" fmla="*/ 479 h 482"/>
                <a:gd name="T16" fmla="*/ 479 w 482"/>
                <a:gd name="T17" fmla="*/ 170 h 482"/>
                <a:gd name="T18" fmla="*/ 479 w 482"/>
                <a:gd name="T19" fmla="*/ 153 h 482"/>
                <a:gd name="T20" fmla="*/ 477 w 482"/>
                <a:gd name="T21" fmla="*/ 153 h 482"/>
                <a:gd name="T22" fmla="*/ 477 w 482"/>
                <a:gd name="T23" fmla="*/ 165 h 482"/>
                <a:gd name="T24" fmla="*/ 165 w 482"/>
                <a:gd name="T25" fmla="*/ 477 h 482"/>
                <a:gd name="T26" fmla="*/ 153 w 482"/>
                <a:gd name="T27" fmla="*/ 477 h 482"/>
                <a:gd name="T28" fmla="*/ 153 w 482"/>
                <a:gd name="T29" fmla="*/ 479 h 482"/>
                <a:gd name="T30" fmla="*/ 142 w 482"/>
                <a:gd name="T31" fmla="*/ 479 h 482"/>
                <a:gd name="T32" fmla="*/ 142 w 482"/>
                <a:gd name="T33" fmla="*/ 477 h 482"/>
                <a:gd name="T34" fmla="*/ 85 w 482"/>
                <a:gd name="T35" fmla="*/ 477 h 482"/>
                <a:gd name="T36" fmla="*/ 74 w 482"/>
                <a:gd name="T37" fmla="*/ 477 h 482"/>
                <a:gd name="T38" fmla="*/ 6 w 482"/>
                <a:gd name="T39" fmla="*/ 477 h 482"/>
                <a:gd name="T40" fmla="*/ 477 w 482"/>
                <a:gd name="T41" fmla="*/ 6 h 482"/>
                <a:gd name="T42" fmla="*/ 477 w 482"/>
                <a:gd name="T43" fmla="*/ 74 h 482"/>
                <a:gd name="T44" fmla="*/ 477 w 482"/>
                <a:gd name="T45" fmla="*/ 85 h 482"/>
                <a:gd name="T46" fmla="*/ 477 w 482"/>
                <a:gd name="T47" fmla="*/ 142 h 482"/>
                <a:gd name="T48" fmla="*/ 479 w 482"/>
                <a:gd name="T49" fmla="*/ 142 h 482"/>
                <a:gd name="T50" fmla="*/ 479 w 482"/>
                <a:gd name="T51" fmla="*/ 104 h 482"/>
                <a:gd name="T52" fmla="*/ 482 w 482"/>
                <a:gd name="T53" fmla="*/ 104 h 482"/>
                <a:gd name="T54" fmla="*/ 482 w 482"/>
                <a:gd name="T55" fmla="*/ 85 h 482"/>
                <a:gd name="T56" fmla="*/ 482 w 482"/>
                <a:gd name="T57" fmla="*/ 74 h 482"/>
                <a:gd name="T58" fmla="*/ 482 w 482"/>
                <a:gd name="T59" fmla="*/ 0 h 4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482" h="482">
                  <a:moveTo>
                    <a:pt x="482" y="0"/>
                  </a:moveTo>
                  <a:cubicBezTo>
                    <a:pt x="479" y="0"/>
                    <a:pt x="479" y="0"/>
                    <a:pt x="479" y="0"/>
                  </a:cubicBezTo>
                  <a:cubicBezTo>
                    <a:pt x="215" y="0"/>
                    <a:pt x="0" y="215"/>
                    <a:pt x="0" y="479"/>
                  </a:cubicBezTo>
                  <a:cubicBezTo>
                    <a:pt x="0" y="482"/>
                    <a:pt x="0" y="482"/>
                    <a:pt x="0" y="482"/>
                  </a:cubicBezTo>
                  <a:cubicBezTo>
                    <a:pt x="74" y="482"/>
                    <a:pt x="74" y="482"/>
                    <a:pt x="74" y="482"/>
                  </a:cubicBezTo>
                  <a:cubicBezTo>
                    <a:pt x="85" y="482"/>
                    <a:pt x="85" y="482"/>
                    <a:pt x="85" y="482"/>
                  </a:cubicBezTo>
                  <a:cubicBezTo>
                    <a:pt x="170" y="482"/>
                    <a:pt x="170" y="482"/>
                    <a:pt x="170" y="482"/>
                  </a:cubicBezTo>
                  <a:cubicBezTo>
                    <a:pt x="170" y="479"/>
                    <a:pt x="170" y="479"/>
                    <a:pt x="170" y="479"/>
                  </a:cubicBezTo>
                  <a:cubicBezTo>
                    <a:pt x="170" y="309"/>
                    <a:pt x="309" y="170"/>
                    <a:pt x="479" y="170"/>
                  </a:cubicBezTo>
                  <a:cubicBezTo>
                    <a:pt x="479" y="153"/>
                    <a:pt x="479" y="153"/>
                    <a:pt x="479" y="153"/>
                  </a:cubicBezTo>
                  <a:cubicBezTo>
                    <a:pt x="479" y="153"/>
                    <a:pt x="478" y="153"/>
                    <a:pt x="477" y="153"/>
                  </a:cubicBezTo>
                  <a:cubicBezTo>
                    <a:pt x="477" y="165"/>
                    <a:pt x="477" y="165"/>
                    <a:pt x="477" y="165"/>
                  </a:cubicBezTo>
                  <a:cubicBezTo>
                    <a:pt x="305" y="166"/>
                    <a:pt x="166" y="305"/>
                    <a:pt x="165" y="477"/>
                  </a:cubicBezTo>
                  <a:cubicBezTo>
                    <a:pt x="153" y="477"/>
                    <a:pt x="153" y="477"/>
                    <a:pt x="153" y="477"/>
                  </a:cubicBezTo>
                  <a:cubicBezTo>
                    <a:pt x="153" y="478"/>
                    <a:pt x="153" y="479"/>
                    <a:pt x="153" y="479"/>
                  </a:cubicBezTo>
                  <a:cubicBezTo>
                    <a:pt x="142" y="479"/>
                    <a:pt x="142" y="479"/>
                    <a:pt x="142" y="479"/>
                  </a:cubicBezTo>
                  <a:cubicBezTo>
                    <a:pt x="142" y="479"/>
                    <a:pt x="142" y="478"/>
                    <a:pt x="142" y="477"/>
                  </a:cubicBezTo>
                  <a:cubicBezTo>
                    <a:pt x="85" y="477"/>
                    <a:pt x="85" y="477"/>
                    <a:pt x="85" y="477"/>
                  </a:cubicBezTo>
                  <a:cubicBezTo>
                    <a:pt x="74" y="477"/>
                    <a:pt x="74" y="477"/>
                    <a:pt x="74" y="477"/>
                  </a:cubicBezTo>
                  <a:cubicBezTo>
                    <a:pt x="6" y="477"/>
                    <a:pt x="6" y="477"/>
                    <a:pt x="6" y="477"/>
                  </a:cubicBezTo>
                  <a:cubicBezTo>
                    <a:pt x="7" y="218"/>
                    <a:pt x="218" y="7"/>
                    <a:pt x="477" y="6"/>
                  </a:cubicBezTo>
                  <a:cubicBezTo>
                    <a:pt x="477" y="74"/>
                    <a:pt x="477" y="74"/>
                    <a:pt x="477" y="74"/>
                  </a:cubicBezTo>
                  <a:cubicBezTo>
                    <a:pt x="477" y="85"/>
                    <a:pt x="477" y="85"/>
                    <a:pt x="477" y="85"/>
                  </a:cubicBezTo>
                  <a:cubicBezTo>
                    <a:pt x="477" y="142"/>
                    <a:pt x="477" y="142"/>
                    <a:pt x="477" y="142"/>
                  </a:cubicBezTo>
                  <a:cubicBezTo>
                    <a:pt x="478" y="142"/>
                    <a:pt x="479" y="142"/>
                    <a:pt x="479" y="142"/>
                  </a:cubicBezTo>
                  <a:cubicBezTo>
                    <a:pt x="479" y="104"/>
                    <a:pt x="479" y="104"/>
                    <a:pt x="479" y="104"/>
                  </a:cubicBezTo>
                  <a:cubicBezTo>
                    <a:pt x="480" y="104"/>
                    <a:pt x="481" y="104"/>
                    <a:pt x="482" y="104"/>
                  </a:cubicBezTo>
                  <a:cubicBezTo>
                    <a:pt x="482" y="85"/>
                    <a:pt x="482" y="85"/>
                    <a:pt x="482" y="85"/>
                  </a:cubicBezTo>
                  <a:cubicBezTo>
                    <a:pt x="482" y="74"/>
                    <a:pt x="482" y="74"/>
                    <a:pt x="482" y="74"/>
                  </a:cubicBezTo>
                  <a:lnTo>
                    <a:pt x="48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Freeform 24">
              <a:extLst>
                <a:ext uri="{FF2B5EF4-FFF2-40B4-BE49-F238E27FC236}">
                  <a16:creationId xmlns:a16="http://schemas.microsoft.com/office/drawing/2014/main" id="{FF815E51-BB4E-40DC-93D8-2647D8609D2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865" y="1364"/>
              <a:ext cx="795" cy="795"/>
            </a:xfrm>
            <a:custGeom>
              <a:avLst/>
              <a:gdLst>
                <a:gd name="T0" fmla="*/ 337 w 337"/>
                <a:gd name="T1" fmla="*/ 0 h 337"/>
                <a:gd name="T2" fmla="*/ 335 w 337"/>
                <a:gd name="T3" fmla="*/ 0 h 337"/>
                <a:gd name="T4" fmla="*/ 0 w 337"/>
                <a:gd name="T5" fmla="*/ 335 h 337"/>
                <a:gd name="T6" fmla="*/ 0 w 337"/>
                <a:gd name="T7" fmla="*/ 337 h 337"/>
                <a:gd name="T8" fmla="*/ 11 w 337"/>
                <a:gd name="T9" fmla="*/ 337 h 337"/>
                <a:gd name="T10" fmla="*/ 11 w 337"/>
                <a:gd name="T11" fmla="*/ 335 h 337"/>
                <a:gd name="T12" fmla="*/ 335 w 337"/>
                <a:gd name="T13" fmla="*/ 11 h 337"/>
                <a:gd name="T14" fmla="*/ 337 w 337"/>
                <a:gd name="T15" fmla="*/ 11 h 337"/>
                <a:gd name="T16" fmla="*/ 337 w 337"/>
                <a:gd name="T17" fmla="*/ 0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7" h="337">
                  <a:moveTo>
                    <a:pt x="337" y="0"/>
                  </a:moveTo>
                  <a:cubicBezTo>
                    <a:pt x="337" y="0"/>
                    <a:pt x="336" y="0"/>
                    <a:pt x="335" y="0"/>
                  </a:cubicBezTo>
                  <a:cubicBezTo>
                    <a:pt x="151" y="2"/>
                    <a:pt x="2" y="151"/>
                    <a:pt x="0" y="335"/>
                  </a:cubicBezTo>
                  <a:cubicBezTo>
                    <a:pt x="0" y="336"/>
                    <a:pt x="0" y="337"/>
                    <a:pt x="0" y="337"/>
                  </a:cubicBezTo>
                  <a:cubicBezTo>
                    <a:pt x="11" y="337"/>
                    <a:pt x="11" y="337"/>
                    <a:pt x="11" y="337"/>
                  </a:cubicBezTo>
                  <a:cubicBezTo>
                    <a:pt x="11" y="337"/>
                    <a:pt x="11" y="336"/>
                    <a:pt x="11" y="335"/>
                  </a:cubicBezTo>
                  <a:cubicBezTo>
                    <a:pt x="13" y="157"/>
                    <a:pt x="157" y="13"/>
                    <a:pt x="335" y="11"/>
                  </a:cubicBezTo>
                  <a:cubicBezTo>
                    <a:pt x="336" y="11"/>
                    <a:pt x="337" y="11"/>
                    <a:pt x="337" y="11"/>
                  </a:cubicBezTo>
                  <a:cubicBezTo>
                    <a:pt x="337" y="0"/>
                    <a:pt x="337" y="0"/>
                    <a:pt x="337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5" name="Freeform 25">
              <a:extLst>
                <a:ext uri="{FF2B5EF4-FFF2-40B4-BE49-F238E27FC236}">
                  <a16:creationId xmlns:a16="http://schemas.microsoft.com/office/drawing/2014/main" id="{12E9C971-88E4-4CF3-B8B3-A9E5060E444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865" y="2229"/>
              <a:ext cx="816" cy="731"/>
            </a:xfrm>
            <a:custGeom>
              <a:avLst/>
              <a:gdLst>
                <a:gd name="T0" fmla="*/ 7 w 346"/>
                <a:gd name="T1" fmla="*/ 0 h 310"/>
                <a:gd name="T2" fmla="*/ 0 w 346"/>
                <a:gd name="T3" fmla="*/ 9 h 310"/>
                <a:gd name="T4" fmla="*/ 9 w 346"/>
                <a:gd name="T5" fmla="*/ 17 h 310"/>
                <a:gd name="T6" fmla="*/ 16 w 346"/>
                <a:gd name="T7" fmla="*/ 7 h 310"/>
                <a:gd name="T8" fmla="*/ 8 w 346"/>
                <a:gd name="T9" fmla="*/ 0 h 310"/>
                <a:gd name="T10" fmla="*/ 14 w 346"/>
                <a:gd name="T11" fmla="*/ 44 h 310"/>
                <a:gd name="T12" fmla="*/ 16 w 346"/>
                <a:gd name="T13" fmla="*/ 60 h 310"/>
                <a:gd name="T14" fmla="*/ 24 w 346"/>
                <a:gd name="T15" fmla="*/ 50 h 310"/>
                <a:gd name="T16" fmla="*/ 29 w 346"/>
                <a:gd name="T17" fmla="*/ 85 h 310"/>
                <a:gd name="T18" fmla="*/ 22 w 346"/>
                <a:gd name="T19" fmla="*/ 96 h 310"/>
                <a:gd name="T20" fmla="*/ 32 w 346"/>
                <a:gd name="T21" fmla="*/ 101 h 310"/>
                <a:gd name="T22" fmla="*/ 29 w 346"/>
                <a:gd name="T23" fmla="*/ 85 h 310"/>
                <a:gd name="T24" fmla="*/ 44 w 346"/>
                <a:gd name="T25" fmla="*/ 126 h 310"/>
                <a:gd name="T26" fmla="*/ 48 w 346"/>
                <a:gd name="T27" fmla="*/ 141 h 310"/>
                <a:gd name="T28" fmla="*/ 55 w 346"/>
                <a:gd name="T29" fmla="*/ 129 h 310"/>
                <a:gd name="T30" fmla="*/ 72 w 346"/>
                <a:gd name="T31" fmla="*/ 161 h 310"/>
                <a:gd name="T32" fmla="*/ 66 w 346"/>
                <a:gd name="T33" fmla="*/ 174 h 310"/>
                <a:gd name="T34" fmla="*/ 77 w 346"/>
                <a:gd name="T35" fmla="*/ 176 h 310"/>
                <a:gd name="T36" fmla="*/ 72 w 346"/>
                <a:gd name="T37" fmla="*/ 161 h 310"/>
                <a:gd name="T38" fmla="*/ 95 w 346"/>
                <a:gd name="T39" fmla="*/ 197 h 310"/>
                <a:gd name="T40" fmla="*/ 95 w 346"/>
                <a:gd name="T41" fmla="*/ 209 h 310"/>
                <a:gd name="T42" fmla="*/ 107 w 346"/>
                <a:gd name="T43" fmla="*/ 209 h 310"/>
                <a:gd name="T44" fmla="*/ 101 w 346"/>
                <a:gd name="T45" fmla="*/ 195 h 310"/>
                <a:gd name="T46" fmla="*/ 131 w 346"/>
                <a:gd name="T47" fmla="*/ 224 h 310"/>
                <a:gd name="T48" fmla="*/ 126 w 346"/>
                <a:gd name="T49" fmla="*/ 230 h 310"/>
                <a:gd name="T50" fmla="*/ 134 w 346"/>
                <a:gd name="T51" fmla="*/ 240 h 310"/>
                <a:gd name="T52" fmla="*/ 139 w 346"/>
                <a:gd name="T53" fmla="*/ 225 h 310"/>
                <a:gd name="T54" fmla="*/ 170 w 346"/>
                <a:gd name="T55" fmla="*/ 248 h 310"/>
                <a:gd name="T56" fmla="*/ 166 w 346"/>
                <a:gd name="T57" fmla="*/ 264 h 310"/>
                <a:gd name="T58" fmla="*/ 177 w 346"/>
                <a:gd name="T59" fmla="*/ 261 h 310"/>
                <a:gd name="T60" fmla="*/ 170 w 346"/>
                <a:gd name="T61" fmla="*/ 248 h 310"/>
                <a:gd name="T62" fmla="*/ 202 w 346"/>
                <a:gd name="T63" fmla="*/ 273 h 310"/>
                <a:gd name="T64" fmla="*/ 209 w 346"/>
                <a:gd name="T65" fmla="*/ 285 h 310"/>
                <a:gd name="T66" fmla="*/ 212 w 346"/>
                <a:gd name="T67" fmla="*/ 269 h 310"/>
                <a:gd name="T68" fmla="*/ 251 w 346"/>
                <a:gd name="T69" fmla="*/ 282 h 310"/>
                <a:gd name="T70" fmla="*/ 249 w 346"/>
                <a:gd name="T71" fmla="*/ 299 h 310"/>
                <a:gd name="T72" fmla="*/ 251 w 346"/>
                <a:gd name="T73" fmla="*/ 299 h 310"/>
                <a:gd name="T74" fmla="*/ 253 w 346"/>
                <a:gd name="T75" fmla="*/ 283 h 310"/>
                <a:gd name="T76" fmla="*/ 251 w 346"/>
                <a:gd name="T77" fmla="*/ 282 h 310"/>
                <a:gd name="T78" fmla="*/ 286 w 346"/>
                <a:gd name="T79" fmla="*/ 298 h 310"/>
                <a:gd name="T80" fmla="*/ 294 w 346"/>
                <a:gd name="T81" fmla="*/ 307 h 310"/>
                <a:gd name="T82" fmla="*/ 295 w 346"/>
                <a:gd name="T83" fmla="*/ 291 h 310"/>
                <a:gd name="T84" fmla="*/ 337 w 346"/>
                <a:gd name="T85" fmla="*/ 294 h 310"/>
                <a:gd name="T86" fmla="*/ 329 w 346"/>
                <a:gd name="T87" fmla="*/ 302 h 310"/>
                <a:gd name="T88" fmla="*/ 337 w 346"/>
                <a:gd name="T89" fmla="*/ 310 h 310"/>
                <a:gd name="T90" fmla="*/ 340 w 346"/>
                <a:gd name="T91" fmla="*/ 310 h 310"/>
                <a:gd name="T92" fmla="*/ 340 w 346"/>
                <a:gd name="T93" fmla="*/ 294 h 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6" h="310">
                  <a:moveTo>
                    <a:pt x="8" y="0"/>
                  </a:moveTo>
                  <a:cubicBezTo>
                    <a:pt x="8" y="0"/>
                    <a:pt x="7" y="0"/>
                    <a:pt x="7" y="0"/>
                  </a:cubicBezTo>
                  <a:cubicBezTo>
                    <a:pt x="4" y="1"/>
                    <a:pt x="2" y="2"/>
                    <a:pt x="1" y="4"/>
                  </a:cubicBezTo>
                  <a:cubicBezTo>
                    <a:pt x="0" y="6"/>
                    <a:pt x="0" y="8"/>
                    <a:pt x="0" y="9"/>
                  </a:cubicBezTo>
                  <a:cubicBezTo>
                    <a:pt x="0" y="13"/>
                    <a:pt x="4" y="17"/>
                    <a:pt x="8" y="17"/>
                  </a:cubicBezTo>
                  <a:cubicBezTo>
                    <a:pt x="8" y="17"/>
                    <a:pt x="9" y="17"/>
                    <a:pt x="9" y="17"/>
                  </a:cubicBezTo>
                  <a:cubicBezTo>
                    <a:pt x="14" y="16"/>
                    <a:pt x="17" y="12"/>
                    <a:pt x="16" y="7"/>
                  </a:cubicBezTo>
                  <a:cubicBezTo>
                    <a:pt x="16" y="7"/>
                    <a:pt x="16" y="7"/>
                    <a:pt x="16" y="7"/>
                  </a:cubicBezTo>
                  <a:cubicBezTo>
                    <a:pt x="16" y="6"/>
                    <a:pt x="15" y="4"/>
                    <a:pt x="14" y="3"/>
                  </a:cubicBezTo>
                  <a:cubicBezTo>
                    <a:pt x="13" y="1"/>
                    <a:pt x="11" y="0"/>
                    <a:pt x="8" y="0"/>
                  </a:cubicBezTo>
                  <a:moveTo>
                    <a:pt x="16" y="43"/>
                  </a:moveTo>
                  <a:cubicBezTo>
                    <a:pt x="15" y="43"/>
                    <a:pt x="15" y="43"/>
                    <a:pt x="14" y="44"/>
                  </a:cubicBezTo>
                  <a:cubicBezTo>
                    <a:pt x="9" y="45"/>
                    <a:pt x="7" y="49"/>
                    <a:pt x="8" y="54"/>
                  </a:cubicBezTo>
                  <a:cubicBezTo>
                    <a:pt x="9" y="57"/>
                    <a:pt x="12" y="60"/>
                    <a:pt x="16" y="60"/>
                  </a:cubicBezTo>
                  <a:cubicBezTo>
                    <a:pt x="17" y="60"/>
                    <a:pt x="17" y="60"/>
                    <a:pt x="18" y="60"/>
                  </a:cubicBezTo>
                  <a:cubicBezTo>
                    <a:pt x="22" y="58"/>
                    <a:pt x="25" y="54"/>
                    <a:pt x="24" y="50"/>
                  </a:cubicBezTo>
                  <a:cubicBezTo>
                    <a:pt x="23" y="46"/>
                    <a:pt x="20" y="43"/>
                    <a:pt x="16" y="43"/>
                  </a:cubicBezTo>
                  <a:moveTo>
                    <a:pt x="29" y="85"/>
                  </a:moveTo>
                  <a:cubicBezTo>
                    <a:pt x="28" y="85"/>
                    <a:pt x="27" y="85"/>
                    <a:pt x="26" y="86"/>
                  </a:cubicBezTo>
                  <a:cubicBezTo>
                    <a:pt x="22" y="87"/>
                    <a:pt x="20" y="92"/>
                    <a:pt x="22" y="96"/>
                  </a:cubicBezTo>
                  <a:cubicBezTo>
                    <a:pt x="23" y="100"/>
                    <a:pt x="26" y="102"/>
                    <a:pt x="29" y="102"/>
                  </a:cubicBezTo>
                  <a:cubicBezTo>
                    <a:pt x="30" y="102"/>
                    <a:pt x="31" y="101"/>
                    <a:pt x="32" y="101"/>
                  </a:cubicBezTo>
                  <a:cubicBezTo>
                    <a:pt x="37" y="99"/>
                    <a:pt x="39" y="94"/>
                    <a:pt x="37" y="90"/>
                  </a:cubicBezTo>
                  <a:cubicBezTo>
                    <a:pt x="36" y="87"/>
                    <a:pt x="33" y="85"/>
                    <a:pt x="29" y="85"/>
                  </a:cubicBezTo>
                  <a:moveTo>
                    <a:pt x="48" y="125"/>
                  </a:moveTo>
                  <a:cubicBezTo>
                    <a:pt x="47" y="125"/>
                    <a:pt x="46" y="125"/>
                    <a:pt x="44" y="126"/>
                  </a:cubicBezTo>
                  <a:cubicBezTo>
                    <a:pt x="40" y="128"/>
                    <a:pt x="39" y="133"/>
                    <a:pt x="41" y="137"/>
                  </a:cubicBezTo>
                  <a:cubicBezTo>
                    <a:pt x="43" y="140"/>
                    <a:pt x="45" y="141"/>
                    <a:pt x="48" y="141"/>
                  </a:cubicBezTo>
                  <a:cubicBezTo>
                    <a:pt x="50" y="141"/>
                    <a:pt x="51" y="141"/>
                    <a:pt x="52" y="140"/>
                  </a:cubicBezTo>
                  <a:cubicBezTo>
                    <a:pt x="56" y="138"/>
                    <a:pt x="58" y="133"/>
                    <a:pt x="55" y="129"/>
                  </a:cubicBezTo>
                  <a:cubicBezTo>
                    <a:pt x="54" y="126"/>
                    <a:pt x="51" y="125"/>
                    <a:pt x="48" y="125"/>
                  </a:cubicBezTo>
                  <a:moveTo>
                    <a:pt x="72" y="161"/>
                  </a:moveTo>
                  <a:cubicBezTo>
                    <a:pt x="71" y="161"/>
                    <a:pt x="69" y="162"/>
                    <a:pt x="67" y="163"/>
                  </a:cubicBezTo>
                  <a:cubicBezTo>
                    <a:pt x="64" y="166"/>
                    <a:pt x="63" y="171"/>
                    <a:pt x="66" y="174"/>
                  </a:cubicBezTo>
                  <a:cubicBezTo>
                    <a:pt x="67" y="177"/>
                    <a:pt x="70" y="178"/>
                    <a:pt x="72" y="178"/>
                  </a:cubicBezTo>
                  <a:cubicBezTo>
                    <a:pt x="74" y="178"/>
                    <a:pt x="76" y="177"/>
                    <a:pt x="77" y="176"/>
                  </a:cubicBezTo>
                  <a:cubicBezTo>
                    <a:pt x="81" y="173"/>
                    <a:pt x="82" y="168"/>
                    <a:pt x="79" y="165"/>
                  </a:cubicBezTo>
                  <a:cubicBezTo>
                    <a:pt x="77" y="162"/>
                    <a:pt x="75" y="161"/>
                    <a:pt x="72" y="161"/>
                  </a:cubicBezTo>
                  <a:moveTo>
                    <a:pt x="101" y="195"/>
                  </a:moveTo>
                  <a:cubicBezTo>
                    <a:pt x="99" y="195"/>
                    <a:pt x="97" y="195"/>
                    <a:pt x="95" y="197"/>
                  </a:cubicBezTo>
                  <a:cubicBezTo>
                    <a:pt x="92" y="200"/>
                    <a:pt x="92" y="205"/>
                    <a:pt x="95" y="209"/>
                  </a:cubicBezTo>
                  <a:cubicBezTo>
                    <a:pt x="95" y="209"/>
                    <a:pt x="95" y="209"/>
                    <a:pt x="95" y="209"/>
                  </a:cubicBezTo>
                  <a:cubicBezTo>
                    <a:pt x="97" y="210"/>
                    <a:pt x="99" y="211"/>
                    <a:pt x="101" y="211"/>
                  </a:cubicBezTo>
                  <a:cubicBezTo>
                    <a:pt x="103" y="211"/>
                    <a:pt x="105" y="210"/>
                    <a:pt x="107" y="209"/>
                  </a:cubicBezTo>
                  <a:cubicBezTo>
                    <a:pt x="110" y="205"/>
                    <a:pt x="110" y="200"/>
                    <a:pt x="107" y="197"/>
                  </a:cubicBezTo>
                  <a:cubicBezTo>
                    <a:pt x="105" y="195"/>
                    <a:pt x="103" y="195"/>
                    <a:pt x="101" y="195"/>
                  </a:cubicBezTo>
                  <a:moveTo>
                    <a:pt x="134" y="224"/>
                  </a:moveTo>
                  <a:cubicBezTo>
                    <a:pt x="133" y="224"/>
                    <a:pt x="132" y="224"/>
                    <a:pt x="131" y="224"/>
                  </a:cubicBezTo>
                  <a:cubicBezTo>
                    <a:pt x="129" y="225"/>
                    <a:pt x="128" y="226"/>
                    <a:pt x="127" y="227"/>
                  </a:cubicBezTo>
                  <a:cubicBezTo>
                    <a:pt x="126" y="228"/>
                    <a:pt x="126" y="229"/>
                    <a:pt x="126" y="230"/>
                  </a:cubicBezTo>
                  <a:cubicBezTo>
                    <a:pt x="125" y="233"/>
                    <a:pt x="126" y="237"/>
                    <a:pt x="129" y="238"/>
                  </a:cubicBezTo>
                  <a:cubicBezTo>
                    <a:pt x="130" y="240"/>
                    <a:pt x="132" y="240"/>
                    <a:pt x="134" y="240"/>
                  </a:cubicBezTo>
                  <a:cubicBezTo>
                    <a:pt x="136" y="240"/>
                    <a:pt x="138" y="239"/>
                    <a:pt x="140" y="237"/>
                  </a:cubicBezTo>
                  <a:cubicBezTo>
                    <a:pt x="143" y="233"/>
                    <a:pt x="142" y="228"/>
                    <a:pt x="139" y="225"/>
                  </a:cubicBezTo>
                  <a:cubicBezTo>
                    <a:pt x="137" y="224"/>
                    <a:pt x="135" y="224"/>
                    <a:pt x="134" y="224"/>
                  </a:cubicBezTo>
                  <a:moveTo>
                    <a:pt x="170" y="248"/>
                  </a:moveTo>
                  <a:cubicBezTo>
                    <a:pt x="167" y="248"/>
                    <a:pt x="164" y="250"/>
                    <a:pt x="163" y="252"/>
                  </a:cubicBezTo>
                  <a:cubicBezTo>
                    <a:pt x="161" y="256"/>
                    <a:pt x="162" y="261"/>
                    <a:pt x="166" y="264"/>
                  </a:cubicBezTo>
                  <a:cubicBezTo>
                    <a:pt x="167" y="265"/>
                    <a:pt x="168" y="265"/>
                    <a:pt x="170" y="265"/>
                  </a:cubicBezTo>
                  <a:cubicBezTo>
                    <a:pt x="173" y="265"/>
                    <a:pt x="175" y="263"/>
                    <a:pt x="177" y="261"/>
                  </a:cubicBezTo>
                  <a:cubicBezTo>
                    <a:pt x="179" y="257"/>
                    <a:pt x="178" y="252"/>
                    <a:pt x="174" y="250"/>
                  </a:cubicBezTo>
                  <a:cubicBezTo>
                    <a:pt x="173" y="249"/>
                    <a:pt x="171" y="248"/>
                    <a:pt x="170" y="248"/>
                  </a:cubicBezTo>
                  <a:moveTo>
                    <a:pt x="209" y="268"/>
                  </a:moveTo>
                  <a:cubicBezTo>
                    <a:pt x="206" y="268"/>
                    <a:pt x="203" y="270"/>
                    <a:pt x="202" y="273"/>
                  </a:cubicBezTo>
                  <a:cubicBezTo>
                    <a:pt x="200" y="277"/>
                    <a:pt x="202" y="282"/>
                    <a:pt x="206" y="284"/>
                  </a:cubicBezTo>
                  <a:cubicBezTo>
                    <a:pt x="207" y="284"/>
                    <a:pt x="208" y="285"/>
                    <a:pt x="209" y="285"/>
                  </a:cubicBezTo>
                  <a:cubicBezTo>
                    <a:pt x="212" y="285"/>
                    <a:pt x="215" y="283"/>
                    <a:pt x="217" y="279"/>
                  </a:cubicBezTo>
                  <a:cubicBezTo>
                    <a:pt x="219" y="275"/>
                    <a:pt x="217" y="270"/>
                    <a:pt x="212" y="269"/>
                  </a:cubicBezTo>
                  <a:cubicBezTo>
                    <a:pt x="211" y="268"/>
                    <a:pt x="210" y="268"/>
                    <a:pt x="209" y="268"/>
                  </a:cubicBezTo>
                  <a:moveTo>
                    <a:pt x="251" y="282"/>
                  </a:moveTo>
                  <a:cubicBezTo>
                    <a:pt x="247" y="282"/>
                    <a:pt x="244" y="285"/>
                    <a:pt x="243" y="288"/>
                  </a:cubicBezTo>
                  <a:cubicBezTo>
                    <a:pt x="242" y="293"/>
                    <a:pt x="244" y="297"/>
                    <a:pt x="249" y="299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49" y="299"/>
                    <a:pt x="250" y="299"/>
                    <a:pt x="251" y="299"/>
                  </a:cubicBezTo>
                  <a:cubicBezTo>
                    <a:pt x="254" y="299"/>
                    <a:pt x="258" y="296"/>
                    <a:pt x="259" y="293"/>
                  </a:cubicBezTo>
                  <a:cubicBezTo>
                    <a:pt x="260" y="288"/>
                    <a:pt x="257" y="284"/>
                    <a:pt x="253" y="283"/>
                  </a:cubicBezTo>
                  <a:cubicBezTo>
                    <a:pt x="253" y="283"/>
                    <a:pt x="253" y="283"/>
                    <a:pt x="253" y="283"/>
                  </a:cubicBezTo>
                  <a:cubicBezTo>
                    <a:pt x="252" y="282"/>
                    <a:pt x="251" y="282"/>
                    <a:pt x="251" y="282"/>
                  </a:cubicBezTo>
                  <a:moveTo>
                    <a:pt x="294" y="291"/>
                  </a:moveTo>
                  <a:cubicBezTo>
                    <a:pt x="290" y="291"/>
                    <a:pt x="286" y="294"/>
                    <a:pt x="286" y="298"/>
                  </a:cubicBezTo>
                  <a:cubicBezTo>
                    <a:pt x="285" y="303"/>
                    <a:pt x="288" y="307"/>
                    <a:pt x="293" y="307"/>
                  </a:cubicBezTo>
                  <a:cubicBezTo>
                    <a:pt x="293" y="307"/>
                    <a:pt x="293" y="307"/>
                    <a:pt x="294" y="307"/>
                  </a:cubicBezTo>
                  <a:cubicBezTo>
                    <a:pt x="298" y="307"/>
                    <a:pt x="301" y="304"/>
                    <a:pt x="302" y="300"/>
                  </a:cubicBezTo>
                  <a:cubicBezTo>
                    <a:pt x="302" y="296"/>
                    <a:pt x="299" y="292"/>
                    <a:pt x="295" y="291"/>
                  </a:cubicBezTo>
                  <a:cubicBezTo>
                    <a:pt x="294" y="291"/>
                    <a:pt x="294" y="291"/>
                    <a:pt x="294" y="291"/>
                  </a:cubicBezTo>
                  <a:moveTo>
                    <a:pt x="337" y="294"/>
                  </a:moveTo>
                  <a:cubicBezTo>
                    <a:pt x="336" y="294"/>
                    <a:pt x="336" y="294"/>
                    <a:pt x="335" y="294"/>
                  </a:cubicBezTo>
                  <a:cubicBezTo>
                    <a:pt x="331" y="295"/>
                    <a:pt x="329" y="298"/>
                    <a:pt x="329" y="302"/>
                  </a:cubicBezTo>
                  <a:cubicBezTo>
                    <a:pt x="329" y="306"/>
                    <a:pt x="331" y="309"/>
                    <a:pt x="335" y="310"/>
                  </a:cubicBezTo>
                  <a:cubicBezTo>
                    <a:pt x="336" y="310"/>
                    <a:pt x="336" y="310"/>
                    <a:pt x="337" y="310"/>
                  </a:cubicBezTo>
                  <a:cubicBezTo>
                    <a:pt x="337" y="310"/>
                    <a:pt x="337" y="310"/>
                    <a:pt x="337" y="310"/>
                  </a:cubicBezTo>
                  <a:cubicBezTo>
                    <a:pt x="338" y="310"/>
                    <a:pt x="339" y="310"/>
                    <a:pt x="340" y="310"/>
                  </a:cubicBezTo>
                  <a:cubicBezTo>
                    <a:pt x="343" y="309"/>
                    <a:pt x="346" y="306"/>
                    <a:pt x="346" y="302"/>
                  </a:cubicBezTo>
                  <a:cubicBezTo>
                    <a:pt x="346" y="298"/>
                    <a:pt x="343" y="295"/>
                    <a:pt x="340" y="294"/>
                  </a:cubicBezTo>
                  <a:cubicBezTo>
                    <a:pt x="339" y="294"/>
                    <a:pt x="338" y="294"/>
                    <a:pt x="337" y="2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6" name="Freeform 26">
              <a:extLst>
                <a:ext uri="{FF2B5EF4-FFF2-40B4-BE49-F238E27FC236}">
                  <a16:creationId xmlns:a16="http://schemas.microsoft.com/office/drawing/2014/main" id="{76E62E7D-5ECA-44AD-8469-17E9F6DF680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2660" y="1275"/>
              <a:ext cx="887" cy="884"/>
            </a:xfrm>
            <a:custGeom>
              <a:avLst/>
              <a:gdLst>
                <a:gd name="T0" fmla="*/ 0 w 376"/>
                <a:gd name="T1" fmla="*/ 0 h 375"/>
                <a:gd name="T2" fmla="*/ 0 w 376"/>
                <a:gd name="T3" fmla="*/ 38 h 375"/>
                <a:gd name="T4" fmla="*/ 0 w 376"/>
                <a:gd name="T5" fmla="*/ 49 h 375"/>
                <a:gd name="T6" fmla="*/ 0 w 376"/>
                <a:gd name="T7" fmla="*/ 66 h 375"/>
                <a:gd name="T8" fmla="*/ 0 w 376"/>
                <a:gd name="T9" fmla="*/ 88 h 375"/>
                <a:gd name="T10" fmla="*/ 16 w 376"/>
                <a:gd name="T11" fmla="*/ 88 h 375"/>
                <a:gd name="T12" fmla="*/ 21 w 376"/>
                <a:gd name="T13" fmla="*/ 89 h 375"/>
                <a:gd name="T14" fmla="*/ 182 w 376"/>
                <a:gd name="T15" fmla="*/ 152 h 375"/>
                <a:gd name="T16" fmla="*/ 186 w 376"/>
                <a:gd name="T17" fmla="*/ 156 h 375"/>
                <a:gd name="T18" fmla="*/ 201 w 376"/>
                <a:gd name="T19" fmla="*/ 169 h 375"/>
                <a:gd name="T20" fmla="*/ 205 w 376"/>
                <a:gd name="T21" fmla="*/ 173 h 375"/>
                <a:gd name="T22" fmla="*/ 288 w 376"/>
                <a:gd name="T23" fmla="*/ 373 h 375"/>
                <a:gd name="T24" fmla="*/ 288 w 376"/>
                <a:gd name="T25" fmla="*/ 375 h 375"/>
                <a:gd name="T26" fmla="*/ 310 w 376"/>
                <a:gd name="T27" fmla="*/ 375 h 375"/>
                <a:gd name="T28" fmla="*/ 376 w 376"/>
                <a:gd name="T29" fmla="*/ 375 h 375"/>
                <a:gd name="T30" fmla="*/ 376 w 376"/>
                <a:gd name="T31" fmla="*/ 373 h 375"/>
                <a:gd name="T32" fmla="*/ 266 w 376"/>
                <a:gd name="T33" fmla="*/ 111 h 375"/>
                <a:gd name="T34" fmla="*/ 263 w 376"/>
                <a:gd name="T35" fmla="*/ 107 h 375"/>
                <a:gd name="T36" fmla="*/ 242 w 376"/>
                <a:gd name="T37" fmla="*/ 88 h 375"/>
                <a:gd name="T38" fmla="*/ 238 w 376"/>
                <a:gd name="T39" fmla="*/ 85 h 375"/>
                <a:gd name="T40" fmla="*/ 27 w 376"/>
                <a:gd name="T41" fmla="*/ 1 h 375"/>
                <a:gd name="T42" fmla="*/ 21 w 376"/>
                <a:gd name="T43" fmla="*/ 1 h 375"/>
                <a:gd name="T44" fmla="*/ 3 w 376"/>
                <a:gd name="T45" fmla="*/ 0 h 375"/>
                <a:gd name="T46" fmla="*/ 0 w 376"/>
                <a:gd name="T4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76" h="375">
                  <a:moveTo>
                    <a:pt x="0" y="0"/>
                  </a:moveTo>
                  <a:cubicBezTo>
                    <a:pt x="0" y="38"/>
                    <a:pt x="0" y="38"/>
                    <a:pt x="0" y="38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6" y="88"/>
                    <a:pt x="11" y="88"/>
                    <a:pt x="16" y="88"/>
                  </a:cubicBezTo>
                  <a:cubicBezTo>
                    <a:pt x="18" y="88"/>
                    <a:pt x="19" y="88"/>
                    <a:pt x="21" y="89"/>
                  </a:cubicBezTo>
                  <a:cubicBezTo>
                    <a:pt x="82" y="93"/>
                    <a:pt x="137" y="116"/>
                    <a:pt x="182" y="152"/>
                  </a:cubicBezTo>
                  <a:cubicBezTo>
                    <a:pt x="183" y="154"/>
                    <a:pt x="185" y="155"/>
                    <a:pt x="186" y="156"/>
                  </a:cubicBezTo>
                  <a:cubicBezTo>
                    <a:pt x="191" y="160"/>
                    <a:pt x="196" y="165"/>
                    <a:pt x="201" y="169"/>
                  </a:cubicBezTo>
                  <a:cubicBezTo>
                    <a:pt x="202" y="171"/>
                    <a:pt x="203" y="172"/>
                    <a:pt x="205" y="173"/>
                  </a:cubicBezTo>
                  <a:cubicBezTo>
                    <a:pt x="256" y="225"/>
                    <a:pt x="287" y="295"/>
                    <a:pt x="288" y="373"/>
                  </a:cubicBezTo>
                  <a:cubicBezTo>
                    <a:pt x="288" y="374"/>
                    <a:pt x="288" y="375"/>
                    <a:pt x="288" y="375"/>
                  </a:cubicBezTo>
                  <a:cubicBezTo>
                    <a:pt x="310" y="375"/>
                    <a:pt x="310" y="375"/>
                    <a:pt x="310" y="375"/>
                  </a:cubicBezTo>
                  <a:cubicBezTo>
                    <a:pt x="376" y="375"/>
                    <a:pt x="376" y="375"/>
                    <a:pt x="376" y="375"/>
                  </a:cubicBezTo>
                  <a:cubicBezTo>
                    <a:pt x="376" y="375"/>
                    <a:pt x="376" y="374"/>
                    <a:pt x="376" y="373"/>
                  </a:cubicBezTo>
                  <a:cubicBezTo>
                    <a:pt x="375" y="271"/>
                    <a:pt x="333" y="178"/>
                    <a:pt x="266" y="111"/>
                  </a:cubicBezTo>
                  <a:cubicBezTo>
                    <a:pt x="265" y="109"/>
                    <a:pt x="264" y="108"/>
                    <a:pt x="263" y="107"/>
                  </a:cubicBezTo>
                  <a:cubicBezTo>
                    <a:pt x="256" y="100"/>
                    <a:pt x="249" y="94"/>
                    <a:pt x="242" y="88"/>
                  </a:cubicBezTo>
                  <a:cubicBezTo>
                    <a:pt x="241" y="87"/>
                    <a:pt x="239" y="86"/>
                    <a:pt x="238" y="85"/>
                  </a:cubicBezTo>
                  <a:cubicBezTo>
                    <a:pt x="179" y="37"/>
                    <a:pt x="106" y="6"/>
                    <a:pt x="27" y="1"/>
                  </a:cubicBezTo>
                  <a:cubicBezTo>
                    <a:pt x="25" y="1"/>
                    <a:pt x="23" y="1"/>
                    <a:pt x="21" y="1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7" name="Freeform 27">
              <a:extLst>
                <a:ext uri="{FF2B5EF4-FFF2-40B4-BE49-F238E27FC236}">
                  <a16:creationId xmlns:a16="http://schemas.microsoft.com/office/drawing/2014/main" id="{2E0DDE9D-E208-4C44-9E13-91A46867F68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939" y="2154"/>
              <a:ext cx="742" cy="728"/>
            </a:xfrm>
            <a:custGeom>
              <a:avLst/>
              <a:gdLst>
                <a:gd name="T0" fmla="*/ 87 w 315"/>
                <a:gd name="T1" fmla="*/ 0 h 309"/>
                <a:gd name="T2" fmla="*/ 87 w 315"/>
                <a:gd name="T3" fmla="*/ 0 h 309"/>
                <a:gd name="T4" fmla="*/ 84 w 315"/>
                <a:gd name="T5" fmla="*/ 0 h 309"/>
                <a:gd name="T6" fmla="*/ 0 w 315"/>
                <a:gd name="T7" fmla="*/ 0 h 309"/>
                <a:gd name="T8" fmla="*/ 0 w 315"/>
                <a:gd name="T9" fmla="*/ 2 h 309"/>
                <a:gd name="T10" fmla="*/ 1 w 315"/>
                <a:gd name="T11" fmla="*/ 28 h 309"/>
                <a:gd name="T12" fmla="*/ 1 w 315"/>
                <a:gd name="T13" fmla="*/ 34 h 309"/>
                <a:gd name="T14" fmla="*/ 74 w 315"/>
                <a:gd name="T15" fmla="*/ 203 h 309"/>
                <a:gd name="T16" fmla="*/ 78 w 315"/>
                <a:gd name="T17" fmla="*/ 207 h 309"/>
                <a:gd name="T18" fmla="*/ 109 w 315"/>
                <a:gd name="T19" fmla="*/ 237 h 309"/>
                <a:gd name="T20" fmla="*/ 113 w 315"/>
                <a:gd name="T21" fmla="*/ 240 h 309"/>
                <a:gd name="T22" fmla="*/ 284 w 315"/>
                <a:gd name="T23" fmla="*/ 309 h 309"/>
                <a:gd name="T24" fmla="*/ 290 w 315"/>
                <a:gd name="T25" fmla="*/ 309 h 309"/>
                <a:gd name="T26" fmla="*/ 306 w 315"/>
                <a:gd name="T27" fmla="*/ 309 h 309"/>
                <a:gd name="T28" fmla="*/ 312 w 315"/>
                <a:gd name="T29" fmla="*/ 309 h 309"/>
                <a:gd name="T30" fmla="*/ 315 w 315"/>
                <a:gd name="T31" fmla="*/ 309 h 309"/>
                <a:gd name="T32" fmla="*/ 314 w 315"/>
                <a:gd name="T33" fmla="*/ 271 h 309"/>
                <a:gd name="T34" fmla="*/ 314 w 315"/>
                <a:gd name="T35" fmla="*/ 260 h 309"/>
                <a:gd name="T36" fmla="*/ 313 w 315"/>
                <a:gd name="T37" fmla="*/ 225 h 309"/>
                <a:gd name="T38" fmla="*/ 313 w 315"/>
                <a:gd name="T39" fmla="*/ 222 h 309"/>
                <a:gd name="T40" fmla="*/ 313 w 315"/>
                <a:gd name="T41" fmla="*/ 222 h 309"/>
                <a:gd name="T42" fmla="*/ 311 w 315"/>
                <a:gd name="T43" fmla="*/ 222 h 309"/>
                <a:gd name="T44" fmla="*/ 306 w 315"/>
                <a:gd name="T45" fmla="*/ 222 h 309"/>
                <a:gd name="T46" fmla="*/ 87 w 315"/>
                <a:gd name="T47" fmla="*/ 2 h 309"/>
                <a:gd name="T48" fmla="*/ 87 w 315"/>
                <a:gd name="T49" fmla="*/ 0 h 309"/>
                <a:gd name="T50" fmla="*/ 6 w 315"/>
                <a:gd name="T51" fmla="*/ 28 h 309"/>
                <a:gd name="T52" fmla="*/ 5 w 315"/>
                <a:gd name="T53" fmla="*/ 5 h 309"/>
                <a:gd name="T54" fmla="*/ 82 w 315"/>
                <a:gd name="T55" fmla="*/ 5 h 309"/>
                <a:gd name="T56" fmla="*/ 306 w 315"/>
                <a:gd name="T57" fmla="*/ 227 h 309"/>
                <a:gd name="T58" fmla="*/ 308 w 315"/>
                <a:gd name="T59" fmla="*/ 227 h 309"/>
                <a:gd name="T60" fmla="*/ 309 w 315"/>
                <a:gd name="T61" fmla="*/ 304 h 309"/>
                <a:gd name="T62" fmla="*/ 306 w 315"/>
                <a:gd name="T63" fmla="*/ 304 h 309"/>
                <a:gd name="T64" fmla="*/ 290 w 315"/>
                <a:gd name="T65" fmla="*/ 304 h 309"/>
                <a:gd name="T66" fmla="*/ 285 w 315"/>
                <a:gd name="T67" fmla="*/ 303 h 309"/>
                <a:gd name="T68" fmla="*/ 116 w 315"/>
                <a:gd name="T69" fmla="*/ 236 h 309"/>
                <a:gd name="T70" fmla="*/ 112 w 315"/>
                <a:gd name="T71" fmla="*/ 233 h 309"/>
                <a:gd name="T72" fmla="*/ 82 w 315"/>
                <a:gd name="T73" fmla="*/ 203 h 309"/>
                <a:gd name="T74" fmla="*/ 78 w 315"/>
                <a:gd name="T75" fmla="*/ 199 h 309"/>
                <a:gd name="T76" fmla="*/ 7 w 315"/>
                <a:gd name="T77" fmla="*/ 33 h 309"/>
                <a:gd name="T78" fmla="*/ 6 w 315"/>
                <a:gd name="T79" fmla="*/ 28 h 3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315" h="309">
                  <a:moveTo>
                    <a:pt x="87" y="0"/>
                  </a:moveTo>
                  <a:cubicBezTo>
                    <a:pt x="87" y="0"/>
                    <a:pt x="87" y="0"/>
                    <a:pt x="87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11"/>
                    <a:pt x="0" y="20"/>
                    <a:pt x="1" y="28"/>
                  </a:cubicBezTo>
                  <a:cubicBezTo>
                    <a:pt x="1" y="30"/>
                    <a:pt x="1" y="32"/>
                    <a:pt x="1" y="34"/>
                  </a:cubicBezTo>
                  <a:cubicBezTo>
                    <a:pt x="8" y="98"/>
                    <a:pt x="34" y="156"/>
                    <a:pt x="74" y="203"/>
                  </a:cubicBezTo>
                  <a:cubicBezTo>
                    <a:pt x="75" y="204"/>
                    <a:pt x="77" y="206"/>
                    <a:pt x="78" y="207"/>
                  </a:cubicBezTo>
                  <a:cubicBezTo>
                    <a:pt x="87" y="218"/>
                    <a:pt x="98" y="228"/>
                    <a:pt x="109" y="237"/>
                  </a:cubicBezTo>
                  <a:cubicBezTo>
                    <a:pt x="110" y="238"/>
                    <a:pt x="111" y="239"/>
                    <a:pt x="113" y="240"/>
                  </a:cubicBezTo>
                  <a:cubicBezTo>
                    <a:pt x="160" y="279"/>
                    <a:pt x="220" y="304"/>
                    <a:pt x="284" y="309"/>
                  </a:cubicBezTo>
                  <a:cubicBezTo>
                    <a:pt x="286" y="309"/>
                    <a:pt x="288" y="309"/>
                    <a:pt x="290" y="309"/>
                  </a:cubicBezTo>
                  <a:cubicBezTo>
                    <a:pt x="295" y="309"/>
                    <a:pt x="301" y="309"/>
                    <a:pt x="306" y="309"/>
                  </a:cubicBezTo>
                  <a:cubicBezTo>
                    <a:pt x="308" y="309"/>
                    <a:pt x="310" y="309"/>
                    <a:pt x="312" y="309"/>
                  </a:cubicBezTo>
                  <a:cubicBezTo>
                    <a:pt x="315" y="309"/>
                    <a:pt x="315" y="309"/>
                    <a:pt x="315" y="309"/>
                  </a:cubicBezTo>
                  <a:cubicBezTo>
                    <a:pt x="314" y="271"/>
                    <a:pt x="314" y="271"/>
                    <a:pt x="314" y="271"/>
                  </a:cubicBezTo>
                  <a:cubicBezTo>
                    <a:pt x="314" y="260"/>
                    <a:pt x="314" y="260"/>
                    <a:pt x="314" y="260"/>
                  </a:cubicBezTo>
                  <a:cubicBezTo>
                    <a:pt x="313" y="225"/>
                    <a:pt x="313" y="225"/>
                    <a:pt x="313" y="225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3" y="222"/>
                    <a:pt x="313" y="222"/>
                    <a:pt x="313" y="222"/>
                  </a:cubicBezTo>
                  <a:cubicBezTo>
                    <a:pt x="311" y="222"/>
                    <a:pt x="311" y="222"/>
                    <a:pt x="311" y="222"/>
                  </a:cubicBezTo>
                  <a:cubicBezTo>
                    <a:pt x="309" y="222"/>
                    <a:pt x="308" y="222"/>
                    <a:pt x="306" y="222"/>
                  </a:cubicBezTo>
                  <a:cubicBezTo>
                    <a:pt x="186" y="222"/>
                    <a:pt x="87" y="123"/>
                    <a:pt x="87" y="2"/>
                  </a:cubicBezTo>
                  <a:lnTo>
                    <a:pt x="87" y="0"/>
                  </a:lnTo>
                  <a:close/>
                  <a:moveTo>
                    <a:pt x="6" y="28"/>
                  </a:moveTo>
                  <a:cubicBezTo>
                    <a:pt x="5" y="20"/>
                    <a:pt x="5" y="13"/>
                    <a:pt x="5" y="5"/>
                  </a:cubicBezTo>
                  <a:cubicBezTo>
                    <a:pt x="82" y="5"/>
                    <a:pt x="82" y="5"/>
                    <a:pt x="82" y="5"/>
                  </a:cubicBezTo>
                  <a:cubicBezTo>
                    <a:pt x="83" y="128"/>
                    <a:pt x="184" y="227"/>
                    <a:pt x="306" y="227"/>
                  </a:cubicBezTo>
                  <a:cubicBezTo>
                    <a:pt x="307" y="227"/>
                    <a:pt x="307" y="227"/>
                    <a:pt x="308" y="227"/>
                  </a:cubicBezTo>
                  <a:cubicBezTo>
                    <a:pt x="309" y="304"/>
                    <a:pt x="309" y="304"/>
                    <a:pt x="309" y="304"/>
                  </a:cubicBezTo>
                  <a:cubicBezTo>
                    <a:pt x="308" y="304"/>
                    <a:pt x="307" y="304"/>
                    <a:pt x="306" y="304"/>
                  </a:cubicBezTo>
                  <a:cubicBezTo>
                    <a:pt x="301" y="304"/>
                    <a:pt x="296" y="304"/>
                    <a:pt x="290" y="304"/>
                  </a:cubicBezTo>
                  <a:cubicBezTo>
                    <a:pt x="288" y="303"/>
                    <a:pt x="287" y="303"/>
                    <a:pt x="285" y="303"/>
                  </a:cubicBezTo>
                  <a:cubicBezTo>
                    <a:pt x="221" y="299"/>
                    <a:pt x="163" y="274"/>
                    <a:pt x="116" y="236"/>
                  </a:cubicBezTo>
                  <a:cubicBezTo>
                    <a:pt x="115" y="235"/>
                    <a:pt x="113" y="234"/>
                    <a:pt x="112" y="233"/>
                  </a:cubicBezTo>
                  <a:cubicBezTo>
                    <a:pt x="101" y="224"/>
                    <a:pt x="91" y="214"/>
                    <a:pt x="82" y="203"/>
                  </a:cubicBezTo>
                  <a:cubicBezTo>
                    <a:pt x="81" y="202"/>
                    <a:pt x="79" y="201"/>
                    <a:pt x="78" y="199"/>
                  </a:cubicBezTo>
                  <a:cubicBezTo>
                    <a:pt x="39" y="154"/>
                    <a:pt x="13" y="96"/>
                    <a:pt x="7" y="33"/>
                  </a:cubicBezTo>
                  <a:cubicBezTo>
                    <a:pt x="6" y="31"/>
                    <a:pt x="6" y="30"/>
                    <a:pt x="6" y="2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8" name="Freeform 28">
              <a:extLst>
                <a:ext uri="{FF2B5EF4-FFF2-40B4-BE49-F238E27FC236}">
                  <a16:creationId xmlns:a16="http://schemas.microsoft.com/office/drawing/2014/main" id="{AB98A857-E435-4FC9-914E-17AD37C0F32E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445" y="1699"/>
              <a:ext cx="483" cy="377"/>
            </a:xfrm>
            <a:custGeom>
              <a:avLst/>
              <a:gdLst>
                <a:gd name="T0" fmla="*/ 0 w 205"/>
                <a:gd name="T1" fmla="*/ 0 h 160"/>
                <a:gd name="T2" fmla="*/ 0 w 205"/>
                <a:gd name="T3" fmla="*/ 160 h 160"/>
                <a:gd name="T4" fmla="*/ 2 w 205"/>
                <a:gd name="T5" fmla="*/ 160 h 160"/>
                <a:gd name="T6" fmla="*/ 4 w 205"/>
                <a:gd name="T7" fmla="*/ 160 h 160"/>
                <a:gd name="T8" fmla="*/ 4 w 205"/>
                <a:gd name="T9" fmla="*/ 4 h 160"/>
                <a:gd name="T10" fmla="*/ 179 w 205"/>
                <a:gd name="T11" fmla="*/ 4 h 160"/>
                <a:gd name="T12" fmla="*/ 179 w 205"/>
                <a:gd name="T13" fmla="*/ 0 h 160"/>
                <a:gd name="T14" fmla="*/ 0 w 205"/>
                <a:gd name="T15" fmla="*/ 0 h 160"/>
                <a:gd name="T16" fmla="*/ 183 w 205"/>
                <a:gd name="T17" fmla="*/ 0 h 160"/>
                <a:gd name="T18" fmla="*/ 183 w 205"/>
                <a:gd name="T19" fmla="*/ 4 h 160"/>
                <a:gd name="T20" fmla="*/ 204 w 205"/>
                <a:gd name="T21" fmla="*/ 4 h 160"/>
                <a:gd name="T22" fmla="*/ 205 w 205"/>
                <a:gd name="T23" fmla="*/ 0 h 160"/>
                <a:gd name="T24" fmla="*/ 183 w 205"/>
                <a:gd name="T25" fmla="*/ 0 h 1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05" h="160">
                  <a:moveTo>
                    <a:pt x="0" y="0"/>
                  </a:moveTo>
                  <a:cubicBezTo>
                    <a:pt x="0" y="160"/>
                    <a:pt x="0" y="160"/>
                    <a:pt x="0" y="160"/>
                  </a:cubicBezTo>
                  <a:cubicBezTo>
                    <a:pt x="0" y="160"/>
                    <a:pt x="1" y="160"/>
                    <a:pt x="2" y="160"/>
                  </a:cubicBezTo>
                  <a:cubicBezTo>
                    <a:pt x="2" y="160"/>
                    <a:pt x="3" y="160"/>
                    <a:pt x="4" y="16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179" y="4"/>
                    <a:pt x="179" y="4"/>
                    <a:pt x="179" y="4"/>
                  </a:cubicBezTo>
                  <a:cubicBezTo>
                    <a:pt x="179" y="0"/>
                    <a:pt x="179" y="0"/>
                    <a:pt x="179" y="0"/>
                  </a:cubicBezTo>
                  <a:lnTo>
                    <a:pt x="0" y="0"/>
                  </a:lnTo>
                  <a:close/>
                  <a:moveTo>
                    <a:pt x="183" y="0"/>
                  </a:moveTo>
                  <a:cubicBezTo>
                    <a:pt x="183" y="4"/>
                    <a:pt x="183" y="4"/>
                    <a:pt x="183" y="4"/>
                  </a:cubicBezTo>
                  <a:cubicBezTo>
                    <a:pt x="204" y="4"/>
                    <a:pt x="204" y="4"/>
                    <a:pt x="204" y="4"/>
                  </a:cubicBezTo>
                  <a:cubicBezTo>
                    <a:pt x="204" y="3"/>
                    <a:pt x="204" y="1"/>
                    <a:pt x="205" y="0"/>
                  </a:cubicBezTo>
                  <a:lnTo>
                    <a:pt x="183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9" name="Freeform 29">
              <a:extLst>
                <a:ext uri="{FF2B5EF4-FFF2-40B4-BE49-F238E27FC236}">
                  <a16:creationId xmlns:a16="http://schemas.microsoft.com/office/drawing/2014/main" id="{914D20C4-D9EE-430A-B035-C851A46611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78" y="2102"/>
              <a:ext cx="203" cy="10"/>
            </a:xfrm>
            <a:custGeom>
              <a:avLst/>
              <a:gdLst>
                <a:gd name="T0" fmla="*/ 0 w 86"/>
                <a:gd name="T1" fmla="*/ 4 h 4"/>
                <a:gd name="T2" fmla="*/ 86 w 86"/>
                <a:gd name="T3" fmla="*/ 4 h 4"/>
                <a:gd name="T4" fmla="*/ 86 w 86"/>
                <a:gd name="T5" fmla="*/ 2 h 4"/>
                <a:gd name="T6" fmla="*/ 86 w 86"/>
                <a:gd name="T7" fmla="*/ 0 h 4"/>
                <a:gd name="T8" fmla="*/ 0 w 86"/>
                <a:gd name="T9" fmla="*/ 0 h 4"/>
                <a:gd name="T10" fmla="*/ 0 w 86"/>
                <a:gd name="T11" fmla="*/ 1 h 4"/>
                <a:gd name="T12" fmla="*/ 0 w 86"/>
                <a:gd name="T13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6" h="4">
                  <a:moveTo>
                    <a:pt x="0" y="4"/>
                  </a:moveTo>
                  <a:cubicBezTo>
                    <a:pt x="86" y="4"/>
                    <a:pt x="86" y="4"/>
                    <a:pt x="86" y="4"/>
                  </a:cubicBezTo>
                  <a:cubicBezTo>
                    <a:pt x="86" y="3"/>
                    <a:pt x="86" y="3"/>
                    <a:pt x="86" y="2"/>
                  </a:cubicBezTo>
                  <a:cubicBezTo>
                    <a:pt x="86" y="1"/>
                    <a:pt x="86" y="1"/>
                    <a:pt x="86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1"/>
                    <a:pt x="0" y="1"/>
                  </a:cubicBezTo>
                  <a:cubicBezTo>
                    <a:pt x="0" y="2"/>
                    <a:pt x="0" y="3"/>
                    <a:pt x="0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0" name="Freeform 30">
              <a:extLst>
                <a:ext uri="{FF2B5EF4-FFF2-40B4-BE49-F238E27FC236}">
                  <a16:creationId xmlns:a16="http://schemas.microsoft.com/office/drawing/2014/main" id="{D964ADB5-F48D-4938-A372-6C528743624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2" y="2102"/>
              <a:ext cx="301" cy="531"/>
            </a:xfrm>
            <a:custGeom>
              <a:avLst/>
              <a:gdLst>
                <a:gd name="T0" fmla="*/ 0 w 128"/>
                <a:gd name="T1" fmla="*/ 4 h 225"/>
                <a:gd name="T2" fmla="*/ 124 w 128"/>
                <a:gd name="T3" fmla="*/ 4 h 225"/>
                <a:gd name="T4" fmla="*/ 124 w 128"/>
                <a:gd name="T5" fmla="*/ 225 h 225"/>
                <a:gd name="T6" fmla="*/ 125 w 128"/>
                <a:gd name="T7" fmla="*/ 225 h 225"/>
                <a:gd name="T8" fmla="*/ 128 w 128"/>
                <a:gd name="T9" fmla="*/ 225 h 225"/>
                <a:gd name="T10" fmla="*/ 128 w 128"/>
                <a:gd name="T11" fmla="*/ 4 h 225"/>
                <a:gd name="T12" fmla="*/ 27 w 128"/>
                <a:gd name="T13" fmla="*/ 4 h 225"/>
                <a:gd name="T14" fmla="*/ 27 w 128"/>
                <a:gd name="T15" fmla="*/ 0 h 225"/>
                <a:gd name="T16" fmla="*/ 24 w 128"/>
                <a:gd name="T17" fmla="*/ 0 h 225"/>
                <a:gd name="T18" fmla="*/ 24 w 128"/>
                <a:gd name="T19" fmla="*/ 4 h 225"/>
                <a:gd name="T20" fmla="*/ 0 w 128"/>
                <a:gd name="T21" fmla="*/ 4 h 2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8" h="225">
                  <a:moveTo>
                    <a:pt x="0" y="4"/>
                  </a:moveTo>
                  <a:cubicBezTo>
                    <a:pt x="124" y="4"/>
                    <a:pt x="124" y="4"/>
                    <a:pt x="124" y="4"/>
                  </a:cubicBezTo>
                  <a:cubicBezTo>
                    <a:pt x="124" y="225"/>
                    <a:pt x="124" y="225"/>
                    <a:pt x="124" y="225"/>
                  </a:cubicBezTo>
                  <a:cubicBezTo>
                    <a:pt x="125" y="225"/>
                    <a:pt x="125" y="225"/>
                    <a:pt x="125" y="225"/>
                  </a:cubicBezTo>
                  <a:cubicBezTo>
                    <a:pt x="126" y="225"/>
                    <a:pt x="127" y="225"/>
                    <a:pt x="128" y="225"/>
                  </a:cubicBezTo>
                  <a:cubicBezTo>
                    <a:pt x="128" y="4"/>
                    <a:pt x="128" y="4"/>
                    <a:pt x="128" y="4"/>
                  </a:cubicBezTo>
                  <a:cubicBezTo>
                    <a:pt x="27" y="4"/>
                    <a:pt x="27" y="4"/>
                    <a:pt x="27" y="4"/>
                  </a:cubicBezTo>
                  <a:cubicBezTo>
                    <a:pt x="27" y="0"/>
                    <a:pt x="27" y="0"/>
                    <a:pt x="27" y="0"/>
                  </a:cubicBezTo>
                  <a:cubicBezTo>
                    <a:pt x="24" y="0"/>
                    <a:pt x="24" y="0"/>
                    <a:pt x="24" y="0"/>
                  </a:cubicBezTo>
                  <a:cubicBezTo>
                    <a:pt x="24" y="4"/>
                    <a:pt x="24" y="4"/>
                    <a:pt x="24" y="4"/>
                  </a:cubicBezTo>
                  <a:lnTo>
                    <a:pt x="0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1" name="Freeform 31">
              <a:extLst>
                <a:ext uri="{FF2B5EF4-FFF2-40B4-BE49-F238E27FC236}">
                  <a16:creationId xmlns:a16="http://schemas.microsoft.com/office/drawing/2014/main" id="{2F86F23B-9F55-4242-A7A9-5C967CC7978C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956" y="1737"/>
              <a:ext cx="10" cy="365"/>
            </a:xfrm>
            <a:custGeom>
              <a:avLst/>
              <a:gdLst>
                <a:gd name="T0" fmla="*/ 0 w 4"/>
                <a:gd name="T1" fmla="*/ 1 h 155"/>
                <a:gd name="T2" fmla="*/ 0 w 4"/>
                <a:gd name="T3" fmla="*/ 28 h 155"/>
                <a:gd name="T4" fmla="*/ 4 w 4"/>
                <a:gd name="T5" fmla="*/ 28 h 155"/>
                <a:gd name="T6" fmla="*/ 4 w 4"/>
                <a:gd name="T7" fmla="*/ 0 h 155"/>
                <a:gd name="T8" fmla="*/ 0 w 4"/>
                <a:gd name="T9" fmla="*/ 1 h 155"/>
                <a:gd name="T10" fmla="*/ 0 w 4"/>
                <a:gd name="T11" fmla="*/ 155 h 155"/>
                <a:gd name="T12" fmla="*/ 4 w 4"/>
                <a:gd name="T13" fmla="*/ 155 h 155"/>
                <a:gd name="T14" fmla="*/ 4 w 4"/>
                <a:gd name="T15" fmla="*/ 31 h 155"/>
                <a:gd name="T16" fmla="*/ 0 w 4"/>
                <a:gd name="T17" fmla="*/ 31 h 155"/>
                <a:gd name="T18" fmla="*/ 0 w 4"/>
                <a:gd name="T19" fmla="*/ 155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55">
                  <a:moveTo>
                    <a:pt x="0" y="1"/>
                  </a:moveTo>
                  <a:cubicBezTo>
                    <a:pt x="0" y="28"/>
                    <a:pt x="0" y="28"/>
                    <a:pt x="0" y="28"/>
                  </a:cubicBezTo>
                  <a:cubicBezTo>
                    <a:pt x="4" y="28"/>
                    <a:pt x="4" y="28"/>
                    <a:pt x="4" y="28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1" y="1"/>
                    <a:pt x="0" y="1"/>
                  </a:cubicBezTo>
                  <a:moveTo>
                    <a:pt x="0" y="155"/>
                  </a:moveTo>
                  <a:cubicBezTo>
                    <a:pt x="4" y="155"/>
                    <a:pt x="4" y="155"/>
                    <a:pt x="4" y="155"/>
                  </a:cubicBezTo>
                  <a:cubicBezTo>
                    <a:pt x="4" y="31"/>
                    <a:pt x="4" y="31"/>
                    <a:pt x="4" y="31"/>
                  </a:cubicBezTo>
                  <a:cubicBezTo>
                    <a:pt x="0" y="31"/>
                    <a:pt x="0" y="31"/>
                    <a:pt x="0" y="31"/>
                  </a:cubicBezTo>
                  <a:lnTo>
                    <a:pt x="0" y="1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2" name="Freeform 32">
              <a:extLst>
                <a:ext uri="{FF2B5EF4-FFF2-40B4-BE49-F238E27FC236}">
                  <a16:creationId xmlns:a16="http://schemas.microsoft.com/office/drawing/2014/main" id="{D13E5BE2-545D-49C4-8A4C-5978C8A200B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29" y="2168"/>
              <a:ext cx="85" cy="87"/>
            </a:xfrm>
            <a:custGeom>
              <a:avLst/>
              <a:gdLst>
                <a:gd name="T0" fmla="*/ 0 w 36"/>
                <a:gd name="T1" fmla="*/ 19 h 37"/>
                <a:gd name="T2" fmla="*/ 18 w 36"/>
                <a:gd name="T3" fmla="*/ 37 h 37"/>
                <a:gd name="T4" fmla="*/ 36 w 36"/>
                <a:gd name="T5" fmla="*/ 19 h 37"/>
                <a:gd name="T6" fmla="*/ 20 w 36"/>
                <a:gd name="T7" fmla="*/ 0 h 37"/>
                <a:gd name="T8" fmla="*/ 20 w 36"/>
                <a:gd name="T9" fmla="*/ 19 h 37"/>
                <a:gd name="T10" fmla="*/ 16 w 36"/>
                <a:gd name="T11" fmla="*/ 19 h 37"/>
                <a:gd name="T12" fmla="*/ 16 w 36"/>
                <a:gd name="T13" fmla="*/ 0 h 37"/>
                <a:gd name="T14" fmla="*/ 0 w 36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" h="37">
                  <a:moveTo>
                    <a:pt x="0" y="19"/>
                  </a:moveTo>
                  <a:cubicBezTo>
                    <a:pt x="0" y="29"/>
                    <a:pt x="8" y="37"/>
                    <a:pt x="18" y="37"/>
                  </a:cubicBezTo>
                  <a:cubicBezTo>
                    <a:pt x="28" y="37"/>
                    <a:pt x="36" y="29"/>
                    <a:pt x="36" y="19"/>
                  </a:cubicBezTo>
                  <a:cubicBezTo>
                    <a:pt x="36" y="9"/>
                    <a:pt x="29" y="1"/>
                    <a:pt x="20" y="0"/>
                  </a:cubicBezTo>
                  <a:cubicBezTo>
                    <a:pt x="20" y="19"/>
                    <a:pt x="20" y="19"/>
                    <a:pt x="20" y="19"/>
                  </a:cubicBezTo>
                  <a:cubicBezTo>
                    <a:pt x="16" y="19"/>
                    <a:pt x="16" y="19"/>
                    <a:pt x="16" y="19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1"/>
                    <a:pt x="0" y="9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3" name="Freeform 33">
              <a:extLst>
                <a:ext uri="{FF2B5EF4-FFF2-40B4-BE49-F238E27FC236}">
                  <a16:creationId xmlns:a16="http://schemas.microsoft.com/office/drawing/2014/main" id="{52DB3018-33A3-436B-98F6-53F21514400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692" y="2531"/>
              <a:ext cx="54" cy="52"/>
            </a:xfrm>
            <a:custGeom>
              <a:avLst/>
              <a:gdLst>
                <a:gd name="T0" fmla="*/ 0 w 23"/>
                <a:gd name="T1" fmla="*/ 11 h 22"/>
                <a:gd name="T2" fmla="*/ 10 w 23"/>
                <a:gd name="T3" fmla="*/ 22 h 22"/>
                <a:gd name="T4" fmla="*/ 10 w 23"/>
                <a:gd name="T5" fmla="*/ 0 h 22"/>
                <a:gd name="T6" fmla="*/ 0 w 23"/>
                <a:gd name="T7" fmla="*/ 11 h 22"/>
                <a:gd name="T8" fmla="*/ 14 w 23"/>
                <a:gd name="T9" fmla="*/ 0 h 22"/>
                <a:gd name="T10" fmla="*/ 14 w 23"/>
                <a:gd name="T11" fmla="*/ 22 h 22"/>
                <a:gd name="T12" fmla="*/ 23 w 23"/>
                <a:gd name="T13" fmla="*/ 11 h 22"/>
                <a:gd name="T14" fmla="*/ 14 w 23"/>
                <a:gd name="T1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3" h="22">
                  <a:moveTo>
                    <a:pt x="0" y="11"/>
                  </a:moveTo>
                  <a:cubicBezTo>
                    <a:pt x="0" y="16"/>
                    <a:pt x="4" y="21"/>
                    <a:pt x="10" y="22"/>
                  </a:cubicBezTo>
                  <a:cubicBezTo>
                    <a:pt x="10" y="0"/>
                    <a:pt x="10" y="0"/>
                    <a:pt x="10" y="0"/>
                  </a:cubicBezTo>
                  <a:cubicBezTo>
                    <a:pt x="4" y="0"/>
                    <a:pt x="0" y="5"/>
                    <a:pt x="0" y="11"/>
                  </a:cubicBezTo>
                  <a:moveTo>
                    <a:pt x="14" y="0"/>
                  </a:moveTo>
                  <a:cubicBezTo>
                    <a:pt x="14" y="22"/>
                    <a:pt x="14" y="22"/>
                    <a:pt x="14" y="22"/>
                  </a:cubicBezTo>
                  <a:cubicBezTo>
                    <a:pt x="19" y="21"/>
                    <a:pt x="23" y="16"/>
                    <a:pt x="23" y="11"/>
                  </a:cubicBezTo>
                  <a:cubicBezTo>
                    <a:pt x="23" y="5"/>
                    <a:pt x="19" y="0"/>
                    <a:pt x="14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4" name="Freeform 34">
              <a:extLst>
                <a:ext uri="{FF2B5EF4-FFF2-40B4-BE49-F238E27FC236}">
                  <a16:creationId xmlns:a16="http://schemas.microsoft.com/office/drawing/2014/main" id="{FB2818A9-D524-4065-966C-53B06D669582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09" y="1400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17 w 37"/>
                <a:gd name="T3" fmla="*/ 37 h 37"/>
                <a:gd name="T4" fmla="*/ 17 w 37"/>
                <a:gd name="T5" fmla="*/ 0 h 37"/>
                <a:gd name="T6" fmla="*/ 0 w 37"/>
                <a:gd name="T7" fmla="*/ 19 h 37"/>
                <a:gd name="T8" fmla="*/ 21 w 37"/>
                <a:gd name="T9" fmla="*/ 0 h 37"/>
                <a:gd name="T10" fmla="*/ 21 w 37"/>
                <a:gd name="T11" fmla="*/ 37 h 37"/>
                <a:gd name="T12" fmla="*/ 37 w 37"/>
                <a:gd name="T13" fmla="*/ 19 h 37"/>
                <a:gd name="T14" fmla="*/ 21 w 3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28"/>
                    <a:pt x="7" y="36"/>
                    <a:pt x="17" y="37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1"/>
                    <a:pt x="0" y="9"/>
                    <a:pt x="0" y="19"/>
                  </a:cubicBezTo>
                  <a:moveTo>
                    <a:pt x="21" y="0"/>
                  </a:moveTo>
                  <a:cubicBezTo>
                    <a:pt x="21" y="37"/>
                    <a:pt x="21" y="37"/>
                    <a:pt x="21" y="37"/>
                  </a:cubicBezTo>
                  <a:cubicBezTo>
                    <a:pt x="30" y="36"/>
                    <a:pt x="37" y="28"/>
                    <a:pt x="37" y="19"/>
                  </a:cubicBezTo>
                  <a:cubicBezTo>
                    <a:pt x="37" y="9"/>
                    <a:pt x="30" y="1"/>
                    <a:pt x="21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5" name="Freeform 35">
              <a:extLst>
                <a:ext uri="{FF2B5EF4-FFF2-40B4-BE49-F238E27FC236}">
                  <a16:creationId xmlns:a16="http://schemas.microsoft.com/office/drawing/2014/main" id="{ADCC9C29-7DBC-4EA2-A837-25EE974C831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867" y="1520"/>
              <a:ext cx="9" cy="693"/>
            </a:xfrm>
            <a:custGeom>
              <a:avLst/>
              <a:gdLst>
                <a:gd name="T0" fmla="*/ 0 w 4"/>
                <a:gd name="T1" fmla="*/ 0 h 294"/>
                <a:gd name="T2" fmla="*/ 0 w 4"/>
                <a:gd name="T3" fmla="*/ 76 h 294"/>
                <a:gd name="T4" fmla="*/ 0 w 4"/>
                <a:gd name="T5" fmla="*/ 80 h 294"/>
                <a:gd name="T6" fmla="*/ 0 w 4"/>
                <a:gd name="T7" fmla="*/ 247 h 294"/>
                <a:gd name="T8" fmla="*/ 4 w 4"/>
                <a:gd name="T9" fmla="*/ 247 h 294"/>
                <a:gd name="T10" fmla="*/ 4 w 4"/>
                <a:gd name="T11" fmla="*/ 123 h 294"/>
                <a:gd name="T12" fmla="*/ 4 w 4"/>
                <a:gd name="T13" fmla="*/ 123 h 294"/>
                <a:gd name="T14" fmla="*/ 4 w 4"/>
                <a:gd name="T15" fmla="*/ 120 h 294"/>
                <a:gd name="T16" fmla="*/ 4 w 4"/>
                <a:gd name="T17" fmla="*/ 120 h 294"/>
                <a:gd name="T18" fmla="*/ 4 w 4"/>
                <a:gd name="T19" fmla="*/ 80 h 294"/>
                <a:gd name="T20" fmla="*/ 4 w 4"/>
                <a:gd name="T21" fmla="*/ 76 h 294"/>
                <a:gd name="T22" fmla="*/ 4 w 4"/>
                <a:gd name="T23" fmla="*/ 0 h 294"/>
                <a:gd name="T24" fmla="*/ 2 w 4"/>
                <a:gd name="T25" fmla="*/ 0 h 294"/>
                <a:gd name="T26" fmla="*/ 0 w 4"/>
                <a:gd name="T27" fmla="*/ 0 h 294"/>
                <a:gd name="T28" fmla="*/ 0 w 4"/>
                <a:gd name="T29" fmla="*/ 251 h 294"/>
                <a:gd name="T30" fmla="*/ 0 w 4"/>
                <a:gd name="T31" fmla="*/ 275 h 294"/>
                <a:gd name="T32" fmla="*/ 0 w 4"/>
                <a:gd name="T33" fmla="*/ 294 h 294"/>
                <a:gd name="T34" fmla="*/ 4 w 4"/>
                <a:gd name="T35" fmla="*/ 294 h 294"/>
                <a:gd name="T36" fmla="*/ 4 w 4"/>
                <a:gd name="T37" fmla="*/ 275 h 294"/>
                <a:gd name="T38" fmla="*/ 4 w 4"/>
                <a:gd name="T39" fmla="*/ 251 h 294"/>
                <a:gd name="T40" fmla="*/ 0 w 4"/>
                <a:gd name="T41" fmla="*/ 251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" h="294">
                  <a:moveTo>
                    <a:pt x="0" y="0"/>
                  </a:moveTo>
                  <a:cubicBezTo>
                    <a:pt x="0" y="76"/>
                    <a:pt x="0" y="76"/>
                    <a:pt x="0" y="76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0" y="247"/>
                    <a:pt x="0" y="247"/>
                    <a:pt x="0" y="247"/>
                  </a:cubicBezTo>
                  <a:cubicBezTo>
                    <a:pt x="4" y="247"/>
                    <a:pt x="4" y="247"/>
                    <a:pt x="4" y="247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3"/>
                    <a:pt x="4" y="123"/>
                    <a:pt x="4" y="123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120"/>
                    <a:pt x="4" y="120"/>
                    <a:pt x="4" y="120"/>
                  </a:cubicBezTo>
                  <a:cubicBezTo>
                    <a:pt x="4" y="80"/>
                    <a:pt x="4" y="80"/>
                    <a:pt x="4" y="80"/>
                  </a:cubicBezTo>
                  <a:cubicBezTo>
                    <a:pt x="4" y="76"/>
                    <a:pt x="4" y="76"/>
                    <a:pt x="4" y="76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3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moveTo>
                    <a:pt x="0" y="251"/>
                  </a:moveTo>
                  <a:cubicBezTo>
                    <a:pt x="0" y="275"/>
                    <a:pt x="0" y="275"/>
                    <a:pt x="0" y="275"/>
                  </a:cubicBezTo>
                  <a:cubicBezTo>
                    <a:pt x="0" y="294"/>
                    <a:pt x="0" y="294"/>
                    <a:pt x="0" y="294"/>
                  </a:cubicBezTo>
                  <a:cubicBezTo>
                    <a:pt x="4" y="294"/>
                    <a:pt x="4" y="294"/>
                    <a:pt x="4" y="294"/>
                  </a:cubicBezTo>
                  <a:cubicBezTo>
                    <a:pt x="4" y="275"/>
                    <a:pt x="4" y="275"/>
                    <a:pt x="4" y="275"/>
                  </a:cubicBezTo>
                  <a:cubicBezTo>
                    <a:pt x="4" y="251"/>
                    <a:pt x="4" y="251"/>
                    <a:pt x="4" y="251"/>
                  </a:cubicBezTo>
                  <a:lnTo>
                    <a:pt x="0" y="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6" name="Freeform 36">
              <a:extLst>
                <a:ext uri="{FF2B5EF4-FFF2-40B4-BE49-F238E27FC236}">
                  <a16:creationId xmlns:a16="http://schemas.microsoft.com/office/drawing/2014/main" id="{04FD07CA-BCB7-434C-96B5-2D015C84AA1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76" y="905"/>
              <a:ext cx="382" cy="905"/>
            </a:xfrm>
            <a:custGeom>
              <a:avLst/>
              <a:gdLst>
                <a:gd name="T0" fmla="*/ 0 w 382"/>
                <a:gd name="T1" fmla="*/ 898 h 905"/>
                <a:gd name="T2" fmla="*/ 0 w 382"/>
                <a:gd name="T3" fmla="*/ 905 h 905"/>
                <a:gd name="T4" fmla="*/ 0 w 382"/>
                <a:gd name="T5" fmla="*/ 905 h 905"/>
                <a:gd name="T6" fmla="*/ 80 w 382"/>
                <a:gd name="T7" fmla="*/ 905 h 905"/>
                <a:gd name="T8" fmla="*/ 90 w 382"/>
                <a:gd name="T9" fmla="*/ 905 h 905"/>
                <a:gd name="T10" fmla="*/ 382 w 382"/>
                <a:gd name="T11" fmla="*/ 905 h 905"/>
                <a:gd name="T12" fmla="*/ 382 w 382"/>
                <a:gd name="T13" fmla="*/ 582 h 905"/>
                <a:gd name="T14" fmla="*/ 382 w 382"/>
                <a:gd name="T15" fmla="*/ 495 h 905"/>
                <a:gd name="T16" fmla="*/ 382 w 382"/>
                <a:gd name="T17" fmla="*/ 0 h 905"/>
                <a:gd name="T18" fmla="*/ 373 w 382"/>
                <a:gd name="T19" fmla="*/ 0 h 905"/>
                <a:gd name="T20" fmla="*/ 373 w 382"/>
                <a:gd name="T21" fmla="*/ 495 h 905"/>
                <a:gd name="T22" fmla="*/ 373 w 382"/>
                <a:gd name="T23" fmla="*/ 582 h 905"/>
                <a:gd name="T24" fmla="*/ 373 w 382"/>
                <a:gd name="T25" fmla="*/ 898 h 905"/>
                <a:gd name="T26" fmla="*/ 90 w 382"/>
                <a:gd name="T27" fmla="*/ 898 h 905"/>
                <a:gd name="T28" fmla="*/ 80 w 382"/>
                <a:gd name="T29" fmla="*/ 898 h 905"/>
                <a:gd name="T30" fmla="*/ 0 w 382"/>
                <a:gd name="T31" fmla="*/ 898 h 905"/>
                <a:gd name="T32" fmla="*/ 0 w 382"/>
                <a:gd name="T33" fmla="*/ 898 h 9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2" h="905">
                  <a:moveTo>
                    <a:pt x="0" y="898"/>
                  </a:moveTo>
                  <a:lnTo>
                    <a:pt x="0" y="905"/>
                  </a:lnTo>
                  <a:lnTo>
                    <a:pt x="0" y="905"/>
                  </a:lnTo>
                  <a:lnTo>
                    <a:pt x="80" y="905"/>
                  </a:lnTo>
                  <a:lnTo>
                    <a:pt x="90" y="905"/>
                  </a:lnTo>
                  <a:lnTo>
                    <a:pt x="382" y="905"/>
                  </a:lnTo>
                  <a:lnTo>
                    <a:pt x="382" y="582"/>
                  </a:lnTo>
                  <a:lnTo>
                    <a:pt x="382" y="495"/>
                  </a:lnTo>
                  <a:lnTo>
                    <a:pt x="382" y="0"/>
                  </a:lnTo>
                  <a:lnTo>
                    <a:pt x="373" y="0"/>
                  </a:lnTo>
                  <a:lnTo>
                    <a:pt x="373" y="495"/>
                  </a:lnTo>
                  <a:lnTo>
                    <a:pt x="373" y="582"/>
                  </a:lnTo>
                  <a:lnTo>
                    <a:pt x="373" y="898"/>
                  </a:lnTo>
                  <a:lnTo>
                    <a:pt x="90" y="898"/>
                  </a:lnTo>
                  <a:lnTo>
                    <a:pt x="80" y="898"/>
                  </a:lnTo>
                  <a:lnTo>
                    <a:pt x="0" y="898"/>
                  </a:lnTo>
                  <a:lnTo>
                    <a:pt x="0" y="89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7" name="Freeform 37">
              <a:extLst>
                <a:ext uri="{FF2B5EF4-FFF2-40B4-BE49-F238E27FC236}">
                  <a16:creationId xmlns:a16="http://schemas.microsoft.com/office/drawing/2014/main" id="{DC3B8AAE-2226-47DA-8E8E-F43F99D343E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2135"/>
              <a:ext cx="7" cy="599"/>
            </a:xfrm>
            <a:custGeom>
              <a:avLst/>
              <a:gdLst>
                <a:gd name="T0" fmla="*/ 0 w 3"/>
                <a:gd name="T1" fmla="*/ 0 h 254"/>
                <a:gd name="T2" fmla="*/ 0 w 3"/>
                <a:gd name="T3" fmla="*/ 253 h 254"/>
                <a:gd name="T4" fmla="*/ 3 w 3"/>
                <a:gd name="T5" fmla="*/ 254 h 254"/>
                <a:gd name="T6" fmla="*/ 3 w 3"/>
                <a:gd name="T7" fmla="*/ 0 h 254"/>
                <a:gd name="T8" fmla="*/ 1 w 3"/>
                <a:gd name="T9" fmla="*/ 1 h 254"/>
                <a:gd name="T10" fmla="*/ 0 w 3"/>
                <a:gd name="T11" fmla="*/ 0 h 2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254">
                  <a:moveTo>
                    <a:pt x="0" y="0"/>
                  </a:moveTo>
                  <a:cubicBezTo>
                    <a:pt x="0" y="253"/>
                    <a:pt x="0" y="253"/>
                    <a:pt x="0" y="253"/>
                  </a:cubicBezTo>
                  <a:cubicBezTo>
                    <a:pt x="1" y="253"/>
                    <a:pt x="2" y="253"/>
                    <a:pt x="3" y="254"/>
                  </a:cubicBezTo>
                  <a:cubicBezTo>
                    <a:pt x="3" y="0"/>
                    <a:pt x="3" y="0"/>
                    <a:pt x="3" y="0"/>
                  </a:cubicBezTo>
                  <a:cubicBezTo>
                    <a:pt x="3" y="1"/>
                    <a:pt x="2" y="1"/>
                    <a:pt x="1" y="1"/>
                  </a:cubicBezTo>
                  <a:cubicBezTo>
                    <a:pt x="1" y="1"/>
                    <a:pt x="0" y="1"/>
                    <a:pt x="0" y="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8" name="Freeform 38">
              <a:extLst>
                <a:ext uri="{FF2B5EF4-FFF2-40B4-BE49-F238E27FC236}">
                  <a16:creationId xmlns:a16="http://schemas.microsoft.com/office/drawing/2014/main" id="{585620F1-7F41-4953-8147-0CC7A8037FF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740" y="2102"/>
              <a:ext cx="478" cy="10"/>
            </a:xfrm>
            <a:custGeom>
              <a:avLst/>
              <a:gdLst>
                <a:gd name="T0" fmla="*/ 0 w 203"/>
                <a:gd name="T1" fmla="*/ 0 h 4"/>
                <a:gd name="T2" fmla="*/ 0 w 203"/>
                <a:gd name="T3" fmla="*/ 2 h 4"/>
                <a:gd name="T4" fmla="*/ 0 w 203"/>
                <a:gd name="T5" fmla="*/ 4 h 4"/>
                <a:gd name="T6" fmla="*/ 54 w 203"/>
                <a:gd name="T7" fmla="*/ 4 h 4"/>
                <a:gd name="T8" fmla="*/ 58 w 203"/>
                <a:gd name="T9" fmla="*/ 4 h 4"/>
                <a:gd name="T10" fmla="*/ 155 w 203"/>
                <a:gd name="T11" fmla="*/ 4 h 4"/>
                <a:gd name="T12" fmla="*/ 154 w 203"/>
                <a:gd name="T13" fmla="*/ 2 h 4"/>
                <a:gd name="T14" fmla="*/ 155 w 203"/>
                <a:gd name="T15" fmla="*/ 0 h 4"/>
                <a:gd name="T16" fmla="*/ 96 w 203"/>
                <a:gd name="T17" fmla="*/ 0 h 4"/>
                <a:gd name="T18" fmla="*/ 92 w 203"/>
                <a:gd name="T19" fmla="*/ 0 h 4"/>
                <a:gd name="T20" fmla="*/ 58 w 203"/>
                <a:gd name="T21" fmla="*/ 0 h 4"/>
                <a:gd name="T22" fmla="*/ 54 w 203"/>
                <a:gd name="T23" fmla="*/ 0 h 4"/>
                <a:gd name="T24" fmla="*/ 0 w 203"/>
                <a:gd name="T25" fmla="*/ 0 h 4"/>
                <a:gd name="T26" fmla="*/ 179 w 203"/>
                <a:gd name="T27" fmla="*/ 4 h 4"/>
                <a:gd name="T28" fmla="*/ 203 w 203"/>
                <a:gd name="T29" fmla="*/ 4 h 4"/>
                <a:gd name="T30" fmla="*/ 203 w 203"/>
                <a:gd name="T31" fmla="*/ 0 h 4"/>
                <a:gd name="T32" fmla="*/ 179 w 203"/>
                <a:gd name="T33" fmla="*/ 0 h 4"/>
                <a:gd name="T34" fmla="*/ 179 w 203"/>
                <a:gd name="T35" fmla="*/ 2 h 4"/>
                <a:gd name="T36" fmla="*/ 179 w 203"/>
                <a:gd name="T3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3" h="4">
                  <a:moveTo>
                    <a:pt x="0" y="0"/>
                  </a:moveTo>
                  <a:cubicBezTo>
                    <a:pt x="0" y="1"/>
                    <a:pt x="0" y="1"/>
                    <a:pt x="0" y="2"/>
                  </a:cubicBezTo>
                  <a:cubicBezTo>
                    <a:pt x="0" y="3"/>
                    <a:pt x="0" y="3"/>
                    <a:pt x="0" y="4"/>
                  </a:cubicBezTo>
                  <a:cubicBezTo>
                    <a:pt x="54" y="4"/>
                    <a:pt x="54" y="4"/>
                    <a:pt x="54" y="4"/>
                  </a:cubicBezTo>
                  <a:cubicBezTo>
                    <a:pt x="58" y="4"/>
                    <a:pt x="58" y="4"/>
                    <a:pt x="58" y="4"/>
                  </a:cubicBezTo>
                  <a:cubicBezTo>
                    <a:pt x="155" y="4"/>
                    <a:pt x="155" y="4"/>
                    <a:pt x="155" y="4"/>
                  </a:cubicBezTo>
                  <a:cubicBezTo>
                    <a:pt x="154" y="3"/>
                    <a:pt x="154" y="2"/>
                    <a:pt x="154" y="2"/>
                  </a:cubicBezTo>
                  <a:cubicBezTo>
                    <a:pt x="154" y="1"/>
                    <a:pt x="154" y="1"/>
                    <a:pt x="155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2" y="0"/>
                    <a:pt x="92" y="0"/>
                    <a:pt x="92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4" y="0"/>
                    <a:pt x="54" y="0"/>
                    <a:pt x="54" y="0"/>
                  </a:cubicBezTo>
                  <a:lnTo>
                    <a:pt x="0" y="0"/>
                  </a:lnTo>
                  <a:close/>
                  <a:moveTo>
                    <a:pt x="179" y="4"/>
                  </a:moveTo>
                  <a:cubicBezTo>
                    <a:pt x="203" y="4"/>
                    <a:pt x="203" y="4"/>
                    <a:pt x="203" y="4"/>
                  </a:cubicBezTo>
                  <a:cubicBezTo>
                    <a:pt x="203" y="0"/>
                    <a:pt x="203" y="0"/>
                    <a:pt x="203" y="0"/>
                  </a:cubicBezTo>
                  <a:cubicBezTo>
                    <a:pt x="179" y="0"/>
                    <a:pt x="179" y="0"/>
                    <a:pt x="179" y="0"/>
                  </a:cubicBezTo>
                  <a:cubicBezTo>
                    <a:pt x="179" y="1"/>
                    <a:pt x="179" y="1"/>
                    <a:pt x="179" y="2"/>
                  </a:cubicBezTo>
                  <a:cubicBezTo>
                    <a:pt x="179" y="2"/>
                    <a:pt x="179" y="3"/>
                    <a:pt x="179" y="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49" name="Freeform 39">
              <a:extLst>
                <a:ext uri="{FF2B5EF4-FFF2-40B4-BE49-F238E27FC236}">
                  <a16:creationId xmlns:a16="http://schemas.microsoft.com/office/drawing/2014/main" id="{2854FCBB-8C98-4F75-B53F-E5E40AD76C41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225" y="2102"/>
              <a:ext cx="500" cy="580"/>
            </a:xfrm>
            <a:custGeom>
              <a:avLst/>
              <a:gdLst>
                <a:gd name="T0" fmla="*/ 0 w 212"/>
                <a:gd name="T1" fmla="*/ 0 h 246"/>
                <a:gd name="T2" fmla="*/ 0 w 212"/>
                <a:gd name="T3" fmla="*/ 0 h 246"/>
                <a:gd name="T4" fmla="*/ 0 w 212"/>
                <a:gd name="T5" fmla="*/ 4 h 246"/>
                <a:gd name="T6" fmla="*/ 101 w 212"/>
                <a:gd name="T7" fmla="*/ 4 h 246"/>
                <a:gd name="T8" fmla="*/ 189 w 212"/>
                <a:gd name="T9" fmla="*/ 4 h 246"/>
                <a:gd name="T10" fmla="*/ 190 w 212"/>
                <a:gd name="T11" fmla="*/ 0 h 246"/>
                <a:gd name="T12" fmla="*/ 0 w 212"/>
                <a:gd name="T13" fmla="*/ 0 h 246"/>
                <a:gd name="T14" fmla="*/ 208 w 212"/>
                <a:gd name="T15" fmla="*/ 22 h 246"/>
                <a:gd name="T16" fmla="*/ 208 w 212"/>
                <a:gd name="T17" fmla="*/ 182 h 246"/>
                <a:gd name="T18" fmla="*/ 208 w 212"/>
                <a:gd name="T19" fmla="*/ 204 h 246"/>
                <a:gd name="T20" fmla="*/ 208 w 212"/>
                <a:gd name="T21" fmla="*/ 246 h 246"/>
                <a:gd name="T22" fmla="*/ 211 w 212"/>
                <a:gd name="T23" fmla="*/ 246 h 246"/>
                <a:gd name="T24" fmla="*/ 212 w 212"/>
                <a:gd name="T25" fmla="*/ 204 h 246"/>
                <a:gd name="T26" fmla="*/ 212 w 212"/>
                <a:gd name="T27" fmla="*/ 182 h 246"/>
                <a:gd name="T28" fmla="*/ 212 w 212"/>
                <a:gd name="T29" fmla="*/ 109 h 246"/>
                <a:gd name="T30" fmla="*/ 212 w 212"/>
                <a:gd name="T31" fmla="*/ 106 h 246"/>
                <a:gd name="T32" fmla="*/ 212 w 212"/>
                <a:gd name="T33" fmla="*/ 22 h 246"/>
                <a:gd name="T34" fmla="*/ 208 w 212"/>
                <a:gd name="T35" fmla="*/ 22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212" h="246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"/>
                    <a:pt x="0" y="4"/>
                    <a:pt x="0" y="4"/>
                  </a:cubicBezTo>
                  <a:cubicBezTo>
                    <a:pt x="101" y="4"/>
                    <a:pt x="101" y="4"/>
                    <a:pt x="101" y="4"/>
                  </a:cubicBezTo>
                  <a:cubicBezTo>
                    <a:pt x="189" y="4"/>
                    <a:pt x="189" y="4"/>
                    <a:pt x="189" y="4"/>
                  </a:cubicBezTo>
                  <a:cubicBezTo>
                    <a:pt x="189" y="2"/>
                    <a:pt x="190" y="1"/>
                    <a:pt x="190" y="0"/>
                  </a:cubicBezTo>
                  <a:lnTo>
                    <a:pt x="0" y="0"/>
                  </a:lnTo>
                  <a:close/>
                  <a:moveTo>
                    <a:pt x="208" y="22"/>
                  </a:moveTo>
                  <a:cubicBezTo>
                    <a:pt x="208" y="182"/>
                    <a:pt x="208" y="182"/>
                    <a:pt x="208" y="182"/>
                  </a:cubicBezTo>
                  <a:cubicBezTo>
                    <a:pt x="208" y="204"/>
                    <a:pt x="208" y="204"/>
                    <a:pt x="208" y="204"/>
                  </a:cubicBezTo>
                  <a:cubicBezTo>
                    <a:pt x="208" y="246"/>
                    <a:pt x="208" y="246"/>
                    <a:pt x="208" y="246"/>
                  </a:cubicBezTo>
                  <a:cubicBezTo>
                    <a:pt x="211" y="246"/>
                    <a:pt x="211" y="246"/>
                    <a:pt x="211" y="246"/>
                  </a:cubicBezTo>
                  <a:cubicBezTo>
                    <a:pt x="212" y="204"/>
                    <a:pt x="212" y="204"/>
                    <a:pt x="212" y="204"/>
                  </a:cubicBezTo>
                  <a:cubicBezTo>
                    <a:pt x="212" y="182"/>
                    <a:pt x="212" y="182"/>
                    <a:pt x="212" y="182"/>
                  </a:cubicBezTo>
                  <a:cubicBezTo>
                    <a:pt x="212" y="109"/>
                    <a:pt x="212" y="109"/>
                    <a:pt x="212" y="109"/>
                  </a:cubicBezTo>
                  <a:cubicBezTo>
                    <a:pt x="212" y="106"/>
                    <a:pt x="212" y="106"/>
                    <a:pt x="212" y="106"/>
                  </a:cubicBezTo>
                  <a:cubicBezTo>
                    <a:pt x="212" y="22"/>
                    <a:pt x="212" y="22"/>
                    <a:pt x="212" y="22"/>
                  </a:cubicBezTo>
                  <a:cubicBezTo>
                    <a:pt x="210" y="22"/>
                    <a:pt x="209" y="22"/>
                    <a:pt x="208" y="2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0" name="Freeform 40">
              <a:extLst>
                <a:ext uri="{FF2B5EF4-FFF2-40B4-BE49-F238E27FC236}">
                  <a16:creationId xmlns:a16="http://schemas.microsoft.com/office/drawing/2014/main" id="{7B220CA9-7BF1-4866-83F5-7E47D12AF5B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725" y="2352"/>
              <a:ext cx="153" cy="7"/>
            </a:xfrm>
            <a:custGeom>
              <a:avLst/>
              <a:gdLst>
                <a:gd name="T0" fmla="*/ 0 w 65"/>
                <a:gd name="T1" fmla="*/ 0 h 3"/>
                <a:gd name="T2" fmla="*/ 0 w 65"/>
                <a:gd name="T3" fmla="*/ 3 h 3"/>
                <a:gd name="T4" fmla="*/ 65 w 65"/>
                <a:gd name="T5" fmla="*/ 3 h 3"/>
                <a:gd name="T6" fmla="*/ 65 w 65"/>
                <a:gd name="T7" fmla="*/ 1 h 3"/>
                <a:gd name="T8" fmla="*/ 65 w 65"/>
                <a:gd name="T9" fmla="*/ 0 h 3"/>
                <a:gd name="T10" fmla="*/ 0 w 65"/>
                <a:gd name="T11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5" h="3">
                  <a:moveTo>
                    <a:pt x="0" y="0"/>
                  </a:moveTo>
                  <a:cubicBezTo>
                    <a:pt x="0" y="3"/>
                    <a:pt x="0" y="3"/>
                    <a:pt x="0" y="3"/>
                  </a:cubicBezTo>
                  <a:cubicBezTo>
                    <a:pt x="65" y="3"/>
                    <a:pt x="65" y="3"/>
                    <a:pt x="65" y="3"/>
                  </a:cubicBezTo>
                  <a:cubicBezTo>
                    <a:pt x="65" y="3"/>
                    <a:pt x="65" y="2"/>
                    <a:pt x="65" y="1"/>
                  </a:cubicBezTo>
                  <a:cubicBezTo>
                    <a:pt x="65" y="1"/>
                    <a:pt x="65" y="0"/>
                    <a:pt x="65" y="0"/>
                  </a:cubicBez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1" name="Freeform 41">
              <a:extLst>
                <a:ext uri="{FF2B5EF4-FFF2-40B4-BE49-F238E27FC236}">
                  <a16:creationId xmlns:a16="http://schemas.microsoft.com/office/drawing/2014/main" id="{F4E17047-BF68-4485-BB9A-F8A6C8F245E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71" y="2067"/>
              <a:ext cx="87" cy="87"/>
            </a:xfrm>
            <a:custGeom>
              <a:avLst/>
              <a:gdLst>
                <a:gd name="T0" fmla="*/ 0 w 37"/>
                <a:gd name="T1" fmla="*/ 19 h 37"/>
                <a:gd name="T2" fmla="*/ 0 w 37"/>
                <a:gd name="T3" fmla="*/ 19 h 37"/>
                <a:gd name="T4" fmla="*/ 19 w 37"/>
                <a:gd name="T5" fmla="*/ 37 h 37"/>
                <a:gd name="T6" fmla="*/ 23 w 37"/>
                <a:gd name="T7" fmla="*/ 37 h 37"/>
                <a:gd name="T8" fmla="*/ 37 w 37"/>
                <a:gd name="T9" fmla="*/ 19 h 37"/>
                <a:gd name="T10" fmla="*/ 19 w 37"/>
                <a:gd name="T11" fmla="*/ 0 h 37"/>
                <a:gd name="T12" fmla="*/ 1 w 37"/>
                <a:gd name="T13" fmla="*/ 15 h 37"/>
                <a:gd name="T14" fmla="*/ 0 w 37"/>
                <a:gd name="T15" fmla="*/ 19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37">
                  <a:moveTo>
                    <a:pt x="0" y="19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9"/>
                    <a:pt x="9" y="37"/>
                    <a:pt x="19" y="37"/>
                  </a:cubicBezTo>
                  <a:cubicBezTo>
                    <a:pt x="20" y="37"/>
                    <a:pt x="21" y="37"/>
                    <a:pt x="23" y="37"/>
                  </a:cubicBezTo>
                  <a:cubicBezTo>
                    <a:pt x="31" y="35"/>
                    <a:pt x="37" y="28"/>
                    <a:pt x="37" y="19"/>
                  </a:cubicBezTo>
                  <a:cubicBezTo>
                    <a:pt x="37" y="9"/>
                    <a:pt x="29" y="0"/>
                    <a:pt x="19" y="0"/>
                  </a:cubicBezTo>
                  <a:cubicBezTo>
                    <a:pt x="10" y="0"/>
                    <a:pt x="2" y="7"/>
                    <a:pt x="1" y="15"/>
                  </a:cubicBezTo>
                  <a:cubicBezTo>
                    <a:pt x="1" y="16"/>
                    <a:pt x="0" y="17"/>
                    <a:pt x="0" y="1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2" name="Freeform 42">
              <a:extLst>
                <a:ext uri="{FF2B5EF4-FFF2-40B4-BE49-F238E27FC236}">
                  <a16:creationId xmlns:a16="http://schemas.microsoft.com/office/drawing/2014/main" id="{F1D7C1CB-1440-4D25-8755-449F453CB5D5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419" y="2076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5 h 25"/>
                <a:gd name="T6" fmla="*/ 25 w 25"/>
                <a:gd name="T7" fmla="*/ 12 h 25"/>
                <a:gd name="T8" fmla="*/ 25 w 25"/>
                <a:gd name="T9" fmla="*/ 11 h 25"/>
                <a:gd name="T10" fmla="*/ 15 w 25"/>
                <a:gd name="T11" fmla="*/ 0 h 25"/>
                <a:gd name="T12" fmla="*/ 13 w 25"/>
                <a:gd name="T13" fmla="*/ 0 h 25"/>
                <a:gd name="T14" fmla="*/ 11 w 25"/>
                <a:gd name="T15" fmla="*/ 0 h 25"/>
                <a:gd name="T16" fmla="*/ 0 w 25"/>
                <a:gd name="T17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5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1"/>
                  </a:cubicBezTo>
                  <a:cubicBezTo>
                    <a:pt x="24" y="6"/>
                    <a:pt x="20" y="1"/>
                    <a:pt x="15" y="0"/>
                  </a:cubicBezTo>
                  <a:cubicBezTo>
                    <a:pt x="14" y="0"/>
                    <a:pt x="13" y="0"/>
                    <a:pt x="13" y="0"/>
                  </a:cubicBezTo>
                  <a:cubicBezTo>
                    <a:pt x="12" y="0"/>
                    <a:pt x="11" y="0"/>
                    <a:pt x="11" y="0"/>
                  </a:cubicBezTo>
                  <a:cubicBezTo>
                    <a:pt x="5" y="1"/>
                    <a:pt x="0" y="6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3" name="Freeform 43">
              <a:extLst>
                <a:ext uri="{FF2B5EF4-FFF2-40B4-BE49-F238E27FC236}">
                  <a16:creationId xmlns:a16="http://schemas.microsoft.com/office/drawing/2014/main" id="{AFADD364-DC76-426E-BF9C-CC867ED8FBC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03" y="2076"/>
              <a:ext cx="59" cy="59"/>
            </a:xfrm>
            <a:custGeom>
              <a:avLst/>
              <a:gdLst>
                <a:gd name="T0" fmla="*/ 0 w 25"/>
                <a:gd name="T1" fmla="*/ 13 h 25"/>
                <a:gd name="T2" fmla="*/ 1 w 25"/>
                <a:gd name="T3" fmla="*/ 15 h 25"/>
                <a:gd name="T4" fmla="*/ 13 w 25"/>
                <a:gd name="T5" fmla="*/ 25 h 25"/>
                <a:gd name="T6" fmla="*/ 25 w 25"/>
                <a:gd name="T7" fmla="*/ 15 h 25"/>
                <a:gd name="T8" fmla="*/ 25 w 25"/>
                <a:gd name="T9" fmla="*/ 13 h 25"/>
                <a:gd name="T10" fmla="*/ 25 w 25"/>
                <a:gd name="T11" fmla="*/ 11 h 25"/>
                <a:gd name="T12" fmla="*/ 13 w 25"/>
                <a:gd name="T13" fmla="*/ 0 h 25"/>
                <a:gd name="T14" fmla="*/ 1 w 25"/>
                <a:gd name="T15" fmla="*/ 11 h 25"/>
                <a:gd name="T16" fmla="*/ 0 w 25"/>
                <a:gd name="T17" fmla="*/ 13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" h="25">
                  <a:moveTo>
                    <a:pt x="0" y="13"/>
                  </a:moveTo>
                  <a:cubicBezTo>
                    <a:pt x="0" y="13"/>
                    <a:pt x="0" y="14"/>
                    <a:pt x="1" y="15"/>
                  </a:cubicBezTo>
                  <a:cubicBezTo>
                    <a:pt x="2" y="21"/>
                    <a:pt x="7" y="25"/>
                    <a:pt x="13" y="25"/>
                  </a:cubicBezTo>
                  <a:cubicBezTo>
                    <a:pt x="19" y="25"/>
                    <a:pt x="24" y="21"/>
                    <a:pt x="25" y="15"/>
                  </a:cubicBezTo>
                  <a:cubicBezTo>
                    <a:pt x="25" y="14"/>
                    <a:pt x="25" y="13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3" y="0"/>
                  </a:cubicBezTo>
                  <a:cubicBezTo>
                    <a:pt x="6" y="0"/>
                    <a:pt x="1" y="5"/>
                    <a:pt x="1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4" name="Freeform 44">
              <a:extLst>
                <a:ext uri="{FF2B5EF4-FFF2-40B4-BE49-F238E27FC236}">
                  <a16:creationId xmlns:a16="http://schemas.microsoft.com/office/drawing/2014/main" id="{7A322674-9FCD-4FB9-B770-2E9E5F484F5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26" y="1678"/>
              <a:ext cx="61" cy="61"/>
            </a:xfrm>
            <a:custGeom>
              <a:avLst/>
              <a:gdLst>
                <a:gd name="T0" fmla="*/ 0 w 26"/>
                <a:gd name="T1" fmla="*/ 13 h 26"/>
                <a:gd name="T2" fmla="*/ 0 w 26"/>
                <a:gd name="T3" fmla="*/ 13 h 26"/>
                <a:gd name="T4" fmla="*/ 13 w 26"/>
                <a:gd name="T5" fmla="*/ 26 h 26"/>
                <a:gd name="T6" fmla="*/ 17 w 26"/>
                <a:gd name="T7" fmla="*/ 25 h 26"/>
                <a:gd name="T8" fmla="*/ 26 w 26"/>
                <a:gd name="T9" fmla="*/ 13 h 26"/>
                <a:gd name="T10" fmla="*/ 13 w 26"/>
                <a:gd name="T11" fmla="*/ 0 h 26"/>
                <a:gd name="T12" fmla="*/ 1 w 26"/>
                <a:gd name="T13" fmla="*/ 9 h 26"/>
                <a:gd name="T14" fmla="*/ 0 w 26"/>
                <a:gd name="T15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26">
                  <a:moveTo>
                    <a:pt x="0" y="13"/>
                  </a:moveTo>
                  <a:cubicBezTo>
                    <a:pt x="0" y="13"/>
                    <a:pt x="0" y="13"/>
                    <a:pt x="0" y="13"/>
                  </a:cubicBezTo>
                  <a:cubicBezTo>
                    <a:pt x="0" y="20"/>
                    <a:pt x="6" y="26"/>
                    <a:pt x="13" y="26"/>
                  </a:cubicBezTo>
                  <a:cubicBezTo>
                    <a:pt x="14" y="26"/>
                    <a:pt x="16" y="25"/>
                    <a:pt x="17" y="25"/>
                  </a:cubicBezTo>
                  <a:cubicBezTo>
                    <a:pt x="22" y="23"/>
                    <a:pt x="26" y="19"/>
                    <a:pt x="26" y="13"/>
                  </a:cubicBezTo>
                  <a:cubicBezTo>
                    <a:pt x="26" y="6"/>
                    <a:pt x="20" y="0"/>
                    <a:pt x="13" y="0"/>
                  </a:cubicBezTo>
                  <a:cubicBezTo>
                    <a:pt x="7" y="0"/>
                    <a:pt x="2" y="4"/>
                    <a:pt x="1" y="9"/>
                  </a:cubicBezTo>
                  <a:cubicBezTo>
                    <a:pt x="0" y="10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5" name="Freeform 45">
              <a:extLst>
                <a:ext uri="{FF2B5EF4-FFF2-40B4-BE49-F238E27FC236}">
                  <a16:creationId xmlns:a16="http://schemas.microsoft.com/office/drawing/2014/main" id="{AC2E8EA7-5262-4B22-B82E-4D8D10781BD5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5390" y="1058"/>
              <a:ext cx="983" cy="540"/>
            </a:xfrm>
            <a:custGeom>
              <a:avLst/>
              <a:gdLst>
                <a:gd name="T0" fmla="*/ 0 w 417"/>
                <a:gd name="T1" fmla="*/ 0 h 229"/>
                <a:gd name="T2" fmla="*/ 0 w 417"/>
                <a:gd name="T3" fmla="*/ 212 h 229"/>
                <a:gd name="T4" fmla="*/ 2 w 417"/>
                <a:gd name="T5" fmla="*/ 212 h 229"/>
                <a:gd name="T6" fmla="*/ 4 w 417"/>
                <a:gd name="T7" fmla="*/ 212 h 229"/>
                <a:gd name="T8" fmla="*/ 4 w 417"/>
                <a:gd name="T9" fmla="*/ 4 h 229"/>
                <a:gd name="T10" fmla="*/ 414 w 417"/>
                <a:gd name="T11" fmla="*/ 4 h 229"/>
                <a:gd name="T12" fmla="*/ 414 w 417"/>
                <a:gd name="T13" fmla="*/ 40 h 229"/>
                <a:gd name="T14" fmla="*/ 417 w 417"/>
                <a:gd name="T15" fmla="*/ 40 h 229"/>
                <a:gd name="T16" fmla="*/ 417 w 417"/>
                <a:gd name="T17" fmla="*/ 0 h 229"/>
                <a:gd name="T18" fmla="*/ 0 w 417"/>
                <a:gd name="T19" fmla="*/ 0 h 229"/>
                <a:gd name="T20" fmla="*/ 17 w 417"/>
                <a:gd name="T21" fmla="*/ 226 h 229"/>
                <a:gd name="T22" fmla="*/ 17 w 417"/>
                <a:gd name="T23" fmla="*/ 228 h 229"/>
                <a:gd name="T24" fmla="*/ 17 w 417"/>
                <a:gd name="T25" fmla="*/ 229 h 229"/>
                <a:gd name="T26" fmla="*/ 166 w 417"/>
                <a:gd name="T27" fmla="*/ 229 h 229"/>
                <a:gd name="T28" fmla="*/ 166 w 417"/>
                <a:gd name="T29" fmla="*/ 226 h 229"/>
                <a:gd name="T30" fmla="*/ 17 w 417"/>
                <a:gd name="T31" fmla="*/ 226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17" h="229">
                  <a:moveTo>
                    <a:pt x="0" y="0"/>
                  </a:moveTo>
                  <a:cubicBezTo>
                    <a:pt x="0" y="212"/>
                    <a:pt x="0" y="212"/>
                    <a:pt x="0" y="212"/>
                  </a:cubicBezTo>
                  <a:cubicBezTo>
                    <a:pt x="1" y="212"/>
                    <a:pt x="1" y="212"/>
                    <a:pt x="2" y="212"/>
                  </a:cubicBezTo>
                  <a:cubicBezTo>
                    <a:pt x="2" y="212"/>
                    <a:pt x="3" y="212"/>
                    <a:pt x="4" y="212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414" y="4"/>
                    <a:pt x="414" y="4"/>
                    <a:pt x="414" y="4"/>
                  </a:cubicBezTo>
                  <a:cubicBezTo>
                    <a:pt x="414" y="40"/>
                    <a:pt x="414" y="40"/>
                    <a:pt x="414" y="40"/>
                  </a:cubicBezTo>
                  <a:cubicBezTo>
                    <a:pt x="417" y="40"/>
                    <a:pt x="417" y="40"/>
                    <a:pt x="417" y="40"/>
                  </a:cubicBezTo>
                  <a:cubicBezTo>
                    <a:pt x="417" y="0"/>
                    <a:pt x="417" y="0"/>
                    <a:pt x="417" y="0"/>
                  </a:cubicBezTo>
                  <a:lnTo>
                    <a:pt x="0" y="0"/>
                  </a:lnTo>
                  <a:close/>
                  <a:moveTo>
                    <a:pt x="17" y="226"/>
                  </a:moveTo>
                  <a:cubicBezTo>
                    <a:pt x="17" y="226"/>
                    <a:pt x="17" y="227"/>
                    <a:pt x="17" y="228"/>
                  </a:cubicBezTo>
                  <a:cubicBezTo>
                    <a:pt x="17" y="228"/>
                    <a:pt x="17" y="229"/>
                    <a:pt x="17" y="229"/>
                  </a:cubicBezTo>
                  <a:cubicBezTo>
                    <a:pt x="166" y="229"/>
                    <a:pt x="166" y="229"/>
                    <a:pt x="166" y="229"/>
                  </a:cubicBezTo>
                  <a:cubicBezTo>
                    <a:pt x="166" y="226"/>
                    <a:pt x="166" y="226"/>
                    <a:pt x="166" y="226"/>
                  </a:cubicBezTo>
                  <a:lnTo>
                    <a:pt x="17" y="2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6" name="Freeform 46">
              <a:extLst>
                <a:ext uri="{FF2B5EF4-FFF2-40B4-BE49-F238E27FC236}">
                  <a16:creationId xmlns:a16="http://schemas.microsoft.com/office/drawing/2014/main" id="{C2200139-2504-43E1-A9BC-81B64A841B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57" y="1558"/>
              <a:ext cx="73" cy="73"/>
            </a:xfrm>
            <a:custGeom>
              <a:avLst/>
              <a:gdLst>
                <a:gd name="T0" fmla="*/ 0 w 31"/>
                <a:gd name="T1" fmla="*/ 16 h 31"/>
                <a:gd name="T2" fmla="*/ 16 w 31"/>
                <a:gd name="T3" fmla="*/ 31 h 31"/>
                <a:gd name="T4" fmla="*/ 31 w 31"/>
                <a:gd name="T5" fmla="*/ 17 h 31"/>
                <a:gd name="T6" fmla="*/ 31 w 31"/>
                <a:gd name="T7" fmla="*/ 16 h 31"/>
                <a:gd name="T8" fmla="*/ 31 w 31"/>
                <a:gd name="T9" fmla="*/ 14 h 31"/>
                <a:gd name="T10" fmla="*/ 18 w 31"/>
                <a:gd name="T11" fmla="*/ 0 h 31"/>
                <a:gd name="T12" fmla="*/ 16 w 31"/>
                <a:gd name="T13" fmla="*/ 0 h 31"/>
                <a:gd name="T14" fmla="*/ 14 w 31"/>
                <a:gd name="T15" fmla="*/ 0 h 31"/>
                <a:gd name="T16" fmla="*/ 0 w 31"/>
                <a:gd name="T17" fmla="*/ 16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1" h="31">
                  <a:moveTo>
                    <a:pt x="0" y="16"/>
                  </a:moveTo>
                  <a:cubicBezTo>
                    <a:pt x="0" y="24"/>
                    <a:pt x="7" y="31"/>
                    <a:pt x="16" y="31"/>
                  </a:cubicBezTo>
                  <a:cubicBezTo>
                    <a:pt x="24" y="31"/>
                    <a:pt x="30" y="25"/>
                    <a:pt x="31" y="17"/>
                  </a:cubicBezTo>
                  <a:cubicBezTo>
                    <a:pt x="31" y="17"/>
                    <a:pt x="31" y="16"/>
                    <a:pt x="31" y="16"/>
                  </a:cubicBezTo>
                  <a:cubicBezTo>
                    <a:pt x="31" y="15"/>
                    <a:pt x="31" y="14"/>
                    <a:pt x="31" y="14"/>
                  </a:cubicBezTo>
                  <a:cubicBezTo>
                    <a:pt x="30" y="7"/>
                    <a:pt x="25" y="1"/>
                    <a:pt x="18" y="0"/>
                  </a:cubicBezTo>
                  <a:cubicBezTo>
                    <a:pt x="17" y="0"/>
                    <a:pt x="16" y="0"/>
                    <a:pt x="16" y="0"/>
                  </a:cubicBezTo>
                  <a:cubicBezTo>
                    <a:pt x="15" y="0"/>
                    <a:pt x="15" y="0"/>
                    <a:pt x="14" y="0"/>
                  </a:cubicBezTo>
                  <a:cubicBezTo>
                    <a:pt x="6" y="1"/>
                    <a:pt x="0" y="8"/>
                    <a:pt x="0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7" name="Freeform 47">
              <a:extLst>
                <a:ext uri="{FF2B5EF4-FFF2-40B4-BE49-F238E27FC236}">
                  <a16:creationId xmlns:a16="http://schemas.microsoft.com/office/drawing/2014/main" id="{69E672F9-3979-4B75-9953-044163120F7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338" y="1140"/>
              <a:ext cx="59" cy="59"/>
            </a:xfrm>
            <a:custGeom>
              <a:avLst/>
              <a:gdLst>
                <a:gd name="T0" fmla="*/ 0 w 25"/>
                <a:gd name="T1" fmla="*/ 12 h 25"/>
                <a:gd name="T2" fmla="*/ 13 w 25"/>
                <a:gd name="T3" fmla="*/ 25 h 25"/>
                <a:gd name="T4" fmla="*/ 25 w 25"/>
                <a:gd name="T5" fmla="*/ 14 h 25"/>
                <a:gd name="T6" fmla="*/ 25 w 25"/>
                <a:gd name="T7" fmla="*/ 12 h 25"/>
                <a:gd name="T8" fmla="*/ 25 w 25"/>
                <a:gd name="T9" fmla="*/ 10 h 25"/>
                <a:gd name="T10" fmla="*/ 13 w 25"/>
                <a:gd name="T11" fmla="*/ 0 h 25"/>
                <a:gd name="T12" fmla="*/ 0 w 25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0" y="12"/>
                  </a:moveTo>
                  <a:cubicBezTo>
                    <a:pt x="0" y="19"/>
                    <a:pt x="6" y="25"/>
                    <a:pt x="13" y="25"/>
                  </a:cubicBezTo>
                  <a:cubicBezTo>
                    <a:pt x="19" y="25"/>
                    <a:pt x="24" y="20"/>
                    <a:pt x="25" y="14"/>
                  </a:cubicBezTo>
                  <a:cubicBezTo>
                    <a:pt x="25" y="14"/>
                    <a:pt x="25" y="13"/>
                    <a:pt x="25" y="12"/>
                  </a:cubicBezTo>
                  <a:cubicBezTo>
                    <a:pt x="25" y="12"/>
                    <a:pt x="25" y="11"/>
                    <a:pt x="25" y="10"/>
                  </a:cubicBezTo>
                  <a:cubicBezTo>
                    <a:pt x="24" y="4"/>
                    <a:pt x="19" y="0"/>
                    <a:pt x="13" y="0"/>
                  </a:cubicBezTo>
                  <a:cubicBezTo>
                    <a:pt x="6" y="0"/>
                    <a:pt x="0" y="5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8" name="Freeform 48">
              <a:extLst>
                <a:ext uri="{FF2B5EF4-FFF2-40B4-BE49-F238E27FC236}">
                  <a16:creationId xmlns:a16="http://schemas.microsoft.com/office/drawing/2014/main" id="{AA662F9C-6141-4302-B3E0-940FA7F6CAD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878" y="2326"/>
              <a:ext cx="62" cy="59"/>
            </a:xfrm>
            <a:custGeom>
              <a:avLst/>
              <a:gdLst>
                <a:gd name="T0" fmla="*/ 0 w 26"/>
                <a:gd name="T1" fmla="*/ 12 h 25"/>
                <a:gd name="T2" fmla="*/ 0 w 26"/>
                <a:gd name="T3" fmla="*/ 14 h 25"/>
                <a:gd name="T4" fmla="*/ 13 w 26"/>
                <a:gd name="T5" fmla="*/ 25 h 25"/>
                <a:gd name="T6" fmla="*/ 26 w 26"/>
                <a:gd name="T7" fmla="*/ 12 h 25"/>
                <a:gd name="T8" fmla="*/ 13 w 26"/>
                <a:gd name="T9" fmla="*/ 0 h 25"/>
                <a:gd name="T10" fmla="*/ 0 w 26"/>
                <a:gd name="T11" fmla="*/ 11 h 25"/>
                <a:gd name="T12" fmla="*/ 0 w 26"/>
                <a:gd name="T13" fmla="*/ 12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5">
                  <a:moveTo>
                    <a:pt x="0" y="12"/>
                  </a:moveTo>
                  <a:cubicBezTo>
                    <a:pt x="0" y="13"/>
                    <a:pt x="0" y="14"/>
                    <a:pt x="0" y="14"/>
                  </a:cubicBezTo>
                  <a:cubicBezTo>
                    <a:pt x="1" y="20"/>
                    <a:pt x="6" y="25"/>
                    <a:pt x="13" y="25"/>
                  </a:cubicBezTo>
                  <a:cubicBezTo>
                    <a:pt x="20" y="25"/>
                    <a:pt x="26" y="19"/>
                    <a:pt x="26" y="12"/>
                  </a:cubicBezTo>
                  <a:cubicBezTo>
                    <a:pt x="26" y="5"/>
                    <a:pt x="20" y="0"/>
                    <a:pt x="13" y="0"/>
                  </a:cubicBezTo>
                  <a:cubicBezTo>
                    <a:pt x="6" y="0"/>
                    <a:pt x="1" y="4"/>
                    <a:pt x="0" y="11"/>
                  </a:cubicBezTo>
                  <a:cubicBezTo>
                    <a:pt x="0" y="11"/>
                    <a:pt x="0" y="12"/>
                    <a:pt x="0" y="12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59" name="Freeform 49">
              <a:extLst>
                <a:ext uri="{FF2B5EF4-FFF2-40B4-BE49-F238E27FC236}">
                  <a16:creationId xmlns:a16="http://schemas.microsoft.com/office/drawing/2014/main" id="{9CE411DA-F903-470A-80A1-B70F81934DF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681" y="2076"/>
              <a:ext cx="59" cy="62"/>
            </a:xfrm>
            <a:custGeom>
              <a:avLst/>
              <a:gdLst>
                <a:gd name="T0" fmla="*/ 0 w 25"/>
                <a:gd name="T1" fmla="*/ 13 h 26"/>
                <a:gd name="T2" fmla="*/ 0 w 25"/>
                <a:gd name="T3" fmla="*/ 15 h 26"/>
                <a:gd name="T4" fmla="*/ 11 w 25"/>
                <a:gd name="T5" fmla="*/ 25 h 26"/>
                <a:gd name="T6" fmla="*/ 12 w 25"/>
                <a:gd name="T7" fmla="*/ 26 h 26"/>
                <a:gd name="T8" fmla="*/ 14 w 25"/>
                <a:gd name="T9" fmla="*/ 25 h 26"/>
                <a:gd name="T10" fmla="*/ 25 w 25"/>
                <a:gd name="T11" fmla="*/ 15 h 26"/>
                <a:gd name="T12" fmla="*/ 25 w 25"/>
                <a:gd name="T13" fmla="*/ 13 h 26"/>
                <a:gd name="T14" fmla="*/ 25 w 25"/>
                <a:gd name="T15" fmla="*/ 11 h 26"/>
                <a:gd name="T16" fmla="*/ 12 w 25"/>
                <a:gd name="T17" fmla="*/ 0 h 26"/>
                <a:gd name="T18" fmla="*/ 0 w 25"/>
                <a:gd name="T19" fmla="*/ 11 h 26"/>
                <a:gd name="T20" fmla="*/ 0 w 25"/>
                <a:gd name="T21" fmla="*/ 13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" h="26">
                  <a:moveTo>
                    <a:pt x="0" y="13"/>
                  </a:moveTo>
                  <a:cubicBezTo>
                    <a:pt x="0" y="14"/>
                    <a:pt x="0" y="14"/>
                    <a:pt x="0" y="15"/>
                  </a:cubicBezTo>
                  <a:cubicBezTo>
                    <a:pt x="1" y="20"/>
                    <a:pt x="5" y="25"/>
                    <a:pt x="11" y="25"/>
                  </a:cubicBezTo>
                  <a:cubicBezTo>
                    <a:pt x="11" y="26"/>
                    <a:pt x="12" y="26"/>
                    <a:pt x="12" y="26"/>
                  </a:cubicBezTo>
                  <a:cubicBezTo>
                    <a:pt x="13" y="26"/>
                    <a:pt x="14" y="26"/>
                    <a:pt x="14" y="25"/>
                  </a:cubicBezTo>
                  <a:cubicBezTo>
                    <a:pt x="20" y="25"/>
                    <a:pt x="24" y="20"/>
                    <a:pt x="25" y="15"/>
                  </a:cubicBezTo>
                  <a:cubicBezTo>
                    <a:pt x="25" y="14"/>
                    <a:pt x="25" y="14"/>
                    <a:pt x="25" y="13"/>
                  </a:cubicBezTo>
                  <a:cubicBezTo>
                    <a:pt x="25" y="12"/>
                    <a:pt x="25" y="12"/>
                    <a:pt x="25" y="11"/>
                  </a:cubicBezTo>
                  <a:cubicBezTo>
                    <a:pt x="24" y="5"/>
                    <a:pt x="19" y="0"/>
                    <a:pt x="12" y="0"/>
                  </a:cubicBezTo>
                  <a:cubicBezTo>
                    <a:pt x="6" y="0"/>
                    <a:pt x="1" y="5"/>
                    <a:pt x="0" y="11"/>
                  </a:cubicBezTo>
                  <a:cubicBezTo>
                    <a:pt x="0" y="12"/>
                    <a:pt x="0" y="12"/>
                    <a:pt x="0" y="13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0" name="Freeform 50">
              <a:extLst>
                <a:ext uri="{FF2B5EF4-FFF2-40B4-BE49-F238E27FC236}">
                  <a16:creationId xmlns:a16="http://schemas.microsoft.com/office/drawing/2014/main" id="{4A0204C1-B3E8-4BD1-9DFE-3C067DDCDC0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831" y="1440"/>
              <a:ext cx="81" cy="80"/>
            </a:xfrm>
            <a:custGeom>
              <a:avLst/>
              <a:gdLst>
                <a:gd name="T0" fmla="*/ 0 w 34"/>
                <a:gd name="T1" fmla="*/ 17 h 34"/>
                <a:gd name="T2" fmla="*/ 15 w 34"/>
                <a:gd name="T3" fmla="*/ 34 h 34"/>
                <a:gd name="T4" fmla="*/ 17 w 34"/>
                <a:gd name="T5" fmla="*/ 34 h 34"/>
                <a:gd name="T6" fmla="*/ 19 w 34"/>
                <a:gd name="T7" fmla="*/ 34 h 34"/>
                <a:gd name="T8" fmla="*/ 34 w 34"/>
                <a:gd name="T9" fmla="*/ 17 h 34"/>
                <a:gd name="T10" fmla="*/ 17 w 34"/>
                <a:gd name="T11" fmla="*/ 0 h 34"/>
                <a:gd name="T12" fmla="*/ 0 w 34"/>
                <a:gd name="T13" fmla="*/ 17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34">
                  <a:moveTo>
                    <a:pt x="0" y="17"/>
                  </a:moveTo>
                  <a:cubicBezTo>
                    <a:pt x="0" y="26"/>
                    <a:pt x="6" y="33"/>
                    <a:pt x="15" y="34"/>
                  </a:cubicBezTo>
                  <a:cubicBezTo>
                    <a:pt x="16" y="34"/>
                    <a:pt x="16" y="34"/>
                    <a:pt x="17" y="34"/>
                  </a:cubicBezTo>
                  <a:cubicBezTo>
                    <a:pt x="18" y="34"/>
                    <a:pt x="18" y="34"/>
                    <a:pt x="19" y="34"/>
                  </a:cubicBezTo>
                  <a:cubicBezTo>
                    <a:pt x="28" y="33"/>
                    <a:pt x="34" y="26"/>
                    <a:pt x="34" y="17"/>
                  </a:cubicBezTo>
                  <a:cubicBezTo>
                    <a:pt x="34" y="7"/>
                    <a:pt x="27" y="0"/>
                    <a:pt x="17" y="0"/>
                  </a:cubicBezTo>
                  <a:cubicBezTo>
                    <a:pt x="7" y="0"/>
                    <a:pt x="0" y="7"/>
                    <a:pt x="0" y="17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1" name="Rectangle 51">
              <a:extLst>
                <a:ext uri="{FF2B5EF4-FFF2-40B4-BE49-F238E27FC236}">
                  <a16:creationId xmlns:a16="http://schemas.microsoft.com/office/drawing/2014/main" id="{3AC6ED9B-274A-4458-8F00-66CF7C21118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01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2" name="Freeform 52">
              <a:extLst>
                <a:ext uri="{FF2B5EF4-FFF2-40B4-BE49-F238E27FC236}">
                  <a16:creationId xmlns:a16="http://schemas.microsoft.com/office/drawing/2014/main" id="{C7C4B3A7-7670-4FA2-938A-B26239E0E6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  <a:gd name="T8" fmla="*/ 5 w 5"/>
                <a:gd name="T9" fmla="*/ 391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  <a:lnTo>
                    <a:pt x="5" y="39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3" name="Freeform 53">
              <a:extLst>
                <a:ext uri="{FF2B5EF4-FFF2-40B4-BE49-F238E27FC236}">
                  <a16:creationId xmlns:a16="http://schemas.microsoft.com/office/drawing/2014/main" id="{AE442395-CA2A-4BDE-B3B6-433550DB1C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96" y="2145"/>
              <a:ext cx="5" cy="391"/>
            </a:xfrm>
            <a:custGeom>
              <a:avLst/>
              <a:gdLst>
                <a:gd name="T0" fmla="*/ 5 w 5"/>
                <a:gd name="T1" fmla="*/ 391 h 391"/>
                <a:gd name="T2" fmla="*/ 5 w 5"/>
                <a:gd name="T3" fmla="*/ 0 h 391"/>
                <a:gd name="T4" fmla="*/ 0 w 5"/>
                <a:gd name="T5" fmla="*/ 0 h 391"/>
                <a:gd name="T6" fmla="*/ 0 w 5"/>
                <a:gd name="T7" fmla="*/ 386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91">
                  <a:moveTo>
                    <a:pt x="5" y="391"/>
                  </a:moveTo>
                  <a:lnTo>
                    <a:pt x="5" y="0"/>
                  </a:lnTo>
                  <a:lnTo>
                    <a:pt x="0" y="0"/>
                  </a:lnTo>
                  <a:lnTo>
                    <a:pt x="0" y="386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4" name="Oval 54">
              <a:extLst>
                <a:ext uri="{FF2B5EF4-FFF2-40B4-BE49-F238E27FC236}">
                  <a16:creationId xmlns:a16="http://schemas.microsoft.com/office/drawing/2014/main" id="{7DE80663-9D4B-4A6C-8ED8-135518E960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018" y="2380"/>
              <a:ext cx="42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5" name="Rectangle 55">
              <a:extLst>
                <a:ext uri="{FF2B5EF4-FFF2-40B4-BE49-F238E27FC236}">
                  <a16:creationId xmlns:a16="http://schemas.microsoft.com/office/drawing/2014/main" id="{A57F4F3C-38B1-40D1-ABC5-5CE419E1346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487" y="2138"/>
              <a:ext cx="193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6" name="Rectangle 56">
              <a:extLst>
                <a:ext uri="{FF2B5EF4-FFF2-40B4-BE49-F238E27FC236}">
                  <a16:creationId xmlns:a16="http://schemas.microsoft.com/office/drawing/2014/main" id="{AEDDC660-56D4-40B9-9C16-C723B4DB267B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09" y="1817"/>
              <a:ext cx="7" cy="58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7" name="Freeform 57">
              <a:extLst>
                <a:ext uri="{FF2B5EF4-FFF2-40B4-BE49-F238E27FC236}">
                  <a16:creationId xmlns:a16="http://schemas.microsoft.com/office/drawing/2014/main" id="{5D8A0BEF-034C-4DF4-90AA-4CAEECC36EC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395" y="2253"/>
              <a:ext cx="703" cy="387"/>
            </a:xfrm>
            <a:custGeom>
              <a:avLst/>
              <a:gdLst>
                <a:gd name="T0" fmla="*/ 281 w 703"/>
                <a:gd name="T1" fmla="*/ 380 h 387"/>
                <a:gd name="T2" fmla="*/ 7 w 703"/>
                <a:gd name="T3" fmla="*/ 380 h 387"/>
                <a:gd name="T4" fmla="*/ 7 w 703"/>
                <a:gd name="T5" fmla="*/ 5 h 387"/>
                <a:gd name="T6" fmla="*/ 698 w 703"/>
                <a:gd name="T7" fmla="*/ 5 h 387"/>
                <a:gd name="T8" fmla="*/ 698 w 703"/>
                <a:gd name="T9" fmla="*/ 177 h 387"/>
                <a:gd name="T10" fmla="*/ 703 w 703"/>
                <a:gd name="T11" fmla="*/ 177 h 387"/>
                <a:gd name="T12" fmla="*/ 703 w 703"/>
                <a:gd name="T13" fmla="*/ 0 h 387"/>
                <a:gd name="T14" fmla="*/ 0 w 703"/>
                <a:gd name="T15" fmla="*/ 0 h 387"/>
                <a:gd name="T16" fmla="*/ 0 w 703"/>
                <a:gd name="T17" fmla="*/ 387 h 387"/>
                <a:gd name="T18" fmla="*/ 281 w 703"/>
                <a:gd name="T19" fmla="*/ 387 h 387"/>
                <a:gd name="T20" fmla="*/ 281 w 703"/>
                <a:gd name="T21" fmla="*/ 38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3" h="387">
                  <a:moveTo>
                    <a:pt x="281" y="380"/>
                  </a:moveTo>
                  <a:lnTo>
                    <a:pt x="7" y="380"/>
                  </a:lnTo>
                  <a:lnTo>
                    <a:pt x="7" y="5"/>
                  </a:lnTo>
                  <a:lnTo>
                    <a:pt x="698" y="5"/>
                  </a:lnTo>
                  <a:lnTo>
                    <a:pt x="698" y="177"/>
                  </a:lnTo>
                  <a:lnTo>
                    <a:pt x="703" y="177"/>
                  </a:lnTo>
                  <a:lnTo>
                    <a:pt x="703" y="0"/>
                  </a:lnTo>
                  <a:lnTo>
                    <a:pt x="0" y="0"/>
                  </a:lnTo>
                  <a:lnTo>
                    <a:pt x="0" y="387"/>
                  </a:lnTo>
                  <a:lnTo>
                    <a:pt x="281" y="387"/>
                  </a:lnTo>
                  <a:lnTo>
                    <a:pt x="281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8" name="Freeform 58">
              <a:extLst>
                <a:ext uri="{FF2B5EF4-FFF2-40B4-BE49-F238E27FC236}">
                  <a16:creationId xmlns:a16="http://schemas.microsoft.com/office/drawing/2014/main" id="{89F137AD-6E6F-4A89-BD31-77E14AFC9BA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968" y="2430"/>
              <a:ext cx="125" cy="299"/>
            </a:xfrm>
            <a:custGeom>
              <a:avLst/>
              <a:gdLst>
                <a:gd name="T0" fmla="*/ 0 w 125"/>
                <a:gd name="T1" fmla="*/ 299 h 299"/>
                <a:gd name="T2" fmla="*/ 7 w 125"/>
                <a:gd name="T3" fmla="*/ 299 h 299"/>
                <a:gd name="T4" fmla="*/ 7 w 125"/>
                <a:gd name="T5" fmla="*/ 7 h 299"/>
                <a:gd name="T6" fmla="*/ 125 w 125"/>
                <a:gd name="T7" fmla="*/ 7 h 299"/>
                <a:gd name="T8" fmla="*/ 125 w 125"/>
                <a:gd name="T9" fmla="*/ 0 h 299"/>
                <a:gd name="T10" fmla="*/ 0 w 125"/>
                <a:gd name="T11" fmla="*/ 0 h 299"/>
                <a:gd name="T12" fmla="*/ 0 w 125"/>
                <a:gd name="T13" fmla="*/ 299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5" h="299">
                  <a:moveTo>
                    <a:pt x="0" y="299"/>
                  </a:moveTo>
                  <a:lnTo>
                    <a:pt x="7" y="299"/>
                  </a:lnTo>
                  <a:lnTo>
                    <a:pt x="7" y="7"/>
                  </a:lnTo>
                  <a:lnTo>
                    <a:pt x="125" y="7"/>
                  </a:lnTo>
                  <a:lnTo>
                    <a:pt x="125" y="0"/>
                  </a:lnTo>
                  <a:lnTo>
                    <a:pt x="0" y="0"/>
                  </a:lnTo>
                  <a:lnTo>
                    <a:pt x="0" y="2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69" name="Oval 59">
              <a:extLst>
                <a:ext uri="{FF2B5EF4-FFF2-40B4-BE49-F238E27FC236}">
                  <a16:creationId xmlns:a16="http://schemas.microsoft.com/office/drawing/2014/main" id="{61734350-2DFD-4CE9-B37C-7D80DA04C3E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66" y="212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0" name="Oval 60">
              <a:extLst>
                <a:ext uri="{FF2B5EF4-FFF2-40B4-BE49-F238E27FC236}">
                  <a16:creationId xmlns:a16="http://schemas.microsoft.com/office/drawing/2014/main" id="{DFED8A34-A4F5-495F-B2FB-FAE2FB5DCBA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659" y="211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1" name="Oval 61">
              <a:extLst>
                <a:ext uri="{FF2B5EF4-FFF2-40B4-BE49-F238E27FC236}">
                  <a16:creationId xmlns:a16="http://schemas.microsoft.com/office/drawing/2014/main" id="{F1CD0EDF-3EFC-4138-B90D-618E13CBE03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83" y="2239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2" name="Oval 62">
              <a:extLst>
                <a:ext uri="{FF2B5EF4-FFF2-40B4-BE49-F238E27FC236}">
                  <a16:creationId xmlns:a16="http://schemas.microsoft.com/office/drawing/2014/main" id="{22422BFC-C98C-47A4-A35B-9D9BDF3AF47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374" y="2232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3" name="Freeform 63">
              <a:extLst>
                <a:ext uri="{FF2B5EF4-FFF2-40B4-BE49-F238E27FC236}">
                  <a16:creationId xmlns:a16="http://schemas.microsoft.com/office/drawing/2014/main" id="{524F478B-4D62-4072-803B-75A6D2F8CC3F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69" y="1367"/>
              <a:ext cx="139" cy="89"/>
            </a:xfrm>
            <a:custGeom>
              <a:avLst/>
              <a:gdLst>
                <a:gd name="T0" fmla="*/ 0 w 139"/>
                <a:gd name="T1" fmla="*/ 0 h 89"/>
                <a:gd name="T2" fmla="*/ 7 w 139"/>
                <a:gd name="T3" fmla="*/ 0 h 89"/>
                <a:gd name="T4" fmla="*/ 7 w 139"/>
                <a:gd name="T5" fmla="*/ 82 h 89"/>
                <a:gd name="T6" fmla="*/ 139 w 139"/>
                <a:gd name="T7" fmla="*/ 82 h 89"/>
                <a:gd name="T8" fmla="*/ 139 w 139"/>
                <a:gd name="T9" fmla="*/ 89 h 89"/>
                <a:gd name="T10" fmla="*/ 0 w 139"/>
                <a:gd name="T11" fmla="*/ 89 h 89"/>
                <a:gd name="T12" fmla="*/ 0 w 139"/>
                <a:gd name="T1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9" h="89">
                  <a:moveTo>
                    <a:pt x="0" y="0"/>
                  </a:moveTo>
                  <a:lnTo>
                    <a:pt x="7" y="0"/>
                  </a:lnTo>
                  <a:lnTo>
                    <a:pt x="7" y="82"/>
                  </a:lnTo>
                  <a:lnTo>
                    <a:pt x="139" y="82"/>
                  </a:lnTo>
                  <a:lnTo>
                    <a:pt x="139" y="89"/>
                  </a:lnTo>
                  <a:lnTo>
                    <a:pt x="0" y="89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4" name="Rectangle 64">
              <a:extLst>
                <a:ext uri="{FF2B5EF4-FFF2-40B4-BE49-F238E27FC236}">
                  <a16:creationId xmlns:a16="http://schemas.microsoft.com/office/drawing/2014/main" id="{292B22ED-129E-4B12-818A-A0DABB32FB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456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5" name="Rectangle 65">
              <a:extLst>
                <a:ext uri="{FF2B5EF4-FFF2-40B4-BE49-F238E27FC236}">
                  <a16:creationId xmlns:a16="http://schemas.microsoft.com/office/drawing/2014/main" id="{686C868D-87A2-46D5-B14C-173F8783994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367"/>
              <a:ext cx="7" cy="8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6" name="Freeform 66">
              <a:extLst>
                <a:ext uri="{FF2B5EF4-FFF2-40B4-BE49-F238E27FC236}">
                  <a16:creationId xmlns:a16="http://schemas.microsoft.com/office/drawing/2014/main" id="{F2787978-C37B-4969-8F1E-96B16C26AF3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246"/>
              <a:ext cx="134" cy="432"/>
            </a:xfrm>
            <a:custGeom>
              <a:avLst/>
              <a:gdLst>
                <a:gd name="T0" fmla="*/ 4 w 134"/>
                <a:gd name="T1" fmla="*/ 5 h 432"/>
                <a:gd name="T2" fmla="*/ 4 w 134"/>
                <a:gd name="T3" fmla="*/ 432 h 432"/>
                <a:gd name="T4" fmla="*/ 0 w 134"/>
                <a:gd name="T5" fmla="*/ 432 h 432"/>
                <a:gd name="T6" fmla="*/ 0 w 134"/>
                <a:gd name="T7" fmla="*/ 0 h 432"/>
                <a:gd name="T8" fmla="*/ 134 w 134"/>
                <a:gd name="T9" fmla="*/ 0 h 432"/>
                <a:gd name="T10" fmla="*/ 134 w 134"/>
                <a:gd name="T11" fmla="*/ 5 h 432"/>
                <a:gd name="T12" fmla="*/ 4 w 134"/>
                <a:gd name="T13" fmla="*/ 5 h 4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4" h="432">
                  <a:moveTo>
                    <a:pt x="4" y="5"/>
                  </a:moveTo>
                  <a:lnTo>
                    <a:pt x="4" y="432"/>
                  </a:lnTo>
                  <a:lnTo>
                    <a:pt x="0" y="432"/>
                  </a:lnTo>
                  <a:lnTo>
                    <a:pt x="0" y="0"/>
                  </a:lnTo>
                  <a:lnTo>
                    <a:pt x="134" y="0"/>
                  </a:lnTo>
                  <a:lnTo>
                    <a:pt x="134" y="5"/>
                  </a:lnTo>
                  <a:lnTo>
                    <a:pt x="4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7" name="Rectangle 67">
              <a:extLst>
                <a:ext uri="{FF2B5EF4-FFF2-40B4-BE49-F238E27FC236}">
                  <a16:creationId xmlns:a16="http://schemas.microsoft.com/office/drawing/2014/main" id="{947C4B26-E138-4516-B8A6-F8070BFF1E4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25" y="1246"/>
              <a:ext cx="144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8" name="Freeform 68">
              <a:extLst>
                <a:ext uri="{FF2B5EF4-FFF2-40B4-BE49-F238E27FC236}">
                  <a16:creationId xmlns:a16="http://schemas.microsoft.com/office/drawing/2014/main" id="{7854E81A-0437-47DC-9A75-F2EC381F13B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54" y="2038"/>
              <a:ext cx="287" cy="366"/>
            </a:xfrm>
            <a:custGeom>
              <a:avLst/>
              <a:gdLst>
                <a:gd name="T0" fmla="*/ 0 w 287"/>
                <a:gd name="T1" fmla="*/ 366 h 366"/>
                <a:gd name="T2" fmla="*/ 0 w 287"/>
                <a:gd name="T3" fmla="*/ 359 h 366"/>
                <a:gd name="T4" fmla="*/ 280 w 287"/>
                <a:gd name="T5" fmla="*/ 359 h 366"/>
                <a:gd name="T6" fmla="*/ 280 w 287"/>
                <a:gd name="T7" fmla="*/ 0 h 366"/>
                <a:gd name="T8" fmla="*/ 287 w 287"/>
                <a:gd name="T9" fmla="*/ 0 h 366"/>
                <a:gd name="T10" fmla="*/ 287 w 287"/>
                <a:gd name="T11" fmla="*/ 366 h 366"/>
                <a:gd name="T12" fmla="*/ 0 w 287"/>
                <a:gd name="T13" fmla="*/ 366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7" h="366">
                  <a:moveTo>
                    <a:pt x="0" y="366"/>
                  </a:moveTo>
                  <a:lnTo>
                    <a:pt x="0" y="359"/>
                  </a:lnTo>
                  <a:lnTo>
                    <a:pt x="280" y="359"/>
                  </a:lnTo>
                  <a:lnTo>
                    <a:pt x="280" y="0"/>
                  </a:lnTo>
                  <a:lnTo>
                    <a:pt x="287" y="0"/>
                  </a:lnTo>
                  <a:lnTo>
                    <a:pt x="287" y="366"/>
                  </a:lnTo>
                  <a:lnTo>
                    <a:pt x="0" y="36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9" name="Rectangle 69">
              <a:extLst>
                <a:ext uri="{FF2B5EF4-FFF2-40B4-BE49-F238E27FC236}">
                  <a16:creationId xmlns:a16="http://schemas.microsoft.com/office/drawing/2014/main" id="{BF4D6266-4B1E-48B4-A0BC-2845365ECA6F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678"/>
              <a:ext cx="420" cy="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0" name="Rectangle 70">
              <a:extLst>
                <a:ext uri="{FF2B5EF4-FFF2-40B4-BE49-F238E27FC236}">
                  <a16:creationId xmlns:a16="http://schemas.microsoft.com/office/drawing/2014/main" id="{3723D4A3-D36E-46FF-84C4-E7EC8B7E655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2038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1" name="Freeform 71">
              <a:extLst>
                <a:ext uri="{FF2B5EF4-FFF2-40B4-BE49-F238E27FC236}">
                  <a16:creationId xmlns:a16="http://schemas.microsoft.com/office/drawing/2014/main" id="{B762F332-6308-4CC3-8034-8DADA17508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678"/>
              <a:ext cx="439" cy="356"/>
            </a:xfrm>
            <a:custGeom>
              <a:avLst/>
              <a:gdLst>
                <a:gd name="T0" fmla="*/ 432 w 439"/>
                <a:gd name="T1" fmla="*/ 5 h 356"/>
                <a:gd name="T2" fmla="*/ 0 w 439"/>
                <a:gd name="T3" fmla="*/ 5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5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5"/>
                  </a:moveTo>
                  <a:lnTo>
                    <a:pt x="0" y="5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2" name="Freeform 72">
              <a:extLst>
                <a:ext uri="{FF2B5EF4-FFF2-40B4-BE49-F238E27FC236}">
                  <a16:creationId xmlns:a16="http://schemas.microsoft.com/office/drawing/2014/main" id="{DF7574E6-9FFE-4EEF-BA8C-3BD2C737C9A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678"/>
              <a:ext cx="149" cy="490"/>
            </a:xfrm>
            <a:custGeom>
              <a:avLst/>
              <a:gdLst>
                <a:gd name="T0" fmla="*/ 149 w 149"/>
                <a:gd name="T1" fmla="*/ 0 h 490"/>
                <a:gd name="T2" fmla="*/ 149 w 149"/>
                <a:gd name="T3" fmla="*/ 5 h 490"/>
                <a:gd name="T4" fmla="*/ 5 w 149"/>
                <a:gd name="T5" fmla="*/ 5 h 490"/>
                <a:gd name="T6" fmla="*/ 5 w 149"/>
                <a:gd name="T7" fmla="*/ 490 h 490"/>
                <a:gd name="T8" fmla="*/ 0 w 149"/>
                <a:gd name="T9" fmla="*/ 490 h 490"/>
                <a:gd name="T10" fmla="*/ 0 w 149"/>
                <a:gd name="T11" fmla="*/ 0 h 490"/>
                <a:gd name="T12" fmla="*/ 149 w 149"/>
                <a:gd name="T13" fmla="*/ 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490">
                  <a:moveTo>
                    <a:pt x="149" y="0"/>
                  </a:moveTo>
                  <a:lnTo>
                    <a:pt x="149" y="5"/>
                  </a:lnTo>
                  <a:lnTo>
                    <a:pt x="5" y="5"/>
                  </a:lnTo>
                  <a:lnTo>
                    <a:pt x="5" y="490"/>
                  </a:lnTo>
                  <a:lnTo>
                    <a:pt x="0" y="490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3" name="Freeform 73">
              <a:extLst>
                <a:ext uri="{FF2B5EF4-FFF2-40B4-BE49-F238E27FC236}">
                  <a16:creationId xmlns:a16="http://schemas.microsoft.com/office/drawing/2014/main" id="{9C5E55AB-4D0C-49AF-8A1D-D114D5C7AA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18" y="1251"/>
              <a:ext cx="151" cy="116"/>
            </a:xfrm>
            <a:custGeom>
              <a:avLst/>
              <a:gdLst>
                <a:gd name="T0" fmla="*/ 151 w 151"/>
                <a:gd name="T1" fmla="*/ 109 h 116"/>
                <a:gd name="T2" fmla="*/ 151 w 151"/>
                <a:gd name="T3" fmla="*/ 116 h 116"/>
                <a:gd name="T4" fmla="*/ 0 w 151"/>
                <a:gd name="T5" fmla="*/ 116 h 116"/>
                <a:gd name="T6" fmla="*/ 0 w 151"/>
                <a:gd name="T7" fmla="*/ 0 h 116"/>
                <a:gd name="T8" fmla="*/ 7 w 151"/>
                <a:gd name="T9" fmla="*/ 0 h 116"/>
                <a:gd name="T10" fmla="*/ 7 w 151"/>
                <a:gd name="T11" fmla="*/ 109 h 116"/>
                <a:gd name="T12" fmla="*/ 151 w 151"/>
                <a:gd name="T13" fmla="*/ 109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51" h="116">
                  <a:moveTo>
                    <a:pt x="151" y="109"/>
                  </a:moveTo>
                  <a:lnTo>
                    <a:pt x="151" y="116"/>
                  </a:lnTo>
                  <a:lnTo>
                    <a:pt x="0" y="116"/>
                  </a:lnTo>
                  <a:lnTo>
                    <a:pt x="0" y="0"/>
                  </a:lnTo>
                  <a:lnTo>
                    <a:pt x="7" y="0"/>
                  </a:lnTo>
                  <a:lnTo>
                    <a:pt x="7" y="109"/>
                  </a:lnTo>
                  <a:lnTo>
                    <a:pt x="151" y="10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Rectangle 74">
              <a:extLst>
                <a:ext uri="{FF2B5EF4-FFF2-40B4-BE49-F238E27FC236}">
                  <a16:creationId xmlns:a16="http://schemas.microsoft.com/office/drawing/2014/main" id="{4AEAD047-5363-4422-B393-6F2D549E8F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76" y="1360"/>
              <a:ext cx="13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Rectangle 75">
              <a:extLst>
                <a:ext uri="{FF2B5EF4-FFF2-40B4-BE49-F238E27FC236}">
                  <a16:creationId xmlns:a16="http://schemas.microsoft.com/office/drawing/2014/main" id="{28EB687D-922E-415F-AA7C-04EA93CAF6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54" y="2034"/>
              <a:ext cx="28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76">
              <a:extLst>
                <a:ext uri="{FF2B5EF4-FFF2-40B4-BE49-F238E27FC236}">
                  <a16:creationId xmlns:a16="http://schemas.microsoft.com/office/drawing/2014/main" id="{39378527-4BFC-4AA2-A83B-3C44D7E3823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61" y="1824"/>
              <a:ext cx="646" cy="271"/>
            </a:xfrm>
            <a:custGeom>
              <a:avLst/>
              <a:gdLst>
                <a:gd name="T0" fmla="*/ 7 w 646"/>
                <a:gd name="T1" fmla="*/ 271 h 271"/>
                <a:gd name="T2" fmla="*/ 0 w 646"/>
                <a:gd name="T3" fmla="*/ 271 h 271"/>
                <a:gd name="T4" fmla="*/ 0 w 646"/>
                <a:gd name="T5" fmla="*/ 0 h 271"/>
                <a:gd name="T6" fmla="*/ 646 w 646"/>
                <a:gd name="T7" fmla="*/ 0 h 271"/>
                <a:gd name="T8" fmla="*/ 646 w 646"/>
                <a:gd name="T9" fmla="*/ 7 h 271"/>
                <a:gd name="T10" fmla="*/ 7 w 646"/>
                <a:gd name="T11" fmla="*/ 7 h 271"/>
                <a:gd name="T12" fmla="*/ 7 w 646"/>
                <a:gd name="T13" fmla="*/ 271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46" h="271">
                  <a:moveTo>
                    <a:pt x="7" y="271"/>
                  </a:moveTo>
                  <a:lnTo>
                    <a:pt x="0" y="271"/>
                  </a:lnTo>
                  <a:lnTo>
                    <a:pt x="0" y="0"/>
                  </a:lnTo>
                  <a:lnTo>
                    <a:pt x="646" y="0"/>
                  </a:lnTo>
                  <a:lnTo>
                    <a:pt x="646" y="7"/>
                  </a:lnTo>
                  <a:lnTo>
                    <a:pt x="7" y="7"/>
                  </a:lnTo>
                  <a:lnTo>
                    <a:pt x="7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Rectangle 77">
              <a:extLst>
                <a:ext uri="{FF2B5EF4-FFF2-40B4-BE49-F238E27FC236}">
                  <a16:creationId xmlns:a16="http://schemas.microsoft.com/office/drawing/2014/main" id="{98B0A7BB-EBEB-4095-AD91-DE22DA8CA89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308" y="1270"/>
              <a:ext cx="7" cy="22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8" name="Rectangle 78">
              <a:extLst>
                <a:ext uri="{FF2B5EF4-FFF2-40B4-BE49-F238E27FC236}">
                  <a16:creationId xmlns:a16="http://schemas.microsoft.com/office/drawing/2014/main" id="{DA39F0B5-6FAD-417D-8744-D8C2C6D06FE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435" y="2211"/>
              <a:ext cx="312" cy="7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9" name="Freeform 79">
              <a:extLst>
                <a:ext uri="{FF2B5EF4-FFF2-40B4-BE49-F238E27FC236}">
                  <a16:creationId xmlns:a16="http://schemas.microsoft.com/office/drawing/2014/main" id="{033BDC98-E133-464C-9CF8-641D21F7788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4" y="1793"/>
              <a:ext cx="544" cy="425"/>
            </a:xfrm>
            <a:custGeom>
              <a:avLst/>
              <a:gdLst>
                <a:gd name="T0" fmla="*/ 4 w 544"/>
                <a:gd name="T1" fmla="*/ 418 h 425"/>
                <a:gd name="T2" fmla="*/ 544 w 544"/>
                <a:gd name="T3" fmla="*/ 418 h 425"/>
                <a:gd name="T4" fmla="*/ 544 w 544"/>
                <a:gd name="T5" fmla="*/ 425 h 425"/>
                <a:gd name="T6" fmla="*/ 0 w 544"/>
                <a:gd name="T7" fmla="*/ 425 h 425"/>
                <a:gd name="T8" fmla="*/ 0 w 544"/>
                <a:gd name="T9" fmla="*/ 0 h 425"/>
                <a:gd name="T10" fmla="*/ 4 w 544"/>
                <a:gd name="T11" fmla="*/ 0 h 425"/>
                <a:gd name="T12" fmla="*/ 4 w 544"/>
                <a:gd name="T13" fmla="*/ 418 h 4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44" h="425">
                  <a:moveTo>
                    <a:pt x="4" y="418"/>
                  </a:moveTo>
                  <a:lnTo>
                    <a:pt x="544" y="418"/>
                  </a:lnTo>
                  <a:lnTo>
                    <a:pt x="544" y="425"/>
                  </a:lnTo>
                  <a:lnTo>
                    <a:pt x="0" y="425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4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0" name="Rectangle 80">
              <a:extLst>
                <a:ext uri="{FF2B5EF4-FFF2-40B4-BE49-F238E27FC236}">
                  <a16:creationId xmlns:a16="http://schemas.microsoft.com/office/drawing/2014/main" id="{323BEEC7-A6D7-4438-AB8C-1B211C8AADA7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88" y="1492"/>
              <a:ext cx="420" cy="4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1" name="Rectangle 81">
              <a:extLst>
                <a:ext uri="{FF2B5EF4-FFF2-40B4-BE49-F238E27FC236}">
                  <a16:creationId xmlns:a16="http://schemas.microsoft.com/office/drawing/2014/main" id="{6C43A39A-67FA-4BD4-8F2F-AE49BCD9A3A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47" y="1852"/>
              <a:ext cx="7" cy="359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2" name="Freeform 82">
              <a:extLst>
                <a:ext uri="{FF2B5EF4-FFF2-40B4-BE49-F238E27FC236}">
                  <a16:creationId xmlns:a16="http://schemas.microsoft.com/office/drawing/2014/main" id="{1364FB83-27FC-4952-8D02-3093006A7B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15" y="1492"/>
              <a:ext cx="439" cy="356"/>
            </a:xfrm>
            <a:custGeom>
              <a:avLst/>
              <a:gdLst>
                <a:gd name="T0" fmla="*/ 432 w 439"/>
                <a:gd name="T1" fmla="*/ 4 h 356"/>
                <a:gd name="T2" fmla="*/ 0 w 439"/>
                <a:gd name="T3" fmla="*/ 4 h 356"/>
                <a:gd name="T4" fmla="*/ 0 w 439"/>
                <a:gd name="T5" fmla="*/ 0 h 356"/>
                <a:gd name="T6" fmla="*/ 439 w 439"/>
                <a:gd name="T7" fmla="*/ 0 h 356"/>
                <a:gd name="T8" fmla="*/ 439 w 439"/>
                <a:gd name="T9" fmla="*/ 356 h 356"/>
                <a:gd name="T10" fmla="*/ 432 w 439"/>
                <a:gd name="T11" fmla="*/ 356 h 356"/>
                <a:gd name="T12" fmla="*/ 432 w 439"/>
                <a:gd name="T13" fmla="*/ 4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39" h="356">
                  <a:moveTo>
                    <a:pt x="432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439" y="0"/>
                  </a:lnTo>
                  <a:lnTo>
                    <a:pt x="439" y="356"/>
                  </a:lnTo>
                  <a:lnTo>
                    <a:pt x="432" y="356"/>
                  </a:lnTo>
                  <a:lnTo>
                    <a:pt x="432" y="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3" name="Freeform 83">
              <a:extLst>
                <a:ext uri="{FF2B5EF4-FFF2-40B4-BE49-F238E27FC236}">
                  <a16:creationId xmlns:a16="http://schemas.microsoft.com/office/drawing/2014/main" id="{6A9A860E-27A3-44C9-A572-17561844DF99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735" y="1492"/>
              <a:ext cx="149" cy="294"/>
            </a:xfrm>
            <a:custGeom>
              <a:avLst/>
              <a:gdLst>
                <a:gd name="T0" fmla="*/ 149 w 149"/>
                <a:gd name="T1" fmla="*/ 0 h 294"/>
                <a:gd name="T2" fmla="*/ 149 w 149"/>
                <a:gd name="T3" fmla="*/ 4 h 294"/>
                <a:gd name="T4" fmla="*/ 5 w 149"/>
                <a:gd name="T5" fmla="*/ 4 h 294"/>
                <a:gd name="T6" fmla="*/ 5 w 149"/>
                <a:gd name="T7" fmla="*/ 294 h 294"/>
                <a:gd name="T8" fmla="*/ 0 w 149"/>
                <a:gd name="T9" fmla="*/ 294 h 294"/>
                <a:gd name="T10" fmla="*/ 0 w 149"/>
                <a:gd name="T11" fmla="*/ 0 h 294"/>
                <a:gd name="T12" fmla="*/ 149 w 149"/>
                <a:gd name="T13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9" h="294">
                  <a:moveTo>
                    <a:pt x="149" y="0"/>
                  </a:moveTo>
                  <a:lnTo>
                    <a:pt x="149" y="4"/>
                  </a:lnTo>
                  <a:lnTo>
                    <a:pt x="5" y="4"/>
                  </a:lnTo>
                  <a:lnTo>
                    <a:pt x="5" y="294"/>
                  </a:lnTo>
                  <a:lnTo>
                    <a:pt x="0" y="294"/>
                  </a:lnTo>
                  <a:lnTo>
                    <a:pt x="0" y="0"/>
                  </a:lnTo>
                  <a:lnTo>
                    <a:pt x="1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4" name="Rectangle 84">
              <a:extLst>
                <a:ext uri="{FF2B5EF4-FFF2-40B4-BE49-F238E27FC236}">
                  <a16:creationId xmlns:a16="http://schemas.microsoft.com/office/drawing/2014/main" id="{20EDB620-36EF-41AC-9EB2-7DA8AF098CA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18" y="921"/>
              <a:ext cx="7" cy="1290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5" name="Rectangle 85">
              <a:extLst>
                <a:ext uri="{FF2B5EF4-FFF2-40B4-BE49-F238E27FC236}">
                  <a16:creationId xmlns:a16="http://schemas.microsoft.com/office/drawing/2014/main" id="{940D3C38-8BC0-42E2-A55A-973A1B9DEE5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570" y="1360"/>
              <a:ext cx="7" cy="13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6" name="Oval 86">
              <a:extLst>
                <a:ext uri="{FF2B5EF4-FFF2-40B4-BE49-F238E27FC236}">
                  <a16:creationId xmlns:a16="http://schemas.microsoft.com/office/drawing/2014/main" id="{B860E1C1-6A43-4CED-8A1B-59AE4EBF8F31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57" y="2185"/>
              <a:ext cx="61" cy="6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7" name="Freeform 87">
              <a:extLst>
                <a:ext uri="{FF2B5EF4-FFF2-40B4-BE49-F238E27FC236}">
                  <a16:creationId xmlns:a16="http://schemas.microsoft.com/office/drawing/2014/main" id="{C59F99A2-1A23-4652-8AD9-1C230640F64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586" y="1800"/>
              <a:ext cx="54" cy="55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7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8" name="Freeform 88">
              <a:extLst>
                <a:ext uri="{FF2B5EF4-FFF2-40B4-BE49-F238E27FC236}">
                  <a16:creationId xmlns:a16="http://schemas.microsoft.com/office/drawing/2014/main" id="{DD1ECCB5-FF0E-46E1-8610-8BCE1730A52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647" y="2611"/>
              <a:ext cx="47" cy="48"/>
            </a:xfrm>
            <a:custGeom>
              <a:avLst/>
              <a:gdLst>
                <a:gd name="T0" fmla="*/ 2 w 20"/>
                <a:gd name="T1" fmla="*/ 9 h 20"/>
                <a:gd name="T2" fmla="*/ 12 w 20"/>
                <a:gd name="T3" fmla="*/ 19 h 20"/>
                <a:gd name="T4" fmla="*/ 19 w 20"/>
                <a:gd name="T5" fmla="*/ 12 h 20"/>
                <a:gd name="T6" fmla="*/ 9 w 20"/>
                <a:gd name="T7" fmla="*/ 1 h 20"/>
                <a:gd name="T8" fmla="*/ 2 w 20"/>
                <a:gd name="T9" fmla="*/ 9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20">
                  <a:moveTo>
                    <a:pt x="2" y="9"/>
                  </a:moveTo>
                  <a:cubicBezTo>
                    <a:pt x="0" y="15"/>
                    <a:pt x="6" y="20"/>
                    <a:pt x="12" y="19"/>
                  </a:cubicBezTo>
                  <a:cubicBezTo>
                    <a:pt x="16" y="19"/>
                    <a:pt x="19" y="16"/>
                    <a:pt x="19" y="12"/>
                  </a:cubicBezTo>
                  <a:cubicBezTo>
                    <a:pt x="20" y="6"/>
                    <a:pt x="15" y="0"/>
                    <a:pt x="9" y="1"/>
                  </a:cubicBezTo>
                  <a:cubicBezTo>
                    <a:pt x="5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9" name="Oval 89">
              <a:extLst>
                <a:ext uri="{FF2B5EF4-FFF2-40B4-BE49-F238E27FC236}">
                  <a16:creationId xmlns:a16="http://schemas.microsoft.com/office/drawing/2014/main" id="{41FF7C2F-BBB9-40B2-818B-8BB095B730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60" y="1350"/>
              <a:ext cx="25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0" name="Oval 90">
              <a:extLst>
                <a:ext uri="{FF2B5EF4-FFF2-40B4-BE49-F238E27FC236}">
                  <a16:creationId xmlns:a16="http://schemas.microsoft.com/office/drawing/2014/main" id="{3AAA0CBB-C996-4AB8-8824-3F21D720DAD6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148" y="1228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1" name="Oval 91">
              <a:extLst>
                <a:ext uri="{FF2B5EF4-FFF2-40B4-BE49-F238E27FC236}">
                  <a16:creationId xmlns:a16="http://schemas.microsoft.com/office/drawing/2014/main" id="{1898F1A6-6058-4656-84E0-116F824F3BD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52" y="2083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2" name="Oval 92">
              <a:extLst>
                <a:ext uri="{FF2B5EF4-FFF2-40B4-BE49-F238E27FC236}">
                  <a16:creationId xmlns:a16="http://schemas.microsoft.com/office/drawing/2014/main" id="{62591727-8C4F-4BDF-AC6B-870D164BCAA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942" y="2074"/>
              <a:ext cx="43" cy="4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3" name="Oval 93">
              <a:extLst>
                <a:ext uri="{FF2B5EF4-FFF2-40B4-BE49-F238E27FC236}">
                  <a16:creationId xmlns:a16="http://schemas.microsoft.com/office/drawing/2014/main" id="{8570FD40-6827-4C6D-8EDF-D5694F01787E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72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4" name="Oval 94">
              <a:extLst>
                <a:ext uri="{FF2B5EF4-FFF2-40B4-BE49-F238E27FC236}">
                  <a16:creationId xmlns:a16="http://schemas.microsoft.com/office/drawing/2014/main" id="{DFC7369E-2645-4669-B548-51CC1A6AA343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3865" y="1659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5" name="Oval 95">
              <a:extLst>
                <a:ext uri="{FF2B5EF4-FFF2-40B4-BE49-F238E27FC236}">
                  <a16:creationId xmlns:a16="http://schemas.microsoft.com/office/drawing/2014/main" id="{90A8B305-9E7F-47B2-B1B3-0AE67EC0D37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37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6" name="Oval 96">
              <a:extLst>
                <a:ext uri="{FF2B5EF4-FFF2-40B4-BE49-F238E27FC236}">
                  <a16:creationId xmlns:a16="http://schemas.microsoft.com/office/drawing/2014/main" id="{30DBEB22-8AA3-47C9-A519-6C3AD921135D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721" y="1652"/>
              <a:ext cx="56" cy="5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7" name="Oval 97">
              <a:extLst>
                <a:ext uri="{FF2B5EF4-FFF2-40B4-BE49-F238E27FC236}">
                  <a16:creationId xmlns:a16="http://schemas.microsoft.com/office/drawing/2014/main" id="{F53B24B7-99A3-49FA-BB9B-4483655D2DD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9" y="2387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8" name="Oval 98">
              <a:extLst>
                <a:ext uri="{FF2B5EF4-FFF2-40B4-BE49-F238E27FC236}">
                  <a16:creationId xmlns:a16="http://schemas.microsoft.com/office/drawing/2014/main" id="{B9C24CF4-2AED-4DA7-9FDF-FECE965A2D65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190" y="2380"/>
              <a:ext cx="45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9" name="Oval 99">
              <a:extLst>
                <a:ext uri="{FF2B5EF4-FFF2-40B4-BE49-F238E27FC236}">
                  <a16:creationId xmlns:a16="http://schemas.microsoft.com/office/drawing/2014/main" id="{264934F2-A2CF-4CB6-9A43-E407135B2498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99" y="1668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0" name="Oval 100">
              <a:extLst>
                <a:ext uri="{FF2B5EF4-FFF2-40B4-BE49-F238E27FC236}">
                  <a16:creationId xmlns:a16="http://schemas.microsoft.com/office/drawing/2014/main" id="{E2AD036C-B79C-4103-AB87-011B8D37E73C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659"/>
              <a:ext cx="43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1" name="Oval 101">
              <a:extLst>
                <a:ext uri="{FF2B5EF4-FFF2-40B4-BE49-F238E27FC236}">
                  <a16:creationId xmlns:a16="http://schemas.microsoft.com/office/drawing/2014/main" id="{24095AF4-86C0-42D6-9A78-22E6591385C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009" y="2201"/>
              <a:ext cx="26" cy="26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2" name="Freeform 102">
              <a:extLst>
                <a:ext uri="{FF2B5EF4-FFF2-40B4-BE49-F238E27FC236}">
                  <a16:creationId xmlns:a16="http://schemas.microsoft.com/office/drawing/2014/main" id="{956CB3E7-DE2C-4B5E-AC8E-FC35E5A57F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07" y="1994"/>
              <a:ext cx="91" cy="89"/>
            </a:xfrm>
            <a:custGeom>
              <a:avLst/>
              <a:gdLst>
                <a:gd name="T0" fmla="*/ 3 w 39"/>
                <a:gd name="T1" fmla="*/ 16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6"/>
                  </a:moveTo>
                  <a:cubicBezTo>
                    <a:pt x="0" y="28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3" name="Freeform 103">
              <a:extLst>
                <a:ext uri="{FF2B5EF4-FFF2-40B4-BE49-F238E27FC236}">
                  <a16:creationId xmlns:a16="http://schemas.microsoft.com/office/drawing/2014/main" id="{033BC99A-73A8-462E-9DB4-B5A789B606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1925"/>
              <a:ext cx="89" cy="90"/>
            </a:xfrm>
            <a:custGeom>
              <a:avLst/>
              <a:gdLst>
                <a:gd name="T0" fmla="*/ 2 w 38"/>
                <a:gd name="T1" fmla="*/ 16 h 38"/>
                <a:gd name="T2" fmla="*/ 22 w 38"/>
                <a:gd name="T3" fmla="*/ 36 h 38"/>
                <a:gd name="T4" fmla="*/ 36 w 38"/>
                <a:gd name="T5" fmla="*/ 23 h 38"/>
                <a:gd name="T6" fmla="*/ 16 w 38"/>
                <a:gd name="T7" fmla="*/ 2 h 38"/>
                <a:gd name="T8" fmla="*/ 2 w 38"/>
                <a:gd name="T9" fmla="*/ 16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6"/>
                  </a:moveTo>
                  <a:cubicBezTo>
                    <a:pt x="0" y="28"/>
                    <a:pt x="10" y="38"/>
                    <a:pt x="22" y="36"/>
                  </a:cubicBezTo>
                  <a:cubicBezTo>
                    <a:pt x="29" y="35"/>
                    <a:pt x="35" y="29"/>
                    <a:pt x="36" y="23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4" name="Freeform 104">
              <a:extLst>
                <a:ext uri="{FF2B5EF4-FFF2-40B4-BE49-F238E27FC236}">
                  <a16:creationId xmlns:a16="http://schemas.microsoft.com/office/drawing/2014/main" id="{2A7BCBF9-BD5E-403F-AFB8-AB99A15B86B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388" y="2171"/>
              <a:ext cx="90" cy="89"/>
            </a:xfrm>
            <a:custGeom>
              <a:avLst/>
              <a:gdLst>
                <a:gd name="T0" fmla="*/ 2 w 38"/>
                <a:gd name="T1" fmla="*/ 15 h 38"/>
                <a:gd name="T2" fmla="*/ 22 w 38"/>
                <a:gd name="T3" fmla="*/ 35 h 38"/>
                <a:gd name="T4" fmla="*/ 36 w 38"/>
                <a:gd name="T5" fmla="*/ 22 h 38"/>
                <a:gd name="T6" fmla="*/ 15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0" y="38"/>
                    <a:pt x="22" y="35"/>
                  </a:cubicBezTo>
                  <a:cubicBezTo>
                    <a:pt x="29" y="34"/>
                    <a:pt x="34" y="29"/>
                    <a:pt x="36" y="22"/>
                  </a:cubicBezTo>
                  <a:cubicBezTo>
                    <a:pt x="38" y="10"/>
                    <a:pt x="28" y="0"/>
                    <a:pt x="15" y="2"/>
                  </a:cubicBezTo>
                  <a:cubicBezTo>
                    <a:pt x="9" y="3"/>
                    <a:pt x="3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5" name="Freeform 105">
              <a:extLst>
                <a:ext uri="{FF2B5EF4-FFF2-40B4-BE49-F238E27FC236}">
                  <a16:creationId xmlns:a16="http://schemas.microsoft.com/office/drawing/2014/main" id="{8B97B5D7-F6EF-4AED-9CC3-C71B7CDE7A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166" y="1782"/>
              <a:ext cx="90" cy="91"/>
            </a:xfrm>
            <a:custGeom>
              <a:avLst/>
              <a:gdLst>
                <a:gd name="T0" fmla="*/ 2 w 38"/>
                <a:gd name="T1" fmla="*/ 16 h 39"/>
                <a:gd name="T2" fmla="*/ 22 w 38"/>
                <a:gd name="T3" fmla="*/ 36 h 39"/>
                <a:gd name="T4" fmla="*/ 36 w 38"/>
                <a:gd name="T5" fmla="*/ 23 h 39"/>
                <a:gd name="T6" fmla="*/ 15 w 38"/>
                <a:gd name="T7" fmla="*/ 3 h 39"/>
                <a:gd name="T8" fmla="*/ 2 w 38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9">
                  <a:moveTo>
                    <a:pt x="2" y="16"/>
                  </a:moveTo>
                  <a:cubicBezTo>
                    <a:pt x="0" y="28"/>
                    <a:pt x="10" y="39"/>
                    <a:pt x="22" y="36"/>
                  </a:cubicBezTo>
                  <a:cubicBezTo>
                    <a:pt x="29" y="35"/>
                    <a:pt x="34" y="29"/>
                    <a:pt x="36" y="23"/>
                  </a:cubicBezTo>
                  <a:cubicBezTo>
                    <a:pt x="38" y="11"/>
                    <a:pt x="28" y="0"/>
                    <a:pt x="15" y="3"/>
                  </a:cubicBezTo>
                  <a:cubicBezTo>
                    <a:pt x="9" y="4"/>
                    <a:pt x="3" y="9"/>
                    <a:pt x="2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6" name="Freeform 106">
              <a:extLst>
                <a:ext uri="{FF2B5EF4-FFF2-40B4-BE49-F238E27FC236}">
                  <a16:creationId xmlns:a16="http://schemas.microsoft.com/office/drawing/2014/main" id="{94EB31F3-2857-4173-BDF1-84392D8612A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530" y="1315"/>
              <a:ext cx="89" cy="89"/>
            </a:xfrm>
            <a:custGeom>
              <a:avLst/>
              <a:gdLst>
                <a:gd name="T0" fmla="*/ 2 w 38"/>
                <a:gd name="T1" fmla="*/ 15 h 38"/>
                <a:gd name="T2" fmla="*/ 23 w 38"/>
                <a:gd name="T3" fmla="*/ 36 h 38"/>
                <a:gd name="T4" fmla="*/ 36 w 38"/>
                <a:gd name="T5" fmla="*/ 22 h 38"/>
                <a:gd name="T6" fmla="*/ 16 w 38"/>
                <a:gd name="T7" fmla="*/ 2 h 38"/>
                <a:gd name="T8" fmla="*/ 2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2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2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7" name="Freeform 107">
              <a:extLst>
                <a:ext uri="{FF2B5EF4-FFF2-40B4-BE49-F238E27FC236}">
                  <a16:creationId xmlns:a16="http://schemas.microsoft.com/office/drawing/2014/main" id="{3C7C46DE-4BBB-407E-9E5D-2A85700C8FA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41" y="1760"/>
              <a:ext cx="92" cy="92"/>
            </a:xfrm>
            <a:custGeom>
              <a:avLst/>
              <a:gdLst>
                <a:gd name="T0" fmla="*/ 3 w 39"/>
                <a:gd name="T1" fmla="*/ 16 h 39"/>
                <a:gd name="T2" fmla="*/ 23 w 39"/>
                <a:gd name="T3" fmla="*/ 36 h 39"/>
                <a:gd name="T4" fmla="*/ 36 w 39"/>
                <a:gd name="T5" fmla="*/ 23 h 39"/>
                <a:gd name="T6" fmla="*/ 16 w 39"/>
                <a:gd name="T7" fmla="*/ 3 h 39"/>
                <a:gd name="T8" fmla="*/ 3 w 39"/>
                <a:gd name="T9" fmla="*/ 16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9">
                  <a:moveTo>
                    <a:pt x="3" y="16"/>
                  </a:moveTo>
                  <a:cubicBezTo>
                    <a:pt x="0" y="28"/>
                    <a:pt x="11" y="39"/>
                    <a:pt x="23" y="36"/>
                  </a:cubicBezTo>
                  <a:cubicBezTo>
                    <a:pt x="29" y="35"/>
                    <a:pt x="35" y="30"/>
                    <a:pt x="36" y="23"/>
                  </a:cubicBezTo>
                  <a:cubicBezTo>
                    <a:pt x="39" y="11"/>
                    <a:pt x="28" y="0"/>
                    <a:pt x="16" y="3"/>
                  </a:cubicBezTo>
                  <a:cubicBezTo>
                    <a:pt x="9" y="4"/>
                    <a:pt x="4" y="10"/>
                    <a:pt x="3" y="16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8" name="Freeform 108">
              <a:extLst>
                <a:ext uri="{FF2B5EF4-FFF2-40B4-BE49-F238E27FC236}">
                  <a16:creationId xmlns:a16="http://schemas.microsoft.com/office/drawing/2014/main" id="{B2C31010-56DB-4E7D-A63C-2D8A1777A10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56" y="2482"/>
              <a:ext cx="89" cy="89"/>
            </a:xfrm>
            <a:custGeom>
              <a:avLst/>
              <a:gdLst>
                <a:gd name="T0" fmla="*/ 3 w 38"/>
                <a:gd name="T1" fmla="*/ 15 h 38"/>
                <a:gd name="T2" fmla="*/ 23 w 38"/>
                <a:gd name="T3" fmla="*/ 35 h 38"/>
                <a:gd name="T4" fmla="*/ 36 w 38"/>
                <a:gd name="T5" fmla="*/ 22 h 38"/>
                <a:gd name="T6" fmla="*/ 16 w 38"/>
                <a:gd name="T7" fmla="*/ 2 h 38"/>
                <a:gd name="T8" fmla="*/ 3 w 38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8" h="38">
                  <a:moveTo>
                    <a:pt x="3" y="15"/>
                  </a:moveTo>
                  <a:cubicBezTo>
                    <a:pt x="0" y="27"/>
                    <a:pt x="11" y="38"/>
                    <a:pt x="23" y="35"/>
                  </a:cubicBezTo>
                  <a:cubicBezTo>
                    <a:pt x="29" y="34"/>
                    <a:pt x="35" y="29"/>
                    <a:pt x="36" y="22"/>
                  </a:cubicBezTo>
                  <a:cubicBezTo>
                    <a:pt x="38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9" name="Freeform 109">
              <a:extLst>
                <a:ext uri="{FF2B5EF4-FFF2-40B4-BE49-F238E27FC236}">
                  <a16:creationId xmlns:a16="http://schemas.microsoft.com/office/drawing/2014/main" id="{84F993CF-D6CD-4ED3-9A0A-710395B3267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28" y="2373"/>
              <a:ext cx="54" cy="54"/>
            </a:xfrm>
            <a:custGeom>
              <a:avLst/>
              <a:gdLst>
                <a:gd name="T0" fmla="*/ 1 w 23"/>
                <a:gd name="T1" fmla="*/ 10 h 23"/>
                <a:gd name="T2" fmla="*/ 13 w 23"/>
                <a:gd name="T3" fmla="*/ 22 h 23"/>
                <a:gd name="T4" fmla="*/ 21 w 23"/>
                <a:gd name="T5" fmla="*/ 14 h 23"/>
                <a:gd name="T6" fmla="*/ 9 w 23"/>
                <a:gd name="T7" fmla="*/ 2 h 23"/>
                <a:gd name="T8" fmla="*/ 1 w 23"/>
                <a:gd name="T9" fmla="*/ 10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1" y="10"/>
                  </a:moveTo>
                  <a:cubicBezTo>
                    <a:pt x="0" y="17"/>
                    <a:pt x="6" y="23"/>
                    <a:pt x="13" y="22"/>
                  </a:cubicBezTo>
                  <a:cubicBezTo>
                    <a:pt x="17" y="21"/>
                    <a:pt x="21" y="18"/>
                    <a:pt x="21" y="14"/>
                  </a:cubicBezTo>
                  <a:cubicBezTo>
                    <a:pt x="23" y="6"/>
                    <a:pt x="16" y="0"/>
                    <a:pt x="9" y="2"/>
                  </a:cubicBezTo>
                  <a:cubicBezTo>
                    <a:pt x="5" y="2"/>
                    <a:pt x="2" y="6"/>
                    <a:pt x="1" y="10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0" name="Freeform 110">
              <a:extLst>
                <a:ext uri="{FF2B5EF4-FFF2-40B4-BE49-F238E27FC236}">
                  <a16:creationId xmlns:a16="http://schemas.microsoft.com/office/drawing/2014/main" id="{EA94B532-B896-458B-B76A-8CFAE7A3ECA8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6069" y="2402"/>
              <a:ext cx="55" cy="51"/>
            </a:xfrm>
            <a:custGeom>
              <a:avLst/>
              <a:gdLst>
                <a:gd name="T0" fmla="*/ 1 w 23"/>
                <a:gd name="T1" fmla="*/ 9 h 22"/>
                <a:gd name="T2" fmla="*/ 13 w 23"/>
                <a:gd name="T3" fmla="*/ 21 h 22"/>
                <a:gd name="T4" fmla="*/ 21 w 23"/>
                <a:gd name="T5" fmla="*/ 13 h 22"/>
                <a:gd name="T6" fmla="*/ 9 w 23"/>
                <a:gd name="T7" fmla="*/ 1 h 22"/>
                <a:gd name="T8" fmla="*/ 1 w 23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1" y="17"/>
                    <a:pt x="21" y="13"/>
                  </a:cubicBezTo>
                  <a:cubicBezTo>
                    <a:pt x="23" y="6"/>
                    <a:pt x="17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1" name="Freeform 111">
              <a:extLst>
                <a:ext uri="{FF2B5EF4-FFF2-40B4-BE49-F238E27FC236}">
                  <a16:creationId xmlns:a16="http://schemas.microsoft.com/office/drawing/2014/main" id="{A3D3295D-CCF6-460C-925F-8C4517FAB5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270" y="2119"/>
              <a:ext cx="54" cy="54"/>
            </a:xfrm>
            <a:custGeom>
              <a:avLst/>
              <a:gdLst>
                <a:gd name="T0" fmla="*/ 2 w 23"/>
                <a:gd name="T1" fmla="*/ 9 h 23"/>
                <a:gd name="T2" fmla="*/ 14 w 23"/>
                <a:gd name="T3" fmla="*/ 21 h 23"/>
                <a:gd name="T4" fmla="*/ 22 w 23"/>
                <a:gd name="T5" fmla="*/ 13 h 23"/>
                <a:gd name="T6" fmla="*/ 10 w 23"/>
                <a:gd name="T7" fmla="*/ 1 h 23"/>
                <a:gd name="T8" fmla="*/ 2 w 23"/>
                <a:gd name="T9" fmla="*/ 9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23">
                  <a:moveTo>
                    <a:pt x="2" y="9"/>
                  </a:moveTo>
                  <a:cubicBezTo>
                    <a:pt x="0" y="16"/>
                    <a:pt x="6" y="23"/>
                    <a:pt x="14" y="21"/>
                  </a:cubicBezTo>
                  <a:cubicBezTo>
                    <a:pt x="18" y="20"/>
                    <a:pt x="21" y="17"/>
                    <a:pt x="22" y="13"/>
                  </a:cubicBezTo>
                  <a:cubicBezTo>
                    <a:pt x="23" y="6"/>
                    <a:pt x="17" y="0"/>
                    <a:pt x="10" y="1"/>
                  </a:cubicBezTo>
                  <a:cubicBezTo>
                    <a:pt x="6" y="2"/>
                    <a:pt x="2" y="5"/>
                    <a:pt x="2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2" name="Freeform 112">
              <a:extLst>
                <a:ext uri="{FF2B5EF4-FFF2-40B4-BE49-F238E27FC236}">
                  <a16:creationId xmlns:a16="http://schemas.microsoft.com/office/drawing/2014/main" id="{A4F6ED2B-5FBB-4753-8394-C8D37F6F57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11" y="2010"/>
              <a:ext cx="52" cy="52"/>
            </a:xfrm>
            <a:custGeom>
              <a:avLst/>
              <a:gdLst>
                <a:gd name="T0" fmla="*/ 1 w 22"/>
                <a:gd name="T1" fmla="*/ 9 h 22"/>
                <a:gd name="T2" fmla="*/ 13 w 22"/>
                <a:gd name="T3" fmla="*/ 21 h 22"/>
                <a:gd name="T4" fmla="*/ 21 w 22"/>
                <a:gd name="T5" fmla="*/ 13 h 22"/>
                <a:gd name="T6" fmla="*/ 9 w 22"/>
                <a:gd name="T7" fmla="*/ 1 h 22"/>
                <a:gd name="T8" fmla="*/ 1 w 22"/>
                <a:gd name="T9" fmla="*/ 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2">
                  <a:moveTo>
                    <a:pt x="1" y="9"/>
                  </a:moveTo>
                  <a:cubicBezTo>
                    <a:pt x="0" y="16"/>
                    <a:pt x="6" y="22"/>
                    <a:pt x="13" y="21"/>
                  </a:cubicBezTo>
                  <a:cubicBezTo>
                    <a:pt x="17" y="20"/>
                    <a:pt x="20" y="17"/>
                    <a:pt x="21" y="13"/>
                  </a:cubicBezTo>
                  <a:cubicBezTo>
                    <a:pt x="22" y="6"/>
                    <a:pt x="16" y="0"/>
                    <a:pt x="9" y="1"/>
                  </a:cubicBezTo>
                  <a:cubicBezTo>
                    <a:pt x="5" y="2"/>
                    <a:pt x="2" y="5"/>
                    <a:pt x="1" y="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3" name="Oval 113">
              <a:extLst>
                <a:ext uri="{FF2B5EF4-FFF2-40B4-BE49-F238E27FC236}">
                  <a16:creationId xmlns:a16="http://schemas.microsoft.com/office/drawing/2014/main" id="{1B48530A-B30F-4F51-AC75-54361FBD68B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232" y="862"/>
              <a:ext cx="43" cy="4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4" name="Oval 114">
              <a:extLst>
                <a:ext uri="{FF2B5EF4-FFF2-40B4-BE49-F238E27FC236}">
                  <a16:creationId xmlns:a16="http://schemas.microsoft.com/office/drawing/2014/main" id="{B51F69A1-EB2B-4011-8915-85AB390F7469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5777" y="1572"/>
              <a:ext cx="42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5" name="Freeform 115">
              <a:extLst>
                <a:ext uri="{FF2B5EF4-FFF2-40B4-BE49-F238E27FC236}">
                  <a16:creationId xmlns:a16="http://schemas.microsoft.com/office/drawing/2014/main" id="{59DDD614-A1D3-44DF-8E4D-54A1ED79886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6" y="839"/>
              <a:ext cx="92" cy="89"/>
            </a:xfrm>
            <a:custGeom>
              <a:avLst/>
              <a:gdLst>
                <a:gd name="T0" fmla="*/ 3 w 39"/>
                <a:gd name="T1" fmla="*/ 15 h 38"/>
                <a:gd name="T2" fmla="*/ 23 w 39"/>
                <a:gd name="T3" fmla="*/ 36 h 38"/>
                <a:gd name="T4" fmla="*/ 36 w 39"/>
                <a:gd name="T5" fmla="*/ 22 h 38"/>
                <a:gd name="T6" fmla="*/ 16 w 39"/>
                <a:gd name="T7" fmla="*/ 2 h 38"/>
                <a:gd name="T8" fmla="*/ 3 w 39"/>
                <a:gd name="T9" fmla="*/ 15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38">
                  <a:moveTo>
                    <a:pt x="3" y="15"/>
                  </a:moveTo>
                  <a:cubicBezTo>
                    <a:pt x="0" y="27"/>
                    <a:pt x="11" y="38"/>
                    <a:pt x="23" y="36"/>
                  </a:cubicBezTo>
                  <a:cubicBezTo>
                    <a:pt x="30" y="34"/>
                    <a:pt x="35" y="29"/>
                    <a:pt x="36" y="22"/>
                  </a:cubicBezTo>
                  <a:cubicBezTo>
                    <a:pt x="39" y="10"/>
                    <a:pt x="28" y="0"/>
                    <a:pt x="16" y="2"/>
                  </a:cubicBezTo>
                  <a:cubicBezTo>
                    <a:pt x="9" y="3"/>
                    <a:pt x="4" y="9"/>
                    <a:pt x="3" y="15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6" name="Oval 116">
              <a:extLst>
                <a:ext uri="{FF2B5EF4-FFF2-40B4-BE49-F238E27FC236}">
                  <a16:creationId xmlns:a16="http://schemas.microsoft.com/office/drawing/2014/main" id="{20D73772-E5C1-4C12-9D65-3A96FEB69094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4289" y="1230"/>
              <a:ext cx="45" cy="4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195D4416-4FF6-4E12-949E-CF4EA4E8959C}"/>
              </a:ext>
            </a:extLst>
          </p:cNvPr>
          <p:cNvSpPr txBox="1"/>
          <p:nvPr userDrawn="1"/>
        </p:nvSpPr>
        <p:spPr>
          <a:xfrm>
            <a:off x="2462052" y="4019055"/>
            <a:ext cx="156647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chemeClr val="bg1">
                    <a:alpha val="70000"/>
                  </a:schemeClr>
                </a:solidFill>
              </a:rPr>
              <a:t>LARGEST BEE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91D9F752-2732-446F-BCF9-B09074C7D891}"/>
              </a:ext>
            </a:extLst>
          </p:cNvPr>
          <p:cNvSpPr txBox="1"/>
          <p:nvPr userDrawn="1"/>
        </p:nvSpPr>
        <p:spPr>
          <a:xfrm>
            <a:off x="1963539" y="5117604"/>
            <a:ext cx="138043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chemeClr val="bg1">
                    <a:alpha val="70000"/>
                  </a:schemeClr>
                </a:solidFill>
              </a:rPr>
              <a:t>STRATEGY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C4DC4670-1D7E-426D-9346-B330CE1C1837}"/>
              </a:ext>
            </a:extLst>
          </p:cNvPr>
          <p:cNvSpPr txBox="1"/>
          <p:nvPr userDrawn="1"/>
        </p:nvSpPr>
        <p:spPr>
          <a:xfrm>
            <a:off x="3562633" y="6037237"/>
            <a:ext cx="19098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bg1">
                    <a:alpha val="70000"/>
                  </a:schemeClr>
                </a:solidFill>
              </a:rPr>
              <a:t>TOMORROW</a:t>
            </a:r>
          </a:p>
        </p:txBody>
      </p:sp>
      <p:sp>
        <p:nvSpPr>
          <p:cNvPr id="151" name="TextBox 150">
            <a:extLst>
              <a:ext uri="{FF2B5EF4-FFF2-40B4-BE49-F238E27FC236}">
                <a16:creationId xmlns:a16="http://schemas.microsoft.com/office/drawing/2014/main" id="{ACB989F6-826C-4CF2-AD26-D6AA6DDDE7B6}"/>
              </a:ext>
            </a:extLst>
          </p:cNvPr>
          <p:cNvSpPr txBox="1"/>
          <p:nvPr userDrawn="1"/>
        </p:nvSpPr>
        <p:spPr>
          <a:xfrm>
            <a:off x="5701850" y="4948264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300" dirty="0">
                <a:solidFill>
                  <a:schemeClr val="bg1">
                    <a:alpha val="70000"/>
                  </a:schemeClr>
                </a:solidFill>
              </a:rPr>
              <a:t>PERFORMANCE</a:t>
            </a:r>
          </a:p>
        </p:txBody>
      </p:sp>
      <p:sp>
        <p:nvSpPr>
          <p:cNvPr id="152" name="TextBox 151">
            <a:extLst>
              <a:ext uri="{FF2B5EF4-FFF2-40B4-BE49-F238E27FC236}">
                <a16:creationId xmlns:a16="http://schemas.microsoft.com/office/drawing/2014/main" id="{CF9BE287-9061-4F25-91C7-41BEB7A5CB4F}"/>
              </a:ext>
            </a:extLst>
          </p:cNvPr>
          <p:cNvSpPr txBox="1"/>
          <p:nvPr userDrawn="1"/>
        </p:nvSpPr>
        <p:spPr>
          <a:xfrm>
            <a:off x="6752487" y="573371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140" baseline="0" dirty="0">
                <a:solidFill>
                  <a:schemeClr val="bg1">
                    <a:alpha val="70000"/>
                  </a:schemeClr>
                </a:solidFill>
              </a:rPr>
              <a:t>SUSTAINABILITY</a:t>
            </a:r>
          </a:p>
        </p:txBody>
      </p:sp>
      <p:sp>
        <p:nvSpPr>
          <p:cNvPr id="153" name="TextBox 152">
            <a:extLst>
              <a:ext uri="{FF2B5EF4-FFF2-40B4-BE49-F238E27FC236}">
                <a16:creationId xmlns:a16="http://schemas.microsoft.com/office/drawing/2014/main" id="{9232E267-2522-496E-9EC8-6F2333CAE2C9}"/>
              </a:ext>
            </a:extLst>
          </p:cNvPr>
          <p:cNvSpPr txBox="1"/>
          <p:nvPr userDrawn="1"/>
        </p:nvSpPr>
        <p:spPr>
          <a:xfrm>
            <a:off x="5212273" y="2734806"/>
            <a:ext cx="296771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b="0" spc="70" baseline="0" dirty="0">
                <a:solidFill>
                  <a:schemeClr val="bg1">
                    <a:alpha val="70000"/>
                  </a:schemeClr>
                </a:solidFill>
              </a:rPr>
              <a:t>REINVENTION</a:t>
            </a:r>
          </a:p>
        </p:txBody>
      </p:sp>
      <p:sp>
        <p:nvSpPr>
          <p:cNvPr id="154" name="TextBox 153">
            <a:extLst>
              <a:ext uri="{FF2B5EF4-FFF2-40B4-BE49-F238E27FC236}">
                <a16:creationId xmlns:a16="http://schemas.microsoft.com/office/drawing/2014/main" id="{D98B7181-16BF-4EAE-AE1A-52CEA3C57305}"/>
              </a:ext>
            </a:extLst>
          </p:cNvPr>
          <p:cNvSpPr txBox="1"/>
          <p:nvPr userDrawn="1"/>
        </p:nvSpPr>
        <p:spPr>
          <a:xfrm>
            <a:off x="4952778" y="4234288"/>
            <a:ext cx="296771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chemeClr val="bg1">
                    <a:alpha val="70000"/>
                  </a:schemeClr>
                </a:solidFill>
              </a:rPr>
              <a:t>FU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53E9E36-1419-4D07-91AD-47BB39E2CEF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50399" y="142050"/>
            <a:ext cx="9193146" cy="703969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chemeClr val="tx1"/>
                </a:solidFill>
                <a:effectLst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7F67380-AE6D-46E8-A4A0-A92E7AC1A6B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50399" y="835083"/>
            <a:ext cx="9144000" cy="477343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l">
              <a:buNone/>
              <a:defRPr sz="1400">
                <a:solidFill>
                  <a:schemeClr val="tx1"/>
                </a:solidFill>
                <a:effectLst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A4DA07D-AC88-41A8-9985-D209010B9768}"/>
              </a:ext>
            </a:extLst>
          </p:cNvPr>
          <p:cNvCxnSpPr>
            <a:cxnSpLocks/>
          </p:cNvCxnSpPr>
          <p:nvPr userDrawn="1"/>
        </p:nvCxnSpPr>
        <p:spPr>
          <a:xfrm flipH="1">
            <a:off x="0" y="1468602"/>
            <a:ext cx="12195672" cy="0"/>
          </a:xfrm>
          <a:prstGeom prst="line">
            <a:avLst/>
          </a:prstGeom>
          <a:ln w="28575" cap="sq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3" name="Picture 202">
            <a:extLst>
              <a:ext uri="{FF2B5EF4-FFF2-40B4-BE49-F238E27FC236}">
                <a16:creationId xmlns:a16="http://schemas.microsoft.com/office/drawing/2014/main" id="{D87189DC-AC10-4C24-B3E2-70DE9A34D45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10104698" y="1625168"/>
            <a:ext cx="1723077" cy="8150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3129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652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0454EF-A1BD-4793-8267-2E661BE911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F44C29-B66D-45C5-90BB-47EEB6DBB95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69596C2-E897-4298-93C7-DBECAD4581C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10AA88-CBA1-4CA7-A79F-D26734AD817C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CAB19A8-8052-429B-B3D6-E881F03CF9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4B318-3601-4746-B01A-B8B675AD66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99344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8963589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801691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95693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scription + chart +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1580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61017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0454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7378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09245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6858326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B66DC17-6687-4B33-9011-D24232FE55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B66DC17-6687-4B33-9011-D24232FE55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38E08F65-C817-437B-B907-C472C3AAE1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3600" b="0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Slide Number Placeholder 1">
            <a:extLst>
              <a:ext uri="{FF2B5EF4-FFF2-40B4-BE49-F238E27FC236}">
                <a16:creationId xmlns:a16="http://schemas.microsoft.com/office/drawing/2014/main" id="{5AB30AC8-EC97-4868-84A9-1AA563CE337A}"/>
              </a:ext>
            </a:extLst>
          </p:cNvPr>
          <p:cNvSpPr txBox="1">
            <a:spLocks/>
          </p:cNvSpPr>
          <p:nvPr userDrawn="1"/>
        </p:nvSpPr>
        <p:spPr>
          <a:xfrm>
            <a:off x="11722100" y="6492875"/>
            <a:ext cx="469900" cy="365125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78C4F3A-D30B-412E-B52C-7D7F9B0182D2}" type="slidenum">
              <a:rPr lang="en-GB" b="1" smtClean="0">
                <a:solidFill>
                  <a:srgbClr val="212F3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en-GB" b="1" dirty="0">
              <a:solidFill>
                <a:srgbClr val="212F3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8198294"/>
      </p:ext>
    </p:extLst>
  </p:cSld>
  <p:clrMapOvr>
    <a:masterClrMapping/>
  </p:clrMapOvr>
  <p:transition spd="slow">
    <p:push dir="u"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4287AEC-B742-4B2B-BA07-0DDC15A1BB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F1E09AF-2955-4960-AA53-11E2AAF815D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49B0DEE-88E5-4D22-9066-22B6C2DF909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194C37D-FD53-4A06-853A-32070D6309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76DABA-01D9-4EC1-9807-5B94D77F87DF}" type="datetime1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473AE86-9210-4CE9-A2F2-CB8AD97DD7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B06BF07-4C9E-4D65-872F-9E48BB61E1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479971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3471E0-5CC6-4462-AC1B-10F75CDB17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DCF4872-D411-4A31-BB9F-9A73BCF8584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99974CB-CF05-41A6-998C-8793770AC0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EFEFD40-1C3B-4054-84CD-4B02E68DB6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F539F29B-E74E-4388-B9BA-886C7B1639E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2B75B38B-F4D8-4FF7-80EF-7265266AC8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A76E23-81EC-4CB9-ACD1-9C2527FB71B2}" type="datetime1">
              <a:rPr lang="en-GB" smtClean="0"/>
              <a:t>30/10/2019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D45CBFE-9656-47F5-8135-4276AA3BFD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E3B93CE-2733-4113-8BF0-D1A253A818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985278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B6086-62DD-4FEC-89F7-FCB0A6DB26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B1E7C1E-BFC7-46DF-9BFF-6E20B1A50E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AC209C-22B4-433E-821F-CC6871864D75}" type="datetime1">
              <a:rPr lang="en-GB" smtClean="0"/>
              <a:t>30/10/2019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3CDD266-3F08-4FF3-9A81-949DC5E4F5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776C78-7B66-491B-975F-0410536F9A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13302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3880FF0-4AC3-4B16-9EB0-47B7DF5763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9D1FE9-1880-4900-999A-83C63FFF43A8}" type="datetime1">
              <a:rPr lang="en-GB" smtClean="0"/>
              <a:t>30/10/2019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D3F3AE3-A674-4578-80F1-81716E7B9B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3F2B738-1502-46FB-B2EB-E115A7149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44108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70E637-F98F-4F9E-8FE2-64B72E6711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899B22A-F8B4-4719-9AA0-316C0FA8A14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2FC60D3-E1E6-47F8-9CD5-4C27CA3F4F2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C2010B6-D582-4F30-A15E-530F757B967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887FB8-2D7C-45AD-BCB0-E4F2FDAB10FC}" type="datetime1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74BA6EF-CBA3-441C-8954-4DD6205955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F7BC09-6AA8-42C1-AB38-F39ADD9301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698137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85FF82-69C2-452C-AEE3-16ED24BDEA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B06105-510C-479E-B6D7-DE810FFCC017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B0108B-2E64-401A-9365-8918332C2AA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CF1903-CB7D-417D-8EB2-574230710D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8BA311-6C25-436D-8616-B0DD8514C895}" type="datetime1">
              <a:rPr lang="en-GB" smtClean="0"/>
              <a:t>30/10/2019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5AFABC7-2DD7-4C66-A58C-827E4928D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CA6670B-6917-4032-B035-A401DEBA9B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2615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theme" Target="../theme/theme4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slideLayout" Target="../slideLayouts/slideLayout39.xml"/><Relationship Id="rId2" Type="http://schemas.openxmlformats.org/officeDocument/2006/relationships/slideLayout" Target="../slideLayouts/slideLayout24.xml"/><Relationship Id="rId16" Type="http://schemas.openxmlformats.org/officeDocument/2006/relationships/slideLayout" Target="../slideLayouts/slideLayout38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974E3D-A4B2-4CB1-99CA-07AB89FBE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BA532E-95F7-4F14-B1DB-C08F317B1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CD247-FC8E-4A2D-A617-AAD2565446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9916B74-8350-49FC-BF22-AFD0F8C92F7C}" type="datetime1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330EE-1058-4C5F-AF32-042A1F6A4E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34985-723E-4F5B-97B8-2FA3CF7FA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152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21190601"/>
              </p:ext>
            </p:ext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0" name="Object 1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92608" y="1508400"/>
            <a:ext cx="11606784" cy="4343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11643360" y="6675838"/>
            <a:ext cx="256032" cy="127000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DC6993-5875-43F1-AB5B-56FAFD3221C9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endParaRPr lang="en-US" sz="900" dirty="0">
              <a:latin typeface="Arial"/>
            </a:endParaRPr>
          </a:p>
        </p:txBody>
      </p:sp>
      <p:sp>
        <p:nvSpPr>
          <p:cNvPr id="13" name="Rectangle 122"/>
          <p:cNvSpPr>
            <a:spLocks noChangeArrowheads="1"/>
          </p:cNvSpPr>
          <p:nvPr/>
        </p:nvSpPr>
        <p:spPr bwMode="auto">
          <a:xfrm>
            <a:off x="579968" y="989013"/>
            <a:ext cx="11032067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US" sz="1800" dirty="0"/>
          </a:p>
        </p:txBody>
      </p:sp>
      <p:sp>
        <p:nvSpPr>
          <p:cNvPr id="12" name="Rectangle 15"/>
          <p:cNvSpPr>
            <a:spLocks noChangeArrowheads="1"/>
          </p:cNvSpPr>
          <p:nvPr userDrawn="1"/>
        </p:nvSpPr>
        <p:spPr bwMode="auto">
          <a:xfrm>
            <a:off x="203200" y="388144"/>
            <a:ext cx="11785600" cy="907256"/>
          </a:xfrm>
          <a:prstGeom prst="rect">
            <a:avLst/>
          </a:prstGeom>
          <a:solidFill>
            <a:srgbClr val="3A2B2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r">
              <a:defRPr/>
            </a:pPr>
            <a:endParaRPr lang="en-ZA" sz="18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2608" y="475488"/>
            <a:ext cx="11606784" cy="7406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Slide Heading</a:t>
            </a:r>
          </a:p>
        </p:txBody>
      </p:sp>
      <p:grpSp>
        <p:nvGrpSpPr>
          <p:cNvPr id="14" name="Group 9"/>
          <p:cNvGrpSpPr>
            <a:grpSpLocks noChangeAspect="1"/>
          </p:cNvGrpSpPr>
          <p:nvPr userDrawn="1"/>
        </p:nvGrpSpPr>
        <p:grpSpPr bwMode="auto">
          <a:xfrm>
            <a:off x="755651" y="6335341"/>
            <a:ext cx="447675" cy="294085"/>
            <a:chOff x="3716" y="499"/>
            <a:chExt cx="1549" cy="1357"/>
          </a:xfrm>
        </p:grpSpPr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3716" y="862"/>
              <a:ext cx="753" cy="994"/>
            </a:xfrm>
            <a:custGeom>
              <a:avLst/>
              <a:gdLst/>
              <a:ahLst/>
              <a:cxnLst>
                <a:cxn ang="0">
                  <a:pos x="183" y="54"/>
                </a:cxn>
                <a:cxn ang="0">
                  <a:pos x="378" y="333"/>
                </a:cxn>
                <a:cxn ang="0">
                  <a:pos x="557" y="63"/>
                </a:cxn>
                <a:cxn ang="0">
                  <a:pos x="698" y="33"/>
                </a:cxn>
                <a:cxn ang="0">
                  <a:pos x="716" y="156"/>
                </a:cxn>
                <a:cxn ang="0">
                  <a:pos x="485" y="494"/>
                </a:cxn>
                <a:cxn ang="0">
                  <a:pos x="717" y="825"/>
                </a:cxn>
                <a:cxn ang="0">
                  <a:pos x="693" y="954"/>
                </a:cxn>
                <a:cxn ang="0">
                  <a:pos x="555" y="917"/>
                </a:cxn>
                <a:cxn ang="0">
                  <a:pos x="375" y="657"/>
                </a:cxn>
                <a:cxn ang="0">
                  <a:pos x="188" y="930"/>
                </a:cxn>
                <a:cxn ang="0">
                  <a:pos x="53" y="950"/>
                </a:cxn>
                <a:cxn ang="0">
                  <a:pos x="33" y="833"/>
                </a:cxn>
                <a:cxn ang="0">
                  <a:pos x="261" y="492"/>
                </a:cxn>
                <a:cxn ang="0">
                  <a:pos x="42" y="170"/>
                </a:cxn>
                <a:cxn ang="0">
                  <a:pos x="47" y="39"/>
                </a:cxn>
                <a:cxn ang="0">
                  <a:pos x="183" y="54"/>
                </a:cxn>
              </a:cxnLst>
              <a:rect l="0" t="0" r="r" b="b"/>
              <a:pathLst>
                <a:path w="753" h="992">
                  <a:moveTo>
                    <a:pt x="183" y="54"/>
                  </a:moveTo>
                  <a:cubicBezTo>
                    <a:pt x="285" y="202"/>
                    <a:pt x="378" y="333"/>
                    <a:pt x="378" y="333"/>
                  </a:cubicBezTo>
                  <a:cubicBezTo>
                    <a:pt x="407" y="290"/>
                    <a:pt x="527" y="111"/>
                    <a:pt x="557" y="63"/>
                  </a:cubicBezTo>
                  <a:cubicBezTo>
                    <a:pt x="593" y="9"/>
                    <a:pt x="659" y="2"/>
                    <a:pt x="698" y="33"/>
                  </a:cubicBezTo>
                  <a:cubicBezTo>
                    <a:pt x="737" y="64"/>
                    <a:pt x="750" y="111"/>
                    <a:pt x="716" y="156"/>
                  </a:cubicBezTo>
                  <a:cubicBezTo>
                    <a:pt x="598" y="324"/>
                    <a:pt x="538" y="416"/>
                    <a:pt x="485" y="494"/>
                  </a:cubicBezTo>
                  <a:cubicBezTo>
                    <a:pt x="535" y="563"/>
                    <a:pt x="601" y="660"/>
                    <a:pt x="717" y="825"/>
                  </a:cubicBezTo>
                  <a:cubicBezTo>
                    <a:pt x="753" y="878"/>
                    <a:pt x="730" y="930"/>
                    <a:pt x="693" y="954"/>
                  </a:cubicBezTo>
                  <a:cubicBezTo>
                    <a:pt x="656" y="978"/>
                    <a:pt x="602" y="983"/>
                    <a:pt x="555" y="917"/>
                  </a:cubicBezTo>
                  <a:cubicBezTo>
                    <a:pt x="462" y="783"/>
                    <a:pt x="377" y="653"/>
                    <a:pt x="375" y="657"/>
                  </a:cubicBezTo>
                  <a:cubicBezTo>
                    <a:pt x="375" y="657"/>
                    <a:pt x="282" y="792"/>
                    <a:pt x="188" y="930"/>
                  </a:cubicBezTo>
                  <a:cubicBezTo>
                    <a:pt x="139" y="992"/>
                    <a:pt x="77" y="967"/>
                    <a:pt x="53" y="950"/>
                  </a:cubicBezTo>
                  <a:cubicBezTo>
                    <a:pt x="29" y="933"/>
                    <a:pt x="0" y="881"/>
                    <a:pt x="33" y="833"/>
                  </a:cubicBezTo>
                  <a:cubicBezTo>
                    <a:pt x="33" y="833"/>
                    <a:pt x="152" y="653"/>
                    <a:pt x="261" y="492"/>
                  </a:cubicBezTo>
                  <a:cubicBezTo>
                    <a:pt x="216" y="414"/>
                    <a:pt x="92" y="246"/>
                    <a:pt x="42" y="170"/>
                  </a:cubicBezTo>
                  <a:cubicBezTo>
                    <a:pt x="12" y="129"/>
                    <a:pt x="7" y="73"/>
                    <a:pt x="47" y="39"/>
                  </a:cubicBezTo>
                  <a:cubicBezTo>
                    <a:pt x="87" y="5"/>
                    <a:pt x="147" y="0"/>
                    <a:pt x="183" y="54"/>
                  </a:cubicBezTo>
                  <a:close/>
                </a:path>
              </a:pathLst>
            </a:custGeom>
            <a:solidFill>
              <a:srgbClr val="A5CF4C"/>
            </a:solidFill>
            <a:ln w="3175" cmpd="sng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algn="r">
                <a:defRPr/>
              </a:pPr>
              <a:endParaRPr lang="en-ZA" sz="1800" dirty="0"/>
            </a:p>
          </p:txBody>
        </p:sp>
        <p:sp>
          <p:nvSpPr>
            <p:cNvPr id="16" name="Oval 11"/>
            <p:cNvSpPr>
              <a:spLocks noChangeArrowheads="1"/>
            </p:cNvSpPr>
            <p:nvPr userDrawn="1"/>
          </p:nvSpPr>
          <p:spPr bwMode="auto">
            <a:xfrm>
              <a:off x="3941" y="499"/>
              <a:ext cx="308" cy="308"/>
            </a:xfrm>
            <a:prstGeom prst="ellipse">
              <a:avLst/>
            </a:prstGeom>
            <a:solidFill>
              <a:srgbClr val="A5CF4C"/>
            </a:solidFill>
            <a:ln w="31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>
                <a:defRPr/>
              </a:pPr>
              <a:endParaRPr lang="en-ZA" sz="1800" dirty="0"/>
            </a:p>
          </p:txBody>
        </p:sp>
        <p:sp>
          <p:nvSpPr>
            <p:cNvPr id="17" name="Freeform 12"/>
            <p:cNvSpPr>
              <a:spLocks/>
            </p:cNvSpPr>
            <p:nvPr userDrawn="1"/>
          </p:nvSpPr>
          <p:spPr bwMode="auto">
            <a:xfrm>
              <a:off x="4512" y="862"/>
              <a:ext cx="753" cy="994"/>
            </a:xfrm>
            <a:custGeom>
              <a:avLst/>
              <a:gdLst/>
              <a:ahLst/>
              <a:cxnLst>
                <a:cxn ang="0">
                  <a:pos x="183" y="54"/>
                </a:cxn>
                <a:cxn ang="0">
                  <a:pos x="378" y="333"/>
                </a:cxn>
                <a:cxn ang="0">
                  <a:pos x="557" y="63"/>
                </a:cxn>
                <a:cxn ang="0">
                  <a:pos x="698" y="33"/>
                </a:cxn>
                <a:cxn ang="0">
                  <a:pos x="716" y="156"/>
                </a:cxn>
                <a:cxn ang="0">
                  <a:pos x="485" y="494"/>
                </a:cxn>
                <a:cxn ang="0">
                  <a:pos x="717" y="825"/>
                </a:cxn>
                <a:cxn ang="0">
                  <a:pos x="693" y="954"/>
                </a:cxn>
                <a:cxn ang="0">
                  <a:pos x="555" y="917"/>
                </a:cxn>
                <a:cxn ang="0">
                  <a:pos x="375" y="657"/>
                </a:cxn>
                <a:cxn ang="0">
                  <a:pos x="188" y="930"/>
                </a:cxn>
                <a:cxn ang="0">
                  <a:pos x="53" y="950"/>
                </a:cxn>
                <a:cxn ang="0">
                  <a:pos x="33" y="833"/>
                </a:cxn>
                <a:cxn ang="0">
                  <a:pos x="261" y="492"/>
                </a:cxn>
                <a:cxn ang="0">
                  <a:pos x="42" y="170"/>
                </a:cxn>
                <a:cxn ang="0">
                  <a:pos x="47" y="39"/>
                </a:cxn>
                <a:cxn ang="0">
                  <a:pos x="183" y="54"/>
                </a:cxn>
              </a:cxnLst>
              <a:rect l="0" t="0" r="r" b="b"/>
              <a:pathLst>
                <a:path w="753" h="992">
                  <a:moveTo>
                    <a:pt x="183" y="54"/>
                  </a:moveTo>
                  <a:cubicBezTo>
                    <a:pt x="285" y="202"/>
                    <a:pt x="378" y="333"/>
                    <a:pt x="378" y="333"/>
                  </a:cubicBezTo>
                  <a:cubicBezTo>
                    <a:pt x="407" y="290"/>
                    <a:pt x="527" y="111"/>
                    <a:pt x="557" y="63"/>
                  </a:cubicBezTo>
                  <a:cubicBezTo>
                    <a:pt x="593" y="9"/>
                    <a:pt x="659" y="2"/>
                    <a:pt x="698" y="33"/>
                  </a:cubicBezTo>
                  <a:cubicBezTo>
                    <a:pt x="737" y="64"/>
                    <a:pt x="750" y="111"/>
                    <a:pt x="716" y="156"/>
                  </a:cubicBezTo>
                  <a:cubicBezTo>
                    <a:pt x="598" y="324"/>
                    <a:pt x="538" y="416"/>
                    <a:pt x="485" y="494"/>
                  </a:cubicBezTo>
                  <a:cubicBezTo>
                    <a:pt x="535" y="563"/>
                    <a:pt x="601" y="660"/>
                    <a:pt x="717" y="825"/>
                  </a:cubicBezTo>
                  <a:cubicBezTo>
                    <a:pt x="753" y="878"/>
                    <a:pt x="730" y="930"/>
                    <a:pt x="693" y="954"/>
                  </a:cubicBezTo>
                  <a:cubicBezTo>
                    <a:pt x="656" y="978"/>
                    <a:pt x="602" y="983"/>
                    <a:pt x="555" y="917"/>
                  </a:cubicBezTo>
                  <a:cubicBezTo>
                    <a:pt x="462" y="783"/>
                    <a:pt x="377" y="653"/>
                    <a:pt x="375" y="657"/>
                  </a:cubicBezTo>
                  <a:cubicBezTo>
                    <a:pt x="375" y="657"/>
                    <a:pt x="282" y="792"/>
                    <a:pt x="188" y="930"/>
                  </a:cubicBezTo>
                  <a:cubicBezTo>
                    <a:pt x="139" y="992"/>
                    <a:pt x="77" y="967"/>
                    <a:pt x="53" y="950"/>
                  </a:cubicBezTo>
                  <a:cubicBezTo>
                    <a:pt x="29" y="933"/>
                    <a:pt x="0" y="881"/>
                    <a:pt x="33" y="833"/>
                  </a:cubicBezTo>
                  <a:cubicBezTo>
                    <a:pt x="33" y="833"/>
                    <a:pt x="152" y="653"/>
                    <a:pt x="261" y="492"/>
                  </a:cubicBezTo>
                  <a:cubicBezTo>
                    <a:pt x="216" y="414"/>
                    <a:pt x="92" y="246"/>
                    <a:pt x="42" y="170"/>
                  </a:cubicBezTo>
                  <a:cubicBezTo>
                    <a:pt x="12" y="129"/>
                    <a:pt x="7" y="73"/>
                    <a:pt x="47" y="39"/>
                  </a:cubicBezTo>
                  <a:cubicBezTo>
                    <a:pt x="87" y="5"/>
                    <a:pt x="147" y="0"/>
                    <a:pt x="183" y="54"/>
                  </a:cubicBezTo>
                  <a:close/>
                </a:path>
              </a:pathLst>
            </a:custGeom>
            <a:solidFill>
              <a:srgbClr val="A5CF4C"/>
            </a:solidFill>
            <a:ln w="3175" cmpd="sng">
              <a:noFill/>
              <a:round/>
              <a:headEnd/>
              <a:tailEnd/>
            </a:ln>
            <a:effectLst/>
          </p:spPr>
          <p:txBody>
            <a:bodyPr/>
            <a:lstStyle/>
            <a:p>
              <a:pPr algn="r">
                <a:defRPr/>
              </a:pPr>
              <a:endParaRPr lang="en-ZA" sz="1800" dirty="0"/>
            </a:p>
          </p:txBody>
        </p:sp>
        <p:sp>
          <p:nvSpPr>
            <p:cNvPr id="18" name="Oval 13"/>
            <p:cNvSpPr>
              <a:spLocks noChangeArrowheads="1"/>
            </p:cNvSpPr>
            <p:nvPr userDrawn="1"/>
          </p:nvSpPr>
          <p:spPr bwMode="auto">
            <a:xfrm>
              <a:off x="4738" y="499"/>
              <a:ext cx="308" cy="308"/>
            </a:xfrm>
            <a:prstGeom prst="ellipse">
              <a:avLst/>
            </a:prstGeom>
            <a:solidFill>
              <a:srgbClr val="A5CF4C"/>
            </a:solidFill>
            <a:ln w="317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>
                <a:defRPr/>
              </a:pPr>
              <a:endParaRPr lang="en-ZA" sz="1800" dirty="0"/>
            </a:p>
          </p:txBody>
        </p:sp>
      </p:grpSp>
      <p:sp>
        <p:nvSpPr>
          <p:cNvPr id="19" name="FooterSimple"/>
          <p:cNvSpPr/>
          <p:nvPr userDrawn="1"/>
        </p:nvSpPr>
        <p:spPr>
          <a:xfrm>
            <a:off x="621417" y="6692580"/>
            <a:ext cx="8592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b="0" noProof="0" dirty="0">
                <a:solidFill>
                  <a:schemeClr val="tx1"/>
                </a:solidFill>
              </a:rPr>
              <a:t>Exxaro Coal</a:t>
            </a:r>
          </a:p>
        </p:txBody>
      </p:sp>
      <p:sp>
        <p:nvSpPr>
          <p:cNvPr id="21" name="FooterSimple"/>
          <p:cNvSpPr/>
          <p:nvPr userDrawn="1"/>
        </p:nvSpPr>
        <p:spPr>
          <a:xfrm>
            <a:off x="8677365" y="6692580"/>
            <a:ext cx="859200" cy="10772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l"/>
            <a:r>
              <a:rPr lang="en-US" sz="700" b="0" i="1" noProof="0" dirty="0">
                <a:solidFill>
                  <a:schemeClr val="tx1"/>
                </a:solidFill>
              </a:rPr>
              <a:t>Coal of TODAY </a:t>
            </a:r>
            <a:r>
              <a:rPr lang="en-US" sz="700" b="0" i="1" noProof="0" dirty="0" err="1">
                <a:solidFill>
                  <a:schemeClr val="tx1"/>
                </a:solidFill>
              </a:rPr>
              <a:t>fuelling</a:t>
            </a:r>
            <a:r>
              <a:rPr lang="en-US" sz="700" b="0" i="1" baseline="0" noProof="0" dirty="0">
                <a:solidFill>
                  <a:schemeClr val="tx1"/>
                </a:solidFill>
              </a:rPr>
              <a:t> the EXXARO of TOMORROW</a:t>
            </a:r>
            <a:endParaRPr lang="en-US" sz="700" b="0" i="1" noProof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005191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Tx/>
        <a:buNone/>
        <a:defRPr sz="1600" b="1" 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28600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6363" indent="-233362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8988" indent="-230188" algn="l" defTabSz="914400" rtl="0" eaLnBrk="1" latinLnBrk="0" hangingPunct="1">
        <a:spcBef>
          <a:spcPct val="20000"/>
        </a:spcBef>
        <a:buClr>
          <a:schemeClr val="tx2"/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974E3D-A4B2-4CB1-99CA-07AB89FBE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8BA532E-95F7-4F14-B1DB-C08F317B13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15CD247-FC8E-4A2D-A617-AAD25654465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3764C4-9998-47E8-8801-896FF79AFFFF}" type="datetimeFigureOut">
              <a:rPr lang="en-GB" smtClean="0"/>
              <a:t>30/10/2019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2B330EE-1058-4C5F-AF32-042A1F6A4EB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E34985-723E-4F5B-97B8-2FA3CF7FAB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8C4F3A-D30B-412E-B52C-7D7F9B0182D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038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4EA21D0-C542-4160-82D9-10EC6C490B7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4963" y="66454"/>
            <a:ext cx="11485561" cy="753601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D8437F-62DC-45C9-8EB1-00F6036C716D}"/>
              </a:ext>
            </a:extLst>
          </p:cNvPr>
          <p:cNvSpPr/>
          <p:nvPr userDrawn="1"/>
        </p:nvSpPr>
        <p:spPr>
          <a:xfrm>
            <a:off x="-1762124" y="0"/>
            <a:ext cx="1695450" cy="485775"/>
          </a:xfrm>
          <a:prstGeom prst="rect">
            <a:avLst/>
          </a:prstGeom>
          <a:solidFill>
            <a:srgbClr val="3A2B2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58; G43; B38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B189D80-932A-40EA-A535-D78C8DD753BF}"/>
              </a:ext>
            </a:extLst>
          </p:cNvPr>
          <p:cNvSpPr/>
          <p:nvPr userDrawn="1"/>
        </p:nvSpPr>
        <p:spPr>
          <a:xfrm>
            <a:off x="-1762124" y="574774"/>
            <a:ext cx="1695450" cy="48577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65; G207; B76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D3C67BE5-8BA9-4FEC-9C65-2382E2651AB6}"/>
              </a:ext>
            </a:extLst>
          </p:cNvPr>
          <p:cNvSpPr/>
          <p:nvPr userDrawn="1"/>
        </p:nvSpPr>
        <p:spPr>
          <a:xfrm>
            <a:off x="-1762124" y="2873870"/>
            <a:ext cx="1695450" cy="485775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95; G160; B187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B2A15AA-27E5-48CD-984E-9327E1432C53}"/>
              </a:ext>
            </a:extLst>
          </p:cNvPr>
          <p:cNvSpPr/>
          <p:nvPr userDrawn="1"/>
        </p:nvSpPr>
        <p:spPr>
          <a:xfrm>
            <a:off x="-1762124" y="1149548"/>
            <a:ext cx="1695450" cy="485775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43; G174; B132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235AA259-5883-4BE8-A6F0-9D804C172E83}"/>
              </a:ext>
            </a:extLst>
          </p:cNvPr>
          <p:cNvSpPr/>
          <p:nvPr userDrawn="1"/>
        </p:nvSpPr>
        <p:spPr>
          <a:xfrm>
            <a:off x="-1762124" y="2299096"/>
            <a:ext cx="1695450" cy="485775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36; G209; B209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94A5716-6D70-49E4-82B0-D476C5832A6F}"/>
              </a:ext>
            </a:extLst>
          </p:cNvPr>
          <p:cNvSpPr/>
          <p:nvPr userDrawn="1"/>
        </p:nvSpPr>
        <p:spPr>
          <a:xfrm>
            <a:off x="-1762124" y="4598192"/>
            <a:ext cx="1695450" cy="485775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224; G202; B95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F60D1B6-91F3-4060-873A-7FB7B78FFCB4}"/>
              </a:ext>
            </a:extLst>
          </p:cNvPr>
          <p:cNvSpPr/>
          <p:nvPr userDrawn="1"/>
        </p:nvSpPr>
        <p:spPr>
          <a:xfrm>
            <a:off x="-1762124" y="4023418"/>
            <a:ext cx="1695450" cy="48577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21; G98; B73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4042E68-C524-4CB6-8A39-B90AD16216EE}"/>
              </a:ext>
            </a:extLst>
          </p:cNvPr>
          <p:cNvSpPr/>
          <p:nvPr userDrawn="1"/>
        </p:nvSpPr>
        <p:spPr>
          <a:xfrm>
            <a:off x="-1762124" y="5172967"/>
            <a:ext cx="1695450" cy="485775"/>
          </a:xfrm>
          <a:prstGeom prst="rect">
            <a:avLst/>
          </a:prstGeom>
          <a:solidFill>
            <a:srgbClr val="70773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12; G119; B5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700C80-A23E-4154-B7F6-3D3E095D4D2E}"/>
              </a:ext>
            </a:extLst>
          </p:cNvPr>
          <p:cNvSpPr/>
          <p:nvPr userDrawn="1"/>
        </p:nvSpPr>
        <p:spPr>
          <a:xfrm>
            <a:off x="-1762124" y="1724322"/>
            <a:ext cx="1695450" cy="485775"/>
          </a:xfrm>
          <a:prstGeom prst="rect">
            <a:avLst/>
          </a:prstGeom>
          <a:solidFill>
            <a:srgbClr val="6B8A7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07; G138; B126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BACC354-F893-458C-B3A4-AE360C3DBCEC}"/>
              </a:ext>
            </a:extLst>
          </p:cNvPr>
          <p:cNvSpPr/>
          <p:nvPr userDrawn="1"/>
        </p:nvSpPr>
        <p:spPr>
          <a:xfrm>
            <a:off x="-1762124" y="3448644"/>
            <a:ext cx="1695450" cy="485775"/>
          </a:xfrm>
          <a:prstGeom prst="rect">
            <a:avLst/>
          </a:prstGeom>
          <a:solidFill>
            <a:srgbClr val="C6C39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sz="1600" dirty="0"/>
              <a:t>R198; G195; B152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CF1273-B35D-414C-AEFE-44D7FF72C7E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4963" y="1016000"/>
            <a:ext cx="11485561" cy="5329237"/>
          </a:xfrm>
          <a:prstGeom prst="rect">
            <a:avLst/>
          </a:prstGeom>
          <a:noFill/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233F34-ECF3-4AD3-AC4A-2BD74E1A0F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4" y="7280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 b="0">
                <a:solidFill>
                  <a:schemeClr val="tx2"/>
                </a:solidFill>
              </a:defRPr>
            </a:lvl1pPr>
          </a:lstStyle>
          <a:p>
            <a:fld id="{E1989730-EB42-4AE5-BB97-5625C4FA2B88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87697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953">
          <p15:clr>
            <a:srgbClr val="F26B43"/>
          </p15:clr>
        </p15:guide>
        <p15:guide id="2" pos="3727">
          <p15:clr>
            <a:srgbClr val="F26B43"/>
          </p15:clr>
        </p15:guide>
        <p15:guide id="3" pos="3840">
          <p15:clr>
            <a:srgbClr val="F26B43"/>
          </p15:clr>
        </p15:guide>
        <p15:guide id="4" pos="7469">
          <p15:clr>
            <a:srgbClr val="F26B43"/>
          </p15:clr>
        </p15:guide>
        <p15:guide id="5" pos="211">
          <p15:clr>
            <a:srgbClr val="F26B43"/>
          </p15:clr>
        </p15:guide>
        <p15:guide id="6" orient="horz" pos="482">
          <p15:clr>
            <a:srgbClr val="F26B43"/>
          </p15:clr>
        </p15:guide>
        <p15:guide id="8" orient="horz" pos="640">
          <p15:clr>
            <a:srgbClr val="F26B43"/>
          </p15:clr>
        </p15:guide>
        <p15:guide id="9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chart" Target="../charts/char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png"/><Relationship Id="rId5" Type="http://schemas.openxmlformats.org/officeDocument/2006/relationships/image" Target="../media/image37.png"/><Relationship Id="rId4" Type="http://schemas.openxmlformats.org/officeDocument/2006/relationships/image" Target="../media/image2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5.jpe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10" Type="http://schemas.openxmlformats.org/officeDocument/2006/relationships/image" Target="../media/image43.png"/><Relationship Id="rId4" Type="http://schemas.openxmlformats.org/officeDocument/2006/relationships/image" Target="../media/image22.png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46.jpeg"/><Relationship Id="rId7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8.png"/><Relationship Id="rId5" Type="http://schemas.openxmlformats.org/officeDocument/2006/relationships/image" Target="../media/image47.png"/><Relationship Id="rId10" Type="http://schemas.openxmlformats.org/officeDocument/2006/relationships/image" Target="../media/image52.png"/><Relationship Id="rId4" Type="http://schemas.openxmlformats.org/officeDocument/2006/relationships/image" Target="../media/image22.png"/><Relationship Id="rId9" Type="http://schemas.openxmlformats.org/officeDocument/2006/relationships/image" Target="../media/image51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22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10" Type="http://schemas.openxmlformats.org/officeDocument/2006/relationships/image" Target="../media/image59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jpe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Relationship Id="rId9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Relationship Id="rId5" Type="http://schemas.openxmlformats.org/officeDocument/2006/relationships/chart" Target="../charts/chart1.xml"/><Relationship Id="rId4" Type="http://schemas.openxmlformats.org/officeDocument/2006/relationships/image" Target="../media/image22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svg"/><Relationship Id="rId3" Type="http://schemas.openxmlformats.org/officeDocument/2006/relationships/image" Target="../media/image24.png"/><Relationship Id="rId7" Type="http://schemas.openxmlformats.org/officeDocument/2006/relationships/image" Target="../media/image28.svg"/><Relationship Id="rId12" Type="http://schemas.openxmlformats.org/officeDocument/2006/relationships/image" Target="../media/image3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7.png"/><Relationship Id="rId11" Type="http://schemas.openxmlformats.org/officeDocument/2006/relationships/image" Target="../media/image32.svg"/><Relationship Id="rId5" Type="http://schemas.openxmlformats.org/officeDocument/2006/relationships/image" Target="../media/image26.svg"/><Relationship Id="rId10" Type="http://schemas.openxmlformats.org/officeDocument/2006/relationships/image" Target="../media/image31.png"/><Relationship Id="rId4" Type="http://schemas.openxmlformats.org/officeDocument/2006/relationships/image" Target="../media/image25.png"/><Relationship Id="rId9" Type="http://schemas.openxmlformats.org/officeDocument/2006/relationships/image" Target="../media/image30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1.png"/><Relationship Id="rId4" Type="http://schemas.openxmlformats.org/officeDocument/2006/relationships/chart" Target="../charts/char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95A2460-AC90-4615-AF38-441A559E1C3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22">
            <a:extLst>
              <a:ext uri="{FF2B5EF4-FFF2-40B4-BE49-F238E27FC236}">
                <a16:creationId xmlns:a16="http://schemas.microsoft.com/office/drawing/2014/main" id="{8330EC82-E952-4059-9381-F79923B0D318}"/>
              </a:ext>
            </a:extLst>
          </p:cNvPr>
          <p:cNvSpPr/>
          <p:nvPr/>
        </p:nvSpPr>
        <p:spPr>
          <a:xfrm flipH="1">
            <a:off x="5454554" y="1206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C660440D-E148-47F0-972E-3FF99EC6329C}"/>
              </a:ext>
            </a:extLst>
          </p:cNvPr>
          <p:cNvSpPr/>
          <p:nvPr/>
        </p:nvSpPr>
        <p:spPr>
          <a:xfrm flipH="1">
            <a:off x="5558611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5CF4C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373CEFB-88F6-4B05-8B6E-0E33CA115E95}"/>
              </a:ext>
            </a:extLst>
          </p:cNvPr>
          <p:cNvSpPr/>
          <p:nvPr/>
        </p:nvSpPr>
        <p:spPr>
          <a:xfrm flipH="1">
            <a:off x="5662668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713A958-FEAE-47DC-8DE9-A34BC95F3D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4492" y="485012"/>
            <a:ext cx="2428921" cy="117745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9205843-C9C1-4344-9096-29AC9F5FE54F}"/>
              </a:ext>
            </a:extLst>
          </p:cNvPr>
          <p:cNvSpPr txBox="1"/>
          <p:nvPr/>
        </p:nvSpPr>
        <p:spPr>
          <a:xfrm>
            <a:off x="6148624" y="5193090"/>
            <a:ext cx="59046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3600" dirty="0" err="1">
                <a:solidFill>
                  <a:srgbClr val="2D3E46"/>
                </a:solidFill>
                <a:latin typeface="Arial Black" panose="020B0A04020102020204" pitchFamily="34" charset="0"/>
              </a:rPr>
              <a:t>Dr.</a:t>
            </a:r>
            <a:r>
              <a:rPr lang="en-ZA" sz="3600" dirty="0">
                <a:solidFill>
                  <a:srgbClr val="2D3E46"/>
                </a:solidFill>
                <a:latin typeface="Arial Black" panose="020B0A04020102020204" pitchFamily="34" charset="0"/>
              </a:rPr>
              <a:t> </a:t>
            </a:r>
            <a:r>
              <a:rPr lang="en-ZA" sz="3600" dirty="0" err="1">
                <a:solidFill>
                  <a:srgbClr val="2D3E46"/>
                </a:solidFill>
                <a:latin typeface="Arial Black" panose="020B0A04020102020204" pitchFamily="34" charset="0"/>
              </a:rPr>
              <a:t>Nombasa</a:t>
            </a:r>
            <a:r>
              <a:rPr lang="en-ZA" sz="3600" dirty="0">
                <a:solidFill>
                  <a:srgbClr val="2D3E46"/>
                </a:solidFill>
                <a:latin typeface="Arial Black" panose="020B0A04020102020204" pitchFamily="34" charset="0"/>
              </a:rPr>
              <a:t> </a:t>
            </a:r>
            <a:r>
              <a:rPr lang="en-ZA" sz="3600" dirty="0" err="1">
                <a:solidFill>
                  <a:srgbClr val="2D3E46"/>
                </a:solidFill>
                <a:latin typeface="Arial Black" panose="020B0A04020102020204" pitchFamily="34" charset="0"/>
              </a:rPr>
              <a:t>Tsengwa</a:t>
            </a:r>
            <a:endParaRPr lang="en-GB" sz="3600" dirty="0">
              <a:solidFill>
                <a:srgbClr val="2D3E46"/>
              </a:solidFill>
              <a:latin typeface="Arial Black" panose="020B0A040201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6CE8D07B-6D0F-4C3D-90C8-A5ECF5676746}"/>
              </a:ext>
            </a:extLst>
          </p:cNvPr>
          <p:cNvSpPr txBox="1"/>
          <p:nvPr/>
        </p:nvSpPr>
        <p:spPr>
          <a:xfrm>
            <a:off x="6084371" y="5885711"/>
            <a:ext cx="46288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dirty="0">
                <a:solidFill>
                  <a:srgbClr val="2D3E46"/>
                </a:solidFill>
                <a:latin typeface="Arial Black" panose="020B0A04020102020204" pitchFamily="34" charset="0"/>
              </a:rPr>
              <a:t>Executive Head Coal Operations</a:t>
            </a:r>
            <a:endParaRPr lang="en-GB" dirty="0">
              <a:solidFill>
                <a:srgbClr val="2D3E46"/>
              </a:solidFill>
              <a:latin typeface="Arial Black" panose="020B0A040201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521B61-C084-41DC-A19B-83CAFFD45846}"/>
              </a:ext>
            </a:extLst>
          </p:cNvPr>
          <p:cNvSpPr txBox="1"/>
          <p:nvPr/>
        </p:nvSpPr>
        <p:spPr>
          <a:xfrm>
            <a:off x="7256050" y="4242698"/>
            <a:ext cx="46288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sz="16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</a:t>
            </a:r>
            <a:r>
              <a:rPr lang="en-ZA" sz="1600" b="1" baseline="300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ZA" sz="16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October 2019</a:t>
            </a:r>
            <a:endParaRPr lang="en-GB" sz="16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7E17CFE-2C25-40C4-8BAB-4B7C1BE100B0}"/>
              </a:ext>
            </a:extLst>
          </p:cNvPr>
          <p:cNvSpPr txBox="1"/>
          <p:nvPr/>
        </p:nvSpPr>
        <p:spPr>
          <a:xfrm>
            <a:off x="6771220" y="3057634"/>
            <a:ext cx="542740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srgbClr val="2D3E46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outh African Investment Conference Media Tour</a:t>
            </a:r>
            <a:endParaRPr lang="en-GB" sz="2400" b="1" dirty="0">
              <a:solidFill>
                <a:srgbClr val="2D3E46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110FEB3-4C03-4D57-8CFC-D76D87659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</a:t>
            </a:fld>
            <a:endParaRPr lang="en-GB"/>
          </a:p>
        </p:txBody>
      </p:sp>
      <p:sp>
        <p:nvSpPr>
          <p:cNvPr id="13" name="object 42">
            <a:extLst>
              <a:ext uri="{FF2B5EF4-FFF2-40B4-BE49-F238E27FC236}">
                <a16:creationId xmlns:a16="http://schemas.microsoft.com/office/drawing/2014/main" id="{D716F501-A39F-4A4D-8656-37D51CF643AB}"/>
              </a:ext>
            </a:extLst>
          </p:cNvPr>
          <p:cNvSpPr/>
          <p:nvPr/>
        </p:nvSpPr>
        <p:spPr>
          <a:xfrm>
            <a:off x="5662668" y="6355397"/>
            <a:ext cx="7003201" cy="519346"/>
          </a:xfrm>
          <a:prstGeom prst="rect">
            <a:avLst/>
          </a:prstGeom>
          <a:blipFill>
            <a:blip r:embed="rId5" cstate="print">
              <a:alphaModFix amt="93000"/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755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25D2DEC-9299-4164-870E-C9401FB3E10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9502" t="17388" r="5158" b="8526"/>
          <a:stretch/>
        </p:blipFill>
        <p:spPr>
          <a:xfrm>
            <a:off x="10748183" y="11372851"/>
            <a:ext cx="1013199" cy="642476"/>
          </a:xfrm>
          <a:prstGeom prst="rect">
            <a:avLst/>
          </a:prstGeom>
        </p:spPr>
      </p:pic>
      <p:pic>
        <p:nvPicPr>
          <p:cNvPr id="15" name="Picture 2" descr="South Africa Investment Conference 2019">
            <a:extLst>
              <a:ext uri="{FF2B5EF4-FFF2-40B4-BE49-F238E27FC236}">
                <a16:creationId xmlns:a16="http://schemas.microsoft.com/office/drawing/2014/main" id="{D2F9F376-C65C-4508-B008-6963C1AB74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27523" y="11408674"/>
            <a:ext cx="2138350" cy="4561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30499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BB67AE0-FCB9-4D75-A7D7-17271819B5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32"/>
          <a:stretch/>
        </p:blipFill>
        <p:spPr>
          <a:xfrm>
            <a:off x="0" y="1428"/>
            <a:ext cx="12198626" cy="685657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graphicFrame>
        <p:nvGraphicFramePr>
          <p:cNvPr id="87" name="Chart 86">
            <a:extLst>
              <a:ext uri="{FF2B5EF4-FFF2-40B4-BE49-F238E27FC236}">
                <a16:creationId xmlns:a16="http://schemas.microsoft.com/office/drawing/2014/main" id="{2D5A8C43-64A9-4D25-AD77-A770DA2F6B5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55405503"/>
              </p:ext>
            </p:extLst>
          </p:nvPr>
        </p:nvGraphicFramePr>
        <p:xfrm>
          <a:off x="1504198" y="469760"/>
          <a:ext cx="9176977" cy="64641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9846CF1-FE3B-4D2E-82C1-F5AB68DCC4B6}"/>
              </a:ext>
            </a:extLst>
          </p:cNvPr>
          <p:cNvSpPr txBox="1"/>
          <p:nvPr/>
        </p:nvSpPr>
        <p:spPr>
          <a:xfrm>
            <a:off x="4089121" y="6462956"/>
            <a:ext cx="400713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b="1" dirty="0">
                <a:latin typeface="Arial" panose="020B0604020202020204" pitchFamily="34" charset="0"/>
                <a:cs typeface="Arial" panose="020B0604020202020204" pitchFamily="34" charset="0"/>
              </a:rPr>
              <a:t>2018 Product Tons Production (Mt)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8" name="Rectangle 87">
            <a:extLst>
              <a:ext uri="{FF2B5EF4-FFF2-40B4-BE49-F238E27FC236}">
                <a16:creationId xmlns:a16="http://schemas.microsoft.com/office/drawing/2014/main" id="{1AB14465-AC77-4B08-9262-695587F636AB}"/>
              </a:ext>
            </a:extLst>
          </p:cNvPr>
          <p:cNvSpPr/>
          <p:nvPr/>
        </p:nvSpPr>
        <p:spPr>
          <a:xfrm>
            <a:off x="1714573" y="214621"/>
            <a:ext cx="996688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G: Is the Largest Coal Mine in the Southern Hemisphere operated from a single footprint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623A5C47-C2B2-4973-836C-7521AE182C7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8505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7" grpId="0">
        <p:bldAsOne/>
      </p:bldGraphic>
      <p:bldP spid="5" grpId="0"/>
      <p:bldP spid="88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BB67AE0-FCB9-4D75-A7D7-17271819B5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32"/>
          <a:stretch/>
        </p:blipFill>
        <p:spPr>
          <a:xfrm>
            <a:off x="0" y="1428"/>
            <a:ext cx="12198626" cy="685657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95C10B8D-B42F-4198-AA9C-963CB3882F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71768" y="-1290483"/>
            <a:ext cx="3676691" cy="774040"/>
          </a:xfrm>
          <a:prstGeom prst="rect">
            <a:avLst/>
          </a:prstGeom>
        </p:spPr>
      </p:pic>
      <p:pic>
        <p:nvPicPr>
          <p:cNvPr id="86" name="Picture 85">
            <a:extLst>
              <a:ext uri="{FF2B5EF4-FFF2-40B4-BE49-F238E27FC236}">
                <a16:creationId xmlns:a16="http://schemas.microsoft.com/office/drawing/2014/main" id="{C040C60C-F2F1-4D1F-A15C-3370F1EBD6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942" y="-1180716"/>
            <a:ext cx="3676691" cy="774040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2CE4EC5-BEF4-455A-9BB4-A141FB6015C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05220" y="715726"/>
            <a:ext cx="11327820" cy="5987965"/>
          </a:xfrm>
          <a:prstGeom prst="rect">
            <a:avLst/>
          </a:prstGeom>
        </p:spPr>
      </p:pic>
      <p:grpSp>
        <p:nvGrpSpPr>
          <p:cNvPr id="32" name="Group 31">
            <a:extLst>
              <a:ext uri="{FF2B5EF4-FFF2-40B4-BE49-F238E27FC236}">
                <a16:creationId xmlns:a16="http://schemas.microsoft.com/office/drawing/2014/main" id="{794EABB5-5BDC-4FD4-AA14-FD26121CAD44}"/>
              </a:ext>
            </a:extLst>
          </p:cNvPr>
          <p:cNvGrpSpPr/>
          <p:nvPr/>
        </p:nvGrpSpPr>
        <p:grpSpPr>
          <a:xfrm>
            <a:off x="693367" y="1021697"/>
            <a:ext cx="6774670" cy="4999724"/>
            <a:chOff x="554477" y="350192"/>
            <a:chExt cx="7013642" cy="5496131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E4587057-EC00-4949-87BE-1D4BFD0D3367}"/>
                </a:ext>
              </a:extLst>
            </p:cNvPr>
            <p:cNvGrpSpPr/>
            <p:nvPr/>
          </p:nvGrpSpPr>
          <p:grpSpPr>
            <a:xfrm>
              <a:off x="554477" y="852791"/>
              <a:ext cx="7013642" cy="4993532"/>
              <a:chOff x="554477" y="852791"/>
              <a:chExt cx="7013642" cy="4993532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31FE8BF9-A021-4543-A269-BD32287209D6}"/>
                  </a:ext>
                </a:extLst>
              </p:cNvPr>
              <p:cNvGrpSpPr/>
              <p:nvPr/>
            </p:nvGrpSpPr>
            <p:grpSpPr>
              <a:xfrm>
                <a:off x="554477" y="852791"/>
                <a:ext cx="7013642" cy="4993532"/>
                <a:chOff x="554477" y="852791"/>
                <a:chExt cx="7013642" cy="4993532"/>
              </a:xfrm>
            </p:grpSpPr>
            <p:cxnSp>
              <p:nvCxnSpPr>
                <p:cNvPr id="41" name="Straight Connector 40">
                  <a:extLst>
                    <a:ext uri="{FF2B5EF4-FFF2-40B4-BE49-F238E27FC236}">
                      <a16:creationId xmlns:a16="http://schemas.microsoft.com/office/drawing/2014/main" id="{4A1C0C32-0D3D-40E8-9E03-F431B000ADE8}"/>
                    </a:ext>
                  </a:extLst>
                </p:cNvPr>
                <p:cNvCxnSpPr/>
                <p:nvPr/>
              </p:nvCxnSpPr>
              <p:spPr>
                <a:xfrm>
                  <a:off x="554477" y="856034"/>
                  <a:ext cx="7013642" cy="0"/>
                </a:xfrm>
                <a:prstGeom prst="line">
                  <a:avLst/>
                </a:prstGeom>
                <a:ln w="38100">
                  <a:solidFill>
                    <a:srgbClr val="FFFF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C8DB989C-2583-4B24-A4C5-B7C5F91CF67B}"/>
                    </a:ext>
                  </a:extLst>
                </p:cNvPr>
                <p:cNvCxnSpPr/>
                <p:nvPr/>
              </p:nvCxnSpPr>
              <p:spPr>
                <a:xfrm flipH="1">
                  <a:off x="554477" y="856034"/>
                  <a:ext cx="27563" cy="4990289"/>
                </a:xfrm>
                <a:prstGeom prst="line">
                  <a:avLst/>
                </a:prstGeom>
                <a:ln w="38100">
                  <a:solidFill>
                    <a:srgbClr val="FFFF00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3" name="Straight Connector 42">
                  <a:extLst>
                    <a:ext uri="{FF2B5EF4-FFF2-40B4-BE49-F238E27FC236}">
                      <a16:creationId xmlns:a16="http://schemas.microsoft.com/office/drawing/2014/main" id="{7AF49587-06D8-4483-8924-731624EC4FCE}"/>
                    </a:ext>
                  </a:extLst>
                </p:cNvPr>
                <p:cNvCxnSpPr/>
                <p:nvPr/>
              </p:nvCxnSpPr>
              <p:spPr>
                <a:xfrm>
                  <a:off x="554477" y="5843080"/>
                  <a:ext cx="7013642" cy="0"/>
                </a:xfrm>
                <a:prstGeom prst="line">
                  <a:avLst/>
                </a:prstGeom>
                <a:ln w="38100">
                  <a:solidFill>
                    <a:srgbClr val="FFFF00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44" name="Straight Connector 43">
                  <a:extLst>
                    <a:ext uri="{FF2B5EF4-FFF2-40B4-BE49-F238E27FC236}">
                      <a16:creationId xmlns:a16="http://schemas.microsoft.com/office/drawing/2014/main" id="{69E3A0D3-C17B-41FB-A79A-92A36EB7C12C}"/>
                    </a:ext>
                  </a:extLst>
                </p:cNvPr>
                <p:cNvCxnSpPr/>
                <p:nvPr/>
              </p:nvCxnSpPr>
              <p:spPr>
                <a:xfrm flipH="1">
                  <a:off x="7540556" y="852791"/>
                  <a:ext cx="27563" cy="4990289"/>
                </a:xfrm>
                <a:prstGeom prst="line">
                  <a:avLst/>
                </a:prstGeom>
                <a:ln w="38100">
                  <a:solidFill>
                    <a:srgbClr val="FFFF00"/>
                  </a:solidFill>
                  <a:prstDash val="dash"/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5AB51A16-A32C-4169-A5C4-D6B4A82D2904}"/>
                  </a:ext>
                </a:extLst>
              </p:cNvPr>
              <p:cNvSpPr txBox="1"/>
              <p:nvPr/>
            </p:nvSpPr>
            <p:spPr>
              <a:xfrm>
                <a:off x="3643819" y="891866"/>
                <a:ext cx="807396" cy="307777"/>
              </a:xfrm>
              <a:prstGeom prst="rect">
                <a:avLst/>
              </a:prstGeom>
              <a:solidFill>
                <a:srgbClr val="FFFF00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ZA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` 4 Km</a:t>
                </a:r>
              </a:p>
            </p:txBody>
          </p: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481EAFC7-F6E9-4B26-A7F4-47DFA0677EA4}"/>
                  </a:ext>
                </a:extLst>
              </p:cNvPr>
              <p:cNvSpPr txBox="1"/>
              <p:nvPr/>
            </p:nvSpPr>
            <p:spPr>
              <a:xfrm rot="16200000">
                <a:off x="363985" y="3048968"/>
                <a:ext cx="864142" cy="369332"/>
              </a:xfrm>
              <a:prstGeom prst="rect">
                <a:avLst/>
              </a:prstGeom>
              <a:solidFill>
                <a:srgbClr val="FFFF00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ZA" dirty="0"/>
                  <a:t>` 3 Km</a:t>
                </a:r>
              </a:p>
            </p:txBody>
          </p:sp>
          <p:sp>
            <p:nvSpPr>
              <p:cNvPr id="40" name="TextBox 39">
                <a:extLst>
                  <a:ext uri="{FF2B5EF4-FFF2-40B4-BE49-F238E27FC236}">
                    <a16:creationId xmlns:a16="http://schemas.microsoft.com/office/drawing/2014/main" id="{22FBBC1C-802E-4CA2-9FE0-BB15CA6C8272}"/>
                  </a:ext>
                </a:extLst>
              </p:cNvPr>
              <p:cNvSpPr txBox="1"/>
              <p:nvPr/>
            </p:nvSpPr>
            <p:spPr>
              <a:xfrm>
                <a:off x="1580246" y="2884648"/>
                <a:ext cx="1971876" cy="575169"/>
              </a:xfrm>
              <a:prstGeom prst="rect">
                <a:avLst/>
              </a:prstGeom>
              <a:solidFill>
                <a:srgbClr val="FFFF00"/>
              </a:solidFill>
            </p:spPr>
            <p:txBody>
              <a:bodyPr wrap="none" rtlCol="0">
                <a:spAutoFit/>
              </a:bodyPr>
              <a:lstStyle/>
              <a:p>
                <a:pPr algn="ctr"/>
                <a:r>
                  <a:rPr lang="en-ZA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120m Deep</a:t>
                </a:r>
              </a:p>
              <a:p>
                <a:pPr algn="ctr"/>
                <a:r>
                  <a:rPr lang="en-ZA" sz="1400" dirty="0">
                    <a:latin typeface="Arial" panose="020B0604020202020204" pitchFamily="34" charset="0"/>
                    <a:cs typeface="Arial" panose="020B0604020202020204" pitchFamily="34" charset="0"/>
                  </a:rPr>
                  <a:t>Surface area 1200 ha</a:t>
                </a:r>
              </a:p>
            </p:txBody>
          </p:sp>
        </p:grp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BC183F3-B7A8-4C85-ABE8-B137E35EA752}"/>
                </a:ext>
              </a:extLst>
            </p:cNvPr>
            <p:cNvSpPr txBox="1"/>
            <p:nvPr/>
          </p:nvSpPr>
          <p:spPr>
            <a:xfrm>
              <a:off x="3132306" y="350192"/>
              <a:ext cx="1718676" cy="307777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rtlCol="0">
              <a:spAutoFit/>
            </a:bodyPr>
            <a:lstStyle/>
            <a:p>
              <a:r>
                <a:rPr lang="en-ZA" sz="1400" dirty="0">
                  <a:latin typeface="Arial" panose="020B0604020202020204" pitchFamily="34" charset="0"/>
                  <a:cs typeface="Arial" panose="020B0604020202020204" pitchFamily="34" charset="0"/>
                </a:rPr>
                <a:t>OPEN CAST MINE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EBB9BD29-4C1F-4644-9B1A-8359E07B02DE}"/>
              </a:ext>
            </a:extLst>
          </p:cNvPr>
          <p:cNvGrpSpPr/>
          <p:nvPr/>
        </p:nvGrpSpPr>
        <p:grpSpPr>
          <a:xfrm>
            <a:off x="7726668" y="1021404"/>
            <a:ext cx="3952671" cy="4996773"/>
            <a:chOff x="7749703" y="350192"/>
            <a:chExt cx="4092099" cy="5492887"/>
          </a:xfrm>
        </p:grpSpPr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3FF059B9-B944-47CB-83E8-43EAD260017D}"/>
                </a:ext>
              </a:extLst>
            </p:cNvPr>
            <p:cNvGrpSpPr/>
            <p:nvPr/>
          </p:nvGrpSpPr>
          <p:grpSpPr>
            <a:xfrm>
              <a:off x="7749703" y="852790"/>
              <a:ext cx="4092099" cy="4990289"/>
              <a:chOff x="7749703" y="852791"/>
              <a:chExt cx="3913761" cy="4546060"/>
            </a:xfrm>
          </p:grpSpPr>
          <p:cxnSp>
            <p:nvCxnSpPr>
              <p:cNvPr id="49" name="Straight Connector 48">
                <a:extLst>
                  <a:ext uri="{FF2B5EF4-FFF2-40B4-BE49-F238E27FC236}">
                    <a16:creationId xmlns:a16="http://schemas.microsoft.com/office/drawing/2014/main" id="{1EF02EBB-AEAA-48D6-89EE-3C775A55F22A}"/>
                  </a:ext>
                </a:extLst>
              </p:cNvPr>
              <p:cNvCxnSpPr/>
              <p:nvPr/>
            </p:nvCxnSpPr>
            <p:spPr>
              <a:xfrm>
                <a:off x="7752945" y="852791"/>
                <a:ext cx="3910519" cy="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Straight Connector 49">
                <a:extLst>
                  <a:ext uri="{FF2B5EF4-FFF2-40B4-BE49-F238E27FC236}">
                    <a16:creationId xmlns:a16="http://schemas.microsoft.com/office/drawing/2014/main" id="{625F0EF4-D020-4FCA-887D-3B5F9DE616CA}"/>
                  </a:ext>
                </a:extLst>
              </p:cNvPr>
              <p:cNvCxnSpPr/>
              <p:nvPr/>
            </p:nvCxnSpPr>
            <p:spPr>
              <a:xfrm>
                <a:off x="7752945" y="852791"/>
                <a:ext cx="0" cy="454606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1" name="Straight Connector 50">
                <a:extLst>
                  <a:ext uri="{FF2B5EF4-FFF2-40B4-BE49-F238E27FC236}">
                    <a16:creationId xmlns:a16="http://schemas.microsoft.com/office/drawing/2014/main" id="{36F80C84-637E-4BC7-BFBE-20E749A77608}"/>
                  </a:ext>
                </a:extLst>
              </p:cNvPr>
              <p:cNvCxnSpPr/>
              <p:nvPr/>
            </p:nvCxnSpPr>
            <p:spPr>
              <a:xfrm>
                <a:off x="11660222" y="852791"/>
                <a:ext cx="0" cy="454606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2" name="Straight Connector 51">
                <a:extLst>
                  <a:ext uri="{FF2B5EF4-FFF2-40B4-BE49-F238E27FC236}">
                    <a16:creationId xmlns:a16="http://schemas.microsoft.com/office/drawing/2014/main" id="{B6109754-2D06-41DE-8220-98FEA96E53B3}"/>
                  </a:ext>
                </a:extLst>
              </p:cNvPr>
              <p:cNvCxnSpPr/>
              <p:nvPr/>
            </p:nvCxnSpPr>
            <p:spPr>
              <a:xfrm>
                <a:off x="7749703" y="5398851"/>
                <a:ext cx="3910519" cy="0"/>
              </a:xfrm>
              <a:prstGeom prst="line">
                <a:avLst/>
              </a:prstGeom>
              <a:ln w="38100">
                <a:solidFill>
                  <a:srgbClr val="FFFF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ED4B98FF-D3D1-4F09-AE09-217C8FDAE9C8}"/>
                </a:ext>
              </a:extLst>
            </p:cNvPr>
            <p:cNvSpPr txBox="1"/>
            <p:nvPr/>
          </p:nvSpPr>
          <p:spPr>
            <a:xfrm>
              <a:off x="8513738" y="350192"/>
              <a:ext cx="2377933" cy="338335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rtlCol="0">
              <a:spAutoFit/>
            </a:bodyPr>
            <a:lstStyle/>
            <a:p>
              <a:r>
                <a:rPr lang="en-ZA" sz="1400" dirty="0">
                  <a:latin typeface="Arial" panose="020B0604020202020204" pitchFamily="34" charset="0"/>
                  <a:cs typeface="Arial" panose="020B0604020202020204" pitchFamily="34" charset="0"/>
                </a:rPr>
                <a:t>BENEFICIATION PLANTS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EE788936-3B4B-432C-BE8C-57BC6EE9FD41}"/>
                </a:ext>
              </a:extLst>
            </p:cNvPr>
            <p:cNvSpPr txBox="1"/>
            <p:nvPr/>
          </p:nvSpPr>
          <p:spPr>
            <a:xfrm>
              <a:off x="7761975" y="5319859"/>
              <a:ext cx="4076437" cy="523220"/>
            </a:xfrm>
            <a:prstGeom prst="rect">
              <a:avLst/>
            </a:prstGeom>
            <a:solidFill>
              <a:srgbClr val="FFFF00"/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ZA" sz="1400" dirty="0">
                  <a:latin typeface="Arial" panose="020B0604020202020204" pitchFamily="34" charset="0"/>
                  <a:cs typeface="Arial" panose="020B0604020202020204" pitchFamily="34" charset="0"/>
                </a:rPr>
                <a:t>9 PLANTS IN TOTAL</a:t>
              </a:r>
            </a:p>
            <a:p>
              <a:pPr algn="ctr"/>
              <a:r>
                <a:rPr lang="en-ZA" sz="1400" dirty="0">
                  <a:latin typeface="Arial" panose="020B0604020202020204" pitchFamily="34" charset="0"/>
                  <a:cs typeface="Arial" panose="020B0604020202020204" pitchFamily="34" charset="0"/>
                </a:rPr>
                <a:t>WORLDS BIGGEST  FOR COAL PROCESSING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9189BFEF-6206-4182-85DA-D51575B92277}"/>
              </a:ext>
            </a:extLst>
          </p:cNvPr>
          <p:cNvSpPr txBox="1"/>
          <p:nvPr/>
        </p:nvSpPr>
        <p:spPr>
          <a:xfrm>
            <a:off x="1369271" y="163973"/>
            <a:ext cx="13774925" cy="461665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>
              <a:defRPr sz="3200" b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ZA" sz="2400" dirty="0"/>
              <a:t>GG: Largest Coal Mine on a Single Footprint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4D79BC22-B3DD-4965-86EE-157742BC9DD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21279" y="40302"/>
            <a:ext cx="705435" cy="621958"/>
          </a:xfrm>
          <a:prstGeom prst="rect">
            <a:avLst/>
          </a:prstGeom>
        </p:spPr>
      </p:pic>
      <p:sp>
        <p:nvSpPr>
          <p:cNvPr id="28" name="Rectangle 27">
            <a:extLst>
              <a:ext uri="{FF2B5EF4-FFF2-40B4-BE49-F238E27FC236}">
                <a16:creationId xmlns:a16="http://schemas.microsoft.com/office/drawing/2014/main" id="{CA6152AF-37B0-4C52-B471-3C6B8955E0B0}"/>
              </a:ext>
            </a:extLst>
          </p:cNvPr>
          <p:cNvSpPr/>
          <p:nvPr/>
        </p:nvSpPr>
        <p:spPr>
          <a:xfrm flipH="1">
            <a:off x="1059370" y="110973"/>
            <a:ext cx="45719" cy="535450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1226070-7CA9-4290-8932-F522CE187A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8308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45E4FFF6-DD65-409F-A41A-1391F5C960F4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1"/>
          <a:stretch/>
        </p:blipFill>
        <p:spPr>
          <a:xfrm>
            <a:off x="-1" y="0"/>
            <a:ext cx="12192000" cy="6856794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-12970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A6990BB1-4159-4A1F-BD99-5E39D47403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97" name="Rectangle 96">
            <a:extLst>
              <a:ext uri="{FF2B5EF4-FFF2-40B4-BE49-F238E27FC236}">
                <a16:creationId xmlns:a16="http://schemas.microsoft.com/office/drawing/2014/main" id="{0295487E-C207-4A7B-A50D-BFB427C4E573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2783604-B685-4D53-A0C5-41A34A58AB78}"/>
              </a:ext>
            </a:extLst>
          </p:cNvPr>
          <p:cNvSpPr/>
          <p:nvPr/>
        </p:nvSpPr>
        <p:spPr>
          <a:xfrm>
            <a:off x="1672905" y="470116"/>
            <a:ext cx="80185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ZA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aro Coal is Geared for Growth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8F840F2-69B0-4A86-BECA-82B6CAF77AAB}"/>
              </a:ext>
            </a:extLst>
          </p:cNvPr>
          <p:cNvGrpSpPr/>
          <p:nvPr/>
        </p:nvGrpSpPr>
        <p:grpSpPr>
          <a:xfrm>
            <a:off x="373734" y="5796167"/>
            <a:ext cx="12437491" cy="1081276"/>
            <a:chOff x="373734" y="5726594"/>
            <a:chExt cx="12437491" cy="1081276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F38DC35-1C3A-433D-A7AC-88B95704A81A}"/>
                </a:ext>
              </a:extLst>
            </p:cNvPr>
            <p:cNvSpPr txBox="1"/>
            <p:nvPr/>
          </p:nvSpPr>
          <p:spPr>
            <a:xfrm>
              <a:off x="1856136" y="5884540"/>
              <a:ext cx="1095508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ptimising product mix </a:t>
              </a:r>
              <a:r>
                <a:rPr lang="en-GB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 supply </a:t>
              </a: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higher value segments </a:t>
              </a:r>
              <a:r>
                <a:rPr lang="en-GB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nd customers</a:t>
              </a:r>
            </a:p>
            <a:p>
              <a:pPr>
                <a:lnSpc>
                  <a:spcPct val="150000"/>
                </a:lnSpc>
              </a:pPr>
              <a:endParaRPr lang="en-GB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926696E2-194A-4932-998C-BAB20DD20AB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5726594"/>
              <a:ext cx="883506" cy="830179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3382799-BDFF-4CBC-8C6B-4A5B0653A568}"/>
              </a:ext>
            </a:extLst>
          </p:cNvPr>
          <p:cNvGrpSpPr/>
          <p:nvPr/>
        </p:nvGrpSpPr>
        <p:grpSpPr>
          <a:xfrm>
            <a:off x="373734" y="4148969"/>
            <a:ext cx="12437492" cy="830179"/>
            <a:chOff x="373734" y="4159744"/>
            <a:chExt cx="12437492" cy="830179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4092D51-5F76-43B3-95F3-F0514AD7A820}"/>
                </a:ext>
              </a:extLst>
            </p:cNvPr>
            <p:cNvSpPr txBox="1"/>
            <p:nvPr/>
          </p:nvSpPr>
          <p:spPr>
            <a:xfrm>
              <a:off x="1856137" y="4242873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ZA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trategically positioned </a:t>
              </a:r>
              <a:r>
                <a:rPr lang="en-ZA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both domestic and export coal </a:t>
              </a:r>
              <a:r>
                <a:rPr lang="en-ZA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markets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134B9338-4A3A-4712-8CA1-579C0D48E25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4159744"/>
              <a:ext cx="883506" cy="830179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0474B8FF-0EF0-41DA-9A1E-F772ECEF32FC}"/>
              </a:ext>
            </a:extLst>
          </p:cNvPr>
          <p:cNvGrpSpPr/>
          <p:nvPr/>
        </p:nvGrpSpPr>
        <p:grpSpPr>
          <a:xfrm>
            <a:off x="373734" y="2594921"/>
            <a:ext cx="12494014" cy="1091771"/>
            <a:chOff x="373734" y="2592896"/>
            <a:chExt cx="12494014" cy="1091771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6605A71-F9AA-415F-99DA-EF5D2C1C8602}"/>
                </a:ext>
              </a:extLst>
            </p:cNvPr>
            <p:cNvSpPr txBox="1"/>
            <p:nvPr/>
          </p:nvSpPr>
          <p:spPr>
            <a:xfrm>
              <a:off x="1912659" y="2761337"/>
              <a:ext cx="1095508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ZA" b="1" dirty="0">
                  <a:latin typeface="Arial" panose="020B0604020202020204" pitchFamily="34" charset="0"/>
                  <a:cs typeface="Arial" panose="020B0604020202020204" pitchFamily="34" charset="0"/>
                </a:rPr>
                <a:t>Group Core </a:t>
              </a:r>
              <a:r>
                <a:rPr lang="en-ZA" b="1" dirty="0">
                  <a:latin typeface="Arial Black" panose="020B0A04020102020204" pitchFamily="34" charset="0"/>
                  <a:cs typeface="Arial" panose="020B0604020202020204" pitchFamily="34" charset="0"/>
                </a:rPr>
                <a:t>EBITDA</a:t>
              </a:r>
              <a:r>
                <a:rPr lang="en-ZA" b="1" dirty="0">
                  <a:latin typeface="Arial" panose="020B0604020202020204" pitchFamily="34" charset="0"/>
                  <a:cs typeface="Arial" panose="020B0604020202020204" pitchFamily="34" charset="0"/>
                </a:rPr>
                <a:t> has shown a </a:t>
              </a:r>
              <a:r>
                <a:rPr lang="en-ZA" b="1" dirty="0">
                  <a:latin typeface="Arial Black" panose="020B0A04020102020204" pitchFamily="34" charset="0"/>
                  <a:cs typeface="Arial" panose="020B0604020202020204" pitchFamily="34" charset="0"/>
                </a:rPr>
                <a:t>+18.6% increase (</a:t>
              </a:r>
              <a:r>
                <a:rPr lang="en-ZA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 on Year from 2016 – 2018)</a:t>
              </a:r>
              <a:endParaRPr lang="en-GB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endParaRPr lang="en-ZA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F81C5157-0A39-4F5F-A55A-F6D5BF1CCD8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2592896"/>
              <a:ext cx="883506" cy="830179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3F9C26AB-AB78-4C3E-8579-905CEFE42052}"/>
              </a:ext>
            </a:extLst>
          </p:cNvPr>
          <p:cNvGrpSpPr/>
          <p:nvPr/>
        </p:nvGrpSpPr>
        <p:grpSpPr>
          <a:xfrm>
            <a:off x="373734" y="4925993"/>
            <a:ext cx="11818265" cy="923330"/>
            <a:chOff x="373734" y="4922240"/>
            <a:chExt cx="11818265" cy="923330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FD0E8B-4D8F-4927-A677-F9F975EAD139}"/>
                </a:ext>
              </a:extLst>
            </p:cNvPr>
            <p:cNvSpPr txBox="1"/>
            <p:nvPr/>
          </p:nvSpPr>
          <p:spPr>
            <a:xfrm>
              <a:off x="1856136" y="4922240"/>
              <a:ext cx="1033586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Export to seaborne </a:t>
              </a:r>
              <a:r>
                <a:rPr lang="en-GB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rkets through the </a:t>
              </a: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RBCT with 9 </a:t>
              </a:r>
              <a:r>
                <a:rPr lang="en-GB" b="1" dirty="0" err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Mpta</a:t>
              </a: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(</a:t>
              </a:r>
              <a:r>
                <a:rPr lang="en-US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~ 11Mtpa @ 91Mtpa</a:t>
              </a:r>
              <a:r>
                <a:rPr lang="en-US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).</a:t>
              </a:r>
              <a:r>
                <a:rPr lang="en-GB" b="1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 Almost </a:t>
              </a:r>
              <a:r>
                <a:rPr lang="en-GB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d</a:t>
              </a:r>
              <a:r>
                <a:rPr lang="en-GB" b="1">
                  <a:latin typeface="Arial" panose="020B0604020202020204" pitchFamily="34" charset="0"/>
                  <a:cs typeface="Arial" panose="020B0604020202020204" pitchFamily="34" charset="0"/>
                </a:rPr>
                <a:t>oubling </a:t>
              </a:r>
              <a:r>
                <a:rPr lang="en-GB" b="1" dirty="0">
                  <a:latin typeface="Arial" panose="020B0604020202020204" pitchFamily="34" charset="0"/>
                  <a:cs typeface="Arial" panose="020B0604020202020204" pitchFamily="34" charset="0"/>
                </a:rPr>
                <a:t>up in 2023 depending on export logistics 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6D6AD7DF-15F0-4CD0-A2AE-496AB0E2F71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4943168"/>
              <a:ext cx="883506" cy="830179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A030EB77-C394-4B84-8453-C3DAAA2AD7E9}"/>
              </a:ext>
            </a:extLst>
          </p:cNvPr>
          <p:cNvGrpSpPr/>
          <p:nvPr/>
        </p:nvGrpSpPr>
        <p:grpSpPr>
          <a:xfrm>
            <a:off x="373734" y="1776042"/>
            <a:ext cx="12430404" cy="923330"/>
            <a:chOff x="373734" y="1776042"/>
            <a:chExt cx="12430404" cy="923330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A2A7672-24DC-499A-8D7D-79D53CBA47D4}"/>
                </a:ext>
              </a:extLst>
            </p:cNvPr>
            <p:cNvSpPr txBox="1"/>
            <p:nvPr/>
          </p:nvSpPr>
          <p:spPr>
            <a:xfrm>
              <a:off x="1849049" y="1776042"/>
              <a:ext cx="10955089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Operational Excellence </a:t>
              </a:r>
              <a:r>
                <a:rPr lang="en-GB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s embedded, resulting in </a:t>
              </a:r>
              <a:r>
                <a:rPr lang="en-GB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4% ROM tonnes improvement</a:t>
              </a:r>
              <a:endParaRPr lang="en-GB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lnSpc>
                  <a:spcPct val="150000"/>
                </a:lnSpc>
              </a:pPr>
              <a:r>
                <a:rPr lang="en-ZA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ear on Year from 2016 - 2018</a:t>
              </a:r>
              <a:endParaRPr lang="en-GB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85A8FF52-A1D8-422F-B74B-F21407D92BA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1809472"/>
              <a:ext cx="883506" cy="830179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0A8919C3-2817-4FED-8611-8AD0CC38A2C3}"/>
              </a:ext>
            </a:extLst>
          </p:cNvPr>
          <p:cNvGrpSpPr/>
          <p:nvPr/>
        </p:nvGrpSpPr>
        <p:grpSpPr>
          <a:xfrm>
            <a:off x="373734" y="3371945"/>
            <a:ext cx="12437491" cy="830179"/>
            <a:chOff x="373734" y="3336822"/>
            <a:chExt cx="12437491" cy="830179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1023DB5-1231-4DFB-ACD5-589E8BDDEF13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73734" y="3336822"/>
              <a:ext cx="883506" cy="830179"/>
            </a:xfrm>
            <a:prstGeom prst="rect">
              <a:avLst/>
            </a:prstGeom>
          </p:spPr>
        </p:pic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7EB08C4D-C687-4EF6-B77B-0433688E21E2}"/>
                </a:ext>
              </a:extLst>
            </p:cNvPr>
            <p:cNvSpPr txBox="1"/>
            <p:nvPr/>
          </p:nvSpPr>
          <p:spPr>
            <a:xfrm>
              <a:off x="1856136" y="3461643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50000"/>
                </a:lnSpc>
              </a:pPr>
              <a:r>
                <a:rPr lang="en-ZA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e have a </a:t>
              </a:r>
              <a:r>
                <a:rPr lang="en-ZA" b="1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trong balance sheet</a:t>
              </a:r>
            </a:p>
          </p:txBody>
        </p:sp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D6C33F6A-AB58-4090-9A7B-DC29E3445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3911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E5E1BD-0B19-41BC-A8BF-9AB4FB0C5EF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0" b="11918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DADD9D-6D32-4DDB-8A1B-76B8E9E39C4F}"/>
              </a:ext>
            </a:extLst>
          </p:cNvPr>
          <p:cNvSpPr/>
          <p:nvPr/>
        </p:nvSpPr>
        <p:spPr>
          <a:xfrm>
            <a:off x="3845631" y="2097690"/>
            <a:ext cx="7403688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20 Bn</a:t>
            </a:r>
            <a:endParaRPr lang="en-GB" sz="9600" b="1" dirty="0">
              <a:ln>
                <a:solidFill>
                  <a:schemeClr val="bg1"/>
                </a:solidFill>
              </a:ln>
              <a:solidFill>
                <a:srgbClr val="A5CF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14C639FF-39A1-4C93-B525-18939F9127C7}"/>
              </a:ext>
            </a:extLst>
          </p:cNvPr>
          <p:cNvSpPr/>
          <p:nvPr/>
        </p:nvSpPr>
        <p:spPr>
          <a:xfrm flipV="1">
            <a:off x="-3079040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C54BD6CE-4EC4-47D5-A34C-2DB9A2D19874}"/>
              </a:ext>
            </a:extLst>
          </p:cNvPr>
          <p:cNvSpPr/>
          <p:nvPr/>
        </p:nvSpPr>
        <p:spPr>
          <a:xfrm flipV="1">
            <a:off x="-3178277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5CF4C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0E8D94-60C2-4CEF-8F5E-A22317E50798}"/>
              </a:ext>
            </a:extLst>
          </p:cNvPr>
          <p:cNvSpPr/>
          <p:nvPr/>
        </p:nvSpPr>
        <p:spPr>
          <a:xfrm>
            <a:off x="3927292" y="3959738"/>
            <a:ext cx="814758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40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cated for growth projects</a:t>
            </a:r>
          </a:p>
          <a:p>
            <a:r>
              <a:rPr lang="en-US" sz="40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p to 2023</a:t>
            </a:r>
            <a:endParaRPr lang="en-GB" sz="40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F39C23-9652-4A6B-8159-D348669DC7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8265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6" grpId="0" animBg="1"/>
      <p:bldP spid="19" grpId="0" animBg="1"/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55E5E1BD-0B19-41BC-A8BF-9AB4FB0C5EF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20" b="11918"/>
          <a:stretch/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7420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49C37D7-CD93-46C9-B8E0-5ACE1179A0F8}"/>
              </a:ext>
            </a:extLst>
          </p:cNvPr>
          <p:cNvGrpSpPr/>
          <p:nvPr/>
        </p:nvGrpSpPr>
        <p:grpSpPr>
          <a:xfrm>
            <a:off x="3711097" y="2286000"/>
            <a:ext cx="5013903" cy="4572000"/>
            <a:chOff x="3510603" y="2018817"/>
            <a:chExt cx="5168133" cy="4346515"/>
          </a:xfrm>
        </p:grpSpPr>
        <p:grpSp>
          <p:nvGrpSpPr>
            <p:cNvPr id="42" name="Group 41">
              <a:extLst>
                <a:ext uri="{FF2B5EF4-FFF2-40B4-BE49-F238E27FC236}">
                  <a16:creationId xmlns:a16="http://schemas.microsoft.com/office/drawing/2014/main" id="{8C9EF303-A88B-48E9-9651-AF2FB3D1FF9B}"/>
                </a:ext>
              </a:extLst>
            </p:cNvPr>
            <p:cNvGrpSpPr/>
            <p:nvPr/>
          </p:nvGrpSpPr>
          <p:grpSpPr>
            <a:xfrm>
              <a:off x="3510603" y="2018817"/>
              <a:ext cx="5168133" cy="4346515"/>
              <a:chOff x="16529052" y="-14512928"/>
              <a:chExt cx="36272791" cy="33112083"/>
            </a:xfrm>
            <a:solidFill>
              <a:schemeClr val="accent1">
                <a:lumMod val="10000"/>
                <a:lumOff val="90000"/>
              </a:schemeClr>
            </a:solidFill>
          </p:grpSpPr>
          <p:sp>
            <p:nvSpPr>
              <p:cNvPr id="48" name="Freeform 35">
                <a:extLst>
                  <a:ext uri="{FF2B5EF4-FFF2-40B4-BE49-F238E27FC236}">
                    <a16:creationId xmlns:a16="http://schemas.microsoft.com/office/drawing/2014/main" id="{ACE4305C-0DB3-4152-A37C-D57BC58D374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9052" y="10521953"/>
                <a:ext cx="20586702" cy="8077202"/>
              </a:xfrm>
              <a:custGeom>
                <a:avLst/>
                <a:gdLst>
                  <a:gd name="T0" fmla="*/ 12607 w 12968"/>
                  <a:gd name="T1" fmla="*/ 4587 h 5088"/>
                  <a:gd name="T2" fmla="*/ 12510 w 12968"/>
                  <a:gd name="T3" fmla="*/ 4715 h 5088"/>
                  <a:gd name="T4" fmla="*/ 12472 w 12968"/>
                  <a:gd name="T5" fmla="*/ 4852 h 5088"/>
                  <a:gd name="T6" fmla="*/ 12489 w 12968"/>
                  <a:gd name="T7" fmla="*/ 4946 h 5088"/>
                  <a:gd name="T8" fmla="*/ 12491 w 12968"/>
                  <a:gd name="T9" fmla="*/ 4953 h 5088"/>
                  <a:gd name="T10" fmla="*/ 0 w 12968"/>
                  <a:gd name="T11" fmla="*/ 3408 h 5088"/>
                  <a:gd name="T12" fmla="*/ 524 w 12968"/>
                  <a:gd name="T13" fmla="*/ 3361 h 5088"/>
                  <a:gd name="T14" fmla="*/ 1013 w 12968"/>
                  <a:gd name="T15" fmla="*/ 3694 h 5088"/>
                  <a:gd name="T16" fmla="*/ 1186 w 12968"/>
                  <a:gd name="T17" fmla="*/ 3635 h 5088"/>
                  <a:gd name="T18" fmla="*/ 1592 w 12968"/>
                  <a:gd name="T19" fmla="*/ 2962 h 5088"/>
                  <a:gd name="T20" fmla="*/ 1797 w 12968"/>
                  <a:gd name="T21" fmla="*/ 2648 h 5088"/>
                  <a:gd name="T22" fmla="*/ 2086 w 12968"/>
                  <a:gd name="T23" fmla="*/ 2544 h 5088"/>
                  <a:gd name="T24" fmla="*/ 2541 w 12968"/>
                  <a:gd name="T25" fmla="*/ 2577 h 5088"/>
                  <a:gd name="T26" fmla="*/ 2421 w 12968"/>
                  <a:gd name="T27" fmla="*/ 2322 h 5088"/>
                  <a:gd name="T28" fmla="*/ 2308 w 12968"/>
                  <a:gd name="T29" fmla="*/ 1871 h 5088"/>
                  <a:gd name="T30" fmla="*/ 2416 w 12968"/>
                  <a:gd name="T31" fmla="*/ 1722 h 5088"/>
                  <a:gd name="T32" fmla="*/ 2629 w 12968"/>
                  <a:gd name="T33" fmla="*/ 1507 h 5088"/>
                  <a:gd name="T34" fmla="*/ 2943 w 12968"/>
                  <a:gd name="T35" fmla="*/ 1197 h 5088"/>
                  <a:gd name="T36" fmla="*/ 3165 w 12968"/>
                  <a:gd name="T37" fmla="*/ 1233 h 5088"/>
                  <a:gd name="T38" fmla="*/ 3493 w 12968"/>
                  <a:gd name="T39" fmla="*/ 921 h 5088"/>
                  <a:gd name="T40" fmla="*/ 3857 w 12968"/>
                  <a:gd name="T41" fmla="*/ 1020 h 5088"/>
                  <a:gd name="T42" fmla="*/ 3919 w 12968"/>
                  <a:gd name="T43" fmla="*/ 699 h 5088"/>
                  <a:gd name="T44" fmla="*/ 4256 w 12968"/>
                  <a:gd name="T45" fmla="*/ 923 h 5088"/>
                  <a:gd name="T46" fmla="*/ 4663 w 12968"/>
                  <a:gd name="T47" fmla="*/ 885 h 5088"/>
                  <a:gd name="T48" fmla="*/ 4717 w 12968"/>
                  <a:gd name="T49" fmla="*/ 1041 h 5088"/>
                  <a:gd name="T50" fmla="*/ 5149 w 12968"/>
                  <a:gd name="T51" fmla="*/ 623 h 5088"/>
                  <a:gd name="T52" fmla="*/ 5541 w 12968"/>
                  <a:gd name="T53" fmla="*/ 772 h 5088"/>
                  <a:gd name="T54" fmla="*/ 5775 w 12968"/>
                  <a:gd name="T55" fmla="*/ 375 h 5088"/>
                  <a:gd name="T56" fmla="*/ 5955 w 12968"/>
                  <a:gd name="T57" fmla="*/ 243 h 5088"/>
                  <a:gd name="T58" fmla="*/ 6165 w 12968"/>
                  <a:gd name="T59" fmla="*/ 319 h 5088"/>
                  <a:gd name="T60" fmla="*/ 6626 w 12968"/>
                  <a:gd name="T61" fmla="*/ 259 h 5088"/>
                  <a:gd name="T62" fmla="*/ 7185 w 12968"/>
                  <a:gd name="T63" fmla="*/ 0 h 5088"/>
                  <a:gd name="T64" fmla="*/ 7367 w 12968"/>
                  <a:gd name="T65" fmla="*/ 422 h 5088"/>
                  <a:gd name="T66" fmla="*/ 7743 w 12968"/>
                  <a:gd name="T67" fmla="*/ 805 h 5088"/>
                  <a:gd name="T68" fmla="*/ 8010 w 12968"/>
                  <a:gd name="T69" fmla="*/ 824 h 5088"/>
                  <a:gd name="T70" fmla="*/ 8352 w 12968"/>
                  <a:gd name="T71" fmla="*/ 928 h 5088"/>
                  <a:gd name="T72" fmla="*/ 8785 w 12968"/>
                  <a:gd name="T73" fmla="*/ 1030 h 5088"/>
                  <a:gd name="T74" fmla="*/ 9085 w 12968"/>
                  <a:gd name="T75" fmla="*/ 1235 h 5088"/>
                  <a:gd name="T76" fmla="*/ 9375 w 12968"/>
                  <a:gd name="T77" fmla="*/ 1193 h 5088"/>
                  <a:gd name="T78" fmla="*/ 9366 w 12968"/>
                  <a:gd name="T79" fmla="*/ 1011 h 5088"/>
                  <a:gd name="T80" fmla="*/ 10025 w 12968"/>
                  <a:gd name="T81" fmla="*/ 1287 h 5088"/>
                  <a:gd name="T82" fmla="*/ 10393 w 12968"/>
                  <a:gd name="T83" fmla="*/ 1148 h 5088"/>
                  <a:gd name="T84" fmla="*/ 10658 w 12968"/>
                  <a:gd name="T85" fmla="*/ 1252 h 5088"/>
                  <a:gd name="T86" fmla="*/ 10982 w 12968"/>
                  <a:gd name="T87" fmla="*/ 1653 h 5088"/>
                  <a:gd name="T88" fmla="*/ 11383 w 12968"/>
                  <a:gd name="T89" fmla="*/ 1802 h 5088"/>
                  <a:gd name="T90" fmla="*/ 11567 w 12968"/>
                  <a:gd name="T91" fmla="*/ 1911 h 5088"/>
                  <a:gd name="T92" fmla="*/ 11896 w 12968"/>
                  <a:gd name="T93" fmla="*/ 2059 h 5088"/>
                  <a:gd name="T94" fmla="*/ 12033 w 12968"/>
                  <a:gd name="T95" fmla="*/ 2298 h 5088"/>
                  <a:gd name="T96" fmla="*/ 12189 w 12968"/>
                  <a:gd name="T97" fmla="*/ 2624 h 5088"/>
                  <a:gd name="T98" fmla="*/ 12524 w 12968"/>
                  <a:gd name="T99" fmla="*/ 2978 h 5088"/>
                  <a:gd name="T100" fmla="*/ 12692 w 12968"/>
                  <a:gd name="T101" fmla="*/ 2827 h 5088"/>
                  <a:gd name="T102" fmla="*/ 12751 w 12968"/>
                  <a:gd name="T103" fmla="*/ 2846 h 5088"/>
                  <a:gd name="T104" fmla="*/ 12789 w 12968"/>
                  <a:gd name="T105" fmla="*/ 2886 h 5088"/>
                  <a:gd name="T106" fmla="*/ 12758 w 12968"/>
                  <a:gd name="T107" fmla="*/ 3009 h 5088"/>
                  <a:gd name="T108" fmla="*/ 12949 w 12968"/>
                  <a:gd name="T109" fmla="*/ 3177 h 5088"/>
                  <a:gd name="T110" fmla="*/ 12659 w 12968"/>
                  <a:gd name="T111" fmla="*/ 3552 h 5088"/>
                  <a:gd name="T112" fmla="*/ 12737 w 12968"/>
                  <a:gd name="T113" fmla="*/ 3706 h 5088"/>
                  <a:gd name="T114" fmla="*/ 12720 w 12968"/>
                  <a:gd name="T115" fmla="*/ 3926 h 5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68" h="5088">
                    <a:moveTo>
                      <a:pt x="12786" y="4051"/>
                    </a:moveTo>
                    <a:lnTo>
                      <a:pt x="12602" y="4403"/>
                    </a:lnTo>
                    <a:lnTo>
                      <a:pt x="12607" y="4587"/>
                    </a:lnTo>
                    <a:lnTo>
                      <a:pt x="12607" y="4594"/>
                    </a:lnTo>
                    <a:lnTo>
                      <a:pt x="12607" y="4613"/>
                    </a:lnTo>
                    <a:lnTo>
                      <a:pt x="12510" y="4715"/>
                    </a:lnTo>
                    <a:lnTo>
                      <a:pt x="12470" y="4845"/>
                    </a:lnTo>
                    <a:lnTo>
                      <a:pt x="12472" y="4852"/>
                    </a:lnTo>
                    <a:lnTo>
                      <a:pt x="12472" y="4852"/>
                    </a:lnTo>
                    <a:lnTo>
                      <a:pt x="12479" y="4897"/>
                    </a:lnTo>
                    <a:lnTo>
                      <a:pt x="12481" y="4901"/>
                    </a:lnTo>
                    <a:lnTo>
                      <a:pt x="12489" y="4946"/>
                    </a:lnTo>
                    <a:lnTo>
                      <a:pt x="12489" y="4946"/>
                    </a:lnTo>
                    <a:lnTo>
                      <a:pt x="12489" y="4946"/>
                    </a:lnTo>
                    <a:lnTo>
                      <a:pt x="12491" y="4953"/>
                    </a:lnTo>
                    <a:lnTo>
                      <a:pt x="12618" y="5088"/>
                    </a:lnTo>
                    <a:lnTo>
                      <a:pt x="0" y="5088"/>
                    </a:lnTo>
                    <a:lnTo>
                      <a:pt x="0" y="3408"/>
                    </a:lnTo>
                    <a:lnTo>
                      <a:pt x="323" y="3224"/>
                    </a:lnTo>
                    <a:lnTo>
                      <a:pt x="401" y="3212"/>
                    </a:lnTo>
                    <a:lnTo>
                      <a:pt x="524" y="3361"/>
                    </a:lnTo>
                    <a:lnTo>
                      <a:pt x="713" y="3352"/>
                    </a:lnTo>
                    <a:lnTo>
                      <a:pt x="945" y="3413"/>
                    </a:lnTo>
                    <a:lnTo>
                      <a:pt x="1013" y="3694"/>
                    </a:lnTo>
                    <a:lnTo>
                      <a:pt x="1058" y="3722"/>
                    </a:lnTo>
                    <a:lnTo>
                      <a:pt x="1171" y="3694"/>
                    </a:lnTo>
                    <a:lnTo>
                      <a:pt x="1186" y="3635"/>
                    </a:lnTo>
                    <a:lnTo>
                      <a:pt x="1124" y="3522"/>
                    </a:lnTo>
                    <a:lnTo>
                      <a:pt x="1223" y="3321"/>
                    </a:lnTo>
                    <a:lnTo>
                      <a:pt x="1592" y="2962"/>
                    </a:lnTo>
                    <a:lnTo>
                      <a:pt x="1686" y="2936"/>
                    </a:lnTo>
                    <a:lnTo>
                      <a:pt x="1684" y="2806"/>
                    </a:lnTo>
                    <a:lnTo>
                      <a:pt x="1797" y="2648"/>
                    </a:lnTo>
                    <a:lnTo>
                      <a:pt x="1908" y="2615"/>
                    </a:lnTo>
                    <a:lnTo>
                      <a:pt x="2001" y="2659"/>
                    </a:lnTo>
                    <a:lnTo>
                      <a:pt x="2086" y="2544"/>
                    </a:lnTo>
                    <a:lnTo>
                      <a:pt x="2296" y="2577"/>
                    </a:lnTo>
                    <a:lnTo>
                      <a:pt x="2383" y="2541"/>
                    </a:lnTo>
                    <a:lnTo>
                      <a:pt x="2541" y="2577"/>
                    </a:lnTo>
                    <a:lnTo>
                      <a:pt x="2598" y="2558"/>
                    </a:lnTo>
                    <a:lnTo>
                      <a:pt x="2386" y="2428"/>
                    </a:lnTo>
                    <a:lnTo>
                      <a:pt x="2421" y="2322"/>
                    </a:lnTo>
                    <a:lnTo>
                      <a:pt x="2520" y="2284"/>
                    </a:lnTo>
                    <a:lnTo>
                      <a:pt x="2520" y="2100"/>
                    </a:lnTo>
                    <a:lnTo>
                      <a:pt x="2308" y="1871"/>
                    </a:lnTo>
                    <a:lnTo>
                      <a:pt x="2267" y="1745"/>
                    </a:lnTo>
                    <a:lnTo>
                      <a:pt x="2305" y="1710"/>
                    </a:lnTo>
                    <a:lnTo>
                      <a:pt x="2416" y="1722"/>
                    </a:lnTo>
                    <a:lnTo>
                      <a:pt x="2492" y="1648"/>
                    </a:lnTo>
                    <a:lnTo>
                      <a:pt x="2534" y="1656"/>
                    </a:lnTo>
                    <a:lnTo>
                      <a:pt x="2629" y="1507"/>
                    </a:lnTo>
                    <a:lnTo>
                      <a:pt x="2806" y="1528"/>
                    </a:lnTo>
                    <a:lnTo>
                      <a:pt x="2813" y="1337"/>
                    </a:lnTo>
                    <a:lnTo>
                      <a:pt x="2943" y="1197"/>
                    </a:lnTo>
                    <a:lnTo>
                      <a:pt x="3080" y="1167"/>
                    </a:lnTo>
                    <a:lnTo>
                      <a:pt x="3127" y="1240"/>
                    </a:lnTo>
                    <a:lnTo>
                      <a:pt x="3165" y="1233"/>
                    </a:lnTo>
                    <a:lnTo>
                      <a:pt x="3198" y="1119"/>
                    </a:lnTo>
                    <a:lnTo>
                      <a:pt x="3314" y="1013"/>
                    </a:lnTo>
                    <a:lnTo>
                      <a:pt x="3493" y="921"/>
                    </a:lnTo>
                    <a:lnTo>
                      <a:pt x="3562" y="963"/>
                    </a:lnTo>
                    <a:lnTo>
                      <a:pt x="3680" y="855"/>
                    </a:lnTo>
                    <a:lnTo>
                      <a:pt x="3857" y="1020"/>
                    </a:lnTo>
                    <a:lnTo>
                      <a:pt x="3886" y="973"/>
                    </a:lnTo>
                    <a:lnTo>
                      <a:pt x="3871" y="748"/>
                    </a:lnTo>
                    <a:lnTo>
                      <a:pt x="3919" y="699"/>
                    </a:lnTo>
                    <a:lnTo>
                      <a:pt x="3963" y="701"/>
                    </a:lnTo>
                    <a:lnTo>
                      <a:pt x="4041" y="843"/>
                    </a:lnTo>
                    <a:lnTo>
                      <a:pt x="4256" y="923"/>
                    </a:lnTo>
                    <a:lnTo>
                      <a:pt x="4445" y="895"/>
                    </a:lnTo>
                    <a:lnTo>
                      <a:pt x="4601" y="923"/>
                    </a:lnTo>
                    <a:lnTo>
                      <a:pt x="4663" y="885"/>
                    </a:lnTo>
                    <a:lnTo>
                      <a:pt x="4708" y="937"/>
                    </a:lnTo>
                    <a:lnTo>
                      <a:pt x="4684" y="1030"/>
                    </a:lnTo>
                    <a:lnTo>
                      <a:pt x="4717" y="1041"/>
                    </a:lnTo>
                    <a:lnTo>
                      <a:pt x="4804" y="1008"/>
                    </a:lnTo>
                    <a:lnTo>
                      <a:pt x="5045" y="689"/>
                    </a:lnTo>
                    <a:lnTo>
                      <a:pt x="5149" y="623"/>
                    </a:lnTo>
                    <a:lnTo>
                      <a:pt x="5419" y="869"/>
                    </a:lnTo>
                    <a:lnTo>
                      <a:pt x="5461" y="864"/>
                    </a:lnTo>
                    <a:lnTo>
                      <a:pt x="5541" y="772"/>
                    </a:lnTo>
                    <a:lnTo>
                      <a:pt x="5643" y="751"/>
                    </a:lnTo>
                    <a:lnTo>
                      <a:pt x="5773" y="543"/>
                    </a:lnTo>
                    <a:lnTo>
                      <a:pt x="5775" y="375"/>
                    </a:lnTo>
                    <a:lnTo>
                      <a:pt x="5851" y="363"/>
                    </a:lnTo>
                    <a:lnTo>
                      <a:pt x="5957" y="323"/>
                    </a:lnTo>
                    <a:lnTo>
                      <a:pt x="5955" y="243"/>
                    </a:lnTo>
                    <a:lnTo>
                      <a:pt x="6123" y="210"/>
                    </a:lnTo>
                    <a:lnTo>
                      <a:pt x="6153" y="226"/>
                    </a:lnTo>
                    <a:lnTo>
                      <a:pt x="6165" y="319"/>
                    </a:lnTo>
                    <a:lnTo>
                      <a:pt x="6425" y="302"/>
                    </a:lnTo>
                    <a:lnTo>
                      <a:pt x="6557" y="387"/>
                    </a:lnTo>
                    <a:lnTo>
                      <a:pt x="6626" y="259"/>
                    </a:lnTo>
                    <a:lnTo>
                      <a:pt x="6930" y="210"/>
                    </a:lnTo>
                    <a:lnTo>
                      <a:pt x="7077" y="40"/>
                    </a:lnTo>
                    <a:lnTo>
                      <a:pt x="7185" y="0"/>
                    </a:lnTo>
                    <a:lnTo>
                      <a:pt x="7287" y="68"/>
                    </a:lnTo>
                    <a:lnTo>
                      <a:pt x="7261" y="205"/>
                    </a:lnTo>
                    <a:lnTo>
                      <a:pt x="7367" y="422"/>
                    </a:lnTo>
                    <a:lnTo>
                      <a:pt x="7514" y="569"/>
                    </a:lnTo>
                    <a:lnTo>
                      <a:pt x="7663" y="637"/>
                    </a:lnTo>
                    <a:lnTo>
                      <a:pt x="7743" y="805"/>
                    </a:lnTo>
                    <a:lnTo>
                      <a:pt x="7835" y="661"/>
                    </a:lnTo>
                    <a:lnTo>
                      <a:pt x="7930" y="817"/>
                    </a:lnTo>
                    <a:lnTo>
                      <a:pt x="8010" y="824"/>
                    </a:lnTo>
                    <a:lnTo>
                      <a:pt x="8123" y="767"/>
                    </a:lnTo>
                    <a:lnTo>
                      <a:pt x="8232" y="855"/>
                    </a:lnTo>
                    <a:lnTo>
                      <a:pt x="8352" y="928"/>
                    </a:lnTo>
                    <a:lnTo>
                      <a:pt x="8574" y="921"/>
                    </a:lnTo>
                    <a:lnTo>
                      <a:pt x="8674" y="1117"/>
                    </a:lnTo>
                    <a:lnTo>
                      <a:pt x="8785" y="1030"/>
                    </a:lnTo>
                    <a:lnTo>
                      <a:pt x="8858" y="1027"/>
                    </a:lnTo>
                    <a:lnTo>
                      <a:pt x="8974" y="1181"/>
                    </a:lnTo>
                    <a:lnTo>
                      <a:pt x="9085" y="1235"/>
                    </a:lnTo>
                    <a:lnTo>
                      <a:pt x="9016" y="1367"/>
                    </a:lnTo>
                    <a:lnTo>
                      <a:pt x="9241" y="1200"/>
                    </a:lnTo>
                    <a:lnTo>
                      <a:pt x="9375" y="1193"/>
                    </a:lnTo>
                    <a:lnTo>
                      <a:pt x="9382" y="1124"/>
                    </a:lnTo>
                    <a:lnTo>
                      <a:pt x="9264" y="1108"/>
                    </a:lnTo>
                    <a:lnTo>
                      <a:pt x="9366" y="1011"/>
                    </a:lnTo>
                    <a:lnTo>
                      <a:pt x="9555" y="1079"/>
                    </a:lnTo>
                    <a:lnTo>
                      <a:pt x="9911" y="1306"/>
                    </a:lnTo>
                    <a:lnTo>
                      <a:pt x="10025" y="1287"/>
                    </a:lnTo>
                    <a:lnTo>
                      <a:pt x="10122" y="1337"/>
                    </a:lnTo>
                    <a:lnTo>
                      <a:pt x="10183" y="1233"/>
                    </a:lnTo>
                    <a:lnTo>
                      <a:pt x="10393" y="1148"/>
                    </a:lnTo>
                    <a:lnTo>
                      <a:pt x="10471" y="1162"/>
                    </a:lnTo>
                    <a:lnTo>
                      <a:pt x="10566" y="1263"/>
                    </a:lnTo>
                    <a:lnTo>
                      <a:pt x="10658" y="1252"/>
                    </a:lnTo>
                    <a:lnTo>
                      <a:pt x="10679" y="1419"/>
                    </a:lnTo>
                    <a:lnTo>
                      <a:pt x="10852" y="1717"/>
                    </a:lnTo>
                    <a:lnTo>
                      <a:pt x="10982" y="1653"/>
                    </a:lnTo>
                    <a:lnTo>
                      <a:pt x="11156" y="1663"/>
                    </a:lnTo>
                    <a:lnTo>
                      <a:pt x="11279" y="1785"/>
                    </a:lnTo>
                    <a:lnTo>
                      <a:pt x="11383" y="1802"/>
                    </a:lnTo>
                    <a:lnTo>
                      <a:pt x="11435" y="1873"/>
                    </a:lnTo>
                    <a:lnTo>
                      <a:pt x="11527" y="1875"/>
                    </a:lnTo>
                    <a:lnTo>
                      <a:pt x="11567" y="1911"/>
                    </a:lnTo>
                    <a:lnTo>
                      <a:pt x="11553" y="2010"/>
                    </a:lnTo>
                    <a:lnTo>
                      <a:pt x="11747" y="1967"/>
                    </a:lnTo>
                    <a:lnTo>
                      <a:pt x="11896" y="2059"/>
                    </a:lnTo>
                    <a:lnTo>
                      <a:pt x="11950" y="2130"/>
                    </a:lnTo>
                    <a:lnTo>
                      <a:pt x="11971" y="2260"/>
                    </a:lnTo>
                    <a:lnTo>
                      <a:pt x="12033" y="2298"/>
                    </a:lnTo>
                    <a:lnTo>
                      <a:pt x="12016" y="2367"/>
                    </a:lnTo>
                    <a:lnTo>
                      <a:pt x="12224" y="2548"/>
                    </a:lnTo>
                    <a:lnTo>
                      <a:pt x="12189" y="2624"/>
                    </a:lnTo>
                    <a:lnTo>
                      <a:pt x="12321" y="2735"/>
                    </a:lnTo>
                    <a:lnTo>
                      <a:pt x="12444" y="2962"/>
                    </a:lnTo>
                    <a:lnTo>
                      <a:pt x="12524" y="2978"/>
                    </a:lnTo>
                    <a:lnTo>
                      <a:pt x="12590" y="2922"/>
                    </a:lnTo>
                    <a:lnTo>
                      <a:pt x="12689" y="2917"/>
                    </a:lnTo>
                    <a:lnTo>
                      <a:pt x="12692" y="2827"/>
                    </a:lnTo>
                    <a:lnTo>
                      <a:pt x="12756" y="2763"/>
                    </a:lnTo>
                    <a:lnTo>
                      <a:pt x="12923" y="2768"/>
                    </a:lnTo>
                    <a:lnTo>
                      <a:pt x="12751" y="2846"/>
                    </a:lnTo>
                    <a:lnTo>
                      <a:pt x="12756" y="2851"/>
                    </a:lnTo>
                    <a:lnTo>
                      <a:pt x="12751" y="2853"/>
                    </a:lnTo>
                    <a:lnTo>
                      <a:pt x="12789" y="2886"/>
                    </a:lnTo>
                    <a:lnTo>
                      <a:pt x="12756" y="3002"/>
                    </a:lnTo>
                    <a:lnTo>
                      <a:pt x="12758" y="3004"/>
                    </a:lnTo>
                    <a:lnTo>
                      <a:pt x="12758" y="3009"/>
                    </a:lnTo>
                    <a:lnTo>
                      <a:pt x="12926" y="3085"/>
                    </a:lnTo>
                    <a:lnTo>
                      <a:pt x="12949" y="3174"/>
                    </a:lnTo>
                    <a:lnTo>
                      <a:pt x="12949" y="3177"/>
                    </a:lnTo>
                    <a:lnTo>
                      <a:pt x="12968" y="3255"/>
                    </a:lnTo>
                    <a:lnTo>
                      <a:pt x="12659" y="3486"/>
                    </a:lnTo>
                    <a:lnTo>
                      <a:pt x="12659" y="3552"/>
                    </a:lnTo>
                    <a:lnTo>
                      <a:pt x="12659" y="3555"/>
                    </a:lnTo>
                    <a:lnTo>
                      <a:pt x="12659" y="3559"/>
                    </a:lnTo>
                    <a:lnTo>
                      <a:pt x="12737" y="3706"/>
                    </a:lnTo>
                    <a:lnTo>
                      <a:pt x="12720" y="3919"/>
                    </a:lnTo>
                    <a:lnTo>
                      <a:pt x="12720" y="3923"/>
                    </a:lnTo>
                    <a:lnTo>
                      <a:pt x="12720" y="3926"/>
                    </a:lnTo>
                    <a:lnTo>
                      <a:pt x="12786" y="4051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9" name="Freeform 36">
                <a:extLst>
                  <a:ext uri="{FF2B5EF4-FFF2-40B4-BE49-F238E27FC236}">
                    <a16:creationId xmlns:a16="http://schemas.microsoft.com/office/drawing/2014/main" id="{11B7BF5A-FAAB-42A6-BC7A-DEC0A58A15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2641" y="18302292"/>
                <a:ext cx="12700" cy="71438"/>
              </a:xfrm>
              <a:custGeom>
                <a:avLst/>
                <a:gdLst>
                  <a:gd name="T0" fmla="*/ 8 w 8"/>
                  <a:gd name="T1" fmla="*/ 45 h 45"/>
                  <a:gd name="T2" fmla="*/ 8 w 8"/>
                  <a:gd name="T3" fmla="*/ 45 h 45"/>
                  <a:gd name="T4" fmla="*/ 0 w 8"/>
                  <a:gd name="T5" fmla="*/ 0 h 45"/>
                  <a:gd name="T6" fmla="*/ 8 w 8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5">
                    <a:moveTo>
                      <a:pt x="8" y="45"/>
                    </a:moveTo>
                    <a:lnTo>
                      <a:pt x="8" y="45"/>
                    </a:lnTo>
                    <a:lnTo>
                      <a:pt x="0" y="0"/>
                    </a:lnTo>
                    <a:lnTo>
                      <a:pt x="8" y="4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0" name="Freeform 37">
                <a:extLst>
                  <a:ext uri="{FF2B5EF4-FFF2-40B4-BE49-F238E27FC236}">
                    <a16:creationId xmlns:a16="http://schemas.microsoft.com/office/drawing/2014/main" id="{D476DF28-1221-4D78-AA1C-B3BEDC4253F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5179" y="17845092"/>
                <a:ext cx="217488" cy="379413"/>
              </a:xfrm>
              <a:custGeom>
                <a:avLst/>
                <a:gdLst>
                  <a:gd name="T0" fmla="*/ 137 w 137"/>
                  <a:gd name="T1" fmla="*/ 7 h 239"/>
                  <a:gd name="T2" fmla="*/ 40 w 137"/>
                  <a:gd name="T3" fmla="*/ 106 h 239"/>
                  <a:gd name="T4" fmla="*/ 2 w 137"/>
                  <a:gd name="T5" fmla="*/ 239 h 239"/>
                  <a:gd name="T6" fmla="*/ 0 w 137"/>
                  <a:gd name="T7" fmla="*/ 232 h 239"/>
                  <a:gd name="T8" fmla="*/ 40 w 137"/>
                  <a:gd name="T9" fmla="*/ 102 h 239"/>
                  <a:gd name="T10" fmla="*/ 137 w 137"/>
                  <a:gd name="T11" fmla="*/ 0 h 239"/>
                  <a:gd name="T12" fmla="*/ 137 w 137"/>
                  <a:gd name="T13" fmla="*/ 7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239">
                    <a:moveTo>
                      <a:pt x="137" y="7"/>
                    </a:moveTo>
                    <a:lnTo>
                      <a:pt x="40" y="106"/>
                    </a:lnTo>
                    <a:lnTo>
                      <a:pt x="2" y="239"/>
                    </a:lnTo>
                    <a:lnTo>
                      <a:pt x="0" y="232"/>
                    </a:lnTo>
                    <a:lnTo>
                      <a:pt x="40" y="102"/>
                    </a:lnTo>
                    <a:lnTo>
                      <a:pt x="137" y="0"/>
                    </a:lnTo>
                    <a:lnTo>
                      <a:pt x="137" y="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1" name="Freeform 38">
                <a:extLst>
                  <a:ext uri="{FF2B5EF4-FFF2-40B4-BE49-F238E27FC236}">
                    <a16:creationId xmlns:a16="http://schemas.microsoft.com/office/drawing/2014/main" id="{1867F836-4E43-4F43-AF47-7AF77C65239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5216" y="15565442"/>
                <a:ext cx="493713" cy="600075"/>
              </a:xfrm>
              <a:custGeom>
                <a:avLst/>
                <a:gdLst>
                  <a:gd name="T0" fmla="*/ 311 w 311"/>
                  <a:gd name="T1" fmla="*/ 85 h 378"/>
                  <a:gd name="T2" fmla="*/ 0 w 311"/>
                  <a:gd name="T3" fmla="*/ 316 h 378"/>
                  <a:gd name="T4" fmla="*/ 0 w 311"/>
                  <a:gd name="T5" fmla="*/ 378 h 378"/>
                  <a:gd name="T6" fmla="*/ 0 w 311"/>
                  <a:gd name="T7" fmla="*/ 375 h 378"/>
                  <a:gd name="T8" fmla="*/ 0 w 311"/>
                  <a:gd name="T9" fmla="*/ 309 h 378"/>
                  <a:gd name="T10" fmla="*/ 309 w 311"/>
                  <a:gd name="T11" fmla="*/ 78 h 378"/>
                  <a:gd name="T12" fmla="*/ 290 w 311"/>
                  <a:gd name="T13" fmla="*/ 0 h 378"/>
                  <a:gd name="T14" fmla="*/ 311 w 311"/>
                  <a:gd name="T15" fmla="*/ 85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1" h="378">
                    <a:moveTo>
                      <a:pt x="311" y="85"/>
                    </a:moveTo>
                    <a:lnTo>
                      <a:pt x="0" y="316"/>
                    </a:lnTo>
                    <a:lnTo>
                      <a:pt x="0" y="378"/>
                    </a:lnTo>
                    <a:lnTo>
                      <a:pt x="0" y="375"/>
                    </a:lnTo>
                    <a:lnTo>
                      <a:pt x="0" y="309"/>
                    </a:lnTo>
                    <a:lnTo>
                      <a:pt x="309" y="78"/>
                    </a:lnTo>
                    <a:lnTo>
                      <a:pt x="290" y="0"/>
                    </a:lnTo>
                    <a:lnTo>
                      <a:pt x="311" y="8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2" name="Freeform 150">
                <a:extLst>
                  <a:ext uri="{FF2B5EF4-FFF2-40B4-BE49-F238E27FC236}">
                    <a16:creationId xmlns:a16="http://schemas.microsoft.com/office/drawing/2014/main" id="{6CCC4FA6-4D26-4251-8AD0-F5BEBE8BC90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054" y="16405229"/>
                <a:ext cx="26988" cy="344488"/>
              </a:xfrm>
              <a:custGeom>
                <a:avLst/>
                <a:gdLst>
                  <a:gd name="T0" fmla="*/ 17 w 17"/>
                  <a:gd name="T1" fmla="*/ 2 h 217"/>
                  <a:gd name="T2" fmla="*/ 0 w 17"/>
                  <a:gd name="T3" fmla="*/ 217 h 217"/>
                  <a:gd name="T4" fmla="*/ 0 w 17"/>
                  <a:gd name="T5" fmla="*/ 213 h 217"/>
                  <a:gd name="T6" fmla="*/ 17 w 17"/>
                  <a:gd name="T7" fmla="*/ 0 h 217"/>
                  <a:gd name="T8" fmla="*/ 17 w 17"/>
                  <a:gd name="T9" fmla="*/ 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17">
                    <a:moveTo>
                      <a:pt x="17" y="2"/>
                    </a:moveTo>
                    <a:lnTo>
                      <a:pt x="0" y="217"/>
                    </a:lnTo>
                    <a:lnTo>
                      <a:pt x="0" y="213"/>
                    </a:lnTo>
                    <a:lnTo>
                      <a:pt x="17" y="0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3" name="Freeform 151">
                <a:extLst>
                  <a:ext uri="{FF2B5EF4-FFF2-40B4-BE49-F238E27FC236}">
                    <a16:creationId xmlns:a16="http://schemas.microsoft.com/office/drawing/2014/main" id="{4D5B51BF-48A3-4793-B42C-D91063A379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4729" y="16952917"/>
                <a:ext cx="296863" cy="850900"/>
              </a:xfrm>
              <a:custGeom>
                <a:avLst/>
                <a:gdLst>
                  <a:gd name="T0" fmla="*/ 2 w 187"/>
                  <a:gd name="T1" fmla="*/ 357 h 536"/>
                  <a:gd name="T2" fmla="*/ 5 w 187"/>
                  <a:gd name="T3" fmla="*/ 536 h 536"/>
                  <a:gd name="T4" fmla="*/ 0 w 187"/>
                  <a:gd name="T5" fmla="*/ 352 h 536"/>
                  <a:gd name="T6" fmla="*/ 184 w 187"/>
                  <a:gd name="T7" fmla="*/ 0 h 536"/>
                  <a:gd name="T8" fmla="*/ 187 w 187"/>
                  <a:gd name="T9" fmla="*/ 5 h 536"/>
                  <a:gd name="T10" fmla="*/ 2 w 187"/>
                  <a:gd name="T11" fmla="*/ 357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536">
                    <a:moveTo>
                      <a:pt x="2" y="357"/>
                    </a:moveTo>
                    <a:lnTo>
                      <a:pt x="5" y="536"/>
                    </a:lnTo>
                    <a:lnTo>
                      <a:pt x="0" y="352"/>
                    </a:lnTo>
                    <a:lnTo>
                      <a:pt x="184" y="0"/>
                    </a:lnTo>
                    <a:lnTo>
                      <a:pt x="187" y="5"/>
                    </a:lnTo>
                    <a:lnTo>
                      <a:pt x="2" y="35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4" name="Freeform 152">
                <a:extLst>
                  <a:ext uri="{FF2B5EF4-FFF2-40B4-BE49-F238E27FC236}">
                    <a16:creationId xmlns:a16="http://schemas.microsoft.com/office/drawing/2014/main" id="{6B9BF4D3-4A21-4823-9973-BA87A53D6AF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9204" y="15103479"/>
                <a:ext cx="55563" cy="187325"/>
              </a:xfrm>
              <a:custGeom>
                <a:avLst/>
                <a:gdLst>
                  <a:gd name="T0" fmla="*/ 35 w 35"/>
                  <a:gd name="T1" fmla="*/ 3 h 118"/>
                  <a:gd name="T2" fmla="*/ 2 w 35"/>
                  <a:gd name="T3" fmla="*/ 118 h 118"/>
                  <a:gd name="T4" fmla="*/ 0 w 35"/>
                  <a:gd name="T5" fmla="*/ 116 h 118"/>
                  <a:gd name="T6" fmla="*/ 33 w 35"/>
                  <a:gd name="T7" fmla="*/ 0 h 118"/>
                  <a:gd name="T8" fmla="*/ 35 w 35"/>
                  <a:gd name="T9" fmla="*/ 3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8">
                    <a:moveTo>
                      <a:pt x="35" y="3"/>
                    </a:moveTo>
                    <a:lnTo>
                      <a:pt x="2" y="118"/>
                    </a:lnTo>
                    <a:lnTo>
                      <a:pt x="0" y="116"/>
                    </a:lnTo>
                    <a:lnTo>
                      <a:pt x="33" y="0"/>
                    </a:lnTo>
                    <a:lnTo>
                      <a:pt x="35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5" name="Freeform 153">
                <a:extLst>
                  <a:ext uri="{FF2B5EF4-FFF2-40B4-BE49-F238E27FC236}">
                    <a16:creationId xmlns:a16="http://schemas.microsoft.com/office/drawing/2014/main" id="{E2E5D5E2-23CA-459F-B8BD-111FAEB7C9A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1266" y="14916154"/>
                <a:ext cx="300038" cy="131763"/>
              </a:xfrm>
              <a:custGeom>
                <a:avLst/>
                <a:gdLst>
                  <a:gd name="T0" fmla="*/ 189 w 189"/>
                  <a:gd name="T1" fmla="*/ 0 h 83"/>
                  <a:gd name="T2" fmla="*/ 5 w 189"/>
                  <a:gd name="T3" fmla="*/ 83 h 83"/>
                  <a:gd name="T4" fmla="*/ 0 w 189"/>
                  <a:gd name="T5" fmla="*/ 78 h 83"/>
                  <a:gd name="T6" fmla="*/ 172 w 189"/>
                  <a:gd name="T7" fmla="*/ 0 h 83"/>
                  <a:gd name="T8" fmla="*/ 172 w 189"/>
                  <a:gd name="T9" fmla="*/ 0 h 83"/>
                  <a:gd name="T10" fmla="*/ 189 w 189"/>
                  <a:gd name="T11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9" h="83">
                    <a:moveTo>
                      <a:pt x="189" y="0"/>
                    </a:moveTo>
                    <a:lnTo>
                      <a:pt x="5" y="83"/>
                    </a:lnTo>
                    <a:lnTo>
                      <a:pt x="0" y="78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89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6" name="Freeform 157">
                <a:extLst>
                  <a:ext uri="{FF2B5EF4-FFF2-40B4-BE49-F238E27FC236}">
                    <a16:creationId xmlns:a16="http://schemas.microsoft.com/office/drawing/2014/main" id="{B8046038-C9E6-4678-9761-308AEC67F7C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50615" y="2654301"/>
                <a:ext cx="9512301" cy="9224965"/>
              </a:xfrm>
              <a:custGeom>
                <a:avLst/>
                <a:gdLst>
                  <a:gd name="T0" fmla="*/ 5633 w 5992"/>
                  <a:gd name="T1" fmla="*/ 1960 h 5811"/>
                  <a:gd name="T2" fmla="*/ 5300 w 5992"/>
                  <a:gd name="T3" fmla="*/ 2674 h 5811"/>
                  <a:gd name="T4" fmla="*/ 5005 w 5992"/>
                  <a:gd name="T5" fmla="*/ 2589 h 5811"/>
                  <a:gd name="T6" fmla="*/ 4594 w 5992"/>
                  <a:gd name="T7" fmla="*/ 2549 h 5811"/>
                  <a:gd name="T8" fmla="*/ 4303 w 5992"/>
                  <a:gd name="T9" fmla="*/ 2816 h 5811"/>
                  <a:gd name="T10" fmla="*/ 4093 w 5992"/>
                  <a:gd name="T11" fmla="*/ 2901 h 5811"/>
                  <a:gd name="T12" fmla="*/ 4280 w 5992"/>
                  <a:gd name="T13" fmla="*/ 3427 h 5811"/>
                  <a:gd name="T14" fmla="*/ 4674 w 5992"/>
                  <a:gd name="T15" fmla="*/ 3758 h 5811"/>
                  <a:gd name="T16" fmla="*/ 5038 w 5992"/>
                  <a:gd name="T17" fmla="*/ 3791 h 5811"/>
                  <a:gd name="T18" fmla="*/ 5021 w 5992"/>
                  <a:gd name="T19" fmla="*/ 4230 h 5811"/>
                  <a:gd name="T20" fmla="*/ 4594 w 5992"/>
                  <a:gd name="T21" fmla="*/ 4575 h 5811"/>
                  <a:gd name="T22" fmla="*/ 4251 w 5992"/>
                  <a:gd name="T23" fmla="*/ 4762 h 5811"/>
                  <a:gd name="T24" fmla="*/ 3973 w 5992"/>
                  <a:gd name="T25" fmla="*/ 4920 h 5811"/>
                  <a:gd name="T26" fmla="*/ 3760 w 5992"/>
                  <a:gd name="T27" fmla="*/ 5225 h 5811"/>
                  <a:gd name="T28" fmla="*/ 3675 w 5992"/>
                  <a:gd name="T29" fmla="*/ 5407 h 5811"/>
                  <a:gd name="T30" fmla="*/ 3569 w 5992"/>
                  <a:gd name="T31" fmla="*/ 5615 h 5811"/>
                  <a:gd name="T32" fmla="*/ 3448 w 5992"/>
                  <a:gd name="T33" fmla="*/ 5723 h 5811"/>
                  <a:gd name="T34" fmla="*/ 3160 w 5992"/>
                  <a:gd name="T35" fmla="*/ 5617 h 5811"/>
                  <a:gd name="T36" fmla="*/ 2839 w 5992"/>
                  <a:gd name="T37" fmla="*/ 5525 h 5811"/>
                  <a:gd name="T38" fmla="*/ 2612 w 5992"/>
                  <a:gd name="T39" fmla="*/ 5024 h 5811"/>
                  <a:gd name="T40" fmla="*/ 2255 w 5992"/>
                  <a:gd name="T41" fmla="*/ 5166 h 5811"/>
                  <a:gd name="T42" fmla="*/ 1750 w 5992"/>
                  <a:gd name="T43" fmla="*/ 5258 h 5811"/>
                  <a:gd name="T44" fmla="*/ 1448 w 5992"/>
                  <a:gd name="T45" fmla="*/ 5166 h 5811"/>
                  <a:gd name="T46" fmla="*/ 1176 w 5992"/>
                  <a:gd name="T47" fmla="*/ 5319 h 5811"/>
                  <a:gd name="T48" fmla="*/ 1230 w 5992"/>
                  <a:gd name="T49" fmla="*/ 4656 h 5811"/>
                  <a:gd name="T50" fmla="*/ 1370 w 5992"/>
                  <a:gd name="T51" fmla="*/ 4204 h 5811"/>
                  <a:gd name="T52" fmla="*/ 970 w 5992"/>
                  <a:gd name="T53" fmla="*/ 4065 h 5811"/>
                  <a:gd name="T54" fmla="*/ 134 w 5992"/>
                  <a:gd name="T55" fmla="*/ 4417 h 5811"/>
                  <a:gd name="T56" fmla="*/ 188 w 5992"/>
                  <a:gd name="T57" fmla="*/ 3822 h 5811"/>
                  <a:gd name="T58" fmla="*/ 540 w 5992"/>
                  <a:gd name="T59" fmla="*/ 3193 h 5811"/>
                  <a:gd name="T60" fmla="*/ 885 w 5992"/>
                  <a:gd name="T61" fmla="*/ 2402 h 5811"/>
                  <a:gd name="T62" fmla="*/ 1466 w 5992"/>
                  <a:gd name="T63" fmla="*/ 2003 h 5811"/>
                  <a:gd name="T64" fmla="*/ 1750 w 5992"/>
                  <a:gd name="T65" fmla="*/ 2206 h 5811"/>
                  <a:gd name="T66" fmla="*/ 2272 w 5992"/>
                  <a:gd name="T67" fmla="*/ 2015 h 5811"/>
                  <a:gd name="T68" fmla="*/ 2501 w 5992"/>
                  <a:gd name="T69" fmla="*/ 1904 h 5811"/>
                  <a:gd name="T70" fmla="*/ 2402 w 5992"/>
                  <a:gd name="T71" fmla="*/ 1327 h 5811"/>
                  <a:gd name="T72" fmla="*/ 2789 w 5992"/>
                  <a:gd name="T73" fmla="*/ 1098 h 5811"/>
                  <a:gd name="T74" fmla="*/ 2966 w 5992"/>
                  <a:gd name="T75" fmla="*/ 470 h 5811"/>
                  <a:gd name="T76" fmla="*/ 2983 w 5992"/>
                  <a:gd name="T77" fmla="*/ 564 h 5811"/>
                  <a:gd name="T78" fmla="*/ 3148 w 5992"/>
                  <a:gd name="T79" fmla="*/ 602 h 5811"/>
                  <a:gd name="T80" fmla="*/ 3573 w 5992"/>
                  <a:gd name="T81" fmla="*/ 196 h 5811"/>
                  <a:gd name="T82" fmla="*/ 4209 w 5992"/>
                  <a:gd name="T83" fmla="*/ 165 h 5811"/>
                  <a:gd name="T84" fmla="*/ 4584 w 5992"/>
                  <a:gd name="T85" fmla="*/ 85 h 5811"/>
                  <a:gd name="T86" fmla="*/ 4674 w 5992"/>
                  <a:gd name="T87" fmla="*/ 562 h 5811"/>
                  <a:gd name="T88" fmla="*/ 4589 w 5992"/>
                  <a:gd name="T89" fmla="*/ 883 h 5811"/>
                  <a:gd name="T90" fmla="*/ 5600 w 5992"/>
                  <a:gd name="T91" fmla="*/ 1117 h 5811"/>
                  <a:gd name="T92" fmla="*/ 5690 w 5992"/>
                  <a:gd name="T93" fmla="*/ 1419 h 5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992" h="5811">
                    <a:moveTo>
                      <a:pt x="5740" y="1646"/>
                    </a:moveTo>
                    <a:lnTo>
                      <a:pt x="5588" y="1927"/>
                    </a:lnTo>
                    <a:lnTo>
                      <a:pt x="5633" y="1960"/>
                    </a:lnTo>
                    <a:lnTo>
                      <a:pt x="5614" y="2112"/>
                    </a:lnTo>
                    <a:lnTo>
                      <a:pt x="5411" y="2076"/>
                    </a:lnTo>
                    <a:lnTo>
                      <a:pt x="5300" y="2674"/>
                    </a:lnTo>
                    <a:lnTo>
                      <a:pt x="5114" y="2664"/>
                    </a:lnTo>
                    <a:lnTo>
                      <a:pt x="5059" y="2693"/>
                    </a:lnTo>
                    <a:lnTo>
                      <a:pt x="5005" y="2589"/>
                    </a:lnTo>
                    <a:lnTo>
                      <a:pt x="4984" y="2619"/>
                    </a:lnTo>
                    <a:lnTo>
                      <a:pt x="4854" y="2617"/>
                    </a:lnTo>
                    <a:lnTo>
                      <a:pt x="4594" y="2549"/>
                    </a:lnTo>
                    <a:lnTo>
                      <a:pt x="4476" y="2657"/>
                    </a:lnTo>
                    <a:lnTo>
                      <a:pt x="4429" y="2856"/>
                    </a:lnTo>
                    <a:lnTo>
                      <a:pt x="4303" y="2816"/>
                    </a:lnTo>
                    <a:lnTo>
                      <a:pt x="4284" y="2865"/>
                    </a:lnTo>
                    <a:lnTo>
                      <a:pt x="4235" y="2849"/>
                    </a:lnTo>
                    <a:lnTo>
                      <a:pt x="4093" y="2901"/>
                    </a:lnTo>
                    <a:lnTo>
                      <a:pt x="4143" y="3073"/>
                    </a:lnTo>
                    <a:lnTo>
                      <a:pt x="4259" y="3160"/>
                    </a:lnTo>
                    <a:lnTo>
                      <a:pt x="4280" y="3427"/>
                    </a:lnTo>
                    <a:lnTo>
                      <a:pt x="4580" y="3524"/>
                    </a:lnTo>
                    <a:lnTo>
                      <a:pt x="4589" y="3746"/>
                    </a:lnTo>
                    <a:lnTo>
                      <a:pt x="4674" y="3758"/>
                    </a:lnTo>
                    <a:lnTo>
                      <a:pt x="4693" y="3815"/>
                    </a:lnTo>
                    <a:lnTo>
                      <a:pt x="4814" y="3888"/>
                    </a:lnTo>
                    <a:lnTo>
                      <a:pt x="5038" y="3791"/>
                    </a:lnTo>
                    <a:lnTo>
                      <a:pt x="5239" y="3770"/>
                    </a:lnTo>
                    <a:lnTo>
                      <a:pt x="5378" y="4056"/>
                    </a:lnTo>
                    <a:lnTo>
                      <a:pt x="5021" y="4230"/>
                    </a:lnTo>
                    <a:lnTo>
                      <a:pt x="5014" y="4441"/>
                    </a:lnTo>
                    <a:lnTo>
                      <a:pt x="4620" y="4469"/>
                    </a:lnTo>
                    <a:lnTo>
                      <a:pt x="4594" y="4575"/>
                    </a:lnTo>
                    <a:lnTo>
                      <a:pt x="4388" y="4547"/>
                    </a:lnTo>
                    <a:lnTo>
                      <a:pt x="4254" y="4651"/>
                    </a:lnTo>
                    <a:lnTo>
                      <a:pt x="4251" y="4762"/>
                    </a:lnTo>
                    <a:lnTo>
                      <a:pt x="4129" y="4771"/>
                    </a:lnTo>
                    <a:lnTo>
                      <a:pt x="4114" y="4908"/>
                    </a:lnTo>
                    <a:lnTo>
                      <a:pt x="3973" y="4920"/>
                    </a:lnTo>
                    <a:lnTo>
                      <a:pt x="3956" y="4975"/>
                    </a:lnTo>
                    <a:lnTo>
                      <a:pt x="3824" y="5001"/>
                    </a:lnTo>
                    <a:lnTo>
                      <a:pt x="3760" y="5225"/>
                    </a:lnTo>
                    <a:lnTo>
                      <a:pt x="3822" y="5253"/>
                    </a:lnTo>
                    <a:lnTo>
                      <a:pt x="3845" y="5348"/>
                    </a:lnTo>
                    <a:lnTo>
                      <a:pt x="3675" y="5407"/>
                    </a:lnTo>
                    <a:lnTo>
                      <a:pt x="3675" y="5459"/>
                    </a:lnTo>
                    <a:lnTo>
                      <a:pt x="3571" y="5490"/>
                    </a:lnTo>
                    <a:lnTo>
                      <a:pt x="3569" y="5615"/>
                    </a:lnTo>
                    <a:lnTo>
                      <a:pt x="3635" y="5653"/>
                    </a:lnTo>
                    <a:lnTo>
                      <a:pt x="3557" y="5811"/>
                    </a:lnTo>
                    <a:lnTo>
                      <a:pt x="3448" y="5723"/>
                    </a:lnTo>
                    <a:lnTo>
                      <a:pt x="3335" y="5780"/>
                    </a:lnTo>
                    <a:lnTo>
                      <a:pt x="3255" y="5773"/>
                    </a:lnTo>
                    <a:lnTo>
                      <a:pt x="3160" y="5617"/>
                    </a:lnTo>
                    <a:lnTo>
                      <a:pt x="3068" y="5761"/>
                    </a:lnTo>
                    <a:lnTo>
                      <a:pt x="2988" y="5593"/>
                    </a:lnTo>
                    <a:lnTo>
                      <a:pt x="2839" y="5525"/>
                    </a:lnTo>
                    <a:lnTo>
                      <a:pt x="2692" y="5378"/>
                    </a:lnTo>
                    <a:lnTo>
                      <a:pt x="2586" y="5161"/>
                    </a:lnTo>
                    <a:lnTo>
                      <a:pt x="2612" y="5024"/>
                    </a:lnTo>
                    <a:lnTo>
                      <a:pt x="2510" y="4956"/>
                    </a:lnTo>
                    <a:lnTo>
                      <a:pt x="2402" y="4996"/>
                    </a:lnTo>
                    <a:lnTo>
                      <a:pt x="2255" y="5166"/>
                    </a:lnTo>
                    <a:lnTo>
                      <a:pt x="1951" y="5215"/>
                    </a:lnTo>
                    <a:lnTo>
                      <a:pt x="1882" y="5343"/>
                    </a:lnTo>
                    <a:lnTo>
                      <a:pt x="1750" y="5258"/>
                    </a:lnTo>
                    <a:lnTo>
                      <a:pt x="1490" y="5275"/>
                    </a:lnTo>
                    <a:lnTo>
                      <a:pt x="1478" y="5182"/>
                    </a:lnTo>
                    <a:lnTo>
                      <a:pt x="1448" y="5166"/>
                    </a:lnTo>
                    <a:lnTo>
                      <a:pt x="1280" y="5199"/>
                    </a:lnTo>
                    <a:lnTo>
                      <a:pt x="1282" y="5279"/>
                    </a:lnTo>
                    <a:lnTo>
                      <a:pt x="1176" y="5319"/>
                    </a:lnTo>
                    <a:lnTo>
                      <a:pt x="1266" y="4812"/>
                    </a:lnTo>
                    <a:lnTo>
                      <a:pt x="1157" y="4672"/>
                    </a:lnTo>
                    <a:lnTo>
                      <a:pt x="1230" y="4656"/>
                    </a:lnTo>
                    <a:lnTo>
                      <a:pt x="1292" y="4360"/>
                    </a:lnTo>
                    <a:lnTo>
                      <a:pt x="1325" y="4351"/>
                    </a:lnTo>
                    <a:lnTo>
                      <a:pt x="1370" y="4204"/>
                    </a:lnTo>
                    <a:lnTo>
                      <a:pt x="1065" y="4216"/>
                    </a:lnTo>
                    <a:lnTo>
                      <a:pt x="1027" y="4112"/>
                    </a:lnTo>
                    <a:lnTo>
                      <a:pt x="970" y="4065"/>
                    </a:lnTo>
                    <a:lnTo>
                      <a:pt x="524" y="4164"/>
                    </a:lnTo>
                    <a:lnTo>
                      <a:pt x="555" y="4254"/>
                    </a:lnTo>
                    <a:lnTo>
                      <a:pt x="134" y="4417"/>
                    </a:lnTo>
                    <a:lnTo>
                      <a:pt x="134" y="4252"/>
                    </a:lnTo>
                    <a:lnTo>
                      <a:pt x="0" y="4001"/>
                    </a:lnTo>
                    <a:lnTo>
                      <a:pt x="188" y="3822"/>
                    </a:lnTo>
                    <a:lnTo>
                      <a:pt x="441" y="3654"/>
                    </a:lnTo>
                    <a:lnTo>
                      <a:pt x="330" y="3170"/>
                    </a:lnTo>
                    <a:lnTo>
                      <a:pt x="540" y="3193"/>
                    </a:lnTo>
                    <a:lnTo>
                      <a:pt x="550" y="3061"/>
                    </a:lnTo>
                    <a:lnTo>
                      <a:pt x="734" y="3035"/>
                    </a:lnTo>
                    <a:lnTo>
                      <a:pt x="885" y="2402"/>
                    </a:lnTo>
                    <a:lnTo>
                      <a:pt x="878" y="2161"/>
                    </a:lnTo>
                    <a:lnTo>
                      <a:pt x="1431" y="1861"/>
                    </a:lnTo>
                    <a:lnTo>
                      <a:pt x="1466" y="2003"/>
                    </a:lnTo>
                    <a:lnTo>
                      <a:pt x="1575" y="2154"/>
                    </a:lnTo>
                    <a:lnTo>
                      <a:pt x="1738" y="2067"/>
                    </a:lnTo>
                    <a:lnTo>
                      <a:pt x="1750" y="2206"/>
                    </a:lnTo>
                    <a:lnTo>
                      <a:pt x="2019" y="2116"/>
                    </a:lnTo>
                    <a:lnTo>
                      <a:pt x="2272" y="2083"/>
                    </a:lnTo>
                    <a:lnTo>
                      <a:pt x="2272" y="2015"/>
                    </a:lnTo>
                    <a:lnTo>
                      <a:pt x="2416" y="2031"/>
                    </a:lnTo>
                    <a:lnTo>
                      <a:pt x="2418" y="1956"/>
                    </a:lnTo>
                    <a:lnTo>
                      <a:pt x="2501" y="1904"/>
                    </a:lnTo>
                    <a:lnTo>
                      <a:pt x="2451" y="1719"/>
                    </a:lnTo>
                    <a:lnTo>
                      <a:pt x="2544" y="1686"/>
                    </a:lnTo>
                    <a:lnTo>
                      <a:pt x="2402" y="1327"/>
                    </a:lnTo>
                    <a:lnTo>
                      <a:pt x="2655" y="1287"/>
                    </a:lnTo>
                    <a:lnTo>
                      <a:pt x="2749" y="1226"/>
                    </a:lnTo>
                    <a:lnTo>
                      <a:pt x="2789" y="1098"/>
                    </a:lnTo>
                    <a:lnTo>
                      <a:pt x="2933" y="997"/>
                    </a:lnTo>
                    <a:lnTo>
                      <a:pt x="2825" y="527"/>
                    </a:lnTo>
                    <a:lnTo>
                      <a:pt x="2966" y="470"/>
                    </a:lnTo>
                    <a:lnTo>
                      <a:pt x="3066" y="486"/>
                    </a:lnTo>
                    <a:lnTo>
                      <a:pt x="3068" y="536"/>
                    </a:lnTo>
                    <a:lnTo>
                      <a:pt x="2983" y="564"/>
                    </a:lnTo>
                    <a:lnTo>
                      <a:pt x="3011" y="671"/>
                    </a:lnTo>
                    <a:lnTo>
                      <a:pt x="3082" y="668"/>
                    </a:lnTo>
                    <a:lnTo>
                      <a:pt x="3148" y="602"/>
                    </a:lnTo>
                    <a:lnTo>
                      <a:pt x="3316" y="612"/>
                    </a:lnTo>
                    <a:lnTo>
                      <a:pt x="3573" y="534"/>
                    </a:lnTo>
                    <a:lnTo>
                      <a:pt x="3573" y="196"/>
                    </a:lnTo>
                    <a:lnTo>
                      <a:pt x="3807" y="137"/>
                    </a:lnTo>
                    <a:lnTo>
                      <a:pt x="3829" y="241"/>
                    </a:lnTo>
                    <a:lnTo>
                      <a:pt x="4209" y="165"/>
                    </a:lnTo>
                    <a:lnTo>
                      <a:pt x="4233" y="0"/>
                    </a:lnTo>
                    <a:lnTo>
                      <a:pt x="4533" y="2"/>
                    </a:lnTo>
                    <a:lnTo>
                      <a:pt x="4584" y="85"/>
                    </a:lnTo>
                    <a:lnTo>
                      <a:pt x="4696" y="19"/>
                    </a:lnTo>
                    <a:lnTo>
                      <a:pt x="4700" y="26"/>
                    </a:lnTo>
                    <a:lnTo>
                      <a:pt x="4674" y="562"/>
                    </a:lnTo>
                    <a:lnTo>
                      <a:pt x="4608" y="668"/>
                    </a:lnTo>
                    <a:lnTo>
                      <a:pt x="4665" y="763"/>
                    </a:lnTo>
                    <a:lnTo>
                      <a:pt x="4589" y="883"/>
                    </a:lnTo>
                    <a:lnTo>
                      <a:pt x="4759" y="1495"/>
                    </a:lnTo>
                    <a:lnTo>
                      <a:pt x="5253" y="1538"/>
                    </a:lnTo>
                    <a:lnTo>
                      <a:pt x="5600" y="1117"/>
                    </a:lnTo>
                    <a:lnTo>
                      <a:pt x="5917" y="1032"/>
                    </a:lnTo>
                    <a:lnTo>
                      <a:pt x="5992" y="1299"/>
                    </a:lnTo>
                    <a:lnTo>
                      <a:pt x="5690" y="1419"/>
                    </a:lnTo>
                    <a:lnTo>
                      <a:pt x="5655" y="1545"/>
                    </a:lnTo>
                    <a:lnTo>
                      <a:pt x="5740" y="164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7" name="Freeform 158">
                <a:extLst>
                  <a:ext uri="{FF2B5EF4-FFF2-40B4-BE49-F238E27FC236}">
                    <a16:creationId xmlns:a16="http://schemas.microsoft.com/office/drawing/2014/main" id="{3D5A3AEB-6DA1-4E66-A850-566226E547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378" y="2001838"/>
                <a:ext cx="866775" cy="693738"/>
              </a:xfrm>
              <a:custGeom>
                <a:avLst/>
                <a:gdLst>
                  <a:gd name="T0" fmla="*/ 546 w 546"/>
                  <a:gd name="T1" fmla="*/ 241 h 437"/>
                  <a:gd name="T2" fmla="*/ 338 w 546"/>
                  <a:gd name="T3" fmla="*/ 413 h 437"/>
                  <a:gd name="T4" fmla="*/ 137 w 546"/>
                  <a:gd name="T5" fmla="*/ 437 h 437"/>
                  <a:gd name="T6" fmla="*/ 133 w 546"/>
                  <a:gd name="T7" fmla="*/ 430 h 437"/>
                  <a:gd name="T8" fmla="*/ 156 w 546"/>
                  <a:gd name="T9" fmla="*/ 415 h 437"/>
                  <a:gd name="T10" fmla="*/ 225 w 546"/>
                  <a:gd name="T11" fmla="*/ 281 h 437"/>
                  <a:gd name="T12" fmla="*/ 111 w 546"/>
                  <a:gd name="T13" fmla="*/ 286 h 437"/>
                  <a:gd name="T14" fmla="*/ 0 w 546"/>
                  <a:gd name="T15" fmla="*/ 49 h 437"/>
                  <a:gd name="T16" fmla="*/ 456 w 546"/>
                  <a:gd name="T17" fmla="*/ 0 h 437"/>
                  <a:gd name="T18" fmla="*/ 546 w 546"/>
                  <a:gd name="T19" fmla="*/ 241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6" h="437">
                    <a:moveTo>
                      <a:pt x="546" y="241"/>
                    </a:moveTo>
                    <a:lnTo>
                      <a:pt x="338" y="413"/>
                    </a:lnTo>
                    <a:lnTo>
                      <a:pt x="137" y="437"/>
                    </a:lnTo>
                    <a:lnTo>
                      <a:pt x="133" y="430"/>
                    </a:lnTo>
                    <a:lnTo>
                      <a:pt x="156" y="415"/>
                    </a:lnTo>
                    <a:lnTo>
                      <a:pt x="225" y="281"/>
                    </a:lnTo>
                    <a:lnTo>
                      <a:pt x="111" y="286"/>
                    </a:lnTo>
                    <a:lnTo>
                      <a:pt x="0" y="49"/>
                    </a:lnTo>
                    <a:lnTo>
                      <a:pt x="456" y="0"/>
                    </a:lnTo>
                    <a:lnTo>
                      <a:pt x="546" y="241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8" name="Freeform 160">
                <a:extLst>
                  <a:ext uri="{FF2B5EF4-FFF2-40B4-BE49-F238E27FC236}">
                    <a16:creationId xmlns:a16="http://schemas.microsoft.com/office/drawing/2014/main" id="{1CBC29FA-19B9-4C72-9C69-272EC50B59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69177" y="-14512928"/>
                <a:ext cx="27609803" cy="17549817"/>
              </a:xfrm>
              <a:custGeom>
                <a:avLst/>
                <a:gdLst>
                  <a:gd name="T0" fmla="*/ 16840 w 17392"/>
                  <a:gd name="T1" fmla="*/ 6614 h 11055"/>
                  <a:gd name="T2" fmla="*/ 16339 w 17392"/>
                  <a:gd name="T3" fmla="*/ 6602 h 11055"/>
                  <a:gd name="T4" fmla="*/ 15496 w 17392"/>
                  <a:gd name="T5" fmla="*/ 6680 h 11055"/>
                  <a:gd name="T6" fmla="*/ 15999 w 17392"/>
                  <a:gd name="T7" fmla="*/ 7455 h 11055"/>
                  <a:gd name="T8" fmla="*/ 16114 w 17392"/>
                  <a:gd name="T9" fmla="*/ 8050 h 11055"/>
                  <a:gd name="T10" fmla="*/ 16379 w 17392"/>
                  <a:gd name="T11" fmla="*/ 8688 h 11055"/>
                  <a:gd name="T12" fmla="*/ 15710 w 17392"/>
                  <a:gd name="T13" fmla="*/ 9052 h 11055"/>
                  <a:gd name="T14" fmla="*/ 16029 w 17392"/>
                  <a:gd name="T15" fmla="*/ 9616 h 11055"/>
                  <a:gd name="T16" fmla="*/ 14903 w 17392"/>
                  <a:gd name="T17" fmla="*/ 9975 h 11055"/>
                  <a:gd name="T18" fmla="*/ 14385 w 17392"/>
                  <a:gd name="T19" fmla="*/ 9217 h 11055"/>
                  <a:gd name="T20" fmla="*/ 14322 w 17392"/>
                  <a:gd name="T21" fmla="*/ 8574 h 11055"/>
                  <a:gd name="T22" fmla="*/ 13748 w 17392"/>
                  <a:gd name="T23" fmla="*/ 8213 h 11055"/>
                  <a:gd name="T24" fmla="*/ 13067 w 17392"/>
                  <a:gd name="T25" fmla="*/ 8478 h 11055"/>
                  <a:gd name="T26" fmla="*/ 12172 w 17392"/>
                  <a:gd name="T27" fmla="*/ 8591 h 11055"/>
                  <a:gd name="T28" fmla="*/ 11877 w 17392"/>
                  <a:gd name="T29" fmla="*/ 9215 h 11055"/>
                  <a:gd name="T30" fmla="*/ 10800 w 17392"/>
                  <a:gd name="T31" fmla="*/ 10176 h 11055"/>
                  <a:gd name="T32" fmla="*/ 10093 w 17392"/>
                  <a:gd name="T33" fmla="*/ 10448 h 11055"/>
                  <a:gd name="T34" fmla="*/ 9600 w 17392"/>
                  <a:gd name="T35" fmla="*/ 9845 h 11055"/>
                  <a:gd name="T36" fmla="*/ 9059 w 17392"/>
                  <a:gd name="T37" fmla="*/ 9262 h 11055"/>
                  <a:gd name="T38" fmla="*/ 8371 w 17392"/>
                  <a:gd name="T39" fmla="*/ 9555 h 11055"/>
                  <a:gd name="T40" fmla="*/ 7759 w 17392"/>
                  <a:gd name="T41" fmla="*/ 9711 h 11055"/>
                  <a:gd name="T42" fmla="*/ 6519 w 17392"/>
                  <a:gd name="T43" fmla="*/ 10287 h 11055"/>
                  <a:gd name="T44" fmla="*/ 6666 w 17392"/>
                  <a:gd name="T45" fmla="*/ 10561 h 11055"/>
                  <a:gd name="T46" fmla="*/ 7029 w 17392"/>
                  <a:gd name="T47" fmla="*/ 10899 h 11055"/>
                  <a:gd name="T48" fmla="*/ 6018 w 17392"/>
                  <a:gd name="T49" fmla="*/ 11010 h 11055"/>
                  <a:gd name="T50" fmla="*/ 5459 w 17392"/>
                  <a:gd name="T51" fmla="*/ 10261 h 11055"/>
                  <a:gd name="T52" fmla="*/ 4979 w 17392"/>
                  <a:gd name="T53" fmla="*/ 9824 h 11055"/>
                  <a:gd name="T54" fmla="*/ 4759 w 17392"/>
                  <a:gd name="T55" fmla="*/ 9730 h 11055"/>
                  <a:gd name="T56" fmla="*/ 3878 w 17392"/>
                  <a:gd name="T57" fmla="*/ 9800 h 11055"/>
                  <a:gd name="T58" fmla="*/ 3054 w 17392"/>
                  <a:gd name="T59" fmla="*/ 10143 h 11055"/>
                  <a:gd name="T60" fmla="*/ 2038 w 17392"/>
                  <a:gd name="T61" fmla="*/ 8936 h 11055"/>
                  <a:gd name="T62" fmla="*/ 1181 w 17392"/>
                  <a:gd name="T63" fmla="*/ 9458 h 11055"/>
                  <a:gd name="T64" fmla="*/ 14 w 17392"/>
                  <a:gd name="T65" fmla="*/ 8638 h 11055"/>
                  <a:gd name="T66" fmla="*/ 652 w 17392"/>
                  <a:gd name="T67" fmla="*/ 7842 h 11055"/>
                  <a:gd name="T68" fmla="*/ 1481 w 17392"/>
                  <a:gd name="T69" fmla="*/ 7332 h 11055"/>
                  <a:gd name="T70" fmla="*/ 1497 w 17392"/>
                  <a:gd name="T71" fmla="*/ 6781 h 11055"/>
                  <a:gd name="T72" fmla="*/ 1764 w 17392"/>
                  <a:gd name="T73" fmla="*/ 6009 h 11055"/>
                  <a:gd name="T74" fmla="*/ 1837 w 17392"/>
                  <a:gd name="T75" fmla="*/ 5418 h 11055"/>
                  <a:gd name="T76" fmla="*/ 2170 w 17392"/>
                  <a:gd name="T77" fmla="*/ 5222 h 11055"/>
                  <a:gd name="T78" fmla="*/ 2359 w 17392"/>
                  <a:gd name="T79" fmla="*/ 4795 h 11055"/>
                  <a:gd name="T80" fmla="*/ 2527 w 17392"/>
                  <a:gd name="T81" fmla="*/ 4724 h 11055"/>
                  <a:gd name="T82" fmla="*/ 2967 w 17392"/>
                  <a:gd name="T83" fmla="*/ 4381 h 11055"/>
                  <a:gd name="T84" fmla="*/ 3179 w 17392"/>
                  <a:gd name="T85" fmla="*/ 4438 h 11055"/>
                  <a:gd name="T86" fmla="*/ 3812 w 17392"/>
                  <a:gd name="T87" fmla="*/ 3867 h 11055"/>
                  <a:gd name="T88" fmla="*/ 4273 w 17392"/>
                  <a:gd name="T89" fmla="*/ 3800 h 11055"/>
                  <a:gd name="T90" fmla="*/ 4526 w 17392"/>
                  <a:gd name="T91" fmla="*/ 3375 h 11055"/>
                  <a:gd name="T92" fmla="*/ 5007 w 17392"/>
                  <a:gd name="T93" fmla="*/ 2846 h 11055"/>
                  <a:gd name="T94" fmla="*/ 5598 w 17392"/>
                  <a:gd name="T95" fmla="*/ 2000 h 11055"/>
                  <a:gd name="T96" fmla="*/ 6512 w 17392"/>
                  <a:gd name="T97" fmla="*/ 1516 h 11055"/>
                  <a:gd name="T98" fmla="*/ 7722 w 17392"/>
                  <a:gd name="T99" fmla="*/ 1148 h 11055"/>
                  <a:gd name="T100" fmla="*/ 8241 w 17392"/>
                  <a:gd name="T101" fmla="*/ 526 h 11055"/>
                  <a:gd name="T102" fmla="*/ 9259 w 17392"/>
                  <a:gd name="T103" fmla="*/ 215 h 11055"/>
                  <a:gd name="T104" fmla="*/ 10190 w 17392"/>
                  <a:gd name="T105" fmla="*/ 96 h 11055"/>
                  <a:gd name="T106" fmla="*/ 11303 w 17392"/>
                  <a:gd name="T107" fmla="*/ 307 h 11055"/>
                  <a:gd name="T108" fmla="*/ 12351 w 17392"/>
                  <a:gd name="T109" fmla="*/ 767 h 11055"/>
                  <a:gd name="T110" fmla="*/ 13547 w 17392"/>
                  <a:gd name="T111" fmla="*/ 618 h 11055"/>
                  <a:gd name="T112" fmla="*/ 15250 w 17392"/>
                  <a:gd name="T113" fmla="*/ 798 h 11055"/>
                  <a:gd name="T114" fmla="*/ 16802 w 17392"/>
                  <a:gd name="T115" fmla="*/ 5118 h 1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392" h="11055">
                    <a:moveTo>
                      <a:pt x="17392" y="6274"/>
                    </a:moveTo>
                    <a:lnTo>
                      <a:pt x="17265" y="6335"/>
                    </a:lnTo>
                    <a:lnTo>
                      <a:pt x="17081" y="6311"/>
                    </a:lnTo>
                    <a:lnTo>
                      <a:pt x="16936" y="6453"/>
                    </a:lnTo>
                    <a:lnTo>
                      <a:pt x="16908" y="6588"/>
                    </a:lnTo>
                    <a:lnTo>
                      <a:pt x="16840" y="6614"/>
                    </a:lnTo>
                    <a:lnTo>
                      <a:pt x="16743" y="6621"/>
                    </a:lnTo>
                    <a:lnTo>
                      <a:pt x="16667" y="6474"/>
                    </a:lnTo>
                    <a:lnTo>
                      <a:pt x="16601" y="6486"/>
                    </a:lnTo>
                    <a:lnTo>
                      <a:pt x="16488" y="6611"/>
                    </a:lnTo>
                    <a:lnTo>
                      <a:pt x="16417" y="6538"/>
                    </a:lnTo>
                    <a:lnTo>
                      <a:pt x="16339" y="6602"/>
                    </a:lnTo>
                    <a:lnTo>
                      <a:pt x="16275" y="6600"/>
                    </a:lnTo>
                    <a:lnTo>
                      <a:pt x="16036" y="6491"/>
                    </a:lnTo>
                    <a:lnTo>
                      <a:pt x="15895" y="6640"/>
                    </a:lnTo>
                    <a:lnTo>
                      <a:pt x="15798" y="6607"/>
                    </a:lnTo>
                    <a:lnTo>
                      <a:pt x="15670" y="6715"/>
                    </a:lnTo>
                    <a:lnTo>
                      <a:pt x="15496" y="6680"/>
                    </a:lnTo>
                    <a:lnTo>
                      <a:pt x="15429" y="6755"/>
                    </a:lnTo>
                    <a:lnTo>
                      <a:pt x="16138" y="6737"/>
                    </a:lnTo>
                    <a:lnTo>
                      <a:pt x="16138" y="6926"/>
                    </a:lnTo>
                    <a:lnTo>
                      <a:pt x="15968" y="7086"/>
                    </a:lnTo>
                    <a:lnTo>
                      <a:pt x="16015" y="7211"/>
                    </a:lnTo>
                    <a:lnTo>
                      <a:pt x="15999" y="7455"/>
                    </a:lnTo>
                    <a:lnTo>
                      <a:pt x="15859" y="7601"/>
                    </a:lnTo>
                    <a:lnTo>
                      <a:pt x="15852" y="7717"/>
                    </a:lnTo>
                    <a:lnTo>
                      <a:pt x="15720" y="7811"/>
                    </a:lnTo>
                    <a:lnTo>
                      <a:pt x="15895" y="7920"/>
                    </a:lnTo>
                    <a:lnTo>
                      <a:pt x="15829" y="8045"/>
                    </a:lnTo>
                    <a:lnTo>
                      <a:pt x="16114" y="8050"/>
                    </a:lnTo>
                    <a:lnTo>
                      <a:pt x="15973" y="8185"/>
                    </a:lnTo>
                    <a:lnTo>
                      <a:pt x="16046" y="8298"/>
                    </a:lnTo>
                    <a:lnTo>
                      <a:pt x="16320" y="8459"/>
                    </a:lnTo>
                    <a:lnTo>
                      <a:pt x="16507" y="8492"/>
                    </a:lnTo>
                    <a:lnTo>
                      <a:pt x="16507" y="8678"/>
                    </a:lnTo>
                    <a:lnTo>
                      <a:pt x="16379" y="8688"/>
                    </a:lnTo>
                    <a:lnTo>
                      <a:pt x="16384" y="8740"/>
                    </a:lnTo>
                    <a:lnTo>
                      <a:pt x="16249" y="8709"/>
                    </a:lnTo>
                    <a:lnTo>
                      <a:pt x="16249" y="8799"/>
                    </a:lnTo>
                    <a:lnTo>
                      <a:pt x="16081" y="8922"/>
                    </a:lnTo>
                    <a:lnTo>
                      <a:pt x="15654" y="8922"/>
                    </a:lnTo>
                    <a:lnTo>
                      <a:pt x="15710" y="9052"/>
                    </a:lnTo>
                    <a:lnTo>
                      <a:pt x="15710" y="9316"/>
                    </a:lnTo>
                    <a:lnTo>
                      <a:pt x="15840" y="9316"/>
                    </a:lnTo>
                    <a:lnTo>
                      <a:pt x="15840" y="9394"/>
                    </a:lnTo>
                    <a:lnTo>
                      <a:pt x="16110" y="9359"/>
                    </a:lnTo>
                    <a:lnTo>
                      <a:pt x="16138" y="9602"/>
                    </a:lnTo>
                    <a:lnTo>
                      <a:pt x="16029" y="9616"/>
                    </a:lnTo>
                    <a:lnTo>
                      <a:pt x="16081" y="9869"/>
                    </a:lnTo>
                    <a:lnTo>
                      <a:pt x="15637" y="9822"/>
                    </a:lnTo>
                    <a:lnTo>
                      <a:pt x="15446" y="9869"/>
                    </a:lnTo>
                    <a:lnTo>
                      <a:pt x="15384" y="9975"/>
                    </a:lnTo>
                    <a:lnTo>
                      <a:pt x="14964" y="10013"/>
                    </a:lnTo>
                    <a:lnTo>
                      <a:pt x="14903" y="9975"/>
                    </a:lnTo>
                    <a:lnTo>
                      <a:pt x="14836" y="9819"/>
                    </a:lnTo>
                    <a:lnTo>
                      <a:pt x="14733" y="9798"/>
                    </a:lnTo>
                    <a:lnTo>
                      <a:pt x="14733" y="9524"/>
                    </a:lnTo>
                    <a:lnTo>
                      <a:pt x="14640" y="9311"/>
                    </a:lnTo>
                    <a:lnTo>
                      <a:pt x="14574" y="9259"/>
                    </a:lnTo>
                    <a:lnTo>
                      <a:pt x="14385" y="9217"/>
                    </a:lnTo>
                    <a:lnTo>
                      <a:pt x="14333" y="9160"/>
                    </a:lnTo>
                    <a:lnTo>
                      <a:pt x="14333" y="8917"/>
                    </a:lnTo>
                    <a:lnTo>
                      <a:pt x="14281" y="8874"/>
                    </a:lnTo>
                    <a:lnTo>
                      <a:pt x="14355" y="8759"/>
                    </a:lnTo>
                    <a:lnTo>
                      <a:pt x="14355" y="8659"/>
                    </a:lnTo>
                    <a:lnTo>
                      <a:pt x="14322" y="8574"/>
                    </a:lnTo>
                    <a:lnTo>
                      <a:pt x="14144" y="8537"/>
                    </a:lnTo>
                    <a:lnTo>
                      <a:pt x="14073" y="8459"/>
                    </a:lnTo>
                    <a:lnTo>
                      <a:pt x="14196" y="8286"/>
                    </a:lnTo>
                    <a:lnTo>
                      <a:pt x="13934" y="8059"/>
                    </a:lnTo>
                    <a:lnTo>
                      <a:pt x="13778" y="8116"/>
                    </a:lnTo>
                    <a:lnTo>
                      <a:pt x="13748" y="8213"/>
                    </a:lnTo>
                    <a:lnTo>
                      <a:pt x="13516" y="8310"/>
                    </a:lnTo>
                    <a:lnTo>
                      <a:pt x="13469" y="8211"/>
                    </a:lnTo>
                    <a:lnTo>
                      <a:pt x="13379" y="8244"/>
                    </a:lnTo>
                    <a:lnTo>
                      <a:pt x="13377" y="8459"/>
                    </a:lnTo>
                    <a:lnTo>
                      <a:pt x="13192" y="8643"/>
                    </a:lnTo>
                    <a:lnTo>
                      <a:pt x="13067" y="8478"/>
                    </a:lnTo>
                    <a:lnTo>
                      <a:pt x="12729" y="8400"/>
                    </a:lnTo>
                    <a:lnTo>
                      <a:pt x="12607" y="8324"/>
                    </a:lnTo>
                    <a:lnTo>
                      <a:pt x="12557" y="8470"/>
                    </a:lnTo>
                    <a:lnTo>
                      <a:pt x="12347" y="8473"/>
                    </a:lnTo>
                    <a:lnTo>
                      <a:pt x="12186" y="8374"/>
                    </a:lnTo>
                    <a:lnTo>
                      <a:pt x="12172" y="8591"/>
                    </a:lnTo>
                    <a:lnTo>
                      <a:pt x="12002" y="8459"/>
                    </a:lnTo>
                    <a:lnTo>
                      <a:pt x="11716" y="8470"/>
                    </a:lnTo>
                    <a:lnTo>
                      <a:pt x="11787" y="8744"/>
                    </a:lnTo>
                    <a:lnTo>
                      <a:pt x="11749" y="8837"/>
                    </a:lnTo>
                    <a:lnTo>
                      <a:pt x="11922" y="8983"/>
                    </a:lnTo>
                    <a:lnTo>
                      <a:pt x="11877" y="9215"/>
                    </a:lnTo>
                    <a:lnTo>
                      <a:pt x="11688" y="9238"/>
                    </a:lnTo>
                    <a:lnTo>
                      <a:pt x="10896" y="9892"/>
                    </a:lnTo>
                    <a:lnTo>
                      <a:pt x="10894" y="10008"/>
                    </a:lnTo>
                    <a:lnTo>
                      <a:pt x="10674" y="10030"/>
                    </a:lnTo>
                    <a:lnTo>
                      <a:pt x="10681" y="10143"/>
                    </a:lnTo>
                    <a:lnTo>
                      <a:pt x="10800" y="10176"/>
                    </a:lnTo>
                    <a:lnTo>
                      <a:pt x="10885" y="10365"/>
                    </a:lnTo>
                    <a:lnTo>
                      <a:pt x="10740" y="10412"/>
                    </a:lnTo>
                    <a:lnTo>
                      <a:pt x="10740" y="10497"/>
                    </a:lnTo>
                    <a:lnTo>
                      <a:pt x="10644" y="10637"/>
                    </a:lnTo>
                    <a:lnTo>
                      <a:pt x="10081" y="10540"/>
                    </a:lnTo>
                    <a:lnTo>
                      <a:pt x="10093" y="10448"/>
                    </a:lnTo>
                    <a:lnTo>
                      <a:pt x="9885" y="10237"/>
                    </a:lnTo>
                    <a:lnTo>
                      <a:pt x="9805" y="10249"/>
                    </a:lnTo>
                    <a:lnTo>
                      <a:pt x="9718" y="10141"/>
                    </a:lnTo>
                    <a:lnTo>
                      <a:pt x="9741" y="10037"/>
                    </a:lnTo>
                    <a:lnTo>
                      <a:pt x="9600" y="9954"/>
                    </a:lnTo>
                    <a:lnTo>
                      <a:pt x="9600" y="9845"/>
                    </a:lnTo>
                    <a:lnTo>
                      <a:pt x="9403" y="9937"/>
                    </a:lnTo>
                    <a:lnTo>
                      <a:pt x="9387" y="9911"/>
                    </a:lnTo>
                    <a:lnTo>
                      <a:pt x="9491" y="9737"/>
                    </a:lnTo>
                    <a:lnTo>
                      <a:pt x="9382" y="9446"/>
                    </a:lnTo>
                    <a:lnTo>
                      <a:pt x="9387" y="9344"/>
                    </a:lnTo>
                    <a:lnTo>
                      <a:pt x="9059" y="9262"/>
                    </a:lnTo>
                    <a:lnTo>
                      <a:pt x="8877" y="9311"/>
                    </a:lnTo>
                    <a:lnTo>
                      <a:pt x="8874" y="9557"/>
                    </a:lnTo>
                    <a:lnTo>
                      <a:pt x="8806" y="9588"/>
                    </a:lnTo>
                    <a:lnTo>
                      <a:pt x="8834" y="9689"/>
                    </a:lnTo>
                    <a:lnTo>
                      <a:pt x="8496" y="9833"/>
                    </a:lnTo>
                    <a:lnTo>
                      <a:pt x="8371" y="9555"/>
                    </a:lnTo>
                    <a:lnTo>
                      <a:pt x="8333" y="9567"/>
                    </a:lnTo>
                    <a:lnTo>
                      <a:pt x="8300" y="9503"/>
                    </a:lnTo>
                    <a:lnTo>
                      <a:pt x="8007" y="9451"/>
                    </a:lnTo>
                    <a:lnTo>
                      <a:pt x="8059" y="9711"/>
                    </a:lnTo>
                    <a:lnTo>
                      <a:pt x="7911" y="9666"/>
                    </a:lnTo>
                    <a:lnTo>
                      <a:pt x="7759" y="9711"/>
                    </a:lnTo>
                    <a:lnTo>
                      <a:pt x="7606" y="9661"/>
                    </a:lnTo>
                    <a:lnTo>
                      <a:pt x="7398" y="9696"/>
                    </a:lnTo>
                    <a:lnTo>
                      <a:pt x="7278" y="9796"/>
                    </a:lnTo>
                    <a:lnTo>
                      <a:pt x="6982" y="9911"/>
                    </a:lnTo>
                    <a:lnTo>
                      <a:pt x="6987" y="10176"/>
                    </a:lnTo>
                    <a:lnTo>
                      <a:pt x="6519" y="10287"/>
                    </a:lnTo>
                    <a:lnTo>
                      <a:pt x="6515" y="10400"/>
                    </a:lnTo>
                    <a:lnTo>
                      <a:pt x="6212" y="10495"/>
                    </a:lnTo>
                    <a:lnTo>
                      <a:pt x="6229" y="10698"/>
                    </a:lnTo>
                    <a:lnTo>
                      <a:pt x="6278" y="10715"/>
                    </a:lnTo>
                    <a:lnTo>
                      <a:pt x="6609" y="10639"/>
                    </a:lnTo>
                    <a:lnTo>
                      <a:pt x="6666" y="10561"/>
                    </a:lnTo>
                    <a:lnTo>
                      <a:pt x="7008" y="10452"/>
                    </a:lnTo>
                    <a:lnTo>
                      <a:pt x="7119" y="10689"/>
                    </a:lnTo>
                    <a:lnTo>
                      <a:pt x="7233" y="10684"/>
                    </a:lnTo>
                    <a:lnTo>
                      <a:pt x="7164" y="10818"/>
                    </a:lnTo>
                    <a:lnTo>
                      <a:pt x="7141" y="10833"/>
                    </a:lnTo>
                    <a:lnTo>
                      <a:pt x="7029" y="10899"/>
                    </a:lnTo>
                    <a:lnTo>
                      <a:pt x="6978" y="10816"/>
                    </a:lnTo>
                    <a:lnTo>
                      <a:pt x="6678" y="10814"/>
                    </a:lnTo>
                    <a:lnTo>
                      <a:pt x="6654" y="10979"/>
                    </a:lnTo>
                    <a:lnTo>
                      <a:pt x="6274" y="11055"/>
                    </a:lnTo>
                    <a:lnTo>
                      <a:pt x="6252" y="10951"/>
                    </a:lnTo>
                    <a:lnTo>
                      <a:pt x="6018" y="11010"/>
                    </a:lnTo>
                    <a:lnTo>
                      <a:pt x="5787" y="10627"/>
                    </a:lnTo>
                    <a:lnTo>
                      <a:pt x="5496" y="10660"/>
                    </a:lnTo>
                    <a:lnTo>
                      <a:pt x="5480" y="10483"/>
                    </a:lnTo>
                    <a:lnTo>
                      <a:pt x="5305" y="10452"/>
                    </a:lnTo>
                    <a:lnTo>
                      <a:pt x="5338" y="10289"/>
                    </a:lnTo>
                    <a:lnTo>
                      <a:pt x="5459" y="10261"/>
                    </a:lnTo>
                    <a:lnTo>
                      <a:pt x="5615" y="10377"/>
                    </a:lnTo>
                    <a:lnTo>
                      <a:pt x="5770" y="10370"/>
                    </a:lnTo>
                    <a:lnTo>
                      <a:pt x="5827" y="10141"/>
                    </a:lnTo>
                    <a:lnTo>
                      <a:pt x="5367" y="9909"/>
                    </a:lnTo>
                    <a:lnTo>
                      <a:pt x="5083" y="9888"/>
                    </a:lnTo>
                    <a:lnTo>
                      <a:pt x="4979" y="9824"/>
                    </a:lnTo>
                    <a:lnTo>
                      <a:pt x="4880" y="9843"/>
                    </a:lnTo>
                    <a:lnTo>
                      <a:pt x="4837" y="9921"/>
                    </a:lnTo>
                    <a:lnTo>
                      <a:pt x="4703" y="9904"/>
                    </a:lnTo>
                    <a:lnTo>
                      <a:pt x="4698" y="9833"/>
                    </a:lnTo>
                    <a:lnTo>
                      <a:pt x="4788" y="9833"/>
                    </a:lnTo>
                    <a:lnTo>
                      <a:pt x="4759" y="9730"/>
                    </a:lnTo>
                    <a:lnTo>
                      <a:pt x="4530" y="9675"/>
                    </a:lnTo>
                    <a:lnTo>
                      <a:pt x="4511" y="9871"/>
                    </a:lnTo>
                    <a:lnTo>
                      <a:pt x="4296" y="9845"/>
                    </a:lnTo>
                    <a:lnTo>
                      <a:pt x="4159" y="9928"/>
                    </a:lnTo>
                    <a:lnTo>
                      <a:pt x="4030" y="9800"/>
                    </a:lnTo>
                    <a:lnTo>
                      <a:pt x="3878" y="9800"/>
                    </a:lnTo>
                    <a:lnTo>
                      <a:pt x="3774" y="9867"/>
                    </a:lnTo>
                    <a:lnTo>
                      <a:pt x="3784" y="10065"/>
                    </a:lnTo>
                    <a:lnTo>
                      <a:pt x="3623" y="10280"/>
                    </a:lnTo>
                    <a:lnTo>
                      <a:pt x="3526" y="10244"/>
                    </a:lnTo>
                    <a:lnTo>
                      <a:pt x="3458" y="10098"/>
                    </a:lnTo>
                    <a:lnTo>
                      <a:pt x="3054" y="10143"/>
                    </a:lnTo>
                    <a:lnTo>
                      <a:pt x="2860" y="9902"/>
                    </a:lnTo>
                    <a:lnTo>
                      <a:pt x="2433" y="9883"/>
                    </a:lnTo>
                    <a:lnTo>
                      <a:pt x="2435" y="9796"/>
                    </a:lnTo>
                    <a:lnTo>
                      <a:pt x="2338" y="9611"/>
                    </a:lnTo>
                    <a:lnTo>
                      <a:pt x="2109" y="9524"/>
                    </a:lnTo>
                    <a:lnTo>
                      <a:pt x="2038" y="8936"/>
                    </a:lnTo>
                    <a:lnTo>
                      <a:pt x="1906" y="8941"/>
                    </a:lnTo>
                    <a:lnTo>
                      <a:pt x="1892" y="9115"/>
                    </a:lnTo>
                    <a:lnTo>
                      <a:pt x="1783" y="9113"/>
                    </a:lnTo>
                    <a:lnTo>
                      <a:pt x="1733" y="9186"/>
                    </a:lnTo>
                    <a:lnTo>
                      <a:pt x="1235" y="9366"/>
                    </a:lnTo>
                    <a:lnTo>
                      <a:pt x="1181" y="9458"/>
                    </a:lnTo>
                    <a:lnTo>
                      <a:pt x="996" y="9446"/>
                    </a:lnTo>
                    <a:lnTo>
                      <a:pt x="779" y="9283"/>
                    </a:lnTo>
                    <a:lnTo>
                      <a:pt x="597" y="9314"/>
                    </a:lnTo>
                    <a:lnTo>
                      <a:pt x="115" y="9248"/>
                    </a:lnTo>
                    <a:lnTo>
                      <a:pt x="0" y="9011"/>
                    </a:lnTo>
                    <a:lnTo>
                      <a:pt x="14" y="8638"/>
                    </a:lnTo>
                    <a:lnTo>
                      <a:pt x="73" y="8633"/>
                    </a:lnTo>
                    <a:lnTo>
                      <a:pt x="101" y="8563"/>
                    </a:lnTo>
                    <a:lnTo>
                      <a:pt x="243" y="8468"/>
                    </a:lnTo>
                    <a:lnTo>
                      <a:pt x="385" y="8114"/>
                    </a:lnTo>
                    <a:lnTo>
                      <a:pt x="508" y="7981"/>
                    </a:lnTo>
                    <a:lnTo>
                      <a:pt x="652" y="7842"/>
                    </a:lnTo>
                    <a:lnTo>
                      <a:pt x="857" y="7783"/>
                    </a:lnTo>
                    <a:lnTo>
                      <a:pt x="904" y="7608"/>
                    </a:lnTo>
                    <a:lnTo>
                      <a:pt x="1082" y="7481"/>
                    </a:lnTo>
                    <a:lnTo>
                      <a:pt x="1230" y="7488"/>
                    </a:lnTo>
                    <a:lnTo>
                      <a:pt x="1372" y="7372"/>
                    </a:lnTo>
                    <a:lnTo>
                      <a:pt x="1481" y="7332"/>
                    </a:lnTo>
                    <a:lnTo>
                      <a:pt x="1478" y="7185"/>
                    </a:lnTo>
                    <a:lnTo>
                      <a:pt x="1530" y="7122"/>
                    </a:lnTo>
                    <a:lnTo>
                      <a:pt x="1490" y="7044"/>
                    </a:lnTo>
                    <a:lnTo>
                      <a:pt x="1540" y="6980"/>
                    </a:lnTo>
                    <a:lnTo>
                      <a:pt x="1485" y="6892"/>
                    </a:lnTo>
                    <a:lnTo>
                      <a:pt x="1497" y="6781"/>
                    </a:lnTo>
                    <a:lnTo>
                      <a:pt x="1573" y="6713"/>
                    </a:lnTo>
                    <a:lnTo>
                      <a:pt x="1646" y="6493"/>
                    </a:lnTo>
                    <a:lnTo>
                      <a:pt x="1639" y="6378"/>
                    </a:lnTo>
                    <a:lnTo>
                      <a:pt x="1684" y="6326"/>
                    </a:lnTo>
                    <a:lnTo>
                      <a:pt x="1698" y="6172"/>
                    </a:lnTo>
                    <a:lnTo>
                      <a:pt x="1764" y="6009"/>
                    </a:lnTo>
                    <a:lnTo>
                      <a:pt x="1762" y="5948"/>
                    </a:lnTo>
                    <a:lnTo>
                      <a:pt x="1712" y="5938"/>
                    </a:lnTo>
                    <a:lnTo>
                      <a:pt x="1771" y="5879"/>
                    </a:lnTo>
                    <a:lnTo>
                      <a:pt x="1752" y="5787"/>
                    </a:lnTo>
                    <a:lnTo>
                      <a:pt x="1807" y="5511"/>
                    </a:lnTo>
                    <a:lnTo>
                      <a:pt x="1837" y="5418"/>
                    </a:lnTo>
                    <a:lnTo>
                      <a:pt x="1913" y="5362"/>
                    </a:lnTo>
                    <a:lnTo>
                      <a:pt x="1941" y="5199"/>
                    </a:lnTo>
                    <a:lnTo>
                      <a:pt x="2024" y="5260"/>
                    </a:lnTo>
                    <a:lnTo>
                      <a:pt x="2015" y="5341"/>
                    </a:lnTo>
                    <a:lnTo>
                      <a:pt x="2107" y="5305"/>
                    </a:lnTo>
                    <a:lnTo>
                      <a:pt x="2170" y="5222"/>
                    </a:lnTo>
                    <a:lnTo>
                      <a:pt x="2111" y="5107"/>
                    </a:lnTo>
                    <a:lnTo>
                      <a:pt x="2232" y="5045"/>
                    </a:lnTo>
                    <a:lnTo>
                      <a:pt x="2272" y="4958"/>
                    </a:lnTo>
                    <a:lnTo>
                      <a:pt x="2404" y="4939"/>
                    </a:lnTo>
                    <a:lnTo>
                      <a:pt x="2350" y="4863"/>
                    </a:lnTo>
                    <a:lnTo>
                      <a:pt x="2359" y="4795"/>
                    </a:lnTo>
                    <a:lnTo>
                      <a:pt x="2421" y="4842"/>
                    </a:lnTo>
                    <a:lnTo>
                      <a:pt x="2468" y="4809"/>
                    </a:lnTo>
                    <a:lnTo>
                      <a:pt x="2511" y="4844"/>
                    </a:lnTo>
                    <a:lnTo>
                      <a:pt x="2567" y="4830"/>
                    </a:lnTo>
                    <a:lnTo>
                      <a:pt x="2589" y="4802"/>
                    </a:lnTo>
                    <a:lnTo>
                      <a:pt x="2527" y="4724"/>
                    </a:lnTo>
                    <a:lnTo>
                      <a:pt x="2579" y="4677"/>
                    </a:lnTo>
                    <a:lnTo>
                      <a:pt x="2667" y="4710"/>
                    </a:lnTo>
                    <a:lnTo>
                      <a:pt x="2700" y="4651"/>
                    </a:lnTo>
                    <a:lnTo>
                      <a:pt x="2787" y="4634"/>
                    </a:lnTo>
                    <a:lnTo>
                      <a:pt x="2891" y="4559"/>
                    </a:lnTo>
                    <a:lnTo>
                      <a:pt x="2967" y="4381"/>
                    </a:lnTo>
                    <a:lnTo>
                      <a:pt x="3028" y="4391"/>
                    </a:lnTo>
                    <a:lnTo>
                      <a:pt x="3028" y="4464"/>
                    </a:lnTo>
                    <a:lnTo>
                      <a:pt x="3104" y="4471"/>
                    </a:lnTo>
                    <a:lnTo>
                      <a:pt x="3115" y="4374"/>
                    </a:lnTo>
                    <a:lnTo>
                      <a:pt x="3198" y="4348"/>
                    </a:lnTo>
                    <a:lnTo>
                      <a:pt x="3179" y="4438"/>
                    </a:lnTo>
                    <a:lnTo>
                      <a:pt x="3241" y="4459"/>
                    </a:lnTo>
                    <a:lnTo>
                      <a:pt x="3337" y="4327"/>
                    </a:lnTo>
                    <a:lnTo>
                      <a:pt x="3604" y="4306"/>
                    </a:lnTo>
                    <a:lnTo>
                      <a:pt x="3699" y="4204"/>
                    </a:lnTo>
                    <a:lnTo>
                      <a:pt x="3739" y="3918"/>
                    </a:lnTo>
                    <a:lnTo>
                      <a:pt x="3812" y="3867"/>
                    </a:lnTo>
                    <a:lnTo>
                      <a:pt x="3810" y="3772"/>
                    </a:lnTo>
                    <a:lnTo>
                      <a:pt x="3838" y="3751"/>
                    </a:lnTo>
                    <a:lnTo>
                      <a:pt x="3980" y="3789"/>
                    </a:lnTo>
                    <a:lnTo>
                      <a:pt x="4105" y="3699"/>
                    </a:lnTo>
                    <a:lnTo>
                      <a:pt x="4195" y="3815"/>
                    </a:lnTo>
                    <a:lnTo>
                      <a:pt x="4273" y="3800"/>
                    </a:lnTo>
                    <a:lnTo>
                      <a:pt x="4308" y="3689"/>
                    </a:lnTo>
                    <a:lnTo>
                      <a:pt x="4407" y="3602"/>
                    </a:lnTo>
                    <a:lnTo>
                      <a:pt x="4344" y="3481"/>
                    </a:lnTo>
                    <a:lnTo>
                      <a:pt x="4419" y="3503"/>
                    </a:lnTo>
                    <a:lnTo>
                      <a:pt x="4502" y="3463"/>
                    </a:lnTo>
                    <a:lnTo>
                      <a:pt x="4526" y="3375"/>
                    </a:lnTo>
                    <a:lnTo>
                      <a:pt x="4752" y="3297"/>
                    </a:lnTo>
                    <a:lnTo>
                      <a:pt x="4878" y="3189"/>
                    </a:lnTo>
                    <a:lnTo>
                      <a:pt x="4887" y="3030"/>
                    </a:lnTo>
                    <a:lnTo>
                      <a:pt x="4925" y="2969"/>
                    </a:lnTo>
                    <a:lnTo>
                      <a:pt x="4896" y="2863"/>
                    </a:lnTo>
                    <a:lnTo>
                      <a:pt x="5007" y="2846"/>
                    </a:lnTo>
                    <a:lnTo>
                      <a:pt x="5227" y="2676"/>
                    </a:lnTo>
                    <a:lnTo>
                      <a:pt x="5258" y="2615"/>
                    </a:lnTo>
                    <a:lnTo>
                      <a:pt x="5230" y="2433"/>
                    </a:lnTo>
                    <a:lnTo>
                      <a:pt x="5357" y="2383"/>
                    </a:lnTo>
                    <a:lnTo>
                      <a:pt x="5579" y="2196"/>
                    </a:lnTo>
                    <a:lnTo>
                      <a:pt x="5598" y="2000"/>
                    </a:lnTo>
                    <a:lnTo>
                      <a:pt x="5728" y="1859"/>
                    </a:lnTo>
                    <a:lnTo>
                      <a:pt x="5912" y="1776"/>
                    </a:lnTo>
                    <a:lnTo>
                      <a:pt x="5971" y="1679"/>
                    </a:lnTo>
                    <a:lnTo>
                      <a:pt x="6108" y="1620"/>
                    </a:lnTo>
                    <a:lnTo>
                      <a:pt x="6184" y="1537"/>
                    </a:lnTo>
                    <a:lnTo>
                      <a:pt x="6512" y="1516"/>
                    </a:lnTo>
                    <a:lnTo>
                      <a:pt x="6713" y="1573"/>
                    </a:lnTo>
                    <a:lnTo>
                      <a:pt x="6843" y="1495"/>
                    </a:lnTo>
                    <a:lnTo>
                      <a:pt x="7081" y="1478"/>
                    </a:lnTo>
                    <a:lnTo>
                      <a:pt x="7365" y="1320"/>
                    </a:lnTo>
                    <a:lnTo>
                      <a:pt x="7719" y="1223"/>
                    </a:lnTo>
                    <a:lnTo>
                      <a:pt x="7722" y="1148"/>
                    </a:lnTo>
                    <a:lnTo>
                      <a:pt x="7835" y="1093"/>
                    </a:lnTo>
                    <a:lnTo>
                      <a:pt x="7996" y="1138"/>
                    </a:lnTo>
                    <a:lnTo>
                      <a:pt x="8173" y="841"/>
                    </a:lnTo>
                    <a:lnTo>
                      <a:pt x="8152" y="621"/>
                    </a:lnTo>
                    <a:lnTo>
                      <a:pt x="8182" y="552"/>
                    </a:lnTo>
                    <a:lnTo>
                      <a:pt x="8241" y="526"/>
                    </a:lnTo>
                    <a:lnTo>
                      <a:pt x="8303" y="356"/>
                    </a:lnTo>
                    <a:lnTo>
                      <a:pt x="8366" y="309"/>
                    </a:lnTo>
                    <a:lnTo>
                      <a:pt x="8740" y="300"/>
                    </a:lnTo>
                    <a:lnTo>
                      <a:pt x="8896" y="189"/>
                    </a:lnTo>
                    <a:lnTo>
                      <a:pt x="9122" y="229"/>
                    </a:lnTo>
                    <a:lnTo>
                      <a:pt x="9259" y="215"/>
                    </a:lnTo>
                    <a:lnTo>
                      <a:pt x="9321" y="267"/>
                    </a:lnTo>
                    <a:lnTo>
                      <a:pt x="9720" y="139"/>
                    </a:lnTo>
                    <a:lnTo>
                      <a:pt x="9900" y="172"/>
                    </a:lnTo>
                    <a:lnTo>
                      <a:pt x="9956" y="89"/>
                    </a:lnTo>
                    <a:lnTo>
                      <a:pt x="10074" y="54"/>
                    </a:lnTo>
                    <a:lnTo>
                      <a:pt x="10190" y="96"/>
                    </a:lnTo>
                    <a:lnTo>
                      <a:pt x="10320" y="0"/>
                    </a:lnTo>
                    <a:lnTo>
                      <a:pt x="10398" y="42"/>
                    </a:lnTo>
                    <a:lnTo>
                      <a:pt x="10686" y="49"/>
                    </a:lnTo>
                    <a:lnTo>
                      <a:pt x="11043" y="222"/>
                    </a:lnTo>
                    <a:lnTo>
                      <a:pt x="11196" y="224"/>
                    </a:lnTo>
                    <a:lnTo>
                      <a:pt x="11303" y="307"/>
                    </a:lnTo>
                    <a:lnTo>
                      <a:pt x="11473" y="354"/>
                    </a:lnTo>
                    <a:lnTo>
                      <a:pt x="11503" y="430"/>
                    </a:lnTo>
                    <a:lnTo>
                      <a:pt x="11619" y="446"/>
                    </a:lnTo>
                    <a:lnTo>
                      <a:pt x="11832" y="621"/>
                    </a:lnTo>
                    <a:lnTo>
                      <a:pt x="12146" y="571"/>
                    </a:lnTo>
                    <a:lnTo>
                      <a:pt x="12351" y="767"/>
                    </a:lnTo>
                    <a:lnTo>
                      <a:pt x="12729" y="727"/>
                    </a:lnTo>
                    <a:lnTo>
                      <a:pt x="12973" y="640"/>
                    </a:lnTo>
                    <a:lnTo>
                      <a:pt x="13133" y="675"/>
                    </a:lnTo>
                    <a:lnTo>
                      <a:pt x="13339" y="656"/>
                    </a:lnTo>
                    <a:lnTo>
                      <a:pt x="13431" y="699"/>
                    </a:lnTo>
                    <a:lnTo>
                      <a:pt x="13547" y="618"/>
                    </a:lnTo>
                    <a:lnTo>
                      <a:pt x="13696" y="642"/>
                    </a:lnTo>
                    <a:lnTo>
                      <a:pt x="14064" y="559"/>
                    </a:lnTo>
                    <a:lnTo>
                      <a:pt x="14395" y="592"/>
                    </a:lnTo>
                    <a:lnTo>
                      <a:pt x="14855" y="741"/>
                    </a:lnTo>
                    <a:lnTo>
                      <a:pt x="15113" y="682"/>
                    </a:lnTo>
                    <a:lnTo>
                      <a:pt x="15250" y="798"/>
                    </a:lnTo>
                    <a:lnTo>
                      <a:pt x="15436" y="798"/>
                    </a:lnTo>
                    <a:lnTo>
                      <a:pt x="15597" y="1051"/>
                    </a:lnTo>
                    <a:lnTo>
                      <a:pt x="16386" y="3600"/>
                    </a:lnTo>
                    <a:lnTo>
                      <a:pt x="16346" y="4374"/>
                    </a:lnTo>
                    <a:lnTo>
                      <a:pt x="16381" y="4601"/>
                    </a:lnTo>
                    <a:lnTo>
                      <a:pt x="16802" y="5118"/>
                    </a:lnTo>
                    <a:lnTo>
                      <a:pt x="16821" y="5466"/>
                    </a:lnTo>
                    <a:lnTo>
                      <a:pt x="17033" y="6018"/>
                    </a:lnTo>
                    <a:lnTo>
                      <a:pt x="17392" y="6274"/>
                    </a:lnTo>
                    <a:close/>
                  </a:path>
                </a:pathLst>
              </a:custGeom>
              <a:solidFill>
                <a:srgbClr val="86CBC4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59" name="Freeform 171">
                <a:extLst>
                  <a:ext uri="{FF2B5EF4-FFF2-40B4-BE49-F238E27FC236}">
                    <a16:creationId xmlns:a16="http://schemas.microsoft.com/office/drawing/2014/main" id="{8FEC2B3A-245B-4B17-9952-7E1AD40212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97353" y="-4552951"/>
                <a:ext cx="18896014" cy="19802480"/>
              </a:xfrm>
              <a:custGeom>
                <a:avLst/>
                <a:gdLst>
                  <a:gd name="T0" fmla="*/ 11726 w 11903"/>
                  <a:gd name="T1" fmla="*/ 5442 h 12474"/>
                  <a:gd name="T2" fmla="*/ 9959 w 11903"/>
                  <a:gd name="T3" fmla="*/ 6144 h 12474"/>
                  <a:gd name="T4" fmla="*/ 8284 w 11903"/>
                  <a:gd name="T5" fmla="*/ 8263 h 12474"/>
                  <a:gd name="T6" fmla="*/ 8109 w 11903"/>
                  <a:gd name="T7" fmla="*/ 10081 h 12474"/>
                  <a:gd name="T8" fmla="*/ 8534 w 11903"/>
                  <a:gd name="T9" fmla="*/ 10710 h 12474"/>
                  <a:gd name="T10" fmla="*/ 8950 w 11903"/>
                  <a:gd name="T11" fmla="*/ 11839 h 12474"/>
                  <a:gd name="T12" fmla="*/ 8199 w 11903"/>
                  <a:gd name="T13" fmla="*/ 11752 h 12474"/>
                  <a:gd name="T14" fmla="*/ 7464 w 11903"/>
                  <a:gd name="T15" fmla="*/ 11633 h 12474"/>
                  <a:gd name="T16" fmla="*/ 6647 w 11903"/>
                  <a:gd name="T17" fmla="*/ 11586 h 12474"/>
                  <a:gd name="T18" fmla="*/ 5901 w 11903"/>
                  <a:gd name="T19" fmla="*/ 12016 h 12474"/>
                  <a:gd name="T20" fmla="*/ 5211 w 11903"/>
                  <a:gd name="T21" fmla="*/ 11933 h 12474"/>
                  <a:gd name="T22" fmla="*/ 4524 w 11903"/>
                  <a:gd name="T23" fmla="*/ 12259 h 12474"/>
                  <a:gd name="T24" fmla="*/ 4089 w 11903"/>
                  <a:gd name="T25" fmla="*/ 12231 h 12474"/>
                  <a:gd name="T26" fmla="*/ 3718 w 11903"/>
                  <a:gd name="T27" fmla="*/ 11626 h 12474"/>
                  <a:gd name="T28" fmla="*/ 3203 w 11903"/>
                  <a:gd name="T29" fmla="*/ 11369 h 12474"/>
                  <a:gd name="T30" fmla="*/ 2447 w 11903"/>
                  <a:gd name="T31" fmla="*/ 10915 h 12474"/>
                  <a:gd name="T32" fmla="*/ 1890 w 11903"/>
                  <a:gd name="T33" fmla="*/ 10833 h 12474"/>
                  <a:gd name="T34" fmla="*/ 1150 w 11903"/>
                  <a:gd name="T35" fmla="*/ 10620 h 12474"/>
                  <a:gd name="T36" fmla="*/ 626 w 11903"/>
                  <a:gd name="T37" fmla="*/ 10523 h 12474"/>
                  <a:gd name="T38" fmla="*/ 78 w 11903"/>
                  <a:gd name="T39" fmla="*/ 10193 h 12474"/>
                  <a:gd name="T40" fmla="*/ 265 w 11903"/>
                  <a:gd name="T41" fmla="*/ 9793 h 12474"/>
                  <a:gd name="T42" fmla="*/ 572 w 11903"/>
                  <a:gd name="T43" fmla="*/ 9311 h 12474"/>
                  <a:gd name="T44" fmla="*/ 1457 w 11903"/>
                  <a:gd name="T45" fmla="*/ 8981 h 12474"/>
                  <a:gd name="T46" fmla="*/ 1136 w 11903"/>
                  <a:gd name="T47" fmla="*/ 8355 h 12474"/>
                  <a:gd name="T48" fmla="*/ 586 w 11903"/>
                  <a:gd name="T49" fmla="*/ 7613 h 12474"/>
                  <a:gd name="T50" fmla="*/ 919 w 11903"/>
                  <a:gd name="T51" fmla="*/ 7197 h 12474"/>
                  <a:gd name="T52" fmla="*/ 1557 w 11903"/>
                  <a:gd name="T53" fmla="*/ 7204 h 12474"/>
                  <a:gd name="T54" fmla="*/ 2183 w 11903"/>
                  <a:gd name="T55" fmla="*/ 6186 h 12474"/>
                  <a:gd name="T56" fmla="*/ 1696 w 11903"/>
                  <a:gd name="T57" fmla="*/ 6078 h 12474"/>
                  <a:gd name="T58" fmla="*/ 1143 w 11903"/>
                  <a:gd name="T59" fmla="*/ 4566 h 12474"/>
                  <a:gd name="T60" fmla="*/ 607 w 11903"/>
                  <a:gd name="T61" fmla="*/ 4365 h 12474"/>
                  <a:gd name="T62" fmla="*/ 985 w 11903"/>
                  <a:gd name="T63" fmla="*/ 3902 h 12474"/>
                  <a:gd name="T64" fmla="*/ 1909 w 11903"/>
                  <a:gd name="T65" fmla="*/ 3392 h 12474"/>
                  <a:gd name="T66" fmla="*/ 2494 w 11903"/>
                  <a:gd name="T67" fmla="*/ 3559 h 12474"/>
                  <a:gd name="T68" fmla="*/ 3385 w 11903"/>
                  <a:gd name="T69" fmla="*/ 3070 h 12474"/>
                  <a:gd name="T70" fmla="*/ 3598 w 11903"/>
                  <a:gd name="T71" fmla="*/ 3680 h 12474"/>
                  <a:gd name="T72" fmla="*/ 4079 w 11903"/>
                  <a:gd name="T73" fmla="*/ 4266 h 12474"/>
                  <a:gd name="T74" fmla="*/ 4679 w 11903"/>
                  <a:gd name="T75" fmla="*/ 3869 h 12474"/>
                  <a:gd name="T76" fmla="*/ 5920 w 11903"/>
                  <a:gd name="T77" fmla="*/ 2709 h 12474"/>
                  <a:gd name="T78" fmla="*/ 6184 w 11903"/>
                  <a:gd name="T79" fmla="*/ 2100 h 12474"/>
                  <a:gd name="T80" fmla="*/ 7190 w 11903"/>
                  <a:gd name="T81" fmla="*/ 2369 h 12474"/>
                  <a:gd name="T82" fmla="*/ 7776 w 11903"/>
                  <a:gd name="T83" fmla="*/ 1842 h 12474"/>
                  <a:gd name="T84" fmla="*/ 8353 w 11903"/>
                  <a:gd name="T85" fmla="*/ 2385 h 12474"/>
                  <a:gd name="T86" fmla="*/ 8572 w 11903"/>
                  <a:gd name="T87" fmla="*/ 2985 h 12474"/>
                  <a:gd name="T88" fmla="*/ 8962 w 11903"/>
                  <a:gd name="T89" fmla="*/ 3739 h 12474"/>
                  <a:gd name="T90" fmla="*/ 10136 w 11903"/>
                  <a:gd name="T91" fmla="*/ 3328 h 12474"/>
                  <a:gd name="T92" fmla="*/ 9652 w 11903"/>
                  <a:gd name="T93" fmla="*/ 2648 h 12474"/>
                  <a:gd name="T94" fmla="*/ 10505 w 11903"/>
                  <a:gd name="T95" fmla="*/ 2404 h 12474"/>
                  <a:gd name="T96" fmla="*/ 9827 w 11903"/>
                  <a:gd name="T97" fmla="*/ 1771 h 12474"/>
                  <a:gd name="T98" fmla="*/ 10013 w 11903"/>
                  <a:gd name="T99" fmla="*/ 937 h 12474"/>
                  <a:gd name="T100" fmla="*/ 9668 w 11903"/>
                  <a:gd name="T101" fmla="*/ 441 h 12474"/>
                  <a:gd name="T102" fmla="*/ 10415 w 11903"/>
                  <a:gd name="T103" fmla="*/ 264 h 12474"/>
                  <a:gd name="T104" fmla="*/ 10906 w 11903"/>
                  <a:gd name="T105" fmla="*/ 314 h 12474"/>
                  <a:gd name="T106" fmla="*/ 11442 w 11903"/>
                  <a:gd name="T107" fmla="*/ 158 h 12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903" h="12474">
                    <a:moveTo>
                      <a:pt x="11903" y="3774"/>
                    </a:moveTo>
                    <a:lnTo>
                      <a:pt x="11893" y="4578"/>
                    </a:lnTo>
                    <a:lnTo>
                      <a:pt x="11867" y="4932"/>
                    </a:lnTo>
                    <a:lnTo>
                      <a:pt x="11752" y="5182"/>
                    </a:lnTo>
                    <a:lnTo>
                      <a:pt x="11728" y="5324"/>
                    </a:lnTo>
                    <a:lnTo>
                      <a:pt x="11726" y="5442"/>
                    </a:lnTo>
                    <a:lnTo>
                      <a:pt x="11787" y="5463"/>
                    </a:lnTo>
                    <a:lnTo>
                      <a:pt x="11827" y="5856"/>
                    </a:lnTo>
                    <a:lnTo>
                      <a:pt x="11591" y="6533"/>
                    </a:lnTo>
                    <a:lnTo>
                      <a:pt x="11730" y="6959"/>
                    </a:lnTo>
                    <a:lnTo>
                      <a:pt x="11371" y="7122"/>
                    </a:lnTo>
                    <a:lnTo>
                      <a:pt x="9959" y="6144"/>
                    </a:lnTo>
                    <a:lnTo>
                      <a:pt x="9628" y="6229"/>
                    </a:lnTo>
                    <a:lnTo>
                      <a:pt x="9442" y="6484"/>
                    </a:lnTo>
                    <a:lnTo>
                      <a:pt x="9035" y="6845"/>
                    </a:lnTo>
                    <a:lnTo>
                      <a:pt x="8988" y="7077"/>
                    </a:lnTo>
                    <a:lnTo>
                      <a:pt x="8563" y="7944"/>
                    </a:lnTo>
                    <a:lnTo>
                      <a:pt x="8284" y="8263"/>
                    </a:lnTo>
                    <a:lnTo>
                      <a:pt x="8081" y="8600"/>
                    </a:lnTo>
                    <a:lnTo>
                      <a:pt x="7960" y="9118"/>
                    </a:lnTo>
                    <a:lnTo>
                      <a:pt x="7968" y="9663"/>
                    </a:lnTo>
                    <a:lnTo>
                      <a:pt x="8015" y="10039"/>
                    </a:lnTo>
                    <a:lnTo>
                      <a:pt x="8050" y="10091"/>
                    </a:lnTo>
                    <a:lnTo>
                      <a:pt x="8109" y="10081"/>
                    </a:lnTo>
                    <a:lnTo>
                      <a:pt x="8301" y="9914"/>
                    </a:lnTo>
                    <a:lnTo>
                      <a:pt x="8348" y="10155"/>
                    </a:lnTo>
                    <a:lnTo>
                      <a:pt x="8551" y="10360"/>
                    </a:lnTo>
                    <a:lnTo>
                      <a:pt x="8568" y="10481"/>
                    </a:lnTo>
                    <a:lnTo>
                      <a:pt x="8511" y="10632"/>
                    </a:lnTo>
                    <a:lnTo>
                      <a:pt x="8534" y="10710"/>
                    </a:lnTo>
                    <a:lnTo>
                      <a:pt x="8827" y="11003"/>
                    </a:lnTo>
                    <a:lnTo>
                      <a:pt x="9087" y="11345"/>
                    </a:lnTo>
                    <a:lnTo>
                      <a:pt x="9527" y="11522"/>
                    </a:lnTo>
                    <a:lnTo>
                      <a:pt x="9184" y="11962"/>
                    </a:lnTo>
                    <a:lnTo>
                      <a:pt x="9094" y="11955"/>
                    </a:lnTo>
                    <a:lnTo>
                      <a:pt x="8950" y="11839"/>
                    </a:lnTo>
                    <a:lnTo>
                      <a:pt x="8863" y="11860"/>
                    </a:lnTo>
                    <a:lnTo>
                      <a:pt x="8792" y="11837"/>
                    </a:lnTo>
                    <a:lnTo>
                      <a:pt x="8480" y="11910"/>
                    </a:lnTo>
                    <a:lnTo>
                      <a:pt x="8381" y="11839"/>
                    </a:lnTo>
                    <a:lnTo>
                      <a:pt x="8353" y="11723"/>
                    </a:lnTo>
                    <a:lnTo>
                      <a:pt x="8199" y="11752"/>
                    </a:lnTo>
                    <a:lnTo>
                      <a:pt x="8081" y="11853"/>
                    </a:lnTo>
                    <a:lnTo>
                      <a:pt x="7939" y="11752"/>
                    </a:lnTo>
                    <a:lnTo>
                      <a:pt x="7861" y="11763"/>
                    </a:lnTo>
                    <a:lnTo>
                      <a:pt x="7776" y="11676"/>
                    </a:lnTo>
                    <a:lnTo>
                      <a:pt x="7613" y="11617"/>
                    </a:lnTo>
                    <a:lnTo>
                      <a:pt x="7464" y="11633"/>
                    </a:lnTo>
                    <a:lnTo>
                      <a:pt x="7275" y="11768"/>
                    </a:lnTo>
                    <a:lnTo>
                      <a:pt x="7034" y="11721"/>
                    </a:lnTo>
                    <a:lnTo>
                      <a:pt x="6841" y="11747"/>
                    </a:lnTo>
                    <a:lnTo>
                      <a:pt x="6789" y="11726"/>
                    </a:lnTo>
                    <a:lnTo>
                      <a:pt x="6768" y="11610"/>
                    </a:lnTo>
                    <a:lnTo>
                      <a:pt x="6647" y="11586"/>
                    </a:lnTo>
                    <a:lnTo>
                      <a:pt x="6569" y="11678"/>
                    </a:lnTo>
                    <a:lnTo>
                      <a:pt x="6465" y="11669"/>
                    </a:lnTo>
                    <a:lnTo>
                      <a:pt x="6316" y="11711"/>
                    </a:lnTo>
                    <a:lnTo>
                      <a:pt x="6142" y="11858"/>
                    </a:lnTo>
                    <a:lnTo>
                      <a:pt x="6002" y="11896"/>
                    </a:lnTo>
                    <a:lnTo>
                      <a:pt x="5901" y="12016"/>
                    </a:lnTo>
                    <a:lnTo>
                      <a:pt x="5638" y="11938"/>
                    </a:lnTo>
                    <a:lnTo>
                      <a:pt x="5636" y="11938"/>
                    </a:lnTo>
                    <a:lnTo>
                      <a:pt x="5612" y="11929"/>
                    </a:lnTo>
                    <a:lnTo>
                      <a:pt x="5478" y="12021"/>
                    </a:lnTo>
                    <a:lnTo>
                      <a:pt x="5312" y="11997"/>
                    </a:lnTo>
                    <a:lnTo>
                      <a:pt x="5211" y="11933"/>
                    </a:lnTo>
                    <a:lnTo>
                      <a:pt x="4951" y="12018"/>
                    </a:lnTo>
                    <a:lnTo>
                      <a:pt x="4802" y="12302"/>
                    </a:lnTo>
                    <a:lnTo>
                      <a:pt x="4705" y="12257"/>
                    </a:lnTo>
                    <a:lnTo>
                      <a:pt x="4691" y="12264"/>
                    </a:lnTo>
                    <a:lnTo>
                      <a:pt x="4691" y="12264"/>
                    </a:lnTo>
                    <a:lnTo>
                      <a:pt x="4524" y="12259"/>
                    </a:lnTo>
                    <a:lnTo>
                      <a:pt x="4460" y="12323"/>
                    </a:lnTo>
                    <a:lnTo>
                      <a:pt x="4457" y="12413"/>
                    </a:lnTo>
                    <a:lnTo>
                      <a:pt x="4358" y="12418"/>
                    </a:lnTo>
                    <a:lnTo>
                      <a:pt x="4292" y="12474"/>
                    </a:lnTo>
                    <a:lnTo>
                      <a:pt x="4212" y="12458"/>
                    </a:lnTo>
                    <a:lnTo>
                      <a:pt x="4089" y="12231"/>
                    </a:lnTo>
                    <a:lnTo>
                      <a:pt x="3957" y="12120"/>
                    </a:lnTo>
                    <a:lnTo>
                      <a:pt x="3992" y="12044"/>
                    </a:lnTo>
                    <a:lnTo>
                      <a:pt x="3784" y="11863"/>
                    </a:lnTo>
                    <a:lnTo>
                      <a:pt x="3801" y="11794"/>
                    </a:lnTo>
                    <a:lnTo>
                      <a:pt x="3739" y="11756"/>
                    </a:lnTo>
                    <a:lnTo>
                      <a:pt x="3718" y="11626"/>
                    </a:lnTo>
                    <a:lnTo>
                      <a:pt x="3664" y="11555"/>
                    </a:lnTo>
                    <a:lnTo>
                      <a:pt x="3515" y="11463"/>
                    </a:lnTo>
                    <a:lnTo>
                      <a:pt x="3321" y="11506"/>
                    </a:lnTo>
                    <a:lnTo>
                      <a:pt x="3335" y="11407"/>
                    </a:lnTo>
                    <a:lnTo>
                      <a:pt x="3295" y="11371"/>
                    </a:lnTo>
                    <a:lnTo>
                      <a:pt x="3203" y="11369"/>
                    </a:lnTo>
                    <a:lnTo>
                      <a:pt x="3151" y="11298"/>
                    </a:lnTo>
                    <a:lnTo>
                      <a:pt x="3047" y="11281"/>
                    </a:lnTo>
                    <a:lnTo>
                      <a:pt x="2924" y="11159"/>
                    </a:lnTo>
                    <a:lnTo>
                      <a:pt x="2750" y="11149"/>
                    </a:lnTo>
                    <a:lnTo>
                      <a:pt x="2620" y="11213"/>
                    </a:lnTo>
                    <a:lnTo>
                      <a:pt x="2447" y="10915"/>
                    </a:lnTo>
                    <a:lnTo>
                      <a:pt x="2426" y="10748"/>
                    </a:lnTo>
                    <a:lnTo>
                      <a:pt x="2334" y="10759"/>
                    </a:lnTo>
                    <a:lnTo>
                      <a:pt x="2239" y="10658"/>
                    </a:lnTo>
                    <a:lnTo>
                      <a:pt x="2161" y="10644"/>
                    </a:lnTo>
                    <a:lnTo>
                      <a:pt x="1951" y="10729"/>
                    </a:lnTo>
                    <a:lnTo>
                      <a:pt x="1890" y="10833"/>
                    </a:lnTo>
                    <a:lnTo>
                      <a:pt x="1793" y="10783"/>
                    </a:lnTo>
                    <a:lnTo>
                      <a:pt x="1679" y="10802"/>
                    </a:lnTo>
                    <a:lnTo>
                      <a:pt x="1323" y="10575"/>
                    </a:lnTo>
                    <a:lnTo>
                      <a:pt x="1134" y="10507"/>
                    </a:lnTo>
                    <a:lnTo>
                      <a:pt x="1032" y="10604"/>
                    </a:lnTo>
                    <a:lnTo>
                      <a:pt x="1150" y="10620"/>
                    </a:lnTo>
                    <a:lnTo>
                      <a:pt x="1143" y="10689"/>
                    </a:lnTo>
                    <a:lnTo>
                      <a:pt x="1009" y="10696"/>
                    </a:lnTo>
                    <a:lnTo>
                      <a:pt x="784" y="10863"/>
                    </a:lnTo>
                    <a:lnTo>
                      <a:pt x="853" y="10731"/>
                    </a:lnTo>
                    <a:lnTo>
                      <a:pt x="742" y="10677"/>
                    </a:lnTo>
                    <a:lnTo>
                      <a:pt x="626" y="10523"/>
                    </a:lnTo>
                    <a:lnTo>
                      <a:pt x="553" y="10526"/>
                    </a:lnTo>
                    <a:lnTo>
                      <a:pt x="442" y="10613"/>
                    </a:lnTo>
                    <a:lnTo>
                      <a:pt x="342" y="10417"/>
                    </a:lnTo>
                    <a:lnTo>
                      <a:pt x="120" y="10424"/>
                    </a:lnTo>
                    <a:lnTo>
                      <a:pt x="0" y="10351"/>
                    </a:lnTo>
                    <a:lnTo>
                      <a:pt x="78" y="10193"/>
                    </a:lnTo>
                    <a:lnTo>
                      <a:pt x="12" y="10155"/>
                    </a:lnTo>
                    <a:lnTo>
                      <a:pt x="14" y="10030"/>
                    </a:lnTo>
                    <a:lnTo>
                      <a:pt x="118" y="9999"/>
                    </a:lnTo>
                    <a:lnTo>
                      <a:pt x="118" y="9947"/>
                    </a:lnTo>
                    <a:lnTo>
                      <a:pt x="288" y="9888"/>
                    </a:lnTo>
                    <a:lnTo>
                      <a:pt x="265" y="9793"/>
                    </a:lnTo>
                    <a:lnTo>
                      <a:pt x="203" y="9765"/>
                    </a:lnTo>
                    <a:lnTo>
                      <a:pt x="267" y="9541"/>
                    </a:lnTo>
                    <a:lnTo>
                      <a:pt x="399" y="9515"/>
                    </a:lnTo>
                    <a:lnTo>
                      <a:pt x="416" y="9460"/>
                    </a:lnTo>
                    <a:lnTo>
                      <a:pt x="557" y="9448"/>
                    </a:lnTo>
                    <a:lnTo>
                      <a:pt x="572" y="9311"/>
                    </a:lnTo>
                    <a:lnTo>
                      <a:pt x="694" y="9302"/>
                    </a:lnTo>
                    <a:lnTo>
                      <a:pt x="697" y="9191"/>
                    </a:lnTo>
                    <a:lnTo>
                      <a:pt x="831" y="9087"/>
                    </a:lnTo>
                    <a:lnTo>
                      <a:pt x="1037" y="9115"/>
                    </a:lnTo>
                    <a:lnTo>
                      <a:pt x="1063" y="9009"/>
                    </a:lnTo>
                    <a:lnTo>
                      <a:pt x="1457" y="8981"/>
                    </a:lnTo>
                    <a:lnTo>
                      <a:pt x="1464" y="8770"/>
                    </a:lnTo>
                    <a:lnTo>
                      <a:pt x="1821" y="8596"/>
                    </a:lnTo>
                    <a:lnTo>
                      <a:pt x="1682" y="8310"/>
                    </a:lnTo>
                    <a:lnTo>
                      <a:pt x="1481" y="8331"/>
                    </a:lnTo>
                    <a:lnTo>
                      <a:pt x="1257" y="8428"/>
                    </a:lnTo>
                    <a:lnTo>
                      <a:pt x="1136" y="8355"/>
                    </a:lnTo>
                    <a:lnTo>
                      <a:pt x="1117" y="8298"/>
                    </a:lnTo>
                    <a:lnTo>
                      <a:pt x="1032" y="8286"/>
                    </a:lnTo>
                    <a:lnTo>
                      <a:pt x="1023" y="8064"/>
                    </a:lnTo>
                    <a:lnTo>
                      <a:pt x="723" y="7967"/>
                    </a:lnTo>
                    <a:lnTo>
                      <a:pt x="702" y="7700"/>
                    </a:lnTo>
                    <a:lnTo>
                      <a:pt x="586" y="7613"/>
                    </a:lnTo>
                    <a:lnTo>
                      <a:pt x="536" y="7441"/>
                    </a:lnTo>
                    <a:lnTo>
                      <a:pt x="678" y="7389"/>
                    </a:lnTo>
                    <a:lnTo>
                      <a:pt x="727" y="7405"/>
                    </a:lnTo>
                    <a:lnTo>
                      <a:pt x="746" y="7356"/>
                    </a:lnTo>
                    <a:lnTo>
                      <a:pt x="872" y="7396"/>
                    </a:lnTo>
                    <a:lnTo>
                      <a:pt x="919" y="7197"/>
                    </a:lnTo>
                    <a:lnTo>
                      <a:pt x="1037" y="7089"/>
                    </a:lnTo>
                    <a:lnTo>
                      <a:pt x="1297" y="7157"/>
                    </a:lnTo>
                    <a:lnTo>
                      <a:pt x="1427" y="7159"/>
                    </a:lnTo>
                    <a:lnTo>
                      <a:pt x="1448" y="7129"/>
                    </a:lnTo>
                    <a:lnTo>
                      <a:pt x="1502" y="7233"/>
                    </a:lnTo>
                    <a:lnTo>
                      <a:pt x="1557" y="7204"/>
                    </a:lnTo>
                    <a:lnTo>
                      <a:pt x="1743" y="7214"/>
                    </a:lnTo>
                    <a:lnTo>
                      <a:pt x="1854" y="6616"/>
                    </a:lnTo>
                    <a:lnTo>
                      <a:pt x="2057" y="6652"/>
                    </a:lnTo>
                    <a:lnTo>
                      <a:pt x="2076" y="6500"/>
                    </a:lnTo>
                    <a:lnTo>
                      <a:pt x="2031" y="6467"/>
                    </a:lnTo>
                    <a:lnTo>
                      <a:pt x="2183" y="6186"/>
                    </a:lnTo>
                    <a:lnTo>
                      <a:pt x="2098" y="6085"/>
                    </a:lnTo>
                    <a:lnTo>
                      <a:pt x="2133" y="5959"/>
                    </a:lnTo>
                    <a:lnTo>
                      <a:pt x="2435" y="5839"/>
                    </a:lnTo>
                    <a:lnTo>
                      <a:pt x="2360" y="5572"/>
                    </a:lnTo>
                    <a:lnTo>
                      <a:pt x="2043" y="5657"/>
                    </a:lnTo>
                    <a:lnTo>
                      <a:pt x="1696" y="6078"/>
                    </a:lnTo>
                    <a:lnTo>
                      <a:pt x="1202" y="6035"/>
                    </a:lnTo>
                    <a:lnTo>
                      <a:pt x="1032" y="5423"/>
                    </a:lnTo>
                    <a:lnTo>
                      <a:pt x="1108" y="5303"/>
                    </a:lnTo>
                    <a:lnTo>
                      <a:pt x="1051" y="5208"/>
                    </a:lnTo>
                    <a:lnTo>
                      <a:pt x="1117" y="5102"/>
                    </a:lnTo>
                    <a:lnTo>
                      <a:pt x="1143" y="4566"/>
                    </a:lnTo>
                    <a:lnTo>
                      <a:pt x="1344" y="4542"/>
                    </a:lnTo>
                    <a:lnTo>
                      <a:pt x="1552" y="4370"/>
                    </a:lnTo>
                    <a:lnTo>
                      <a:pt x="1462" y="4129"/>
                    </a:lnTo>
                    <a:lnTo>
                      <a:pt x="1006" y="4178"/>
                    </a:lnTo>
                    <a:lnTo>
                      <a:pt x="664" y="4287"/>
                    </a:lnTo>
                    <a:lnTo>
                      <a:pt x="607" y="4365"/>
                    </a:lnTo>
                    <a:lnTo>
                      <a:pt x="276" y="4441"/>
                    </a:lnTo>
                    <a:lnTo>
                      <a:pt x="227" y="4424"/>
                    </a:lnTo>
                    <a:lnTo>
                      <a:pt x="210" y="4221"/>
                    </a:lnTo>
                    <a:lnTo>
                      <a:pt x="513" y="4126"/>
                    </a:lnTo>
                    <a:lnTo>
                      <a:pt x="517" y="4013"/>
                    </a:lnTo>
                    <a:lnTo>
                      <a:pt x="985" y="3902"/>
                    </a:lnTo>
                    <a:lnTo>
                      <a:pt x="980" y="3637"/>
                    </a:lnTo>
                    <a:lnTo>
                      <a:pt x="1276" y="3522"/>
                    </a:lnTo>
                    <a:lnTo>
                      <a:pt x="1396" y="3422"/>
                    </a:lnTo>
                    <a:lnTo>
                      <a:pt x="1604" y="3387"/>
                    </a:lnTo>
                    <a:lnTo>
                      <a:pt x="1757" y="3437"/>
                    </a:lnTo>
                    <a:lnTo>
                      <a:pt x="1909" y="3392"/>
                    </a:lnTo>
                    <a:lnTo>
                      <a:pt x="2057" y="3437"/>
                    </a:lnTo>
                    <a:lnTo>
                      <a:pt x="2005" y="3177"/>
                    </a:lnTo>
                    <a:lnTo>
                      <a:pt x="2298" y="3229"/>
                    </a:lnTo>
                    <a:lnTo>
                      <a:pt x="2331" y="3293"/>
                    </a:lnTo>
                    <a:lnTo>
                      <a:pt x="2369" y="3281"/>
                    </a:lnTo>
                    <a:lnTo>
                      <a:pt x="2494" y="3559"/>
                    </a:lnTo>
                    <a:lnTo>
                      <a:pt x="2832" y="3415"/>
                    </a:lnTo>
                    <a:lnTo>
                      <a:pt x="2804" y="3314"/>
                    </a:lnTo>
                    <a:lnTo>
                      <a:pt x="2872" y="3283"/>
                    </a:lnTo>
                    <a:lnTo>
                      <a:pt x="2875" y="3037"/>
                    </a:lnTo>
                    <a:lnTo>
                      <a:pt x="3057" y="2988"/>
                    </a:lnTo>
                    <a:lnTo>
                      <a:pt x="3385" y="3070"/>
                    </a:lnTo>
                    <a:lnTo>
                      <a:pt x="3380" y="3172"/>
                    </a:lnTo>
                    <a:lnTo>
                      <a:pt x="3489" y="3463"/>
                    </a:lnTo>
                    <a:lnTo>
                      <a:pt x="3385" y="3637"/>
                    </a:lnTo>
                    <a:lnTo>
                      <a:pt x="3401" y="3663"/>
                    </a:lnTo>
                    <a:lnTo>
                      <a:pt x="3598" y="3571"/>
                    </a:lnTo>
                    <a:lnTo>
                      <a:pt x="3598" y="3680"/>
                    </a:lnTo>
                    <a:lnTo>
                      <a:pt x="3739" y="3763"/>
                    </a:lnTo>
                    <a:lnTo>
                      <a:pt x="3716" y="3867"/>
                    </a:lnTo>
                    <a:lnTo>
                      <a:pt x="3803" y="3975"/>
                    </a:lnTo>
                    <a:lnTo>
                      <a:pt x="3883" y="3963"/>
                    </a:lnTo>
                    <a:lnTo>
                      <a:pt x="4091" y="4174"/>
                    </a:lnTo>
                    <a:lnTo>
                      <a:pt x="4079" y="4266"/>
                    </a:lnTo>
                    <a:lnTo>
                      <a:pt x="4642" y="4363"/>
                    </a:lnTo>
                    <a:lnTo>
                      <a:pt x="4738" y="4223"/>
                    </a:lnTo>
                    <a:lnTo>
                      <a:pt x="4738" y="4138"/>
                    </a:lnTo>
                    <a:lnTo>
                      <a:pt x="4883" y="4091"/>
                    </a:lnTo>
                    <a:lnTo>
                      <a:pt x="4798" y="3902"/>
                    </a:lnTo>
                    <a:lnTo>
                      <a:pt x="4679" y="3869"/>
                    </a:lnTo>
                    <a:lnTo>
                      <a:pt x="4672" y="3756"/>
                    </a:lnTo>
                    <a:lnTo>
                      <a:pt x="4892" y="3734"/>
                    </a:lnTo>
                    <a:lnTo>
                      <a:pt x="4894" y="3618"/>
                    </a:lnTo>
                    <a:lnTo>
                      <a:pt x="5686" y="2964"/>
                    </a:lnTo>
                    <a:lnTo>
                      <a:pt x="5875" y="2941"/>
                    </a:lnTo>
                    <a:lnTo>
                      <a:pt x="5920" y="2709"/>
                    </a:lnTo>
                    <a:lnTo>
                      <a:pt x="5747" y="2563"/>
                    </a:lnTo>
                    <a:lnTo>
                      <a:pt x="5785" y="2470"/>
                    </a:lnTo>
                    <a:lnTo>
                      <a:pt x="5714" y="2196"/>
                    </a:lnTo>
                    <a:lnTo>
                      <a:pt x="6000" y="2185"/>
                    </a:lnTo>
                    <a:lnTo>
                      <a:pt x="6170" y="2317"/>
                    </a:lnTo>
                    <a:lnTo>
                      <a:pt x="6184" y="2100"/>
                    </a:lnTo>
                    <a:lnTo>
                      <a:pt x="6345" y="2199"/>
                    </a:lnTo>
                    <a:lnTo>
                      <a:pt x="6555" y="2196"/>
                    </a:lnTo>
                    <a:lnTo>
                      <a:pt x="6605" y="2050"/>
                    </a:lnTo>
                    <a:lnTo>
                      <a:pt x="6727" y="2126"/>
                    </a:lnTo>
                    <a:lnTo>
                      <a:pt x="7065" y="2204"/>
                    </a:lnTo>
                    <a:lnTo>
                      <a:pt x="7190" y="2369"/>
                    </a:lnTo>
                    <a:lnTo>
                      <a:pt x="7375" y="2185"/>
                    </a:lnTo>
                    <a:lnTo>
                      <a:pt x="7377" y="1970"/>
                    </a:lnTo>
                    <a:lnTo>
                      <a:pt x="7467" y="1937"/>
                    </a:lnTo>
                    <a:lnTo>
                      <a:pt x="7514" y="2036"/>
                    </a:lnTo>
                    <a:lnTo>
                      <a:pt x="7746" y="1939"/>
                    </a:lnTo>
                    <a:lnTo>
                      <a:pt x="7776" y="1842"/>
                    </a:lnTo>
                    <a:lnTo>
                      <a:pt x="7932" y="1785"/>
                    </a:lnTo>
                    <a:lnTo>
                      <a:pt x="8194" y="2012"/>
                    </a:lnTo>
                    <a:lnTo>
                      <a:pt x="8071" y="2185"/>
                    </a:lnTo>
                    <a:lnTo>
                      <a:pt x="8142" y="2263"/>
                    </a:lnTo>
                    <a:lnTo>
                      <a:pt x="8320" y="2300"/>
                    </a:lnTo>
                    <a:lnTo>
                      <a:pt x="8353" y="2385"/>
                    </a:lnTo>
                    <a:lnTo>
                      <a:pt x="8353" y="2485"/>
                    </a:lnTo>
                    <a:lnTo>
                      <a:pt x="8279" y="2600"/>
                    </a:lnTo>
                    <a:lnTo>
                      <a:pt x="8331" y="2643"/>
                    </a:lnTo>
                    <a:lnTo>
                      <a:pt x="8331" y="2886"/>
                    </a:lnTo>
                    <a:lnTo>
                      <a:pt x="8383" y="2943"/>
                    </a:lnTo>
                    <a:lnTo>
                      <a:pt x="8572" y="2985"/>
                    </a:lnTo>
                    <a:lnTo>
                      <a:pt x="8638" y="3037"/>
                    </a:lnTo>
                    <a:lnTo>
                      <a:pt x="8731" y="3250"/>
                    </a:lnTo>
                    <a:lnTo>
                      <a:pt x="8731" y="3524"/>
                    </a:lnTo>
                    <a:lnTo>
                      <a:pt x="8834" y="3545"/>
                    </a:lnTo>
                    <a:lnTo>
                      <a:pt x="8901" y="3701"/>
                    </a:lnTo>
                    <a:lnTo>
                      <a:pt x="8962" y="3739"/>
                    </a:lnTo>
                    <a:lnTo>
                      <a:pt x="9382" y="3701"/>
                    </a:lnTo>
                    <a:lnTo>
                      <a:pt x="9444" y="3595"/>
                    </a:lnTo>
                    <a:lnTo>
                      <a:pt x="9635" y="3548"/>
                    </a:lnTo>
                    <a:lnTo>
                      <a:pt x="10079" y="3595"/>
                    </a:lnTo>
                    <a:lnTo>
                      <a:pt x="10027" y="3342"/>
                    </a:lnTo>
                    <a:lnTo>
                      <a:pt x="10136" y="3328"/>
                    </a:lnTo>
                    <a:lnTo>
                      <a:pt x="10108" y="3085"/>
                    </a:lnTo>
                    <a:lnTo>
                      <a:pt x="9838" y="3120"/>
                    </a:lnTo>
                    <a:lnTo>
                      <a:pt x="9838" y="3042"/>
                    </a:lnTo>
                    <a:lnTo>
                      <a:pt x="9708" y="3042"/>
                    </a:lnTo>
                    <a:lnTo>
                      <a:pt x="9708" y="2778"/>
                    </a:lnTo>
                    <a:lnTo>
                      <a:pt x="9652" y="2648"/>
                    </a:lnTo>
                    <a:lnTo>
                      <a:pt x="10079" y="2648"/>
                    </a:lnTo>
                    <a:lnTo>
                      <a:pt x="10247" y="2525"/>
                    </a:lnTo>
                    <a:lnTo>
                      <a:pt x="10247" y="2435"/>
                    </a:lnTo>
                    <a:lnTo>
                      <a:pt x="10382" y="2466"/>
                    </a:lnTo>
                    <a:lnTo>
                      <a:pt x="10377" y="2414"/>
                    </a:lnTo>
                    <a:lnTo>
                      <a:pt x="10505" y="2404"/>
                    </a:lnTo>
                    <a:lnTo>
                      <a:pt x="10505" y="2218"/>
                    </a:lnTo>
                    <a:lnTo>
                      <a:pt x="10318" y="2185"/>
                    </a:lnTo>
                    <a:lnTo>
                      <a:pt x="10044" y="2024"/>
                    </a:lnTo>
                    <a:lnTo>
                      <a:pt x="9971" y="1911"/>
                    </a:lnTo>
                    <a:lnTo>
                      <a:pt x="10112" y="1776"/>
                    </a:lnTo>
                    <a:lnTo>
                      <a:pt x="9827" y="1771"/>
                    </a:lnTo>
                    <a:lnTo>
                      <a:pt x="9893" y="1646"/>
                    </a:lnTo>
                    <a:lnTo>
                      <a:pt x="9718" y="1537"/>
                    </a:lnTo>
                    <a:lnTo>
                      <a:pt x="9850" y="1443"/>
                    </a:lnTo>
                    <a:lnTo>
                      <a:pt x="9857" y="1327"/>
                    </a:lnTo>
                    <a:lnTo>
                      <a:pt x="9997" y="1181"/>
                    </a:lnTo>
                    <a:lnTo>
                      <a:pt x="10013" y="937"/>
                    </a:lnTo>
                    <a:lnTo>
                      <a:pt x="9966" y="812"/>
                    </a:lnTo>
                    <a:lnTo>
                      <a:pt x="10136" y="652"/>
                    </a:lnTo>
                    <a:lnTo>
                      <a:pt x="10136" y="463"/>
                    </a:lnTo>
                    <a:lnTo>
                      <a:pt x="9427" y="481"/>
                    </a:lnTo>
                    <a:lnTo>
                      <a:pt x="9494" y="406"/>
                    </a:lnTo>
                    <a:lnTo>
                      <a:pt x="9668" y="441"/>
                    </a:lnTo>
                    <a:lnTo>
                      <a:pt x="9796" y="333"/>
                    </a:lnTo>
                    <a:lnTo>
                      <a:pt x="9893" y="366"/>
                    </a:lnTo>
                    <a:lnTo>
                      <a:pt x="10034" y="217"/>
                    </a:lnTo>
                    <a:lnTo>
                      <a:pt x="10273" y="326"/>
                    </a:lnTo>
                    <a:lnTo>
                      <a:pt x="10337" y="328"/>
                    </a:lnTo>
                    <a:lnTo>
                      <a:pt x="10415" y="264"/>
                    </a:lnTo>
                    <a:lnTo>
                      <a:pt x="10486" y="337"/>
                    </a:lnTo>
                    <a:lnTo>
                      <a:pt x="10599" y="212"/>
                    </a:lnTo>
                    <a:lnTo>
                      <a:pt x="10665" y="200"/>
                    </a:lnTo>
                    <a:lnTo>
                      <a:pt x="10741" y="347"/>
                    </a:lnTo>
                    <a:lnTo>
                      <a:pt x="10838" y="340"/>
                    </a:lnTo>
                    <a:lnTo>
                      <a:pt x="10906" y="314"/>
                    </a:lnTo>
                    <a:lnTo>
                      <a:pt x="10934" y="179"/>
                    </a:lnTo>
                    <a:lnTo>
                      <a:pt x="11079" y="37"/>
                    </a:lnTo>
                    <a:lnTo>
                      <a:pt x="11263" y="61"/>
                    </a:lnTo>
                    <a:lnTo>
                      <a:pt x="11390" y="0"/>
                    </a:lnTo>
                    <a:lnTo>
                      <a:pt x="11400" y="56"/>
                    </a:lnTo>
                    <a:lnTo>
                      <a:pt x="11442" y="158"/>
                    </a:lnTo>
                    <a:lnTo>
                      <a:pt x="11511" y="817"/>
                    </a:lnTo>
                    <a:lnTo>
                      <a:pt x="11747" y="1211"/>
                    </a:lnTo>
                    <a:lnTo>
                      <a:pt x="11820" y="1729"/>
                    </a:lnTo>
                    <a:lnTo>
                      <a:pt x="11790" y="2513"/>
                    </a:lnTo>
                    <a:lnTo>
                      <a:pt x="11903" y="3774"/>
                    </a:lnTo>
                    <a:close/>
                  </a:path>
                </a:pathLst>
              </a:custGeom>
              <a:solidFill>
                <a:srgbClr val="86CBC4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0" name="Freeform 174">
                <a:extLst>
                  <a:ext uri="{FF2B5EF4-FFF2-40B4-BE49-F238E27FC236}">
                    <a16:creationId xmlns:a16="http://schemas.microsoft.com/office/drawing/2014/main" id="{7CA88620-3EAA-43EC-9E63-A15D56215F3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4316" y="14384341"/>
                <a:ext cx="1500188" cy="606425"/>
              </a:xfrm>
              <a:custGeom>
                <a:avLst/>
                <a:gdLst>
                  <a:gd name="T0" fmla="*/ 921 w 945"/>
                  <a:gd name="T1" fmla="*/ 0 h 382"/>
                  <a:gd name="T2" fmla="*/ 945 w 945"/>
                  <a:gd name="T3" fmla="*/ 9 h 382"/>
                  <a:gd name="T4" fmla="*/ 787 w 945"/>
                  <a:gd name="T5" fmla="*/ 99 h 382"/>
                  <a:gd name="T6" fmla="*/ 624 w 945"/>
                  <a:gd name="T7" fmla="*/ 78 h 382"/>
                  <a:gd name="T8" fmla="*/ 522 w 945"/>
                  <a:gd name="T9" fmla="*/ 12 h 382"/>
                  <a:gd name="T10" fmla="*/ 260 w 945"/>
                  <a:gd name="T11" fmla="*/ 97 h 382"/>
                  <a:gd name="T12" fmla="*/ 114 w 945"/>
                  <a:gd name="T13" fmla="*/ 382 h 382"/>
                  <a:gd name="T14" fmla="*/ 17 w 945"/>
                  <a:gd name="T15" fmla="*/ 335 h 382"/>
                  <a:gd name="T16" fmla="*/ 0 w 945"/>
                  <a:gd name="T17" fmla="*/ 335 h 382"/>
                  <a:gd name="T18" fmla="*/ 14 w 945"/>
                  <a:gd name="T19" fmla="*/ 328 h 382"/>
                  <a:gd name="T20" fmla="*/ 111 w 945"/>
                  <a:gd name="T21" fmla="*/ 373 h 382"/>
                  <a:gd name="T22" fmla="*/ 260 w 945"/>
                  <a:gd name="T23" fmla="*/ 89 h 382"/>
                  <a:gd name="T24" fmla="*/ 520 w 945"/>
                  <a:gd name="T25" fmla="*/ 4 h 382"/>
                  <a:gd name="T26" fmla="*/ 621 w 945"/>
                  <a:gd name="T27" fmla="*/ 68 h 382"/>
                  <a:gd name="T28" fmla="*/ 787 w 945"/>
                  <a:gd name="T29" fmla="*/ 92 h 382"/>
                  <a:gd name="T30" fmla="*/ 921 w 945"/>
                  <a:gd name="T31" fmla="*/ 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45" h="382">
                    <a:moveTo>
                      <a:pt x="921" y="0"/>
                    </a:moveTo>
                    <a:lnTo>
                      <a:pt x="945" y="9"/>
                    </a:lnTo>
                    <a:lnTo>
                      <a:pt x="787" y="99"/>
                    </a:lnTo>
                    <a:lnTo>
                      <a:pt x="624" y="78"/>
                    </a:lnTo>
                    <a:lnTo>
                      <a:pt x="522" y="12"/>
                    </a:lnTo>
                    <a:lnTo>
                      <a:pt x="260" y="97"/>
                    </a:lnTo>
                    <a:lnTo>
                      <a:pt x="114" y="382"/>
                    </a:lnTo>
                    <a:lnTo>
                      <a:pt x="17" y="335"/>
                    </a:lnTo>
                    <a:lnTo>
                      <a:pt x="0" y="335"/>
                    </a:lnTo>
                    <a:lnTo>
                      <a:pt x="14" y="328"/>
                    </a:lnTo>
                    <a:lnTo>
                      <a:pt x="111" y="373"/>
                    </a:lnTo>
                    <a:lnTo>
                      <a:pt x="260" y="89"/>
                    </a:lnTo>
                    <a:lnTo>
                      <a:pt x="520" y="4"/>
                    </a:lnTo>
                    <a:lnTo>
                      <a:pt x="621" y="68"/>
                    </a:lnTo>
                    <a:lnTo>
                      <a:pt x="787" y="92"/>
                    </a:lnTo>
                    <a:lnTo>
                      <a:pt x="921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1" name="Freeform 175">
                <a:extLst>
                  <a:ext uri="{FF2B5EF4-FFF2-40B4-BE49-F238E27FC236}">
                    <a16:creationId xmlns:a16="http://schemas.microsoft.com/office/drawing/2014/main" id="{A3FBE903-2DA3-4CE0-BB40-5348172EE9E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7679" y="13738229"/>
                <a:ext cx="6180138" cy="795338"/>
              </a:xfrm>
              <a:custGeom>
                <a:avLst/>
                <a:gdLst>
                  <a:gd name="T0" fmla="*/ 3893 w 3893"/>
                  <a:gd name="T1" fmla="*/ 3 h 501"/>
                  <a:gd name="T2" fmla="*/ 3546 w 3893"/>
                  <a:gd name="T3" fmla="*/ 449 h 501"/>
                  <a:gd name="T4" fmla="*/ 3459 w 3893"/>
                  <a:gd name="T5" fmla="*/ 442 h 501"/>
                  <a:gd name="T6" fmla="*/ 3312 w 3893"/>
                  <a:gd name="T7" fmla="*/ 324 h 501"/>
                  <a:gd name="T8" fmla="*/ 3225 w 3893"/>
                  <a:gd name="T9" fmla="*/ 348 h 501"/>
                  <a:gd name="T10" fmla="*/ 3154 w 3893"/>
                  <a:gd name="T11" fmla="*/ 322 h 501"/>
                  <a:gd name="T12" fmla="*/ 2842 w 3893"/>
                  <a:gd name="T13" fmla="*/ 397 h 501"/>
                  <a:gd name="T14" fmla="*/ 2743 w 3893"/>
                  <a:gd name="T15" fmla="*/ 326 h 501"/>
                  <a:gd name="T16" fmla="*/ 2715 w 3893"/>
                  <a:gd name="T17" fmla="*/ 213 h 501"/>
                  <a:gd name="T18" fmla="*/ 2561 w 3893"/>
                  <a:gd name="T19" fmla="*/ 239 h 501"/>
                  <a:gd name="T20" fmla="*/ 2445 w 3893"/>
                  <a:gd name="T21" fmla="*/ 338 h 501"/>
                  <a:gd name="T22" fmla="*/ 2301 w 3893"/>
                  <a:gd name="T23" fmla="*/ 237 h 501"/>
                  <a:gd name="T24" fmla="*/ 2223 w 3893"/>
                  <a:gd name="T25" fmla="*/ 248 h 501"/>
                  <a:gd name="T26" fmla="*/ 2138 w 3893"/>
                  <a:gd name="T27" fmla="*/ 161 h 501"/>
                  <a:gd name="T28" fmla="*/ 1975 w 3893"/>
                  <a:gd name="T29" fmla="*/ 104 h 501"/>
                  <a:gd name="T30" fmla="*/ 1826 w 3893"/>
                  <a:gd name="T31" fmla="*/ 119 h 501"/>
                  <a:gd name="T32" fmla="*/ 1637 w 3893"/>
                  <a:gd name="T33" fmla="*/ 253 h 501"/>
                  <a:gd name="T34" fmla="*/ 1396 w 3893"/>
                  <a:gd name="T35" fmla="*/ 206 h 501"/>
                  <a:gd name="T36" fmla="*/ 1205 w 3893"/>
                  <a:gd name="T37" fmla="*/ 232 h 501"/>
                  <a:gd name="T38" fmla="*/ 1153 w 3893"/>
                  <a:gd name="T39" fmla="*/ 213 h 501"/>
                  <a:gd name="T40" fmla="*/ 1151 w 3893"/>
                  <a:gd name="T41" fmla="*/ 204 h 501"/>
                  <a:gd name="T42" fmla="*/ 1132 w 3893"/>
                  <a:gd name="T43" fmla="*/ 95 h 501"/>
                  <a:gd name="T44" fmla="*/ 1011 w 3893"/>
                  <a:gd name="T45" fmla="*/ 71 h 501"/>
                  <a:gd name="T46" fmla="*/ 931 w 3893"/>
                  <a:gd name="T47" fmla="*/ 163 h 501"/>
                  <a:gd name="T48" fmla="*/ 827 w 3893"/>
                  <a:gd name="T49" fmla="*/ 154 h 501"/>
                  <a:gd name="T50" fmla="*/ 681 w 3893"/>
                  <a:gd name="T51" fmla="*/ 196 h 501"/>
                  <a:gd name="T52" fmla="*/ 504 w 3893"/>
                  <a:gd name="T53" fmla="*/ 343 h 501"/>
                  <a:gd name="T54" fmla="*/ 364 w 3893"/>
                  <a:gd name="T55" fmla="*/ 381 h 501"/>
                  <a:gd name="T56" fmla="*/ 263 w 3893"/>
                  <a:gd name="T57" fmla="*/ 501 h 501"/>
                  <a:gd name="T58" fmla="*/ 0 w 3893"/>
                  <a:gd name="T59" fmla="*/ 416 h 501"/>
                  <a:gd name="T60" fmla="*/ 263 w 3893"/>
                  <a:gd name="T61" fmla="*/ 494 h 501"/>
                  <a:gd name="T62" fmla="*/ 364 w 3893"/>
                  <a:gd name="T63" fmla="*/ 374 h 501"/>
                  <a:gd name="T64" fmla="*/ 504 w 3893"/>
                  <a:gd name="T65" fmla="*/ 336 h 501"/>
                  <a:gd name="T66" fmla="*/ 678 w 3893"/>
                  <a:gd name="T67" fmla="*/ 189 h 501"/>
                  <a:gd name="T68" fmla="*/ 827 w 3893"/>
                  <a:gd name="T69" fmla="*/ 147 h 501"/>
                  <a:gd name="T70" fmla="*/ 931 w 3893"/>
                  <a:gd name="T71" fmla="*/ 156 h 501"/>
                  <a:gd name="T72" fmla="*/ 1009 w 3893"/>
                  <a:gd name="T73" fmla="*/ 64 h 501"/>
                  <a:gd name="T74" fmla="*/ 1130 w 3893"/>
                  <a:gd name="T75" fmla="*/ 88 h 501"/>
                  <a:gd name="T76" fmla="*/ 1151 w 3893"/>
                  <a:gd name="T77" fmla="*/ 204 h 501"/>
                  <a:gd name="T78" fmla="*/ 1203 w 3893"/>
                  <a:gd name="T79" fmla="*/ 225 h 501"/>
                  <a:gd name="T80" fmla="*/ 1396 w 3893"/>
                  <a:gd name="T81" fmla="*/ 199 h 501"/>
                  <a:gd name="T82" fmla="*/ 1637 w 3893"/>
                  <a:gd name="T83" fmla="*/ 246 h 501"/>
                  <a:gd name="T84" fmla="*/ 1826 w 3893"/>
                  <a:gd name="T85" fmla="*/ 111 h 501"/>
                  <a:gd name="T86" fmla="*/ 1975 w 3893"/>
                  <a:gd name="T87" fmla="*/ 95 h 501"/>
                  <a:gd name="T88" fmla="*/ 2138 w 3893"/>
                  <a:gd name="T89" fmla="*/ 154 h 501"/>
                  <a:gd name="T90" fmla="*/ 2223 w 3893"/>
                  <a:gd name="T91" fmla="*/ 241 h 501"/>
                  <a:gd name="T92" fmla="*/ 2301 w 3893"/>
                  <a:gd name="T93" fmla="*/ 230 h 501"/>
                  <a:gd name="T94" fmla="*/ 2443 w 3893"/>
                  <a:gd name="T95" fmla="*/ 331 h 501"/>
                  <a:gd name="T96" fmla="*/ 2561 w 3893"/>
                  <a:gd name="T97" fmla="*/ 230 h 501"/>
                  <a:gd name="T98" fmla="*/ 2715 w 3893"/>
                  <a:gd name="T99" fmla="*/ 201 h 501"/>
                  <a:gd name="T100" fmla="*/ 2743 w 3893"/>
                  <a:gd name="T101" fmla="*/ 317 h 501"/>
                  <a:gd name="T102" fmla="*/ 2842 w 3893"/>
                  <a:gd name="T103" fmla="*/ 388 h 501"/>
                  <a:gd name="T104" fmla="*/ 3154 w 3893"/>
                  <a:gd name="T105" fmla="*/ 315 h 501"/>
                  <a:gd name="T106" fmla="*/ 3225 w 3893"/>
                  <a:gd name="T107" fmla="*/ 338 h 501"/>
                  <a:gd name="T108" fmla="*/ 3312 w 3893"/>
                  <a:gd name="T109" fmla="*/ 317 h 501"/>
                  <a:gd name="T110" fmla="*/ 3456 w 3893"/>
                  <a:gd name="T111" fmla="*/ 433 h 501"/>
                  <a:gd name="T112" fmla="*/ 3546 w 3893"/>
                  <a:gd name="T113" fmla="*/ 440 h 501"/>
                  <a:gd name="T114" fmla="*/ 3889 w 3893"/>
                  <a:gd name="T115" fmla="*/ 0 h 501"/>
                  <a:gd name="T116" fmla="*/ 3893 w 3893"/>
                  <a:gd name="T117" fmla="*/ 3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93" h="501">
                    <a:moveTo>
                      <a:pt x="3893" y="3"/>
                    </a:moveTo>
                    <a:lnTo>
                      <a:pt x="3546" y="449"/>
                    </a:lnTo>
                    <a:lnTo>
                      <a:pt x="3459" y="442"/>
                    </a:lnTo>
                    <a:lnTo>
                      <a:pt x="3312" y="324"/>
                    </a:lnTo>
                    <a:lnTo>
                      <a:pt x="3225" y="348"/>
                    </a:lnTo>
                    <a:lnTo>
                      <a:pt x="3154" y="322"/>
                    </a:lnTo>
                    <a:lnTo>
                      <a:pt x="2842" y="397"/>
                    </a:lnTo>
                    <a:lnTo>
                      <a:pt x="2743" y="326"/>
                    </a:lnTo>
                    <a:lnTo>
                      <a:pt x="2715" y="213"/>
                    </a:lnTo>
                    <a:lnTo>
                      <a:pt x="2561" y="239"/>
                    </a:lnTo>
                    <a:lnTo>
                      <a:pt x="2445" y="338"/>
                    </a:lnTo>
                    <a:lnTo>
                      <a:pt x="2301" y="237"/>
                    </a:lnTo>
                    <a:lnTo>
                      <a:pt x="2223" y="248"/>
                    </a:lnTo>
                    <a:lnTo>
                      <a:pt x="2138" y="161"/>
                    </a:lnTo>
                    <a:lnTo>
                      <a:pt x="1975" y="104"/>
                    </a:lnTo>
                    <a:lnTo>
                      <a:pt x="1826" y="119"/>
                    </a:lnTo>
                    <a:lnTo>
                      <a:pt x="1637" y="253"/>
                    </a:lnTo>
                    <a:lnTo>
                      <a:pt x="1396" y="206"/>
                    </a:lnTo>
                    <a:lnTo>
                      <a:pt x="1205" y="232"/>
                    </a:lnTo>
                    <a:lnTo>
                      <a:pt x="1153" y="213"/>
                    </a:lnTo>
                    <a:lnTo>
                      <a:pt x="1151" y="204"/>
                    </a:lnTo>
                    <a:lnTo>
                      <a:pt x="1132" y="95"/>
                    </a:lnTo>
                    <a:lnTo>
                      <a:pt x="1011" y="71"/>
                    </a:lnTo>
                    <a:lnTo>
                      <a:pt x="931" y="163"/>
                    </a:lnTo>
                    <a:lnTo>
                      <a:pt x="827" y="154"/>
                    </a:lnTo>
                    <a:lnTo>
                      <a:pt x="681" y="196"/>
                    </a:lnTo>
                    <a:lnTo>
                      <a:pt x="504" y="343"/>
                    </a:lnTo>
                    <a:lnTo>
                      <a:pt x="364" y="381"/>
                    </a:lnTo>
                    <a:lnTo>
                      <a:pt x="263" y="501"/>
                    </a:lnTo>
                    <a:lnTo>
                      <a:pt x="0" y="416"/>
                    </a:lnTo>
                    <a:lnTo>
                      <a:pt x="263" y="494"/>
                    </a:lnTo>
                    <a:lnTo>
                      <a:pt x="364" y="374"/>
                    </a:lnTo>
                    <a:lnTo>
                      <a:pt x="504" y="336"/>
                    </a:lnTo>
                    <a:lnTo>
                      <a:pt x="678" y="189"/>
                    </a:lnTo>
                    <a:lnTo>
                      <a:pt x="827" y="147"/>
                    </a:lnTo>
                    <a:lnTo>
                      <a:pt x="931" y="156"/>
                    </a:lnTo>
                    <a:lnTo>
                      <a:pt x="1009" y="64"/>
                    </a:lnTo>
                    <a:lnTo>
                      <a:pt x="1130" y="88"/>
                    </a:lnTo>
                    <a:lnTo>
                      <a:pt x="1151" y="204"/>
                    </a:lnTo>
                    <a:lnTo>
                      <a:pt x="1203" y="225"/>
                    </a:lnTo>
                    <a:lnTo>
                      <a:pt x="1396" y="199"/>
                    </a:lnTo>
                    <a:lnTo>
                      <a:pt x="1637" y="246"/>
                    </a:lnTo>
                    <a:lnTo>
                      <a:pt x="1826" y="111"/>
                    </a:lnTo>
                    <a:lnTo>
                      <a:pt x="1975" y="95"/>
                    </a:lnTo>
                    <a:lnTo>
                      <a:pt x="2138" y="154"/>
                    </a:lnTo>
                    <a:lnTo>
                      <a:pt x="2223" y="241"/>
                    </a:lnTo>
                    <a:lnTo>
                      <a:pt x="2301" y="230"/>
                    </a:lnTo>
                    <a:lnTo>
                      <a:pt x="2443" y="331"/>
                    </a:lnTo>
                    <a:lnTo>
                      <a:pt x="2561" y="230"/>
                    </a:lnTo>
                    <a:lnTo>
                      <a:pt x="2715" y="201"/>
                    </a:lnTo>
                    <a:lnTo>
                      <a:pt x="2743" y="317"/>
                    </a:lnTo>
                    <a:lnTo>
                      <a:pt x="2842" y="388"/>
                    </a:lnTo>
                    <a:lnTo>
                      <a:pt x="3154" y="315"/>
                    </a:lnTo>
                    <a:lnTo>
                      <a:pt x="3225" y="338"/>
                    </a:lnTo>
                    <a:lnTo>
                      <a:pt x="3312" y="317"/>
                    </a:lnTo>
                    <a:lnTo>
                      <a:pt x="3456" y="433"/>
                    </a:lnTo>
                    <a:lnTo>
                      <a:pt x="3546" y="440"/>
                    </a:lnTo>
                    <a:lnTo>
                      <a:pt x="3889" y="0"/>
                    </a:lnTo>
                    <a:lnTo>
                      <a:pt x="3893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2" name="Freeform 176">
                <a:extLst>
                  <a:ext uri="{FF2B5EF4-FFF2-40B4-BE49-F238E27FC236}">
                    <a16:creationId xmlns:a16="http://schemas.microsoft.com/office/drawing/2014/main" id="{B2E1EE27-AC25-4FFD-AC8B-07A9A13EA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8354" y="11260141"/>
                <a:ext cx="16473489" cy="7339014"/>
              </a:xfrm>
              <a:custGeom>
                <a:avLst/>
                <a:gdLst>
                  <a:gd name="T0" fmla="*/ 10235 w 10377"/>
                  <a:gd name="T1" fmla="*/ 465 h 4623"/>
                  <a:gd name="T2" fmla="*/ 10342 w 10377"/>
                  <a:gd name="T3" fmla="*/ 335 h 4623"/>
                  <a:gd name="T4" fmla="*/ 9692 w 10377"/>
                  <a:gd name="T5" fmla="*/ 2497 h 4623"/>
                  <a:gd name="T6" fmla="*/ 9458 w 10377"/>
                  <a:gd name="T7" fmla="*/ 3598 h 4623"/>
                  <a:gd name="T8" fmla="*/ 9435 w 10377"/>
                  <a:gd name="T9" fmla="*/ 4023 h 4623"/>
                  <a:gd name="T10" fmla="*/ 151 w 10377"/>
                  <a:gd name="T11" fmla="*/ 4623 h 4623"/>
                  <a:gd name="T12" fmla="*/ 17 w 10377"/>
                  <a:gd name="T13" fmla="*/ 4481 h 4623"/>
                  <a:gd name="T14" fmla="*/ 7 w 10377"/>
                  <a:gd name="T15" fmla="*/ 4432 h 4623"/>
                  <a:gd name="T16" fmla="*/ 38 w 10377"/>
                  <a:gd name="T17" fmla="*/ 4254 h 4623"/>
                  <a:gd name="T18" fmla="*/ 135 w 10377"/>
                  <a:gd name="T19" fmla="*/ 4148 h 4623"/>
                  <a:gd name="T20" fmla="*/ 135 w 10377"/>
                  <a:gd name="T21" fmla="*/ 4129 h 4623"/>
                  <a:gd name="T22" fmla="*/ 132 w 10377"/>
                  <a:gd name="T23" fmla="*/ 3943 h 4623"/>
                  <a:gd name="T24" fmla="*/ 314 w 10377"/>
                  <a:gd name="T25" fmla="*/ 3586 h 4623"/>
                  <a:gd name="T26" fmla="*/ 248 w 10377"/>
                  <a:gd name="T27" fmla="*/ 3458 h 4623"/>
                  <a:gd name="T28" fmla="*/ 265 w 10377"/>
                  <a:gd name="T29" fmla="*/ 3241 h 4623"/>
                  <a:gd name="T30" fmla="*/ 187 w 10377"/>
                  <a:gd name="T31" fmla="*/ 3090 h 4623"/>
                  <a:gd name="T32" fmla="*/ 498 w 10377"/>
                  <a:gd name="T33" fmla="*/ 2797 h 4623"/>
                  <a:gd name="T34" fmla="*/ 477 w 10377"/>
                  <a:gd name="T35" fmla="*/ 2709 h 4623"/>
                  <a:gd name="T36" fmla="*/ 286 w 10377"/>
                  <a:gd name="T37" fmla="*/ 2539 h 4623"/>
                  <a:gd name="T38" fmla="*/ 317 w 10377"/>
                  <a:gd name="T39" fmla="*/ 2421 h 4623"/>
                  <a:gd name="T40" fmla="*/ 284 w 10377"/>
                  <a:gd name="T41" fmla="*/ 2386 h 4623"/>
                  <a:gd name="T42" fmla="*/ 565 w 10377"/>
                  <a:gd name="T43" fmla="*/ 2350 h 4623"/>
                  <a:gd name="T44" fmla="*/ 973 w 10377"/>
                  <a:gd name="T45" fmla="*/ 1980 h 4623"/>
                  <a:gd name="T46" fmla="*/ 1238 w 10377"/>
                  <a:gd name="T47" fmla="*/ 2067 h 4623"/>
                  <a:gd name="T48" fmla="*/ 1398 w 10377"/>
                  <a:gd name="T49" fmla="*/ 1977 h 4623"/>
                  <a:gd name="T50" fmla="*/ 1762 w 10377"/>
                  <a:gd name="T51" fmla="*/ 1942 h 4623"/>
                  <a:gd name="T52" fmla="*/ 2079 w 10377"/>
                  <a:gd name="T53" fmla="*/ 1757 h 4623"/>
                  <a:gd name="T54" fmla="*/ 2329 w 10377"/>
                  <a:gd name="T55" fmla="*/ 1724 h 4623"/>
                  <a:gd name="T56" fmla="*/ 2530 w 10377"/>
                  <a:gd name="T57" fmla="*/ 1656 h 4623"/>
                  <a:gd name="T58" fmla="*/ 2551 w 10377"/>
                  <a:gd name="T59" fmla="*/ 1774 h 4623"/>
                  <a:gd name="T60" fmla="*/ 2794 w 10377"/>
                  <a:gd name="T61" fmla="*/ 1767 h 4623"/>
                  <a:gd name="T62" fmla="*/ 3224 w 10377"/>
                  <a:gd name="T63" fmla="*/ 1680 h 4623"/>
                  <a:gd name="T64" fmla="*/ 3536 w 10377"/>
                  <a:gd name="T65" fmla="*/ 1722 h 4623"/>
                  <a:gd name="T66" fmla="*/ 3699 w 10377"/>
                  <a:gd name="T67" fmla="*/ 1798 h 4623"/>
                  <a:gd name="T68" fmla="*/ 3959 w 10377"/>
                  <a:gd name="T69" fmla="*/ 1800 h 4623"/>
                  <a:gd name="T70" fmla="*/ 4141 w 10377"/>
                  <a:gd name="T71" fmla="*/ 1887 h 4623"/>
                  <a:gd name="T72" fmla="*/ 4552 w 10377"/>
                  <a:gd name="T73" fmla="*/ 1883 h 4623"/>
                  <a:gd name="T74" fmla="*/ 4710 w 10377"/>
                  <a:gd name="T75" fmla="*/ 1885 h 4623"/>
                  <a:gd name="T76" fmla="*/ 4944 w 10377"/>
                  <a:gd name="T77" fmla="*/ 2010 h 4623"/>
                  <a:gd name="T78" fmla="*/ 5287 w 10377"/>
                  <a:gd name="T79" fmla="*/ 1561 h 4623"/>
                  <a:gd name="T80" fmla="*/ 5965 w 10377"/>
                  <a:gd name="T81" fmla="*/ 1807 h 4623"/>
                  <a:gd name="T82" fmla="*/ 7493 w 10377"/>
                  <a:gd name="T83" fmla="*/ 902 h 4623"/>
                  <a:gd name="T84" fmla="*/ 7864 w 10377"/>
                  <a:gd name="T85" fmla="*/ 0 h 4623"/>
                  <a:gd name="T86" fmla="*/ 7923 w 10377"/>
                  <a:gd name="T87" fmla="*/ 94 h 4623"/>
                  <a:gd name="T88" fmla="*/ 8275 w 10377"/>
                  <a:gd name="T89" fmla="*/ 102 h 4623"/>
                  <a:gd name="T90" fmla="*/ 8771 w 10377"/>
                  <a:gd name="T91" fmla="*/ 208 h 4623"/>
                  <a:gd name="T92" fmla="*/ 10377 w 10377"/>
                  <a:gd name="T93" fmla="*/ 194 h 4623"/>
                  <a:gd name="T94" fmla="*/ 10335 w 10377"/>
                  <a:gd name="T95" fmla="*/ 319 h 4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377" h="4623">
                    <a:moveTo>
                      <a:pt x="10268" y="347"/>
                    </a:moveTo>
                    <a:lnTo>
                      <a:pt x="10235" y="465"/>
                    </a:lnTo>
                    <a:lnTo>
                      <a:pt x="10259" y="522"/>
                    </a:lnTo>
                    <a:lnTo>
                      <a:pt x="10342" y="335"/>
                    </a:lnTo>
                    <a:lnTo>
                      <a:pt x="10240" y="985"/>
                    </a:lnTo>
                    <a:lnTo>
                      <a:pt x="9692" y="2497"/>
                    </a:lnTo>
                    <a:lnTo>
                      <a:pt x="9704" y="2634"/>
                    </a:lnTo>
                    <a:lnTo>
                      <a:pt x="9458" y="3598"/>
                    </a:lnTo>
                    <a:lnTo>
                      <a:pt x="9418" y="3876"/>
                    </a:lnTo>
                    <a:lnTo>
                      <a:pt x="9435" y="4023"/>
                    </a:lnTo>
                    <a:lnTo>
                      <a:pt x="9335" y="4623"/>
                    </a:lnTo>
                    <a:lnTo>
                      <a:pt x="151" y="4623"/>
                    </a:lnTo>
                    <a:lnTo>
                      <a:pt x="17" y="4481"/>
                    </a:lnTo>
                    <a:lnTo>
                      <a:pt x="17" y="4481"/>
                    </a:lnTo>
                    <a:lnTo>
                      <a:pt x="9" y="4436"/>
                    </a:lnTo>
                    <a:lnTo>
                      <a:pt x="7" y="4432"/>
                    </a:lnTo>
                    <a:lnTo>
                      <a:pt x="0" y="4387"/>
                    </a:lnTo>
                    <a:lnTo>
                      <a:pt x="38" y="4254"/>
                    </a:lnTo>
                    <a:lnTo>
                      <a:pt x="135" y="4155"/>
                    </a:lnTo>
                    <a:lnTo>
                      <a:pt x="135" y="4148"/>
                    </a:lnTo>
                    <a:lnTo>
                      <a:pt x="135" y="4148"/>
                    </a:lnTo>
                    <a:lnTo>
                      <a:pt x="135" y="4129"/>
                    </a:lnTo>
                    <a:lnTo>
                      <a:pt x="135" y="4122"/>
                    </a:lnTo>
                    <a:lnTo>
                      <a:pt x="132" y="3943"/>
                    </a:lnTo>
                    <a:lnTo>
                      <a:pt x="317" y="3591"/>
                    </a:lnTo>
                    <a:lnTo>
                      <a:pt x="314" y="3586"/>
                    </a:lnTo>
                    <a:lnTo>
                      <a:pt x="314" y="3583"/>
                    </a:lnTo>
                    <a:lnTo>
                      <a:pt x="248" y="3458"/>
                    </a:lnTo>
                    <a:lnTo>
                      <a:pt x="265" y="3243"/>
                    </a:lnTo>
                    <a:lnTo>
                      <a:pt x="265" y="3241"/>
                    </a:lnTo>
                    <a:lnTo>
                      <a:pt x="265" y="3236"/>
                    </a:lnTo>
                    <a:lnTo>
                      <a:pt x="187" y="3090"/>
                    </a:lnTo>
                    <a:lnTo>
                      <a:pt x="187" y="3028"/>
                    </a:lnTo>
                    <a:lnTo>
                      <a:pt x="498" y="2797"/>
                    </a:lnTo>
                    <a:lnTo>
                      <a:pt x="477" y="2712"/>
                    </a:lnTo>
                    <a:lnTo>
                      <a:pt x="477" y="2709"/>
                    </a:lnTo>
                    <a:lnTo>
                      <a:pt x="454" y="2613"/>
                    </a:lnTo>
                    <a:lnTo>
                      <a:pt x="286" y="2539"/>
                    </a:lnTo>
                    <a:lnTo>
                      <a:pt x="319" y="2424"/>
                    </a:lnTo>
                    <a:lnTo>
                      <a:pt x="317" y="2421"/>
                    </a:lnTo>
                    <a:lnTo>
                      <a:pt x="317" y="2417"/>
                    </a:lnTo>
                    <a:lnTo>
                      <a:pt x="284" y="2386"/>
                    </a:lnTo>
                    <a:lnTo>
                      <a:pt x="468" y="2303"/>
                    </a:lnTo>
                    <a:lnTo>
                      <a:pt x="565" y="2350"/>
                    </a:lnTo>
                    <a:lnTo>
                      <a:pt x="711" y="2065"/>
                    </a:lnTo>
                    <a:lnTo>
                      <a:pt x="973" y="1980"/>
                    </a:lnTo>
                    <a:lnTo>
                      <a:pt x="1075" y="2046"/>
                    </a:lnTo>
                    <a:lnTo>
                      <a:pt x="1238" y="2067"/>
                    </a:lnTo>
                    <a:lnTo>
                      <a:pt x="1396" y="1977"/>
                    </a:lnTo>
                    <a:lnTo>
                      <a:pt x="1398" y="1977"/>
                    </a:lnTo>
                    <a:lnTo>
                      <a:pt x="1661" y="2062"/>
                    </a:lnTo>
                    <a:lnTo>
                      <a:pt x="1762" y="1942"/>
                    </a:lnTo>
                    <a:lnTo>
                      <a:pt x="1902" y="1904"/>
                    </a:lnTo>
                    <a:lnTo>
                      <a:pt x="2079" y="1757"/>
                    </a:lnTo>
                    <a:lnTo>
                      <a:pt x="2225" y="1715"/>
                    </a:lnTo>
                    <a:lnTo>
                      <a:pt x="2329" y="1724"/>
                    </a:lnTo>
                    <a:lnTo>
                      <a:pt x="2409" y="1632"/>
                    </a:lnTo>
                    <a:lnTo>
                      <a:pt x="2530" y="1656"/>
                    </a:lnTo>
                    <a:lnTo>
                      <a:pt x="2549" y="1765"/>
                    </a:lnTo>
                    <a:lnTo>
                      <a:pt x="2551" y="1774"/>
                    </a:lnTo>
                    <a:lnTo>
                      <a:pt x="2603" y="1793"/>
                    </a:lnTo>
                    <a:lnTo>
                      <a:pt x="2794" y="1767"/>
                    </a:lnTo>
                    <a:lnTo>
                      <a:pt x="3035" y="1814"/>
                    </a:lnTo>
                    <a:lnTo>
                      <a:pt x="3224" y="1680"/>
                    </a:lnTo>
                    <a:lnTo>
                      <a:pt x="3373" y="1665"/>
                    </a:lnTo>
                    <a:lnTo>
                      <a:pt x="3536" y="1722"/>
                    </a:lnTo>
                    <a:lnTo>
                      <a:pt x="3621" y="1809"/>
                    </a:lnTo>
                    <a:lnTo>
                      <a:pt x="3699" y="1798"/>
                    </a:lnTo>
                    <a:lnTo>
                      <a:pt x="3843" y="1899"/>
                    </a:lnTo>
                    <a:lnTo>
                      <a:pt x="3959" y="1800"/>
                    </a:lnTo>
                    <a:lnTo>
                      <a:pt x="4113" y="1774"/>
                    </a:lnTo>
                    <a:lnTo>
                      <a:pt x="4141" y="1887"/>
                    </a:lnTo>
                    <a:lnTo>
                      <a:pt x="4240" y="1958"/>
                    </a:lnTo>
                    <a:lnTo>
                      <a:pt x="4552" y="1883"/>
                    </a:lnTo>
                    <a:lnTo>
                      <a:pt x="4623" y="1909"/>
                    </a:lnTo>
                    <a:lnTo>
                      <a:pt x="4710" y="1885"/>
                    </a:lnTo>
                    <a:lnTo>
                      <a:pt x="4857" y="2003"/>
                    </a:lnTo>
                    <a:lnTo>
                      <a:pt x="4944" y="2010"/>
                    </a:lnTo>
                    <a:lnTo>
                      <a:pt x="5291" y="1564"/>
                    </a:lnTo>
                    <a:lnTo>
                      <a:pt x="5287" y="1561"/>
                    </a:lnTo>
                    <a:lnTo>
                      <a:pt x="5291" y="1554"/>
                    </a:lnTo>
                    <a:lnTo>
                      <a:pt x="5965" y="1807"/>
                    </a:lnTo>
                    <a:lnTo>
                      <a:pt x="7467" y="1812"/>
                    </a:lnTo>
                    <a:lnTo>
                      <a:pt x="7493" y="902"/>
                    </a:lnTo>
                    <a:lnTo>
                      <a:pt x="7590" y="17"/>
                    </a:lnTo>
                    <a:lnTo>
                      <a:pt x="7864" y="0"/>
                    </a:lnTo>
                    <a:lnTo>
                      <a:pt x="7902" y="38"/>
                    </a:lnTo>
                    <a:lnTo>
                      <a:pt x="7923" y="94"/>
                    </a:lnTo>
                    <a:lnTo>
                      <a:pt x="8135" y="201"/>
                    </a:lnTo>
                    <a:lnTo>
                      <a:pt x="8275" y="102"/>
                    </a:lnTo>
                    <a:lnTo>
                      <a:pt x="8450" y="165"/>
                    </a:lnTo>
                    <a:lnTo>
                      <a:pt x="8771" y="208"/>
                    </a:lnTo>
                    <a:lnTo>
                      <a:pt x="10150" y="232"/>
                    </a:lnTo>
                    <a:lnTo>
                      <a:pt x="10377" y="194"/>
                    </a:lnTo>
                    <a:lnTo>
                      <a:pt x="10344" y="314"/>
                    </a:lnTo>
                    <a:lnTo>
                      <a:pt x="10335" y="319"/>
                    </a:lnTo>
                    <a:lnTo>
                      <a:pt x="10268" y="34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3" name="Freeform 177">
                <a:extLst>
                  <a:ext uri="{FF2B5EF4-FFF2-40B4-BE49-F238E27FC236}">
                    <a16:creationId xmlns:a16="http://schemas.microsoft.com/office/drawing/2014/main" id="{3230119A-EAA0-43D2-B866-CE01FB6A61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2641" y="18302292"/>
                <a:ext cx="12700" cy="71438"/>
              </a:xfrm>
              <a:custGeom>
                <a:avLst/>
                <a:gdLst>
                  <a:gd name="T0" fmla="*/ 8 w 8"/>
                  <a:gd name="T1" fmla="*/ 45 h 45"/>
                  <a:gd name="T2" fmla="*/ 0 w 8"/>
                  <a:gd name="T3" fmla="*/ 0 h 45"/>
                  <a:gd name="T4" fmla="*/ 8 w 8"/>
                  <a:gd name="T5" fmla="*/ 45 h 45"/>
                  <a:gd name="T6" fmla="*/ 8 w 8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5">
                    <a:moveTo>
                      <a:pt x="8" y="45"/>
                    </a:moveTo>
                    <a:lnTo>
                      <a:pt x="0" y="0"/>
                    </a:lnTo>
                    <a:lnTo>
                      <a:pt x="8" y="45"/>
                    </a:lnTo>
                    <a:lnTo>
                      <a:pt x="8" y="4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4" name="Freeform 178">
                <a:extLst>
                  <a:ext uri="{FF2B5EF4-FFF2-40B4-BE49-F238E27FC236}">
                    <a16:creationId xmlns:a16="http://schemas.microsoft.com/office/drawing/2014/main" id="{193A2D8E-8436-41B6-BDB4-8160ACC390C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5179" y="17845092"/>
                <a:ext cx="217488" cy="379413"/>
              </a:xfrm>
              <a:custGeom>
                <a:avLst/>
                <a:gdLst>
                  <a:gd name="T0" fmla="*/ 2 w 137"/>
                  <a:gd name="T1" fmla="*/ 239 h 239"/>
                  <a:gd name="T2" fmla="*/ 0 w 137"/>
                  <a:gd name="T3" fmla="*/ 232 h 239"/>
                  <a:gd name="T4" fmla="*/ 40 w 137"/>
                  <a:gd name="T5" fmla="*/ 102 h 239"/>
                  <a:gd name="T6" fmla="*/ 137 w 137"/>
                  <a:gd name="T7" fmla="*/ 0 h 239"/>
                  <a:gd name="T8" fmla="*/ 137 w 137"/>
                  <a:gd name="T9" fmla="*/ 7 h 239"/>
                  <a:gd name="T10" fmla="*/ 40 w 137"/>
                  <a:gd name="T11" fmla="*/ 106 h 239"/>
                  <a:gd name="T12" fmla="*/ 2 w 137"/>
                  <a:gd name="T1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239">
                    <a:moveTo>
                      <a:pt x="2" y="239"/>
                    </a:moveTo>
                    <a:lnTo>
                      <a:pt x="0" y="232"/>
                    </a:lnTo>
                    <a:lnTo>
                      <a:pt x="40" y="102"/>
                    </a:lnTo>
                    <a:lnTo>
                      <a:pt x="137" y="0"/>
                    </a:lnTo>
                    <a:lnTo>
                      <a:pt x="137" y="7"/>
                    </a:lnTo>
                    <a:lnTo>
                      <a:pt x="40" y="106"/>
                    </a:lnTo>
                    <a:lnTo>
                      <a:pt x="2" y="23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5" name="Freeform 179">
                <a:extLst>
                  <a:ext uri="{FF2B5EF4-FFF2-40B4-BE49-F238E27FC236}">
                    <a16:creationId xmlns:a16="http://schemas.microsoft.com/office/drawing/2014/main" id="{24B9DF7A-434E-40CC-9C78-06A9FA4D9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4729" y="16952917"/>
                <a:ext cx="296863" cy="850900"/>
              </a:xfrm>
              <a:custGeom>
                <a:avLst/>
                <a:gdLst>
                  <a:gd name="T0" fmla="*/ 5 w 187"/>
                  <a:gd name="T1" fmla="*/ 536 h 536"/>
                  <a:gd name="T2" fmla="*/ 0 w 187"/>
                  <a:gd name="T3" fmla="*/ 352 h 536"/>
                  <a:gd name="T4" fmla="*/ 184 w 187"/>
                  <a:gd name="T5" fmla="*/ 0 h 536"/>
                  <a:gd name="T6" fmla="*/ 187 w 187"/>
                  <a:gd name="T7" fmla="*/ 5 h 536"/>
                  <a:gd name="T8" fmla="*/ 2 w 187"/>
                  <a:gd name="T9" fmla="*/ 357 h 536"/>
                  <a:gd name="T10" fmla="*/ 5 w 187"/>
                  <a:gd name="T11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536">
                    <a:moveTo>
                      <a:pt x="5" y="536"/>
                    </a:moveTo>
                    <a:lnTo>
                      <a:pt x="0" y="352"/>
                    </a:lnTo>
                    <a:lnTo>
                      <a:pt x="184" y="0"/>
                    </a:lnTo>
                    <a:lnTo>
                      <a:pt x="187" y="5"/>
                    </a:lnTo>
                    <a:lnTo>
                      <a:pt x="2" y="357"/>
                    </a:lnTo>
                    <a:lnTo>
                      <a:pt x="5" y="53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6" name="Freeform 180">
                <a:extLst>
                  <a:ext uri="{FF2B5EF4-FFF2-40B4-BE49-F238E27FC236}">
                    <a16:creationId xmlns:a16="http://schemas.microsoft.com/office/drawing/2014/main" id="{7254A3B2-7836-4A74-864A-AEF8B99ABC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5216" y="15565442"/>
                <a:ext cx="493713" cy="600075"/>
              </a:xfrm>
              <a:custGeom>
                <a:avLst/>
                <a:gdLst>
                  <a:gd name="T0" fmla="*/ 0 w 311"/>
                  <a:gd name="T1" fmla="*/ 378 h 378"/>
                  <a:gd name="T2" fmla="*/ 0 w 311"/>
                  <a:gd name="T3" fmla="*/ 375 h 378"/>
                  <a:gd name="T4" fmla="*/ 0 w 311"/>
                  <a:gd name="T5" fmla="*/ 309 h 378"/>
                  <a:gd name="T6" fmla="*/ 309 w 311"/>
                  <a:gd name="T7" fmla="*/ 78 h 378"/>
                  <a:gd name="T8" fmla="*/ 290 w 311"/>
                  <a:gd name="T9" fmla="*/ 0 h 378"/>
                  <a:gd name="T10" fmla="*/ 311 w 311"/>
                  <a:gd name="T11" fmla="*/ 85 h 378"/>
                  <a:gd name="T12" fmla="*/ 0 w 311"/>
                  <a:gd name="T13" fmla="*/ 316 h 378"/>
                  <a:gd name="T14" fmla="*/ 0 w 311"/>
                  <a:gd name="T15" fmla="*/ 378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1" h="378">
                    <a:moveTo>
                      <a:pt x="0" y="378"/>
                    </a:moveTo>
                    <a:lnTo>
                      <a:pt x="0" y="375"/>
                    </a:lnTo>
                    <a:lnTo>
                      <a:pt x="0" y="309"/>
                    </a:lnTo>
                    <a:lnTo>
                      <a:pt x="309" y="78"/>
                    </a:lnTo>
                    <a:lnTo>
                      <a:pt x="290" y="0"/>
                    </a:lnTo>
                    <a:lnTo>
                      <a:pt x="311" y="85"/>
                    </a:lnTo>
                    <a:lnTo>
                      <a:pt x="0" y="316"/>
                    </a:lnTo>
                    <a:lnTo>
                      <a:pt x="0" y="37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7" name="Freeform 181">
                <a:extLst>
                  <a:ext uri="{FF2B5EF4-FFF2-40B4-BE49-F238E27FC236}">
                    <a16:creationId xmlns:a16="http://schemas.microsoft.com/office/drawing/2014/main" id="{1988F3E0-D973-4F82-A65C-F34918299D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054" y="16405229"/>
                <a:ext cx="26988" cy="344488"/>
              </a:xfrm>
              <a:custGeom>
                <a:avLst/>
                <a:gdLst>
                  <a:gd name="T0" fmla="*/ 0 w 17"/>
                  <a:gd name="T1" fmla="*/ 213 h 217"/>
                  <a:gd name="T2" fmla="*/ 17 w 17"/>
                  <a:gd name="T3" fmla="*/ 0 h 217"/>
                  <a:gd name="T4" fmla="*/ 17 w 17"/>
                  <a:gd name="T5" fmla="*/ 2 h 217"/>
                  <a:gd name="T6" fmla="*/ 0 w 17"/>
                  <a:gd name="T7" fmla="*/ 217 h 217"/>
                  <a:gd name="T8" fmla="*/ 0 w 17"/>
                  <a:gd name="T9" fmla="*/ 21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17">
                    <a:moveTo>
                      <a:pt x="0" y="213"/>
                    </a:moveTo>
                    <a:lnTo>
                      <a:pt x="17" y="0"/>
                    </a:lnTo>
                    <a:lnTo>
                      <a:pt x="17" y="2"/>
                    </a:lnTo>
                    <a:lnTo>
                      <a:pt x="0" y="217"/>
                    </a:lnTo>
                    <a:lnTo>
                      <a:pt x="0" y="21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8" name="Freeform 182">
                <a:extLst>
                  <a:ext uri="{FF2B5EF4-FFF2-40B4-BE49-F238E27FC236}">
                    <a16:creationId xmlns:a16="http://schemas.microsoft.com/office/drawing/2014/main" id="{100A5ED7-1FDE-47AF-8E9B-06739EC4D13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9204" y="15103479"/>
                <a:ext cx="55563" cy="187325"/>
              </a:xfrm>
              <a:custGeom>
                <a:avLst/>
                <a:gdLst>
                  <a:gd name="T0" fmla="*/ 0 w 35"/>
                  <a:gd name="T1" fmla="*/ 116 h 118"/>
                  <a:gd name="T2" fmla="*/ 33 w 35"/>
                  <a:gd name="T3" fmla="*/ 0 h 118"/>
                  <a:gd name="T4" fmla="*/ 35 w 35"/>
                  <a:gd name="T5" fmla="*/ 3 h 118"/>
                  <a:gd name="T6" fmla="*/ 2 w 35"/>
                  <a:gd name="T7" fmla="*/ 118 h 118"/>
                  <a:gd name="T8" fmla="*/ 0 w 35"/>
                  <a:gd name="T9" fmla="*/ 11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8">
                    <a:moveTo>
                      <a:pt x="0" y="116"/>
                    </a:moveTo>
                    <a:lnTo>
                      <a:pt x="33" y="0"/>
                    </a:lnTo>
                    <a:lnTo>
                      <a:pt x="35" y="3"/>
                    </a:lnTo>
                    <a:lnTo>
                      <a:pt x="2" y="118"/>
                    </a:lnTo>
                    <a:lnTo>
                      <a:pt x="0" y="11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69" name="Freeform 183">
                <a:extLst>
                  <a:ext uri="{FF2B5EF4-FFF2-40B4-BE49-F238E27FC236}">
                    <a16:creationId xmlns:a16="http://schemas.microsoft.com/office/drawing/2014/main" id="{46D4F94B-1ACB-4031-8745-367C3A41D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1266" y="14384341"/>
                <a:ext cx="1773238" cy="663575"/>
              </a:xfrm>
              <a:custGeom>
                <a:avLst/>
                <a:gdLst>
                  <a:gd name="T0" fmla="*/ 1117 w 1117"/>
                  <a:gd name="T1" fmla="*/ 9 h 418"/>
                  <a:gd name="T2" fmla="*/ 959 w 1117"/>
                  <a:gd name="T3" fmla="*/ 99 h 418"/>
                  <a:gd name="T4" fmla="*/ 796 w 1117"/>
                  <a:gd name="T5" fmla="*/ 78 h 418"/>
                  <a:gd name="T6" fmla="*/ 694 w 1117"/>
                  <a:gd name="T7" fmla="*/ 12 h 418"/>
                  <a:gd name="T8" fmla="*/ 432 w 1117"/>
                  <a:gd name="T9" fmla="*/ 97 h 418"/>
                  <a:gd name="T10" fmla="*/ 286 w 1117"/>
                  <a:gd name="T11" fmla="*/ 382 h 418"/>
                  <a:gd name="T12" fmla="*/ 189 w 1117"/>
                  <a:gd name="T13" fmla="*/ 335 h 418"/>
                  <a:gd name="T14" fmla="*/ 5 w 1117"/>
                  <a:gd name="T15" fmla="*/ 418 h 418"/>
                  <a:gd name="T16" fmla="*/ 0 w 1117"/>
                  <a:gd name="T17" fmla="*/ 413 h 418"/>
                  <a:gd name="T18" fmla="*/ 172 w 1117"/>
                  <a:gd name="T19" fmla="*/ 335 h 418"/>
                  <a:gd name="T20" fmla="*/ 172 w 1117"/>
                  <a:gd name="T21" fmla="*/ 335 h 418"/>
                  <a:gd name="T22" fmla="*/ 186 w 1117"/>
                  <a:gd name="T23" fmla="*/ 328 h 418"/>
                  <a:gd name="T24" fmla="*/ 283 w 1117"/>
                  <a:gd name="T25" fmla="*/ 373 h 418"/>
                  <a:gd name="T26" fmla="*/ 432 w 1117"/>
                  <a:gd name="T27" fmla="*/ 89 h 418"/>
                  <a:gd name="T28" fmla="*/ 692 w 1117"/>
                  <a:gd name="T29" fmla="*/ 4 h 418"/>
                  <a:gd name="T30" fmla="*/ 793 w 1117"/>
                  <a:gd name="T31" fmla="*/ 68 h 418"/>
                  <a:gd name="T32" fmla="*/ 959 w 1117"/>
                  <a:gd name="T33" fmla="*/ 92 h 418"/>
                  <a:gd name="T34" fmla="*/ 1093 w 1117"/>
                  <a:gd name="T35" fmla="*/ 0 h 418"/>
                  <a:gd name="T36" fmla="*/ 1117 w 1117"/>
                  <a:gd name="T37" fmla="*/ 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17" h="418">
                    <a:moveTo>
                      <a:pt x="1117" y="9"/>
                    </a:moveTo>
                    <a:lnTo>
                      <a:pt x="959" y="99"/>
                    </a:lnTo>
                    <a:lnTo>
                      <a:pt x="796" y="78"/>
                    </a:lnTo>
                    <a:lnTo>
                      <a:pt x="694" y="12"/>
                    </a:lnTo>
                    <a:lnTo>
                      <a:pt x="432" y="97"/>
                    </a:lnTo>
                    <a:lnTo>
                      <a:pt x="286" y="382"/>
                    </a:lnTo>
                    <a:lnTo>
                      <a:pt x="189" y="335"/>
                    </a:lnTo>
                    <a:lnTo>
                      <a:pt x="5" y="418"/>
                    </a:lnTo>
                    <a:lnTo>
                      <a:pt x="0" y="413"/>
                    </a:lnTo>
                    <a:lnTo>
                      <a:pt x="172" y="335"/>
                    </a:lnTo>
                    <a:lnTo>
                      <a:pt x="172" y="335"/>
                    </a:lnTo>
                    <a:lnTo>
                      <a:pt x="186" y="328"/>
                    </a:lnTo>
                    <a:lnTo>
                      <a:pt x="283" y="373"/>
                    </a:lnTo>
                    <a:lnTo>
                      <a:pt x="432" y="89"/>
                    </a:lnTo>
                    <a:lnTo>
                      <a:pt x="692" y="4"/>
                    </a:lnTo>
                    <a:lnTo>
                      <a:pt x="793" y="68"/>
                    </a:lnTo>
                    <a:lnTo>
                      <a:pt x="959" y="92"/>
                    </a:lnTo>
                    <a:lnTo>
                      <a:pt x="1093" y="0"/>
                    </a:lnTo>
                    <a:lnTo>
                      <a:pt x="1117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0" name="Freeform 184">
                <a:extLst>
                  <a:ext uri="{FF2B5EF4-FFF2-40B4-BE49-F238E27FC236}">
                    <a16:creationId xmlns:a16="http://schemas.microsoft.com/office/drawing/2014/main" id="{6AE4141E-5E0B-4A01-962B-6512B56F70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7679" y="13738229"/>
                <a:ext cx="6180138" cy="795338"/>
              </a:xfrm>
              <a:custGeom>
                <a:avLst/>
                <a:gdLst>
                  <a:gd name="T0" fmla="*/ 3893 w 3893"/>
                  <a:gd name="T1" fmla="*/ 3 h 501"/>
                  <a:gd name="T2" fmla="*/ 3546 w 3893"/>
                  <a:gd name="T3" fmla="*/ 449 h 501"/>
                  <a:gd name="T4" fmla="*/ 3459 w 3893"/>
                  <a:gd name="T5" fmla="*/ 442 h 501"/>
                  <a:gd name="T6" fmla="*/ 3312 w 3893"/>
                  <a:gd name="T7" fmla="*/ 324 h 501"/>
                  <a:gd name="T8" fmla="*/ 3225 w 3893"/>
                  <a:gd name="T9" fmla="*/ 348 h 501"/>
                  <a:gd name="T10" fmla="*/ 3154 w 3893"/>
                  <a:gd name="T11" fmla="*/ 322 h 501"/>
                  <a:gd name="T12" fmla="*/ 2842 w 3893"/>
                  <a:gd name="T13" fmla="*/ 397 h 501"/>
                  <a:gd name="T14" fmla="*/ 2743 w 3893"/>
                  <a:gd name="T15" fmla="*/ 326 h 501"/>
                  <a:gd name="T16" fmla="*/ 2715 w 3893"/>
                  <a:gd name="T17" fmla="*/ 213 h 501"/>
                  <a:gd name="T18" fmla="*/ 2561 w 3893"/>
                  <a:gd name="T19" fmla="*/ 239 h 501"/>
                  <a:gd name="T20" fmla="*/ 2445 w 3893"/>
                  <a:gd name="T21" fmla="*/ 338 h 501"/>
                  <a:gd name="T22" fmla="*/ 2301 w 3893"/>
                  <a:gd name="T23" fmla="*/ 237 h 501"/>
                  <a:gd name="T24" fmla="*/ 2223 w 3893"/>
                  <a:gd name="T25" fmla="*/ 248 h 501"/>
                  <a:gd name="T26" fmla="*/ 2138 w 3893"/>
                  <a:gd name="T27" fmla="*/ 161 h 501"/>
                  <a:gd name="T28" fmla="*/ 1975 w 3893"/>
                  <a:gd name="T29" fmla="*/ 104 h 501"/>
                  <a:gd name="T30" fmla="*/ 1826 w 3893"/>
                  <a:gd name="T31" fmla="*/ 119 h 501"/>
                  <a:gd name="T32" fmla="*/ 1637 w 3893"/>
                  <a:gd name="T33" fmla="*/ 253 h 501"/>
                  <a:gd name="T34" fmla="*/ 1396 w 3893"/>
                  <a:gd name="T35" fmla="*/ 206 h 501"/>
                  <a:gd name="T36" fmla="*/ 1205 w 3893"/>
                  <a:gd name="T37" fmla="*/ 232 h 501"/>
                  <a:gd name="T38" fmla="*/ 1153 w 3893"/>
                  <a:gd name="T39" fmla="*/ 213 h 501"/>
                  <a:gd name="T40" fmla="*/ 1151 w 3893"/>
                  <a:gd name="T41" fmla="*/ 204 h 501"/>
                  <a:gd name="T42" fmla="*/ 1132 w 3893"/>
                  <a:gd name="T43" fmla="*/ 95 h 501"/>
                  <a:gd name="T44" fmla="*/ 1011 w 3893"/>
                  <a:gd name="T45" fmla="*/ 71 h 501"/>
                  <a:gd name="T46" fmla="*/ 931 w 3893"/>
                  <a:gd name="T47" fmla="*/ 163 h 501"/>
                  <a:gd name="T48" fmla="*/ 827 w 3893"/>
                  <a:gd name="T49" fmla="*/ 154 h 501"/>
                  <a:gd name="T50" fmla="*/ 681 w 3893"/>
                  <a:gd name="T51" fmla="*/ 196 h 501"/>
                  <a:gd name="T52" fmla="*/ 504 w 3893"/>
                  <a:gd name="T53" fmla="*/ 343 h 501"/>
                  <a:gd name="T54" fmla="*/ 364 w 3893"/>
                  <a:gd name="T55" fmla="*/ 381 h 501"/>
                  <a:gd name="T56" fmla="*/ 263 w 3893"/>
                  <a:gd name="T57" fmla="*/ 501 h 501"/>
                  <a:gd name="T58" fmla="*/ 0 w 3893"/>
                  <a:gd name="T59" fmla="*/ 416 h 501"/>
                  <a:gd name="T60" fmla="*/ 263 w 3893"/>
                  <a:gd name="T61" fmla="*/ 494 h 501"/>
                  <a:gd name="T62" fmla="*/ 364 w 3893"/>
                  <a:gd name="T63" fmla="*/ 374 h 501"/>
                  <a:gd name="T64" fmla="*/ 504 w 3893"/>
                  <a:gd name="T65" fmla="*/ 336 h 501"/>
                  <a:gd name="T66" fmla="*/ 678 w 3893"/>
                  <a:gd name="T67" fmla="*/ 189 h 501"/>
                  <a:gd name="T68" fmla="*/ 827 w 3893"/>
                  <a:gd name="T69" fmla="*/ 147 h 501"/>
                  <a:gd name="T70" fmla="*/ 931 w 3893"/>
                  <a:gd name="T71" fmla="*/ 156 h 501"/>
                  <a:gd name="T72" fmla="*/ 1009 w 3893"/>
                  <a:gd name="T73" fmla="*/ 64 h 501"/>
                  <a:gd name="T74" fmla="*/ 1130 w 3893"/>
                  <a:gd name="T75" fmla="*/ 88 h 501"/>
                  <a:gd name="T76" fmla="*/ 1151 w 3893"/>
                  <a:gd name="T77" fmla="*/ 204 h 501"/>
                  <a:gd name="T78" fmla="*/ 1203 w 3893"/>
                  <a:gd name="T79" fmla="*/ 225 h 501"/>
                  <a:gd name="T80" fmla="*/ 1396 w 3893"/>
                  <a:gd name="T81" fmla="*/ 199 h 501"/>
                  <a:gd name="T82" fmla="*/ 1637 w 3893"/>
                  <a:gd name="T83" fmla="*/ 246 h 501"/>
                  <a:gd name="T84" fmla="*/ 1826 w 3893"/>
                  <a:gd name="T85" fmla="*/ 111 h 501"/>
                  <a:gd name="T86" fmla="*/ 1975 w 3893"/>
                  <a:gd name="T87" fmla="*/ 95 h 501"/>
                  <a:gd name="T88" fmla="*/ 2138 w 3893"/>
                  <a:gd name="T89" fmla="*/ 154 h 501"/>
                  <a:gd name="T90" fmla="*/ 2223 w 3893"/>
                  <a:gd name="T91" fmla="*/ 241 h 501"/>
                  <a:gd name="T92" fmla="*/ 2301 w 3893"/>
                  <a:gd name="T93" fmla="*/ 230 h 501"/>
                  <a:gd name="T94" fmla="*/ 2443 w 3893"/>
                  <a:gd name="T95" fmla="*/ 331 h 501"/>
                  <a:gd name="T96" fmla="*/ 2561 w 3893"/>
                  <a:gd name="T97" fmla="*/ 230 h 501"/>
                  <a:gd name="T98" fmla="*/ 2715 w 3893"/>
                  <a:gd name="T99" fmla="*/ 201 h 501"/>
                  <a:gd name="T100" fmla="*/ 2743 w 3893"/>
                  <a:gd name="T101" fmla="*/ 317 h 501"/>
                  <a:gd name="T102" fmla="*/ 2842 w 3893"/>
                  <a:gd name="T103" fmla="*/ 388 h 501"/>
                  <a:gd name="T104" fmla="*/ 3154 w 3893"/>
                  <a:gd name="T105" fmla="*/ 315 h 501"/>
                  <a:gd name="T106" fmla="*/ 3225 w 3893"/>
                  <a:gd name="T107" fmla="*/ 338 h 501"/>
                  <a:gd name="T108" fmla="*/ 3312 w 3893"/>
                  <a:gd name="T109" fmla="*/ 317 h 501"/>
                  <a:gd name="T110" fmla="*/ 3456 w 3893"/>
                  <a:gd name="T111" fmla="*/ 433 h 501"/>
                  <a:gd name="T112" fmla="*/ 3546 w 3893"/>
                  <a:gd name="T113" fmla="*/ 440 h 501"/>
                  <a:gd name="T114" fmla="*/ 3889 w 3893"/>
                  <a:gd name="T115" fmla="*/ 0 h 501"/>
                  <a:gd name="T116" fmla="*/ 3893 w 3893"/>
                  <a:gd name="T117" fmla="*/ 3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93" h="501">
                    <a:moveTo>
                      <a:pt x="3893" y="3"/>
                    </a:moveTo>
                    <a:lnTo>
                      <a:pt x="3546" y="449"/>
                    </a:lnTo>
                    <a:lnTo>
                      <a:pt x="3459" y="442"/>
                    </a:lnTo>
                    <a:lnTo>
                      <a:pt x="3312" y="324"/>
                    </a:lnTo>
                    <a:lnTo>
                      <a:pt x="3225" y="348"/>
                    </a:lnTo>
                    <a:lnTo>
                      <a:pt x="3154" y="322"/>
                    </a:lnTo>
                    <a:lnTo>
                      <a:pt x="2842" y="397"/>
                    </a:lnTo>
                    <a:lnTo>
                      <a:pt x="2743" y="326"/>
                    </a:lnTo>
                    <a:lnTo>
                      <a:pt x="2715" y="213"/>
                    </a:lnTo>
                    <a:lnTo>
                      <a:pt x="2561" y="239"/>
                    </a:lnTo>
                    <a:lnTo>
                      <a:pt x="2445" y="338"/>
                    </a:lnTo>
                    <a:lnTo>
                      <a:pt x="2301" y="237"/>
                    </a:lnTo>
                    <a:lnTo>
                      <a:pt x="2223" y="248"/>
                    </a:lnTo>
                    <a:lnTo>
                      <a:pt x="2138" y="161"/>
                    </a:lnTo>
                    <a:lnTo>
                      <a:pt x="1975" y="104"/>
                    </a:lnTo>
                    <a:lnTo>
                      <a:pt x="1826" y="119"/>
                    </a:lnTo>
                    <a:lnTo>
                      <a:pt x="1637" y="253"/>
                    </a:lnTo>
                    <a:lnTo>
                      <a:pt x="1396" y="206"/>
                    </a:lnTo>
                    <a:lnTo>
                      <a:pt x="1205" y="232"/>
                    </a:lnTo>
                    <a:lnTo>
                      <a:pt x="1153" y="213"/>
                    </a:lnTo>
                    <a:lnTo>
                      <a:pt x="1151" y="204"/>
                    </a:lnTo>
                    <a:lnTo>
                      <a:pt x="1132" y="95"/>
                    </a:lnTo>
                    <a:lnTo>
                      <a:pt x="1011" y="71"/>
                    </a:lnTo>
                    <a:lnTo>
                      <a:pt x="931" y="163"/>
                    </a:lnTo>
                    <a:lnTo>
                      <a:pt x="827" y="154"/>
                    </a:lnTo>
                    <a:lnTo>
                      <a:pt x="681" y="196"/>
                    </a:lnTo>
                    <a:lnTo>
                      <a:pt x="504" y="343"/>
                    </a:lnTo>
                    <a:lnTo>
                      <a:pt x="364" y="381"/>
                    </a:lnTo>
                    <a:lnTo>
                      <a:pt x="263" y="501"/>
                    </a:lnTo>
                    <a:lnTo>
                      <a:pt x="0" y="416"/>
                    </a:lnTo>
                    <a:lnTo>
                      <a:pt x="263" y="494"/>
                    </a:lnTo>
                    <a:lnTo>
                      <a:pt x="364" y="374"/>
                    </a:lnTo>
                    <a:lnTo>
                      <a:pt x="504" y="336"/>
                    </a:lnTo>
                    <a:lnTo>
                      <a:pt x="678" y="189"/>
                    </a:lnTo>
                    <a:lnTo>
                      <a:pt x="827" y="147"/>
                    </a:lnTo>
                    <a:lnTo>
                      <a:pt x="931" y="156"/>
                    </a:lnTo>
                    <a:lnTo>
                      <a:pt x="1009" y="64"/>
                    </a:lnTo>
                    <a:lnTo>
                      <a:pt x="1130" y="88"/>
                    </a:lnTo>
                    <a:lnTo>
                      <a:pt x="1151" y="204"/>
                    </a:lnTo>
                    <a:lnTo>
                      <a:pt x="1203" y="225"/>
                    </a:lnTo>
                    <a:lnTo>
                      <a:pt x="1396" y="199"/>
                    </a:lnTo>
                    <a:lnTo>
                      <a:pt x="1637" y="246"/>
                    </a:lnTo>
                    <a:lnTo>
                      <a:pt x="1826" y="111"/>
                    </a:lnTo>
                    <a:lnTo>
                      <a:pt x="1975" y="95"/>
                    </a:lnTo>
                    <a:lnTo>
                      <a:pt x="2138" y="154"/>
                    </a:lnTo>
                    <a:lnTo>
                      <a:pt x="2223" y="241"/>
                    </a:lnTo>
                    <a:lnTo>
                      <a:pt x="2301" y="230"/>
                    </a:lnTo>
                    <a:lnTo>
                      <a:pt x="2443" y="331"/>
                    </a:lnTo>
                    <a:lnTo>
                      <a:pt x="2561" y="230"/>
                    </a:lnTo>
                    <a:lnTo>
                      <a:pt x="2715" y="201"/>
                    </a:lnTo>
                    <a:lnTo>
                      <a:pt x="2743" y="317"/>
                    </a:lnTo>
                    <a:lnTo>
                      <a:pt x="2842" y="388"/>
                    </a:lnTo>
                    <a:lnTo>
                      <a:pt x="3154" y="315"/>
                    </a:lnTo>
                    <a:lnTo>
                      <a:pt x="3225" y="338"/>
                    </a:lnTo>
                    <a:lnTo>
                      <a:pt x="3312" y="317"/>
                    </a:lnTo>
                    <a:lnTo>
                      <a:pt x="3456" y="433"/>
                    </a:lnTo>
                    <a:lnTo>
                      <a:pt x="3546" y="440"/>
                    </a:lnTo>
                    <a:lnTo>
                      <a:pt x="3889" y="0"/>
                    </a:lnTo>
                    <a:lnTo>
                      <a:pt x="3893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1" name="Freeform 185">
                <a:extLst>
                  <a:ext uri="{FF2B5EF4-FFF2-40B4-BE49-F238E27FC236}">
                    <a16:creationId xmlns:a16="http://schemas.microsoft.com/office/drawing/2014/main" id="{6D66030D-0388-4B2C-A4CC-8988F65E38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9052" y="-800100"/>
                <a:ext cx="13093701" cy="17230729"/>
              </a:xfrm>
              <a:custGeom>
                <a:avLst/>
                <a:gdLst>
                  <a:gd name="T0" fmla="*/ 7991 w 8248"/>
                  <a:gd name="T1" fmla="*/ 2788 h 10854"/>
                  <a:gd name="T2" fmla="*/ 7686 w 8248"/>
                  <a:gd name="T3" fmla="*/ 2847 h 10854"/>
                  <a:gd name="T4" fmla="*/ 7741 w 8248"/>
                  <a:gd name="T5" fmla="*/ 2662 h 10854"/>
                  <a:gd name="T6" fmla="*/ 7608 w 8248"/>
                  <a:gd name="T7" fmla="*/ 3173 h 10854"/>
                  <a:gd name="T8" fmla="*/ 7330 w 8248"/>
                  <a:gd name="T9" fmla="*/ 3463 h 10854"/>
                  <a:gd name="T10" fmla="*/ 7126 w 8248"/>
                  <a:gd name="T11" fmla="*/ 3895 h 10854"/>
                  <a:gd name="T12" fmla="*/ 7091 w 8248"/>
                  <a:gd name="T13" fmla="*/ 4207 h 10854"/>
                  <a:gd name="T14" fmla="*/ 6694 w 8248"/>
                  <a:gd name="T15" fmla="*/ 4292 h 10854"/>
                  <a:gd name="T16" fmla="*/ 6250 w 8248"/>
                  <a:gd name="T17" fmla="*/ 4330 h 10854"/>
                  <a:gd name="T18" fmla="*/ 5553 w 8248"/>
                  <a:gd name="T19" fmla="*/ 4337 h 10854"/>
                  <a:gd name="T20" fmla="*/ 5225 w 8248"/>
                  <a:gd name="T21" fmla="*/ 5237 h 10854"/>
                  <a:gd name="T22" fmla="*/ 5116 w 8248"/>
                  <a:gd name="T23" fmla="*/ 5830 h 10854"/>
                  <a:gd name="T24" fmla="*/ 4809 w 8248"/>
                  <a:gd name="T25" fmla="*/ 6428 h 10854"/>
                  <a:gd name="T26" fmla="*/ 5199 w 8248"/>
                  <a:gd name="T27" fmla="*/ 6340 h 10854"/>
                  <a:gd name="T28" fmla="*/ 5740 w 8248"/>
                  <a:gd name="T29" fmla="*/ 6392 h 10854"/>
                  <a:gd name="T30" fmla="*/ 5967 w 8248"/>
                  <a:gd name="T31" fmla="*/ 6536 h 10854"/>
                  <a:gd name="T32" fmla="*/ 5941 w 8248"/>
                  <a:gd name="T33" fmla="*/ 6988 h 10854"/>
                  <a:gd name="T34" fmla="*/ 5773 w 8248"/>
                  <a:gd name="T35" fmla="*/ 7675 h 10854"/>
                  <a:gd name="T36" fmla="*/ 5461 w 8248"/>
                  <a:gd name="T37" fmla="*/ 7996 h 10854"/>
                  <a:gd name="T38" fmla="*/ 5045 w 8248"/>
                  <a:gd name="T39" fmla="*/ 7821 h 10854"/>
                  <a:gd name="T40" fmla="*/ 4684 w 8248"/>
                  <a:gd name="T41" fmla="*/ 8162 h 10854"/>
                  <a:gd name="T42" fmla="*/ 4601 w 8248"/>
                  <a:gd name="T43" fmla="*/ 8055 h 10854"/>
                  <a:gd name="T44" fmla="*/ 4041 w 8248"/>
                  <a:gd name="T45" fmla="*/ 7975 h 10854"/>
                  <a:gd name="T46" fmla="*/ 3871 w 8248"/>
                  <a:gd name="T47" fmla="*/ 7880 h 10854"/>
                  <a:gd name="T48" fmla="*/ 3680 w 8248"/>
                  <a:gd name="T49" fmla="*/ 7987 h 10854"/>
                  <a:gd name="T50" fmla="*/ 3314 w 8248"/>
                  <a:gd name="T51" fmla="*/ 8145 h 10854"/>
                  <a:gd name="T52" fmla="*/ 3127 w 8248"/>
                  <a:gd name="T53" fmla="*/ 8372 h 10854"/>
                  <a:gd name="T54" fmla="*/ 2813 w 8248"/>
                  <a:gd name="T55" fmla="*/ 8469 h 10854"/>
                  <a:gd name="T56" fmla="*/ 2534 w 8248"/>
                  <a:gd name="T57" fmla="*/ 8788 h 10854"/>
                  <a:gd name="T58" fmla="*/ 2305 w 8248"/>
                  <a:gd name="T59" fmla="*/ 8842 h 10854"/>
                  <a:gd name="T60" fmla="*/ 2520 w 8248"/>
                  <a:gd name="T61" fmla="*/ 9232 h 10854"/>
                  <a:gd name="T62" fmla="*/ 2386 w 8248"/>
                  <a:gd name="T63" fmla="*/ 9560 h 10854"/>
                  <a:gd name="T64" fmla="*/ 2383 w 8248"/>
                  <a:gd name="T65" fmla="*/ 9673 h 10854"/>
                  <a:gd name="T66" fmla="*/ 2001 w 8248"/>
                  <a:gd name="T67" fmla="*/ 9791 h 10854"/>
                  <a:gd name="T68" fmla="*/ 1684 w 8248"/>
                  <a:gd name="T69" fmla="*/ 9938 h 10854"/>
                  <a:gd name="T70" fmla="*/ 1223 w 8248"/>
                  <a:gd name="T71" fmla="*/ 10453 h 10854"/>
                  <a:gd name="T72" fmla="*/ 1171 w 8248"/>
                  <a:gd name="T73" fmla="*/ 10826 h 10854"/>
                  <a:gd name="T74" fmla="*/ 945 w 8248"/>
                  <a:gd name="T75" fmla="*/ 10545 h 10854"/>
                  <a:gd name="T76" fmla="*/ 401 w 8248"/>
                  <a:gd name="T77" fmla="*/ 10344 h 10854"/>
                  <a:gd name="T78" fmla="*/ 0 w 8248"/>
                  <a:gd name="T79" fmla="*/ 2516 h 10854"/>
                  <a:gd name="T80" fmla="*/ 529 w 8248"/>
                  <a:gd name="T81" fmla="*/ 1035 h 10854"/>
                  <a:gd name="T82" fmla="*/ 536 w 8248"/>
                  <a:gd name="T83" fmla="*/ 586 h 10854"/>
                  <a:gd name="T84" fmla="*/ 753 w 8248"/>
                  <a:gd name="T85" fmla="*/ 293 h 10854"/>
                  <a:gd name="T86" fmla="*/ 2230 w 8248"/>
                  <a:gd name="T87" fmla="*/ 373 h 10854"/>
                  <a:gd name="T88" fmla="*/ 3009 w 8248"/>
                  <a:gd name="T89" fmla="*/ 645 h 10854"/>
                  <a:gd name="T90" fmla="*/ 3465 w 8248"/>
                  <a:gd name="T91" fmla="*/ 728 h 10854"/>
                  <a:gd name="T92" fmla="*/ 4122 w 8248"/>
                  <a:gd name="T93" fmla="*/ 477 h 10854"/>
                  <a:gd name="T94" fmla="*/ 4339 w 8248"/>
                  <a:gd name="T95" fmla="*/ 886 h 10854"/>
                  <a:gd name="T96" fmla="*/ 4663 w 8248"/>
                  <a:gd name="T97" fmla="*/ 1245 h 10854"/>
                  <a:gd name="T98" fmla="*/ 5688 w 8248"/>
                  <a:gd name="T99" fmla="*/ 1460 h 10854"/>
                  <a:gd name="T100" fmla="*/ 6014 w 8248"/>
                  <a:gd name="T101" fmla="*/ 1427 h 10854"/>
                  <a:gd name="T102" fmla="*/ 6260 w 8248"/>
                  <a:gd name="T103" fmla="*/ 1162 h 10854"/>
                  <a:gd name="T104" fmla="*/ 6741 w 8248"/>
                  <a:gd name="T105" fmla="*/ 1233 h 10854"/>
                  <a:gd name="T106" fmla="*/ 7018 w 8248"/>
                  <a:gd name="T107" fmla="*/ 1195 h 10854"/>
                  <a:gd name="T108" fmla="*/ 7067 w 8248"/>
                  <a:gd name="T109" fmla="*/ 1283 h 10854"/>
                  <a:gd name="T110" fmla="*/ 7313 w 8248"/>
                  <a:gd name="T111" fmla="*/ 1250 h 10854"/>
                  <a:gd name="T112" fmla="*/ 8000 w 8248"/>
                  <a:gd name="T113" fmla="*/ 1732 h 10854"/>
                  <a:gd name="T114" fmla="*/ 7568 w 8248"/>
                  <a:gd name="T115" fmla="*/ 1651 h 10854"/>
                  <a:gd name="T116" fmla="*/ 7726 w 8248"/>
                  <a:gd name="T117" fmla="*/ 2022 h 10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248" h="10854">
                    <a:moveTo>
                      <a:pt x="8248" y="2372"/>
                    </a:moveTo>
                    <a:lnTo>
                      <a:pt x="8248" y="2710"/>
                    </a:lnTo>
                    <a:lnTo>
                      <a:pt x="7991" y="2788"/>
                    </a:lnTo>
                    <a:lnTo>
                      <a:pt x="7823" y="2778"/>
                    </a:lnTo>
                    <a:lnTo>
                      <a:pt x="7757" y="2844"/>
                    </a:lnTo>
                    <a:lnTo>
                      <a:pt x="7686" y="2847"/>
                    </a:lnTo>
                    <a:lnTo>
                      <a:pt x="7658" y="2740"/>
                    </a:lnTo>
                    <a:lnTo>
                      <a:pt x="7743" y="2712"/>
                    </a:lnTo>
                    <a:lnTo>
                      <a:pt x="7741" y="2662"/>
                    </a:lnTo>
                    <a:lnTo>
                      <a:pt x="7641" y="2646"/>
                    </a:lnTo>
                    <a:lnTo>
                      <a:pt x="7500" y="2703"/>
                    </a:lnTo>
                    <a:lnTo>
                      <a:pt x="7608" y="3173"/>
                    </a:lnTo>
                    <a:lnTo>
                      <a:pt x="7464" y="3274"/>
                    </a:lnTo>
                    <a:lnTo>
                      <a:pt x="7424" y="3402"/>
                    </a:lnTo>
                    <a:lnTo>
                      <a:pt x="7330" y="3463"/>
                    </a:lnTo>
                    <a:lnTo>
                      <a:pt x="7077" y="3503"/>
                    </a:lnTo>
                    <a:lnTo>
                      <a:pt x="7219" y="3862"/>
                    </a:lnTo>
                    <a:lnTo>
                      <a:pt x="7126" y="3895"/>
                    </a:lnTo>
                    <a:lnTo>
                      <a:pt x="7176" y="4080"/>
                    </a:lnTo>
                    <a:lnTo>
                      <a:pt x="7093" y="4132"/>
                    </a:lnTo>
                    <a:lnTo>
                      <a:pt x="7091" y="4207"/>
                    </a:lnTo>
                    <a:lnTo>
                      <a:pt x="6947" y="4191"/>
                    </a:lnTo>
                    <a:lnTo>
                      <a:pt x="6947" y="4259"/>
                    </a:lnTo>
                    <a:lnTo>
                      <a:pt x="6694" y="4292"/>
                    </a:lnTo>
                    <a:lnTo>
                      <a:pt x="6425" y="4382"/>
                    </a:lnTo>
                    <a:lnTo>
                      <a:pt x="6413" y="4243"/>
                    </a:lnTo>
                    <a:lnTo>
                      <a:pt x="6250" y="4330"/>
                    </a:lnTo>
                    <a:lnTo>
                      <a:pt x="6141" y="4179"/>
                    </a:lnTo>
                    <a:lnTo>
                      <a:pt x="6106" y="4037"/>
                    </a:lnTo>
                    <a:lnTo>
                      <a:pt x="5553" y="4337"/>
                    </a:lnTo>
                    <a:lnTo>
                      <a:pt x="5560" y="4578"/>
                    </a:lnTo>
                    <a:lnTo>
                      <a:pt x="5409" y="5211"/>
                    </a:lnTo>
                    <a:lnTo>
                      <a:pt x="5225" y="5237"/>
                    </a:lnTo>
                    <a:lnTo>
                      <a:pt x="5215" y="5369"/>
                    </a:lnTo>
                    <a:lnTo>
                      <a:pt x="5005" y="5346"/>
                    </a:lnTo>
                    <a:lnTo>
                      <a:pt x="5116" y="5830"/>
                    </a:lnTo>
                    <a:lnTo>
                      <a:pt x="4863" y="5998"/>
                    </a:lnTo>
                    <a:lnTo>
                      <a:pt x="4675" y="6177"/>
                    </a:lnTo>
                    <a:lnTo>
                      <a:pt x="4809" y="6428"/>
                    </a:lnTo>
                    <a:lnTo>
                      <a:pt x="4809" y="6593"/>
                    </a:lnTo>
                    <a:lnTo>
                      <a:pt x="5230" y="6430"/>
                    </a:lnTo>
                    <a:lnTo>
                      <a:pt x="5199" y="6340"/>
                    </a:lnTo>
                    <a:lnTo>
                      <a:pt x="5645" y="6241"/>
                    </a:lnTo>
                    <a:lnTo>
                      <a:pt x="5702" y="6288"/>
                    </a:lnTo>
                    <a:lnTo>
                      <a:pt x="5740" y="6392"/>
                    </a:lnTo>
                    <a:lnTo>
                      <a:pt x="6045" y="6380"/>
                    </a:lnTo>
                    <a:lnTo>
                      <a:pt x="6000" y="6527"/>
                    </a:lnTo>
                    <a:lnTo>
                      <a:pt x="5967" y="6536"/>
                    </a:lnTo>
                    <a:lnTo>
                      <a:pt x="5905" y="6832"/>
                    </a:lnTo>
                    <a:lnTo>
                      <a:pt x="5832" y="6848"/>
                    </a:lnTo>
                    <a:lnTo>
                      <a:pt x="5941" y="6988"/>
                    </a:lnTo>
                    <a:lnTo>
                      <a:pt x="5851" y="7495"/>
                    </a:lnTo>
                    <a:lnTo>
                      <a:pt x="5775" y="7507"/>
                    </a:lnTo>
                    <a:lnTo>
                      <a:pt x="5773" y="7675"/>
                    </a:lnTo>
                    <a:lnTo>
                      <a:pt x="5643" y="7883"/>
                    </a:lnTo>
                    <a:lnTo>
                      <a:pt x="5541" y="7904"/>
                    </a:lnTo>
                    <a:lnTo>
                      <a:pt x="5461" y="7996"/>
                    </a:lnTo>
                    <a:lnTo>
                      <a:pt x="5419" y="8001"/>
                    </a:lnTo>
                    <a:lnTo>
                      <a:pt x="5149" y="7755"/>
                    </a:lnTo>
                    <a:lnTo>
                      <a:pt x="5045" y="7821"/>
                    </a:lnTo>
                    <a:lnTo>
                      <a:pt x="4804" y="8140"/>
                    </a:lnTo>
                    <a:lnTo>
                      <a:pt x="4717" y="8173"/>
                    </a:lnTo>
                    <a:lnTo>
                      <a:pt x="4684" y="8162"/>
                    </a:lnTo>
                    <a:lnTo>
                      <a:pt x="4708" y="8069"/>
                    </a:lnTo>
                    <a:lnTo>
                      <a:pt x="4663" y="8017"/>
                    </a:lnTo>
                    <a:lnTo>
                      <a:pt x="4601" y="8055"/>
                    </a:lnTo>
                    <a:lnTo>
                      <a:pt x="4445" y="8027"/>
                    </a:lnTo>
                    <a:lnTo>
                      <a:pt x="4256" y="8055"/>
                    </a:lnTo>
                    <a:lnTo>
                      <a:pt x="4041" y="7975"/>
                    </a:lnTo>
                    <a:lnTo>
                      <a:pt x="3963" y="7833"/>
                    </a:lnTo>
                    <a:lnTo>
                      <a:pt x="3919" y="7831"/>
                    </a:lnTo>
                    <a:lnTo>
                      <a:pt x="3871" y="7880"/>
                    </a:lnTo>
                    <a:lnTo>
                      <a:pt x="3886" y="8105"/>
                    </a:lnTo>
                    <a:lnTo>
                      <a:pt x="3857" y="8152"/>
                    </a:lnTo>
                    <a:lnTo>
                      <a:pt x="3680" y="7987"/>
                    </a:lnTo>
                    <a:lnTo>
                      <a:pt x="3562" y="8095"/>
                    </a:lnTo>
                    <a:lnTo>
                      <a:pt x="3493" y="8053"/>
                    </a:lnTo>
                    <a:lnTo>
                      <a:pt x="3314" y="8145"/>
                    </a:lnTo>
                    <a:lnTo>
                      <a:pt x="3198" y="8251"/>
                    </a:lnTo>
                    <a:lnTo>
                      <a:pt x="3165" y="8365"/>
                    </a:lnTo>
                    <a:lnTo>
                      <a:pt x="3127" y="8372"/>
                    </a:lnTo>
                    <a:lnTo>
                      <a:pt x="3080" y="8299"/>
                    </a:lnTo>
                    <a:lnTo>
                      <a:pt x="2943" y="8329"/>
                    </a:lnTo>
                    <a:lnTo>
                      <a:pt x="2813" y="8469"/>
                    </a:lnTo>
                    <a:lnTo>
                      <a:pt x="2806" y="8660"/>
                    </a:lnTo>
                    <a:lnTo>
                      <a:pt x="2629" y="8639"/>
                    </a:lnTo>
                    <a:lnTo>
                      <a:pt x="2534" y="8788"/>
                    </a:lnTo>
                    <a:lnTo>
                      <a:pt x="2492" y="8780"/>
                    </a:lnTo>
                    <a:lnTo>
                      <a:pt x="2416" y="8854"/>
                    </a:lnTo>
                    <a:lnTo>
                      <a:pt x="2305" y="8842"/>
                    </a:lnTo>
                    <a:lnTo>
                      <a:pt x="2267" y="8877"/>
                    </a:lnTo>
                    <a:lnTo>
                      <a:pt x="2308" y="9003"/>
                    </a:lnTo>
                    <a:lnTo>
                      <a:pt x="2520" y="9232"/>
                    </a:lnTo>
                    <a:lnTo>
                      <a:pt x="2520" y="9416"/>
                    </a:lnTo>
                    <a:lnTo>
                      <a:pt x="2421" y="9454"/>
                    </a:lnTo>
                    <a:lnTo>
                      <a:pt x="2386" y="9560"/>
                    </a:lnTo>
                    <a:lnTo>
                      <a:pt x="2598" y="9690"/>
                    </a:lnTo>
                    <a:lnTo>
                      <a:pt x="2541" y="9709"/>
                    </a:lnTo>
                    <a:lnTo>
                      <a:pt x="2383" y="9673"/>
                    </a:lnTo>
                    <a:lnTo>
                      <a:pt x="2296" y="9709"/>
                    </a:lnTo>
                    <a:lnTo>
                      <a:pt x="2086" y="9676"/>
                    </a:lnTo>
                    <a:lnTo>
                      <a:pt x="2001" y="9791"/>
                    </a:lnTo>
                    <a:lnTo>
                      <a:pt x="1908" y="9747"/>
                    </a:lnTo>
                    <a:lnTo>
                      <a:pt x="1797" y="9780"/>
                    </a:lnTo>
                    <a:lnTo>
                      <a:pt x="1684" y="9938"/>
                    </a:lnTo>
                    <a:lnTo>
                      <a:pt x="1686" y="10068"/>
                    </a:lnTo>
                    <a:lnTo>
                      <a:pt x="1592" y="10094"/>
                    </a:lnTo>
                    <a:lnTo>
                      <a:pt x="1223" y="10453"/>
                    </a:lnTo>
                    <a:lnTo>
                      <a:pt x="1124" y="10654"/>
                    </a:lnTo>
                    <a:lnTo>
                      <a:pt x="1186" y="10767"/>
                    </a:lnTo>
                    <a:lnTo>
                      <a:pt x="1171" y="10826"/>
                    </a:lnTo>
                    <a:lnTo>
                      <a:pt x="1058" y="10854"/>
                    </a:lnTo>
                    <a:lnTo>
                      <a:pt x="1013" y="10826"/>
                    </a:lnTo>
                    <a:lnTo>
                      <a:pt x="945" y="10545"/>
                    </a:lnTo>
                    <a:lnTo>
                      <a:pt x="713" y="10484"/>
                    </a:lnTo>
                    <a:lnTo>
                      <a:pt x="524" y="10493"/>
                    </a:lnTo>
                    <a:lnTo>
                      <a:pt x="401" y="10344"/>
                    </a:lnTo>
                    <a:lnTo>
                      <a:pt x="323" y="10356"/>
                    </a:lnTo>
                    <a:lnTo>
                      <a:pt x="0" y="10540"/>
                    </a:lnTo>
                    <a:lnTo>
                      <a:pt x="0" y="2516"/>
                    </a:lnTo>
                    <a:lnTo>
                      <a:pt x="38" y="2247"/>
                    </a:lnTo>
                    <a:lnTo>
                      <a:pt x="137" y="2129"/>
                    </a:lnTo>
                    <a:lnTo>
                      <a:pt x="529" y="1035"/>
                    </a:lnTo>
                    <a:lnTo>
                      <a:pt x="595" y="966"/>
                    </a:lnTo>
                    <a:lnTo>
                      <a:pt x="616" y="761"/>
                    </a:lnTo>
                    <a:lnTo>
                      <a:pt x="536" y="586"/>
                    </a:lnTo>
                    <a:lnTo>
                      <a:pt x="545" y="411"/>
                    </a:lnTo>
                    <a:lnTo>
                      <a:pt x="640" y="409"/>
                    </a:lnTo>
                    <a:lnTo>
                      <a:pt x="753" y="293"/>
                    </a:lnTo>
                    <a:lnTo>
                      <a:pt x="1046" y="284"/>
                    </a:lnTo>
                    <a:lnTo>
                      <a:pt x="2244" y="0"/>
                    </a:lnTo>
                    <a:lnTo>
                      <a:pt x="2230" y="373"/>
                    </a:lnTo>
                    <a:lnTo>
                      <a:pt x="2345" y="610"/>
                    </a:lnTo>
                    <a:lnTo>
                      <a:pt x="2827" y="676"/>
                    </a:lnTo>
                    <a:lnTo>
                      <a:pt x="3009" y="645"/>
                    </a:lnTo>
                    <a:lnTo>
                      <a:pt x="3226" y="808"/>
                    </a:lnTo>
                    <a:lnTo>
                      <a:pt x="3411" y="820"/>
                    </a:lnTo>
                    <a:lnTo>
                      <a:pt x="3465" y="728"/>
                    </a:lnTo>
                    <a:lnTo>
                      <a:pt x="3963" y="548"/>
                    </a:lnTo>
                    <a:lnTo>
                      <a:pt x="4013" y="475"/>
                    </a:lnTo>
                    <a:lnTo>
                      <a:pt x="4122" y="477"/>
                    </a:lnTo>
                    <a:lnTo>
                      <a:pt x="4136" y="303"/>
                    </a:lnTo>
                    <a:lnTo>
                      <a:pt x="4268" y="298"/>
                    </a:lnTo>
                    <a:lnTo>
                      <a:pt x="4339" y="886"/>
                    </a:lnTo>
                    <a:lnTo>
                      <a:pt x="4568" y="973"/>
                    </a:lnTo>
                    <a:lnTo>
                      <a:pt x="4665" y="1158"/>
                    </a:lnTo>
                    <a:lnTo>
                      <a:pt x="4663" y="1245"/>
                    </a:lnTo>
                    <a:lnTo>
                      <a:pt x="5090" y="1264"/>
                    </a:lnTo>
                    <a:lnTo>
                      <a:pt x="5284" y="1505"/>
                    </a:lnTo>
                    <a:lnTo>
                      <a:pt x="5688" y="1460"/>
                    </a:lnTo>
                    <a:lnTo>
                      <a:pt x="5756" y="1606"/>
                    </a:lnTo>
                    <a:lnTo>
                      <a:pt x="5853" y="1642"/>
                    </a:lnTo>
                    <a:lnTo>
                      <a:pt x="6014" y="1427"/>
                    </a:lnTo>
                    <a:lnTo>
                      <a:pt x="6004" y="1229"/>
                    </a:lnTo>
                    <a:lnTo>
                      <a:pt x="6108" y="1162"/>
                    </a:lnTo>
                    <a:lnTo>
                      <a:pt x="6260" y="1162"/>
                    </a:lnTo>
                    <a:lnTo>
                      <a:pt x="6389" y="1290"/>
                    </a:lnTo>
                    <a:lnTo>
                      <a:pt x="6526" y="1207"/>
                    </a:lnTo>
                    <a:lnTo>
                      <a:pt x="6741" y="1233"/>
                    </a:lnTo>
                    <a:lnTo>
                      <a:pt x="6760" y="1037"/>
                    </a:lnTo>
                    <a:lnTo>
                      <a:pt x="6989" y="1092"/>
                    </a:lnTo>
                    <a:lnTo>
                      <a:pt x="7018" y="1195"/>
                    </a:lnTo>
                    <a:lnTo>
                      <a:pt x="6928" y="1195"/>
                    </a:lnTo>
                    <a:lnTo>
                      <a:pt x="6933" y="1266"/>
                    </a:lnTo>
                    <a:lnTo>
                      <a:pt x="7067" y="1283"/>
                    </a:lnTo>
                    <a:lnTo>
                      <a:pt x="7110" y="1205"/>
                    </a:lnTo>
                    <a:lnTo>
                      <a:pt x="7209" y="1186"/>
                    </a:lnTo>
                    <a:lnTo>
                      <a:pt x="7313" y="1250"/>
                    </a:lnTo>
                    <a:lnTo>
                      <a:pt x="7597" y="1271"/>
                    </a:lnTo>
                    <a:lnTo>
                      <a:pt x="8057" y="1503"/>
                    </a:lnTo>
                    <a:lnTo>
                      <a:pt x="8000" y="1732"/>
                    </a:lnTo>
                    <a:lnTo>
                      <a:pt x="7845" y="1739"/>
                    </a:lnTo>
                    <a:lnTo>
                      <a:pt x="7689" y="1623"/>
                    </a:lnTo>
                    <a:lnTo>
                      <a:pt x="7568" y="1651"/>
                    </a:lnTo>
                    <a:lnTo>
                      <a:pt x="7535" y="1814"/>
                    </a:lnTo>
                    <a:lnTo>
                      <a:pt x="7710" y="1845"/>
                    </a:lnTo>
                    <a:lnTo>
                      <a:pt x="7726" y="2022"/>
                    </a:lnTo>
                    <a:lnTo>
                      <a:pt x="8017" y="1989"/>
                    </a:lnTo>
                    <a:lnTo>
                      <a:pt x="8248" y="237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2" name="Line 59">
                <a:extLst>
                  <a:ext uri="{FF2B5EF4-FFF2-40B4-BE49-F238E27FC236}">
                    <a16:creationId xmlns:a16="http://schemas.microsoft.com/office/drawing/2014/main" id="{9514C09B-88AA-42B9-B05D-3288524D7DAA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560129" y="18599155"/>
                <a:ext cx="7938" cy="0"/>
              </a:xfrm>
              <a:prstGeom prst="line">
                <a:avLst/>
              </a:pr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3" name="Freeform 187">
                <a:extLst>
                  <a:ext uri="{FF2B5EF4-FFF2-40B4-BE49-F238E27FC236}">
                    <a16:creationId xmlns:a16="http://schemas.microsoft.com/office/drawing/2014/main" id="{B67ED8A0-CC12-4013-B3DD-BF0E19023AB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6878" y="-8139114"/>
                <a:ext cx="90488" cy="169863"/>
              </a:xfrm>
              <a:custGeom>
                <a:avLst/>
                <a:gdLst>
                  <a:gd name="T0" fmla="*/ 24 w 24"/>
                  <a:gd name="T1" fmla="*/ 45 h 45"/>
                  <a:gd name="T2" fmla="*/ 0 w 24"/>
                  <a:gd name="T3" fmla="*/ 0 h 45"/>
                  <a:gd name="T4" fmla="*/ 0 w 24"/>
                  <a:gd name="T5" fmla="*/ 0 h 45"/>
                  <a:gd name="T6" fmla="*/ 24 w 24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45">
                    <a:moveTo>
                      <a:pt x="24" y="45"/>
                    </a:moveTo>
                    <a:cubicBezTo>
                      <a:pt x="14" y="31"/>
                      <a:pt x="6" y="1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4" y="45"/>
                    </a:lnTo>
                    <a:close/>
                  </a:path>
                </a:pathLst>
              </a:custGeom>
              <a:grpFill/>
              <a:ln w="317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B99AE25-6139-44C4-B4AA-8DFA5DFD4151}"/>
                </a:ext>
              </a:extLst>
            </p:cNvPr>
            <p:cNvSpPr txBox="1"/>
            <p:nvPr/>
          </p:nvSpPr>
          <p:spPr>
            <a:xfrm>
              <a:off x="5901905" y="2991722"/>
              <a:ext cx="970917" cy="1755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mpopo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33C52EC1-400F-4396-B4FA-D2C8105BCB53}"/>
                </a:ext>
              </a:extLst>
            </p:cNvPr>
            <p:cNvSpPr txBox="1"/>
            <p:nvPr/>
          </p:nvSpPr>
          <p:spPr>
            <a:xfrm>
              <a:off x="6006916" y="5060746"/>
              <a:ext cx="1463029" cy="1755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pumalanga</a:t>
              </a:r>
            </a:p>
          </p:txBody>
        </p:sp>
      </p:grpSp>
      <p:sp>
        <p:nvSpPr>
          <p:cNvPr id="34" name="Freeform 89">
            <a:extLst>
              <a:ext uri="{FF2B5EF4-FFF2-40B4-BE49-F238E27FC236}">
                <a16:creationId xmlns:a16="http://schemas.microsoft.com/office/drawing/2014/main" id="{31C3FC39-60DD-4E5D-8C07-97A8EE0EEA13}"/>
              </a:ext>
            </a:extLst>
          </p:cNvPr>
          <p:cNvSpPr>
            <a:spLocks/>
          </p:cNvSpPr>
          <p:nvPr/>
        </p:nvSpPr>
        <p:spPr bwMode="auto">
          <a:xfrm>
            <a:off x="5917504" y="4829806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0" name="Freeform 87">
            <a:extLst>
              <a:ext uri="{FF2B5EF4-FFF2-40B4-BE49-F238E27FC236}">
                <a16:creationId xmlns:a16="http://schemas.microsoft.com/office/drawing/2014/main" id="{315AD02E-92F6-415B-8C6B-8CC1C4B1ED4A}"/>
              </a:ext>
            </a:extLst>
          </p:cNvPr>
          <p:cNvSpPr>
            <a:spLocks/>
          </p:cNvSpPr>
          <p:nvPr/>
        </p:nvSpPr>
        <p:spPr bwMode="auto">
          <a:xfrm>
            <a:off x="7011365" y="4554377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7</a:t>
            </a: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A6990BB1-4159-4A1F-BD99-5E39D47403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97" name="Rectangle 96">
            <a:extLst>
              <a:ext uri="{FF2B5EF4-FFF2-40B4-BE49-F238E27FC236}">
                <a16:creationId xmlns:a16="http://schemas.microsoft.com/office/drawing/2014/main" id="{0295487E-C207-4A7B-A50D-BFB427C4E573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2783604-B685-4D53-A0C5-41A34A58AB78}"/>
              </a:ext>
            </a:extLst>
          </p:cNvPr>
          <p:cNvSpPr/>
          <p:nvPr/>
        </p:nvSpPr>
        <p:spPr>
          <a:xfrm>
            <a:off x="1672905" y="208858"/>
            <a:ext cx="90344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e continue to Lead Growth Option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in Coal with New Project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5C18EC95-4A97-42BE-AF02-A3358885A57E}"/>
              </a:ext>
            </a:extLst>
          </p:cNvPr>
          <p:cNvGrpSpPr/>
          <p:nvPr/>
        </p:nvGrpSpPr>
        <p:grpSpPr>
          <a:xfrm>
            <a:off x="89578" y="2617207"/>
            <a:ext cx="3342236" cy="1617573"/>
            <a:chOff x="260763" y="2443550"/>
            <a:chExt cx="3342236" cy="1617573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07A077A9-4478-4EF2-AB82-D69CD424E3C6}"/>
                </a:ext>
              </a:extLst>
            </p:cNvPr>
            <p:cNvGrpSpPr/>
            <p:nvPr/>
          </p:nvGrpSpPr>
          <p:grpSpPr>
            <a:xfrm>
              <a:off x="260763" y="2456732"/>
              <a:ext cx="280741" cy="307777"/>
              <a:chOff x="719384" y="2455183"/>
              <a:chExt cx="280741" cy="307777"/>
            </a:xfrm>
          </p:grpSpPr>
          <p:sp>
            <p:nvSpPr>
              <p:cNvPr id="75" name="Oval 74">
                <a:extLst>
                  <a:ext uri="{FF2B5EF4-FFF2-40B4-BE49-F238E27FC236}">
                    <a16:creationId xmlns:a16="http://schemas.microsoft.com/office/drawing/2014/main" id="{6F75EDF7-58A4-4DC7-A02D-8DCBC0988F27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76" name="TextBox 75">
                <a:extLst>
                  <a:ext uri="{FF2B5EF4-FFF2-40B4-BE49-F238E27FC236}">
                    <a16:creationId xmlns:a16="http://schemas.microsoft.com/office/drawing/2014/main" id="{91FF1AA0-ADEE-4B9E-98FD-69392AC19328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1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77" name="Rectangle 76">
              <a:extLst>
                <a:ext uri="{FF2B5EF4-FFF2-40B4-BE49-F238E27FC236}">
                  <a16:creationId xmlns:a16="http://schemas.microsoft.com/office/drawing/2014/main" id="{3B85A186-5796-4246-9AA3-192E08C17787}"/>
                </a:ext>
              </a:extLst>
            </p:cNvPr>
            <p:cNvSpPr/>
            <p:nvPr/>
          </p:nvSpPr>
          <p:spPr>
            <a:xfrm>
              <a:off x="640439" y="2443550"/>
              <a:ext cx="2962560" cy="59093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rootegeluk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Rapid Load Out Station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GG6 Expansion</a:t>
              </a:r>
            </a:p>
          </p:txBody>
        </p: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D573AE65-B810-4226-BA5B-CB2C54C21261}"/>
                </a:ext>
              </a:extLst>
            </p:cNvPr>
            <p:cNvSpPr/>
            <p:nvPr/>
          </p:nvSpPr>
          <p:spPr>
            <a:xfrm>
              <a:off x="666368" y="2971594"/>
              <a:ext cx="2582758" cy="10895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>
                <a:lnSpc>
                  <a:spcPct val="90000"/>
                </a:lnSpc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lang="en-US" sz="2800" b="1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6.1 Bn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0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6Mtp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ADA953A8-7797-4AF7-895E-16A874E18AEC}"/>
              </a:ext>
            </a:extLst>
          </p:cNvPr>
          <p:cNvGrpSpPr/>
          <p:nvPr/>
        </p:nvGrpSpPr>
        <p:grpSpPr>
          <a:xfrm>
            <a:off x="89578" y="4209309"/>
            <a:ext cx="3342236" cy="1736272"/>
            <a:chOff x="259630" y="4853030"/>
            <a:chExt cx="3342236" cy="1736272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317A82A-4A12-47B6-9B2C-492D5B122D8D}"/>
                </a:ext>
              </a:extLst>
            </p:cNvPr>
            <p:cNvGrpSpPr/>
            <p:nvPr/>
          </p:nvGrpSpPr>
          <p:grpSpPr>
            <a:xfrm>
              <a:off x="259630" y="4853030"/>
              <a:ext cx="280741" cy="307777"/>
              <a:chOff x="719384" y="2455183"/>
              <a:chExt cx="280741" cy="307777"/>
            </a:xfrm>
          </p:grpSpPr>
          <p:sp>
            <p:nvSpPr>
              <p:cNvPr id="79" name="Oval 78">
                <a:extLst>
                  <a:ext uri="{FF2B5EF4-FFF2-40B4-BE49-F238E27FC236}">
                    <a16:creationId xmlns:a16="http://schemas.microsoft.com/office/drawing/2014/main" id="{9090E4CA-2C7C-4776-9E73-184F99B835DB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0" name="TextBox 79">
                <a:extLst>
                  <a:ext uri="{FF2B5EF4-FFF2-40B4-BE49-F238E27FC236}">
                    <a16:creationId xmlns:a16="http://schemas.microsoft.com/office/drawing/2014/main" id="{64E358FA-5A64-4CC8-83B7-451FD3B6B0E0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2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1" name="Rectangle 80">
              <a:extLst>
                <a:ext uri="{FF2B5EF4-FFF2-40B4-BE49-F238E27FC236}">
                  <a16:creationId xmlns:a16="http://schemas.microsoft.com/office/drawing/2014/main" id="{E67257B1-6384-48AC-A32A-B33C2673AEFE}"/>
                </a:ext>
              </a:extLst>
            </p:cNvPr>
            <p:cNvSpPr/>
            <p:nvPr/>
          </p:nvSpPr>
          <p:spPr>
            <a:xfrm>
              <a:off x="639306" y="4865726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Thabametsi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Phase 1</a:t>
              </a:r>
            </a:p>
          </p:txBody>
        </p:sp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9DFB4582-BD69-4DCC-B736-F8F3AA5EFCF0}"/>
                </a:ext>
              </a:extLst>
            </p:cNvPr>
            <p:cNvSpPr/>
            <p:nvPr/>
          </p:nvSpPr>
          <p:spPr>
            <a:xfrm>
              <a:off x="658113" y="5084275"/>
              <a:ext cx="2643672" cy="15050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3.2 Bn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3.9Mtp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88314F1D-6DF5-4ACC-9119-54C56277B9E0}"/>
              </a:ext>
            </a:extLst>
          </p:cNvPr>
          <p:cNvGrpSpPr/>
          <p:nvPr/>
        </p:nvGrpSpPr>
        <p:grpSpPr>
          <a:xfrm>
            <a:off x="8709487" y="2471594"/>
            <a:ext cx="3342236" cy="1424215"/>
            <a:chOff x="8818014" y="2361040"/>
            <a:chExt cx="3342236" cy="1424215"/>
          </a:xfrm>
        </p:grpSpPr>
        <p:grpSp>
          <p:nvGrpSpPr>
            <p:cNvPr id="82" name="Group 81">
              <a:extLst>
                <a:ext uri="{FF2B5EF4-FFF2-40B4-BE49-F238E27FC236}">
                  <a16:creationId xmlns:a16="http://schemas.microsoft.com/office/drawing/2014/main" id="{3A8A00AB-78BE-4172-895B-ED420564DCA2}"/>
                </a:ext>
              </a:extLst>
            </p:cNvPr>
            <p:cNvGrpSpPr/>
            <p:nvPr/>
          </p:nvGrpSpPr>
          <p:grpSpPr>
            <a:xfrm>
              <a:off x="8818014" y="2361040"/>
              <a:ext cx="280741" cy="307777"/>
              <a:chOff x="719384" y="2455183"/>
              <a:chExt cx="280741" cy="307777"/>
            </a:xfrm>
          </p:grpSpPr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E4ECEC7A-3BBE-463A-AEDB-81A97416ECC8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68DED537-7E06-4DCF-BD33-39C35C085CC0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5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5" name="Rectangle 84">
              <a:extLst>
                <a:ext uri="{FF2B5EF4-FFF2-40B4-BE49-F238E27FC236}">
                  <a16:creationId xmlns:a16="http://schemas.microsoft.com/office/drawing/2014/main" id="{B3D7BB6C-10E8-48BF-AC91-FB326B4C5A7A}"/>
                </a:ext>
              </a:extLst>
            </p:cNvPr>
            <p:cNvSpPr/>
            <p:nvPr/>
          </p:nvSpPr>
          <p:spPr>
            <a:xfrm>
              <a:off x="9197690" y="2382362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eeuwpan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Life Extension</a:t>
              </a:r>
            </a:p>
          </p:txBody>
        </p:sp>
        <p:sp>
          <p:nvSpPr>
            <p:cNvPr id="95" name="Rectangle 94">
              <a:extLst>
                <a:ext uri="{FF2B5EF4-FFF2-40B4-BE49-F238E27FC236}">
                  <a16:creationId xmlns:a16="http://schemas.microsoft.com/office/drawing/2014/main" id="{92242961-46FE-4D95-A581-DD6DD342BF00}"/>
                </a:ext>
              </a:extLst>
            </p:cNvPr>
            <p:cNvSpPr/>
            <p:nvPr/>
          </p:nvSpPr>
          <p:spPr>
            <a:xfrm>
              <a:off x="9197690" y="2668026"/>
              <a:ext cx="2582758" cy="11172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0.6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n</a:t>
              </a: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0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7Mtp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EFD3B121-6346-41C3-94F3-B4AA74E0ED0B}"/>
              </a:ext>
            </a:extLst>
          </p:cNvPr>
          <p:cNvGrpSpPr/>
          <p:nvPr/>
        </p:nvGrpSpPr>
        <p:grpSpPr>
          <a:xfrm>
            <a:off x="8708202" y="3984453"/>
            <a:ext cx="3342236" cy="2146955"/>
            <a:chOff x="8827018" y="3553580"/>
            <a:chExt cx="3342236" cy="2146955"/>
          </a:xfrm>
        </p:grpSpPr>
        <p:grpSp>
          <p:nvGrpSpPr>
            <p:cNvPr id="86" name="Group 85">
              <a:extLst>
                <a:ext uri="{FF2B5EF4-FFF2-40B4-BE49-F238E27FC236}">
                  <a16:creationId xmlns:a16="http://schemas.microsoft.com/office/drawing/2014/main" id="{8D9354C6-901E-43E7-BB15-B59CA39E3779}"/>
                </a:ext>
              </a:extLst>
            </p:cNvPr>
            <p:cNvGrpSpPr/>
            <p:nvPr/>
          </p:nvGrpSpPr>
          <p:grpSpPr>
            <a:xfrm>
              <a:off x="8827018" y="3553580"/>
              <a:ext cx="280741" cy="307777"/>
              <a:chOff x="719384" y="2455183"/>
              <a:chExt cx="280741" cy="307777"/>
            </a:xfrm>
          </p:grpSpPr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4989522D-B002-4611-BC67-078C61CB8F6E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88" name="TextBox 87">
                <a:extLst>
                  <a:ext uri="{FF2B5EF4-FFF2-40B4-BE49-F238E27FC236}">
                    <a16:creationId xmlns:a16="http://schemas.microsoft.com/office/drawing/2014/main" id="{FB7839E0-9591-4998-A440-9545F8882946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6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8340E5C0-CB7A-47E3-86CB-7AE970CB35C6}"/>
                </a:ext>
              </a:extLst>
            </p:cNvPr>
            <p:cNvSpPr/>
            <p:nvPr/>
          </p:nvSpPr>
          <p:spPr>
            <a:xfrm>
              <a:off x="9206694" y="3566276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tla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Mine 1 Relocation</a:t>
              </a:r>
            </a:p>
          </p:txBody>
        </p:sp>
        <p:sp>
          <p:nvSpPr>
            <p:cNvPr id="99" name="Rectangle 98">
              <a:extLst>
                <a:ext uri="{FF2B5EF4-FFF2-40B4-BE49-F238E27FC236}">
                  <a16:creationId xmlns:a16="http://schemas.microsoft.com/office/drawing/2014/main" id="{94FF0DFB-9B2C-4830-ADCB-F7492CB6F7A9}"/>
                </a:ext>
              </a:extLst>
            </p:cNvPr>
            <p:cNvSpPr/>
            <p:nvPr/>
          </p:nvSpPr>
          <p:spPr>
            <a:xfrm>
              <a:off x="9213020" y="3835409"/>
              <a:ext cx="2343911" cy="186512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1.8 Bn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4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tpa</a:t>
              </a: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593AD2D2-A23E-45F2-A252-A5B62CD843BF}"/>
              </a:ext>
            </a:extLst>
          </p:cNvPr>
          <p:cNvGrpSpPr/>
          <p:nvPr/>
        </p:nvGrpSpPr>
        <p:grpSpPr>
          <a:xfrm>
            <a:off x="8711830" y="5366267"/>
            <a:ext cx="3342236" cy="1819249"/>
            <a:chOff x="8822046" y="4636702"/>
            <a:chExt cx="3342236" cy="1819249"/>
          </a:xfrm>
        </p:grpSpPr>
        <p:grpSp>
          <p:nvGrpSpPr>
            <p:cNvPr id="90" name="Group 89">
              <a:extLst>
                <a:ext uri="{FF2B5EF4-FFF2-40B4-BE49-F238E27FC236}">
                  <a16:creationId xmlns:a16="http://schemas.microsoft.com/office/drawing/2014/main" id="{CA9FA027-511F-447D-B5FA-D926BFCC25EB}"/>
                </a:ext>
              </a:extLst>
            </p:cNvPr>
            <p:cNvGrpSpPr/>
            <p:nvPr/>
          </p:nvGrpSpPr>
          <p:grpSpPr>
            <a:xfrm>
              <a:off x="8822046" y="4636702"/>
              <a:ext cx="280741" cy="307777"/>
              <a:chOff x="719384" y="2455183"/>
              <a:chExt cx="280741" cy="307777"/>
            </a:xfrm>
          </p:grpSpPr>
          <p:sp>
            <p:nvSpPr>
              <p:cNvPr id="91" name="Oval 90">
                <a:extLst>
                  <a:ext uri="{FF2B5EF4-FFF2-40B4-BE49-F238E27FC236}">
                    <a16:creationId xmlns:a16="http://schemas.microsoft.com/office/drawing/2014/main" id="{3883BB07-1041-46E6-99B7-966019256628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92" name="TextBox 91">
                <a:extLst>
                  <a:ext uri="{FF2B5EF4-FFF2-40B4-BE49-F238E27FC236}">
                    <a16:creationId xmlns:a16="http://schemas.microsoft.com/office/drawing/2014/main" id="{7F7C2C00-8BC7-456B-94F5-C09CF9F609B6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7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93" name="Rectangle 92">
              <a:extLst>
                <a:ext uri="{FF2B5EF4-FFF2-40B4-BE49-F238E27FC236}">
                  <a16:creationId xmlns:a16="http://schemas.microsoft.com/office/drawing/2014/main" id="{F72589FA-13C3-42DB-9499-D91370197A6F}"/>
                </a:ext>
              </a:extLst>
            </p:cNvPr>
            <p:cNvSpPr/>
            <p:nvPr/>
          </p:nvSpPr>
          <p:spPr>
            <a:xfrm>
              <a:off x="9201722" y="4649398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elfast</a:t>
              </a:r>
            </a:p>
          </p:txBody>
        </p:sp>
        <p:sp>
          <p:nvSpPr>
            <p:cNvPr id="100" name="Rectangle 99">
              <a:extLst>
                <a:ext uri="{FF2B5EF4-FFF2-40B4-BE49-F238E27FC236}">
                  <a16:creationId xmlns:a16="http://schemas.microsoft.com/office/drawing/2014/main" id="{08BB8111-7A67-44A2-87E1-3724485F7BAD}"/>
                </a:ext>
              </a:extLst>
            </p:cNvPr>
            <p:cNvSpPr/>
            <p:nvPr/>
          </p:nvSpPr>
          <p:spPr>
            <a:xfrm>
              <a:off x="9206694" y="4950924"/>
              <a:ext cx="2582758" cy="15050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3.3 Bn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0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2.7Mtp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1" name="Group 100">
            <a:extLst>
              <a:ext uri="{FF2B5EF4-FFF2-40B4-BE49-F238E27FC236}">
                <a16:creationId xmlns:a16="http://schemas.microsoft.com/office/drawing/2014/main" id="{C9D7B183-B734-48C8-B2A3-E37851AE73A0}"/>
              </a:ext>
            </a:extLst>
          </p:cNvPr>
          <p:cNvGrpSpPr/>
          <p:nvPr/>
        </p:nvGrpSpPr>
        <p:grpSpPr>
          <a:xfrm>
            <a:off x="2855199" y="1491804"/>
            <a:ext cx="3342236" cy="1354994"/>
            <a:chOff x="8818014" y="2361040"/>
            <a:chExt cx="3342236" cy="1354994"/>
          </a:xfrm>
        </p:grpSpPr>
        <p:grpSp>
          <p:nvGrpSpPr>
            <p:cNvPr id="102" name="Group 101">
              <a:extLst>
                <a:ext uri="{FF2B5EF4-FFF2-40B4-BE49-F238E27FC236}">
                  <a16:creationId xmlns:a16="http://schemas.microsoft.com/office/drawing/2014/main" id="{E115B45D-7CB1-41DA-B343-BB329D5B6F86}"/>
                </a:ext>
              </a:extLst>
            </p:cNvPr>
            <p:cNvGrpSpPr/>
            <p:nvPr/>
          </p:nvGrpSpPr>
          <p:grpSpPr>
            <a:xfrm>
              <a:off x="8818014" y="2361040"/>
              <a:ext cx="280741" cy="307777"/>
              <a:chOff x="719384" y="2455183"/>
              <a:chExt cx="280741" cy="307777"/>
            </a:xfrm>
          </p:grpSpPr>
          <p:sp>
            <p:nvSpPr>
              <p:cNvPr id="105" name="Oval 104">
                <a:extLst>
                  <a:ext uri="{FF2B5EF4-FFF2-40B4-BE49-F238E27FC236}">
                    <a16:creationId xmlns:a16="http://schemas.microsoft.com/office/drawing/2014/main" id="{9AD055AE-0527-4AF7-8D53-EFD516C949DA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06" name="TextBox 105">
                <a:extLst>
                  <a:ext uri="{FF2B5EF4-FFF2-40B4-BE49-F238E27FC236}">
                    <a16:creationId xmlns:a16="http://schemas.microsoft.com/office/drawing/2014/main" id="{F54492BE-EFEE-4E33-A766-E2501EA559CE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4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3" name="Rectangle 102">
              <a:extLst>
                <a:ext uri="{FF2B5EF4-FFF2-40B4-BE49-F238E27FC236}">
                  <a16:creationId xmlns:a16="http://schemas.microsoft.com/office/drawing/2014/main" id="{2208607D-8503-4629-8511-1DD5DB0086E1}"/>
                </a:ext>
              </a:extLst>
            </p:cNvPr>
            <p:cNvSpPr/>
            <p:nvPr/>
          </p:nvSpPr>
          <p:spPr>
            <a:xfrm>
              <a:off x="9197690" y="2390988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afube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</a:t>
              </a: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Lifex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JV</a:t>
              </a:r>
            </a:p>
          </p:txBody>
        </p:sp>
        <p:sp>
          <p:nvSpPr>
            <p:cNvPr id="104" name="Rectangle 103">
              <a:extLst>
                <a:ext uri="{FF2B5EF4-FFF2-40B4-BE49-F238E27FC236}">
                  <a16:creationId xmlns:a16="http://schemas.microsoft.com/office/drawing/2014/main" id="{3941DF7F-8B1B-4289-8280-449704D7ED92}"/>
                </a:ext>
              </a:extLst>
            </p:cNvPr>
            <p:cNvSpPr/>
            <p:nvPr/>
          </p:nvSpPr>
          <p:spPr>
            <a:xfrm>
              <a:off x="9198174" y="2598805"/>
              <a:ext cx="2682145" cy="11172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2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n</a:t>
              </a: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0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3.4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tpa</a:t>
              </a: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grpSp>
        <p:nvGrpSpPr>
          <p:cNvPr id="107" name="Group 106">
            <a:extLst>
              <a:ext uri="{FF2B5EF4-FFF2-40B4-BE49-F238E27FC236}">
                <a16:creationId xmlns:a16="http://schemas.microsoft.com/office/drawing/2014/main" id="{CF71C976-4DFE-4B22-96DA-F8391407DEAD}"/>
              </a:ext>
            </a:extLst>
          </p:cNvPr>
          <p:cNvGrpSpPr/>
          <p:nvPr/>
        </p:nvGrpSpPr>
        <p:grpSpPr>
          <a:xfrm>
            <a:off x="94859" y="5520678"/>
            <a:ext cx="3342236" cy="1421249"/>
            <a:chOff x="8818014" y="2361040"/>
            <a:chExt cx="3342236" cy="1421249"/>
          </a:xfrm>
        </p:grpSpPr>
        <p:grpSp>
          <p:nvGrpSpPr>
            <p:cNvPr id="108" name="Group 107">
              <a:extLst>
                <a:ext uri="{FF2B5EF4-FFF2-40B4-BE49-F238E27FC236}">
                  <a16:creationId xmlns:a16="http://schemas.microsoft.com/office/drawing/2014/main" id="{FE77A31F-8D8F-422E-A09F-332E866593C1}"/>
                </a:ext>
              </a:extLst>
            </p:cNvPr>
            <p:cNvGrpSpPr/>
            <p:nvPr/>
          </p:nvGrpSpPr>
          <p:grpSpPr>
            <a:xfrm>
              <a:off x="8818014" y="2361040"/>
              <a:ext cx="280741" cy="307777"/>
              <a:chOff x="719384" y="2455183"/>
              <a:chExt cx="280741" cy="307777"/>
            </a:xfrm>
          </p:grpSpPr>
          <p:sp>
            <p:nvSpPr>
              <p:cNvPr id="111" name="Oval 110">
                <a:extLst>
                  <a:ext uri="{FF2B5EF4-FFF2-40B4-BE49-F238E27FC236}">
                    <a16:creationId xmlns:a16="http://schemas.microsoft.com/office/drawing/2014/main" id="{398CCD78-D7BD-4AFC-87AC-C71FCE42EA9E}"/>
                  </a:ext>
                </a:extLst>
              </p:cNvPr>
              <p:cNvSpPr/>
              <p:nvPr/>
            </p:nvSpPr>
            <p:spPr>
              <a:xfrm>
                <a:off x="723900" y="2470960"/>
                <a:ext cx="276225" cy="276225"/>
              </a:xfrm>
              <a:prstGeom prst="ellipse">
                <a:avLst/>
              </a:prstGeom>
              <a:noFill/>
              <a:ln>
                <a:solidFill>
                  <a:srgbClr val="2D3E46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1800" b="0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E4FED156-2957-458B-AEB5-76E9EF49F9AC}"/>
                  </a:ext>
                </a:extLst>
              </p:cNvPr>
              <p:cNvSpPr txBox="1"/>
              <p:nvPr/>
            </p:nvSpPr>
            <p:spPr>
              <a:xfrm>
                <a:off x="719384" y="2455183"/>
                <a:ext cx="253753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ZA" sz="1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2D3E46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3</a:t>
                </a:r>
                <a:endParaRPr kumimoji="0" lang="en-GB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109" name="Rectangle 108">
              <a:extLst>
                <a:ext uri="{FF2B5EF4-FFF2-40B4-BE49-F238E27FC236}">
                  <a16:creationId xmlns:a16="http://schemas.microsoft.com/office/drawing/2014/main" id="{8556506F-0EC9-4D50-9C7C-0F490D4A4CF0}"/>
                </a:ext>
              </a:extLst>
            </p:cNvPr>
            <p:cNvSpPr/>
            <p:nvPr/>
          </p:nvSpPr>
          <p:spPr>
            <a:xfrm>
              <a:off x="9197690" y="2373736"/>
              <a:ext cx="2962560" cy="258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Dorsfontein</a:t>
              </a: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West</a:t>
              </a:r>
            </a:p>
          </p:txBody>
        </p:sp>
        <p:sp>
          <p:nvSpPr>
            <p:cNvPr id="110" name="Rectangle 109">
              <a:extLst>
                <a:ext uri="{FF2B5EF4-FFF2-40B4-BE49-F238E27FC236}">
                  <a16:creationId xmlns:a16="http://schemas.microsoft.com/office/drawing/2014/main" id="{F07DB4DC-7D62-4460-8A8B-7C17D371E73C}"/>
                </a:ext>
              </a:extLst>
            </p:cNvPr>
            <p:cNvSpPr/>
            <p:nvPr/>
          </p:nvSpPr>
          <p:spPr>
            <a:xfrm>
              <a:off x="9195712" y="2665060"/>
              <a:ext cx="2582758" cy="1117229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Capex: 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0.4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Bn</a:t>
              </a:r>
              <a:endParaRPr kumimoji="0" lang="en-US" sz="28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6">
                    <a:lumMod val="50000"/>
                  </a:scheme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Production: </a:t>
              </a:r>
              <a:r>
                <a:rPr kumimoji="0" lang="en-US" sz="20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+</a:t>
              </a:r>
              <a:r>
                <a:rPr kumimoji="0" lang="en-US" sz="2800" b="1" i="0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6">
                      <a:lumMod val="50000"/>
                    </a:schemeClr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1.5Mtpa</a:t>
              </a:r>
            </a:p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rgbClr val="A5CF4C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</p:grpSp>
      <p:sp>
        <p:nvSpPr>
          <p:cNvPr id="113" name="Freeform 91">
            <a:extLst>
              <a:ext uri="{FF2B5EF4-FFF2-40B4-BE49-F238E27FC236}">
                <a16:creationId xmlns:a16="http://schemas.microsoft.com/office/drawing/2014/main" id="{8052A0A1-B71F-4615-A95F-0D93277F2655}"/>
              </a:ext>
            </a:extLst>
          </p:cNvPr>
          <p:cNvSpPr>
            <a:spLocks/>
          </p:cNvSpPr>
          <p:nvPr/>
        </p:nvSpPr>
        <p:spPr bwMode="auto">
          <a:xfrm>
            <a:off x="6533370" y="4812677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4" name="Freeform 91">
            <a:extLst>
              <a:ext uri="{FF2B5EF4-FFF2-40B4-BE49-F238E27FC236}">
                <a16:creationId xmlns:a16="http://schemas.microsoft.com/office/drawing/2014/main" id="{3A92CFAB-B50B-40EE-93A4-2E2AFB67C4CE}"/>
              </a:ext>
            </a:extLst>
          </p:cNvPr>
          <p:cNvSpPr>
            <a:spLocks/>
          </p:cNvSpPr>
          <p:nvPr/>
        </p:nvSpPr>
        <p:spPr bwMode="auto">
          <a:xfrm>
            <a:off x="6717271" y="4436648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4</a:t>
            </a:r>
          </a:p>
        </p:txBody>
      </p:sp>
      <p:sp>
        <p:nvSpPr>
          <p:cNvPr id="116" name="Freeform 91">
            <a:extLst>
              <a:ext uri="{FF2B5EF4-FFF2-40B4-BE49-F238E27FC236}">
                <a16:creationId xmlns:a16="http://schemas.microsoft.com/office/drawing/2014/main" id="{16073784-DE4C-444D-80C7-01483C94F757}"/>
              </a:ext>
            </a:extLst>
          </p:cNvPr>
          <p:cNvSpPr>
            <a:spLocks/>
          </p:cNvSpPr>
          <p:nvPr/>
        </p:nvSpPr>
        <p:spPr bwMode="auto">
          <a:xfrm>
            <a:off x="5190409" y="2819344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15" name="Freeform 91">
            <a:extLst>
              <a:ext uri="{FF2B5EF4-FFF2-40B4-BE49-F238E27FC236}">
                <a16:creationId xmlns:a16="http://schemas.microsoft.com/office/drawing/2014/main" id="{E7512410-1334-46DC-9E0F-7700E9D6A0FF}"/>
              </a:ext>
            </a:extLst>
          </p:cNvPr>
          <p:cNvSpPr>
            <a:spLocks/>
          </p:cNvSpPr>
          <p:nvPr/>
        </p:nvSpPr>
        <p:spPr bwMode="auto">
          <a:xfrm>
            <a:off x="5400560" y="2819344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7" name="Freeform 91">
            <a:extLst>
              <a:ext uri="{FF2B5EF4-FFF2-40B4-BE49-F238E27FC236}">
                <a16:creationId xmlns:a16="http://schemas.microsoft.com/office/drawing/2014/main" id="{0308DC06-2A5F-4C0F-95AF-75B6211EC6F4}"/>
              </a:ext>
            </a:extLst>
          </p:cNvPr>
          <p:cNvSpPr>
            <a:spLocks/>
          </p:cNvSpPr>
          <p:nvPr/>
        </p:nvSpPr>
        <p:spPr bwMode="auto">
          <a:xfrm>
            <a:off x="6232838" y="4889144"/>
            <a:ext cx="298794" cy="439486"/>
          </a:xfrm>
          <a:custGeom>
            <a:avLst/>
            <a:gdLst>
              <a:gd name="T0" fmla="*/ 559 w 559"/>
              <a:gd name="T1" fmla="*/ 294 h 893"/>
              <a:gd name="T2" fmla="*/ 511 w 559"/>
              <a:gd name="T3" fmla="*/ 458 h 893"/>
              <a:gd name="T4" fmla="*/ 280 w 559"/>
              <a:gd name="T5" fmla="*/ 893 h 893"/>
              <a:gd name="T6" fmla="*/ 49 w 559"/>
              <a:gd name="T7" fmla="*/ 458 h 893"/>
              <a:gd name="T8" fmla="*/ 25 w 559"/>
              <a:gd name="T9" fmla="*/ 413 h 893"/>
              <a:gd name="T10" fmla="*/ 25 w 559"/>
              <a:gd name="T11" fmla="*/ 413 h 893"/>
              <a:gd name="T12" fmla="*/ 0 w 559"/>
              <a:gd name="T13" fmla="*/ 294 h 893"/>
              <a:gd name="T14" fmla="*/ 280 w 559"/>
              <a:gd name="T15" fmla="*/ 0 h 893"/>
              <a:gd name="T16" fmla="*/ 559 w 559"/>
              <a:gd name="T17" fmla="*/ 294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59" h="893">
                <a:moveTo>
                  <a:pt x="559" y="294"/>
                </a:moveTo>
                <a:cubicBezTo>
                  <a:pt x="559" y="355"/>
                  <a:pt x="542" y="411"/>
                  <a:pt x="511" y="458"/>
                </a:cubicBezTo>
                <a:cubicBezTo>
                  <a:pt x="280" y="893"/>
                  <a:pt x="280" y="893"/>
                  <a:pt x="280" y="893"/>
                </a:cubicBezTo>
                <a:cubicBezTo>
                  <a:pt x="49" y="458"/>
                  <a:pt x="49" y="458"/>
                  <a:pt x="49" y="458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25" y="413"/>
                  <a:pt x="25" y="413"/>
                  <a:pt x="25" y="413"/>
                </a:cubicBezTo>
                <a:cubicBezTo>
                  <a:pt x="9" y="377"/>
                  <a:pt x="0" y="336"/>
                  <a:pt x="0" y="294"/>
                </a:cubicBezTo>
                <a:cubicBezTo>
                  <a:pt x="0" y="132"/>
                  <a:pt x="125" y="0"/>
                  <a:pt x="280" y="0"/>
                </a:cubicBezTo>
                <a:cubicBezTo>
                  <a:pt x="434" y="0"/>
                  <a:pt x="559" y="132"/>
                  <a:pt x="559" y="294"/>
                </a:cubicBezTo>
                <a:close/>
              </a:path>
            </a:pathLst>
          </a:custGeom>
          <a:solidFill>
            <a:srgbClr val="A5CF4C"/>
          </a:solidFill>
          <a:ln w="9525">
            <a:solidFill>
              <a:srgbClr val="000000"/>
            </a:solidFill>
            <a:round/>
            <a:headEnd/>
            <a:tailEnd/>
          </a:ln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6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6BC657C-4F6C-4CFD-8782-392E039116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648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9" dur="500"/>
                                        <p:tgtEl>
                                          <p:spTgt spid="1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5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1" dur="5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7" dur="5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9" dur="500"/>
                                        <p:tgtEl>
                                          <p:spTgt spid="1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2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55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30" grpId="0" animBg="1"/>
      <p:bldP spid="98" grpId="0"/>
      <p:bldP spid="113" grpId="0" animBg="1"/>
      <p:bldP spid="114" grpId="0" animBg="1"/>
      <p:bldP spid="116" grpId="0" animBg="1"/>
      <p:bldP spid="115" grpId="0" animBg="1"/>
      <p:bldP spid="117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894190A-4B56-43DD-95ED-AD3EE8AD537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868"/>
          <a:stretch/>
        </p:blipFill>
        <p:spPr>
          <a:xfrm>
            <a:off x="0" y="-9631"/>
            <a:ext cx="12228112" cy="6867631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DBD08C73-0F28-4FF0-89DB-7DE79C692499}"/>
              </a:ext>
            </a:extLst>
          </p:cNvPr>
          <p:cNvSpPr/>
          <p:nvPr/>
        </p:nvSpPr>
        <p:spPr>
          <a:xfrm flipH="1">
            <a:off x="14743" y="0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14C639FF-39A1-4C93-B525-18939F9127C7}"/>
              </a:ext>
            </a:extLst>
          </p:cNvPr>
          <p:cNvSpPr/>
          <p:nvPr/>
        </p:nvSpPr>
        <p:spPr>
          <a:xfrm flipV="1">
            <a:off x="-3645098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C54BD6CE-4EC4-47D5-A34C-2DB9A2D19874}"/>
              </a:ext>
            </a:extLst>
          </p:cNvPr>
          <p:cNvSpPr/>
          <p:nvPr/>
        </p:nvSpPr>
        <p:spPr>
          <a:xfrm flipV="1">
            <a:off x="-3744335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5CF4C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05F9B7F-247D-4ED1-80A2-091E11FA9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64603" y="2603039"/>
            <a:ext cx="8210145" cy="2377523"/>
          </a:xfrm>
        </p:spPr>
        <p:txBody>
          <a:bodyPr>
            <a:noAutofit/>
          </a:bodyPr>
          <a:lstStyle/>
          <a:p>
            <a:r>
              <a:rPr lang="en-ZA" sz="7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</a:t>
            </a:r>
            <a:r>
              <a:rPr lang="en-ZA" sz="72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ople,</a:t>
            </a:r>
            <a:br>
              <a:rPr lang="en-ZA" sz="7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72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ies, </a:t>
            </a:r>
            <a:r>
              <a:rPr lang="en-ZA" sz="7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</a:t>
            </a:r>
            <a:r>
              <a:rPr lang="en-ZA" sz="72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</a:t>
            </a:r>
            <a:endParaRPr lang="en-GB" sz="7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0F13A1F9-C372-4A84-9113-CE330D95FD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6451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00"/>
                            </p:stCondLst>
                            <p:childTnLst>
                              <p:par>
                                <p:cTn id="1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2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9C38F750-DD09-4528-8F3E-9BC2FAFEA87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51"/>
          <a:stretch/>
        </p:blipFill>
        <p:spPr>
          <a:xfrm>
            <a:off x="0" y="-1"/>
            <a:ext cx="12192000" cy="6856795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6" name="Picture 95">
            <a:extLst>
              <a:ext uri="{FF2B5EF4-FFF2-40B4-BE49-F238E27FC236}">
                <a16:creationId xmlns:a16="http://schemas.microsoft.com/office/drawing/2014/main" id="{A6990BB1-4159-4A1F-BD99-5E39D474033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97" name="Rectangle 96">
            <a:extLst>
              <a:ext uri="{FF2B5EF4-FFF2-40B4-BE49-F238E27FC236}">
                <a16:creationId xmlns:a16="http://schemas.microsoft.com/office/drawing/2014/main" id="{0295487E-C207-4A7B-A50D-BFB427C4E573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B2783604-B685-4D53-A0C5-41A34A58AB78}"/>
              </a:ext>
            </a:extLst>
          </p:cNvPr>
          <p:cNvSpPr/>
          <p:nvPr/>
        </p:nvSpPr>
        <p:spPr>
          <a:xfrm>
            <a:off x="1672905" y="470116"/>
            <a:ext cx="801855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xxaro Car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2D3E46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C6AFD3F-2A49-4942-A638-896D27372E20}"/>
              </a:ext>
            </a:extLst>
          </p:cNvPr>
          <p:cNvGrpSpPr/>
          <p:nvPr/>
        </p:nvGrpSpPr>
        <p:grpSpPr>
          <a:xfrm>
            <a:off x="585451" y="2064708"/>
            <a:ext cx="12017618" cy="810378"/>
            <a:chOff x="556718" y="2524976"/>
            <a:chExt cx="12017618" cy="810378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6605A71-F9AA-415F-99DA-EF5D2C1C8602}"/>
                </a:ext>
              </a:extLst>
            </p:cNvPr>
            <p:cNvSpPr txBox="1"/>
            <p:nvPr/>
          </p:nvSpPr>
          <p:spPr>
            <a:xfrm>
              <a:off x="1619247" y="2594133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lvl="0">
                <a:lnSpc>
                  <a:spcPct val="150000"/>
                </a:lnSpc>
                <a:defRPr/>
              </a:pPr>
              <a:r>
                <a:rPr lang="en-ZA" b="1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R935m </a:t>
              </a:r>
              <a:r>
                <a:rPr lang="en-ZA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pent on communities </a:t>
              </a:r>
              <a:r>
                <a:rPr lang="en-ZA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the last 10 years. Benefitting more than 20 000 people.</a:t>
              </a:r>
              <a:endPara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5FCBA40D-6B4A-434F-A094-44E0C9D0BDB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718" y="2524976"/>
              <a:ext cx="862434" cy="810378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C5A9C79C-FCFA-4425-A06E-F5978435FD46}"/>
              </a:ext>
            </a:extLst>
          </p:cNvPr>
          <p:cNvGrpSpPr/>
          <p:nvPr/>
        </p:nvGrpSpPr>
        <p:grpSpPr>
          <a:xfrm>
            <a:off x="626407" y="3672566"/>
            <a:ext cx="12042798" cy="810378"/>
            <a:chOff x="490584" y="4182059"/>
            <a:chExt cx="12042798" cy="810378"/>
          </a:xfrm>
        </p:grpSpPr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4092D51-5F76-43B3-95F3-F0514AD7A820}"/>
                </a:ext>
              </a:extLst>
            </p:cNvPr>
            <p:cNvSpPr txBox="1"/>
            <p:nvPr/>
          </p:nvSpPr>
          <p:spPr>
            <a:xfrm>
              <a:off x="1578293" y="4244666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Land rehabilitation is 21%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of total disturbed land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82CCA99-1CF5-4647-8D70-2679754C18A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584" y="4182059"/>
              <a:ext cx="862434" cy="810378"/>
            </a:xfrm>
            <a:prstGeom prst="rect">
              <a:avLst/>
            </a:prstGeom>
          </p:spPr>
        </p:pic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524CFBB2-F8DD-4AE5-91C2-FA73274699C3}"/>
              </a:ext>
            </a:extLst>
          </p:cNvPr>
          <p:cNvGrpSpPr/>
          <p:nvPr/>
        </p:nvGrpSpPr>
        <p:grpSpPr>
          <a:xfrm>
            <a:off x="649710" y="5531258"/>
            <a:ext cx="12605114" cy="923330"/>
            <a:chOff x="490584" y="5778371"/>
            <a:chExt cx="12605114" cy="923330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4F38DC35-1C3A-433D-A7AC-88B95704A81A}"/>
                </a:ext>
              </a:extLst>
            </p:cNvPr>
            <p:cNvSpPr txBox="1"/>
            <p:nvPr/>
          </p:nvSpPr>
          <p:spPr>
            <a:xfrm>
              <a:off x="1570892" y="5778371"/>
              <a:ext cx="11524806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R22.4 </a:t>
              </a:r>
              <a:r>
                <a:rPr lang="en-US" b="1" dirty="0" err="1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Bn</a:t>
              </a:r>
              <a:r>
                <a:rPr lang="en-US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pent on </a:t>
              </a:r>
              <a:r>
                <a:rPr lang="en-US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black owned suppliers (R8.5 </a:t>
              </a:r>
              <a:r>
                <a:rPr lang="en-US" b="1" dirty="0" err="1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Bn</a:t>
              </a:r>
              <a:r>
                <a:rPr lang="en-US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was on </a:t>
              </a:r>
              <a:r>
                <a:rPr lang="en-US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black women owned). </a:t>
              </a:r>
            </a:p>
            <a:p>
              <a:endParaRPr lang="en-US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r>
                <a:rPr lang="en-US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ver </a:t>
              </a:r>
              <a:r>
                <a:rPr lang="en-US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R215 million invested </a:t>
              </a:r>
              <a:r>
                <a:rPr lang="en-US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 developing </a:t>
              </a:r>
              <a:r>
                <a:rPr lang="en-US" b="1" dirty="0">
                  <a:solidFill>
                    <a:prstClr val="black">
                      <a:lumMod val="95000"/>
                      <a:lumOff val="5000"/>
                    </a:prstClr>
                  </a:solidFill>
                  <a:latin typeface="Arial Black" panose="020B0A04020102020204" pitchFamily="34" charset="0"/>
                  <a:cs typeface="Arial" panose="020B0604020202020204" pitchFamily="34" charset="0"/>
                </a:rPr>
                <a:t>small black owned suppliers </a:t>
              </a:r>
              <a:r>
                <a:rPr lang="en-US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2018 -2019)</a:t>
              </a:r>
              <a:r>
                <a:rPr lang="en-US" dirty="0"/>
                <a:t>.</a:t>
              </a:r>
            </a:p>
          </p:txBody>
        </p:sp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DBB40E2E-082A-4BCB-B297-89220F58915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584" y="5856484"/>
              <a:ext cx="862434" cy="810378"/>
            </a:xfrm>
            <a:prstGeom prst="rect">
              <a:avLst/>
            </a:prstGeom>
          </p:spPr>
        </p:pic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A50ADBD-01F8-419D-B8DB-47100D0E004E}"/>
              </a:ext>
            </a:extLst>
          </p:cNvPr>
          <p:cNvGrpSpPr/>
          <p:nvPr/>
        </p:nvGrpSpPr>
        <p:grpSpPr>
          <a:xfrm>
            <a:off x="617807" y="4500207"/>
            <a:ext cx="12051398" cy="810378"/>
            <a:chOff x="490584" y="5019272"/>
            <a:chExt cx="12051398" cy="810378"/>
          </a:xfrm>
        </p:grpSpPr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A8FD0E8B-4D8F-4927-A677-F9F975EAD139}"/>
                </a:ext>
              </a:extLst>
            </p:cNvPr>
            <p:cNvSpPr txBox="1"/>
            <p:nvPr/>
          </p:nvSpPr>
          <p:spPr>
            <a:xfrm>
              <a:off x="1586893" y="5070667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Returned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R25,5 </a:t>
              </a:r>
              <a:r>
                <a:rPr kumimoji="0" lang="en-ZA" sz="1800" b="1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Bn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 to shareholders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since 2006 to 2018.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7783987-EE6B-425D-828D-0EFD8912BF6C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90584" y="5019272"/>
              <a:ext cx="862434" cy="810378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D149547B-60AB-4CE5-8F66-C2D47955DAC3}"/>
              </a:ext>
            </a:extLst>
          </p:cNvPr>
          <p:cNvGrpSpPr/>
          <p:nvPr/>
        </p:nvGrpSpPr>
        <p:grpSpPr>
          <a:xfrm>
            <a:off x="556718" y="1339162"/>
            <a:ext cx="12070204" cy="810378"/>
            <a:chOff x="556718" y="1339162"/>
            <a:chExt cx="12070204" cy="810378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BA2A7672-24DC-499A-8D7D-79D53CBA47D4}"/>
                </a:ext>
              </a:extLst>
            </p:cNvPr>
            <p:cNvSpPr txBox="1"/>
            <p:nvPr/>
          </p:nvSpPr>
          <p:spPr>
            <a:xfrm>
              <a:off x="1671833" y="1440028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More than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5% of payroll spent on training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and people development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.</a:t>
              </a:r>
              <a:endParaRPr kumimoji="0" lang="en-GB" sz="18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endParaRP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F1567799-E774-4AC4-BCA8-367CF181BC11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56718" y="1339162"/>
              <a:ext cx="862434" cy="810378"/>
            </a:xfrm>
            <a:prstGeom prst="rect">
              <a:avLst/>
            </a:prstGeom>
          </p:spPr>
        </p:pic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ED2C0AA6-87E1-4A44-9C16-11DC11C8AD4D}"/>
              </a:ext>
            </a:extLst>
          </p:cNvPr>
          <p:cNvGrpSpPr/>
          <p:nvPr/>
        </p:nvGrpSpPr>
        <p:grpSpPr>
          <a:xfrm>
            <a:off x="602552" y="2843205"/>
            <a:ext cx="12042800" cy="810378"/>
            <a:chOff x="576173" y="3319643"/>
            <a:chExt cx="12042800" cy="810378"/>
          </a:xfrm>
        </p:grpSpPr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5A03B2BB-FCB7-4E79-BF94-44D6703C355B}"/>
                </a:ext>
              </a:extLst>
            </p:cNvPr>
            <p:cNvSpPr txBox="1"/>
            <p:nvPr/>
          </p:nvSpPr>
          <p:spPr>
            <a:xfrm>
              <a:off x="1663884" y="3383566"/>
              <a:ext cx="10955089" cy="5078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e 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met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 majority of our </a:t>
              </a:r>
              <a:r>
                <a:rPr kumimoji="0" lang="en-ZA" sz="1800" b="1" i="0" u="none" strike="noStrike" kern="1200" cap="none" spc="0" normalizeH="0" baseline="0" noProof="0">
                  <a:ln>
                    <a:noFill/>
                  </a:ln>
                  <a:solidFill>
                    <a:srgbClr val="2D3E46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rPr>
                <a:t>water </a:t>
              </a:r>
              <a:r>
                <a:rPr kumimoji="0" lang="en-ZA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efficiency targets</a:t>
              </a:r>
              <a:r>
                <a:rPr kumimoji="0" lang="en-ZA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95000"/>
                      <a:lumOff val="5000"/>
                    </a:prstClr>
                  </a:solidFill>
                  <a:effectLst/>
                  <a:uLnTx/>
                  <a:uFillTx/>
                  <a:latin typeface="Arial Black" panose="020B0A04020102020204" pitchFamily="34" charset="0"/>
                  <a:ea typeface="+mn-ea"/>
                  <a:cs typeface="Arial" panose="020B0604020202020204" pitchFamily="34" charset="0"/>
                </a:rPr>
                <a:t>.</a:t>
              </a:r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8276405-1BF2-449C-B795-42ED6EDF66F2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6173" y="3319643"/>
              <a:ext cx="862434" cy="810378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352CA905-D2D3-48C5-9F17-134E62BEF3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8C4F3A-D30B-412E-B52C-7D7F9B0182D2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313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0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5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65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8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72BD1D16-5253-4988-998E-D9FF52EFB65A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lumMod val="95000"/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8D80067-3029-410A-9C6C-445944FD3E39}"/>
              </a:ext>
            </a:extLst>
          </p:cNvPr>
          <p:cNvSpPr/>
          <p:nvPr/>
        </p:nvSpPr>
        <p:spPr>
          <a:xfrm>
            <a:off x="1672904" y="466033"/>
            <a:ext cx="102310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rrent Mining Operating Environment/Cond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88D83CDA-BB4F-4B80-89A2-602600ABC8C4}"/>
              </a:ext>
            </a:extLst>
          </p:cNvPr>
          <p:cNvCxnSpPr>
            <a:cxnSpLocks/>
          </p:cNvCxnSpPr>
          <p:nvPr/>
        </p:nvCxnSpPr>
        <p:spPr>
          <a:xfrm>
            <a:off x="2971800" y="5753100"/>
            <a:ext cx="198437" cy="0"/>
          </a:xfrm>
          <a:prstGeom prst="line">
            <a:avLst/>
          </a:prstGeom>
          <a:ln>
            <a:solidFill>
              <a:srgbClr val="86CBC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6951C5F4-AB7C-4E1D-AFDC-03927DB312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54494" y="1579390"/>
            <a:ext cx="2743200" cy="2577623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57A68DA0-EFB9-4537-9BCA-DE48089E371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0163" y="1579390"/>
            <a:ext cx="2743200" cy="257762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F72914E-0A1B-471C-8053-479552FE7DE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5832" y="1579390"/>
            <a:ext cx="2743200" cy="257762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85D7E22-8B47-422D-8718-992BBD851F8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11500" y="1579390"/>
            <a:ext cx="2743200" cy="2577624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1521A27A-1C0F-4C1C-A75F-3898594F31E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2152" y="3874057"/>
            <a:ext cx="2743200" cy="257762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68A047DA-A016-42F7-9929-335FBBFD185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5463" y="3874057"/>
            <a:ext cx="2743200" cy="2577624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E279EBCA-D72E-4CF2-A919-8CC26119AE5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8774" y="3874057"/>
            <a:ext cx="2743200" cy="2577624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06DDE68-933C-478C-9D6D-A8A77097E2E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93508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3500"/>
                            </p:stCondLst>
                            <p:childTnLst>
                              <p:par>
                                <p:cTn id="3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500"/>
                            </p:stCondLst>
                            <p:childTnLst>
                              <p:par>
                                <p:cTn id="35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" presetClass="entr" presetSubtype="4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82F0511B-D031-4331-A45D-DFC9BCDA24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83"/>
          <a:stretch/>
        </p:blipFill>
        <p:spPr>
          <a:xfrm>
            <a:off x="0" y="0"/>
            <a:ext cx="12198627" cy="6858000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50E9C1B7-55E0-4B7F-AE52-E9DA24337267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14C639FF-39A1-4C93-B525-18939F9127C7}"/>
              </a:ext>
            </a:extLst>
          </p:cNvPr>
          <p:cNvSpPr/>
          <p:nvPr/>
        </p:nvSpPr>
        <p:spPr>
          <a:xfrm flipV="1">
            <a:off x="-3645098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C54BD6CE-4EC4-47D5-A34C-2DB9A2D19874}"/>
              </a:ext>
            </a:extLst>
          </p:cNvPr>
          <p:cNvSpPr/>
          <p:nvPr/>
        </p:nvSpPr>
        <p:spPr>
          <a:xfrm flipV="1">
            <a:off x="-3744335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5CF4C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87B2D42-8ABE-4BF5-8856-71177F9617AD}"/>
              </a:ext>
            </a:extLst>
          </p:cNvPr>
          <p:cNvSpPr/>
          <p:nvPr/>
        </p:nvSpPr>
        <p:spPr>
          <a:xfrm>
            <a:off x="4717916" y="1382234"/>
            <a:ext cx="7487338" cy="804418"/>
          </a:xfrm>
          <a:prstGeom prst="rect">
            <a:avLst/>
          </a:prstGeom>
          <a:solidFill>
            <a:srgbClr val="A5C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9E22DBB-7831-4FA4-88C0-9B1954A073D2}"/>
              </a:ext>
            </a:extLst>
          </p:cNvPr>
          <p:cNvSpPr/>
          <p:nvPr/>
        </p:nvSpPr>
        <p:spPr>
          <a:xfrm>
            <a:off x="4620638" y="1465889"/>
            <a:ext cx="738781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1">
              <a:spcBef>
                <a:spcPts val="1200"/>
              </a:spcBef>
              <a:spcAft>
                <a:spcPts val="0"/>
              </a:spcAft>
              <a:buClr>
                <a:srgbClr val="3A2B26"/>
              </a:buClr>
              <a:buSzPct val="100000"/>
            </a:pPr>
            <a:r>
              <a:rPr lang="en-ZA" sz="3600" b="1" i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Believe in the Future of Coal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49E1726-E896-4DF2-BA02-0D2511D98BAB}"/>
              </a:ext>
            </a:extLst>
          </p:cNvPr>
          <p:cNvSpPr/>
          <p:nvPr/>
        </p:nvSpPr>
        <p:spPr>
          <a:xfrm>
            <a:off x="3753295" y="2701726"/>
            <a:ext cx="8451960" cy="1200329"/>
          </a:xfrm>
          <a:prstGeom prst="rect">
            <a:avLst/>
          </a:prstGeom>
          <a:solidFill>
            <a:srgbClr val="A5C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D56887C-8C15-40D4-BD80-7A26785E96FE}"/>
              </a:ext>
            </a:extLst>
          </p:cNvPr>
          <p:cNvSpPr/>
          <p:nvPr/>
        </p:nvSpPr>
        <p:spPr>
          <a:xfrm>
            <a:off x="3753294" y="2690274"/>
            <a:ext cx="82551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1">
              <a:spcBef>
                <a:spcPts val="1200"/>
              </a:spcBef>
              <a:spcAft>
                <a:spcPts val="0"/>
              </a:spcAft>
              <a:buClr>
                <a:srgbClr val="3A2B26"/>
              </a:buClr>
              <a:buSzPct val="100000"/>
            </a:pPr>
            <a:r>
              <a:rPr lang="en-ZA" sz="3600" b="1" i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growth in volume, product mix, balance sheet and value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6567ADC-E389-45D0-B799-61E31AD08C3E}"/>
              </a:ext>
            </a:extLst>
          </p:cNvPr>
          <p:cNvSpPr/>
          <p:nvPr/>
        </p:nvSpPr>
        <p:spPr>
          <a:xfrm>
            <a:off x="2881423" y="4417130"/>
            <a:ext cx="9310577" cy="1653848"/>
          </a:xfrm>
          <a:prstGeom prst="rect">
            <a:avLst/>
          </a:prstGeom>
          <a:solidFill>
            <a:srgbClr val="A5C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2147276-4F84-4D70-9C47-68F161018D6F}"/>
              </a:ext>
            </a:extLst>
          </p:cNvPr>
          <p:cNvSpPr/>
          <p:nvPr/>
        </p:nvSpPr>
        <p:spPr>
          <a:xfrm>
            <a:off x="2881423" y="4602403"/>
            <a:ext cx="91592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14300" lvl="1">
              <a:spcBef>
                <a:spcPts val="1200"/>
              </a:spcBef>
              <a:spcAft>
                <a:spcPts val="0"/>
              </a:spcAft>
              <a:buClr>
                <a:srgbClr val="3A2B26"/>
              </a:buClr>
              <a:buSzPct val="100000"/>
            </a:pPr>
            <a:r>
              <a:rPr lang="en-ZA" sz="3600" b="1" i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ZA" sz="3600" b="1" i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gital@Exxaro</a:t>
            </a:r>
            <a:r>
              <a:rPr lang="en-ZA" sz="3600" b="1" i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 is the defence to the future and relevant to current conditions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5C68FBD-F684-4A41-B151-5D6FC933D9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7121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700"/>
                            </p:stCondLst>
                            <p:childTnLst>
                              <p:par>
                                <p:cTn id="14" presetID="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700"/>
                            </p:stCondLst>
                            <p:childTnLst>
                              <p:par>
                                <p:cTn id="23" presetID="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2700"/>
                            </p:stCondLst>
                            <p:childTnLst>
                              <p:par>
                                <p:cTn id="32" presetID="2" presetClass="entr" presetSubtype="2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P spid="19" grpId="0" animBg="1"/>
      <p:bldP spid="7" grpId="0" animBg="1"/>
      <p:bldP spid="2" grpId="0"/>
      <p:bldP spid="8" grpId="0" animBg="1"/>
      <p:bldP spid="9" grpId="0"/>
      <p:bldP spid="10" grpId="0" animBg="1"/>
      <p:bldP spid="11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112454E-9D1F-475A-9B2D-57278042C1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4" name="Rectangle 22">
            <a:extLst>
              <a:ext uri="{FF2B5EF4-FFF2-40B4-BE49-F238E27FC236}">
                <a16:creationId xmlns:a16="http://schemas.microsoft.com/office/drawing/2014/main" id="{8330EC82-E952-4059-9381-F79923B0D318}"/>
              </a:ext>
            </a:extLst>
          </p:cNvPr>
          <p:cNvSpPr/>
          <p:nvPr/>
        </p:nvSpPr>
        <p:spPr>
          <a:xfrm flipH="1">
            <a:off x="5454554" y="1206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5" name="Rectangle 22">
            <a:extLst>
              <a:ext uri="{FF2B5EF4-FFF2-40B4-BE49-F238E27FC236}">
                <a16:creationId xmlns:a16="http://schemas.microsoft.com/office/drawing/2014/main" id="{C660440D-E148-47F0-972E-3FF99EC6329C}"/>
              </a:ext>
            </a:extLst>
          </p:cNvPr>
          <p:cNvSpPr/>
          <p:nvPr/>
        </p:nvSpPr>
        <p:spPr>
          <a:xfrm flipH="1">
            <a:off x="5558611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8ED20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9373CEFB-88F6-4B05-8B6E-0E33CA115E95}"/>
              </a:ext>
            </a:extLst>
          </p:cNvPr>
          <p:cNvSpPr/>
          <p:nvPr/>
        </p:nvSpPr>
        <p:spPr>
          <a:xfrm flipH="1">
            <a:off x="5662668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3713A958-FEAE-47DC-8DE9-A34BC95F3D0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15107" y="172008"/>
            <a:ext cx="2428921" cy="1177455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09205843-C9C1-4344-9096-29AC9F5FE54F}"/>
              </a:ext>
            </a:extLst>
          </p:cNvPr>
          <p:cNvSpPr txBox="1"/>
          <p:nvPr/>
        </p:nvSpPr>
        <p:spPr>
          <a:xfrm>
            <a:off x="5751871" y="5841131"/>
            <a:ext cx="64401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6000" dirty="0">
                <a:solidFill>
                  <a:srgbClr val="2D3E46"/>
                </a:solidFill>
                <a:latin typeface="Arial Black" panose="020B0A04020102020204" pitchFamily="34" charset="0"/>
              </a:rPr>
              <a:t>THANK YOU</a:t>
            </a:r>
            <a:endParaRPr lang="en-GB" sz="6000" dirty="0">
              <a:solidFill>
                <a:srgbClr val="2D3E46"/>
              </a:solidFill>
              <a:latin typeface="Arial Black" panose="020B0A040201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2FDC562-6139-4D5C-9A0A-E51DC1EEF72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1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9635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EBA9F9A-D479-4B34-AC60-925F8A9000D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737"/>
          <a:stretch/>
        </p:blipFill>
        <p:spPr>
          <a:xfrm>
            <a:off x="1" y="-1206"/>
            <a:ext cx="12191999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1" y="-2412"/>
            <a:ext cx="12198626" cy="6856794"/>
          </a:xfrm>
          <a:prstGeom prst="rect">
            <a:avLst/>
          </a:prstGeom>
          <a:solidFill>
            <a:schemeClr val="bg1">
              <a:alpha val="74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FDDADD9D-6D32-4DDB-8A1B-76B8E9E39C4F}"/>
              </a:ext>
            </a:extLst>
          </p:cNvPr>
          <p:cNvSpPr/>
          <p:nvPr/>
        </p:nvSpPr>
        <p:spPr>
          <a:xfrm>
            <a:off x="6181683" y="3687130"/>
            <a:ext cx="6140944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5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44Bn</a:t>
            </a:r>
            <a:endParaRPr lang="en-GB" sz="11500" b="1" dirty="0">
              <a:ln>
                <a:solidFill>
                  <a:schemeClr val="bg1"/>
                </a:solidFill>
              </a:ln>
              <a:solidFill>
                <a:srgbClr val="A5CF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22">
            <a:extLst>
              <a:ext uri="{FF2B5EF4-FFF2-40B4-BE49-F238E27FC236}">
                <a16:creationId xmlns:a16="http://schemas.microsoft.com/office/drawing/2014/main" id="{14C639FF-39A1-4C93-B525-18939F9127C7}"/>
              </a:ext>
            </a:extLst>
          </p:cNvPr>
          <p:cNvSpPr/>
          <p:nvPr/>
        </p:nvSpPr>
        <p:spPr>
          <a:xfrm flipV="1">
            <a:off x="-3079040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bg1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19" name="Rectangle 22">
            <a:extLst>
              <a:ext uri="{FF2B5EF4-FFF2-40B4-BE49-F238E27FC236}">
                <a16:creationId xmlns:a16="http://schemas.microsoft.com/office/drawing/2014/main" id="{C54BD6CE-4EC4-47D5-A34C-2DB9A2D19874}"/>
              </a:ext>
            </a:extLst>
          </p:cNvPr>
          <p:cNvSpPr/>
          <p:nvPr/>
        </p:nvSpPr>
        <p:spPr>
          <a:xfrm flipV="1">
            <a:off x="-3178277" y="0"/>
            <a:ext cx="6744072" cy="6858000"/>
          </a:xfrm>
          <a:custGeom>
            <a:avLst/>
            <a:gdLst>
              <a:gd name="connsiteX0" fmla="*/ 0 w 4655840"/>
              <a:gd name="connsiteY0" fmla="*/ 0 h 6858000"/>
              <a:gd name="connsiteX1" fmla="*/ 4655840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  <a:gd name="connsiteX0" fmla="*/ 0 w 4655840"/>
              <a:gd name="connsiteY0" fmla="*/ 0 h 6858000"/>
              <a:gd name="connsiteX1" fmla="*/ 3480183 w 4655840"/>
              <a:gd name="connsiteY1" fmla="*/ 0 h 6858000"/>
              <a:gd name="connsiteX2" fmla="*/ 4655840 w 4655840"/>
              <a:gd name="connsiteY2" fmla="*/ 6858000 h 6858000"/>
              <a:gd name="connsiteX3" fmla="*/ 0 w 4655840"/>
              <a:gd name="connsiteY3" fmla="*/ 6858000 h 6858000"/>
              <a:gd name="connsiteX4" fmla="*/ 0 w 4655840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655840" h="6858000">
                <a:moveTo>
                  <a:pt x="0" y="0"/>
                </a:moveTo>
                <a:lnTo>
                  <a:pt x="3480183" y="0"/>
                </a:lnTo>
                <a:lnTo>
                  <a:pt x="465584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rgbClr val="A5CF4C"/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8ED201"/>
              </a:solidFill>
              <a:latin typeface="Arial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11DA1569-9A54-43C4-9D6E-0B680E9E9B3E}"/>
              </a:ext>
            </a:extLst>
          </p:cNvPr>
          <p:cNvSpPr/>
          <p:nvPr/>
        </p:nvSpPr>
        <p:spPr>
          <a:xfrm>
            <a:off x="3788435" y="1036329"/>
            <a:ext cx="3971129" cy="22159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3800" b="1" dirty="0">
                <a:ln>
                  <a:solidFill>
                    <a:schemeClr val="bg1"/>
                  </a:solidFill>
                </a:ln>
                <a:solidFill>
                  <a:srgbClr val="A5CF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endParaRPr lang="en-GB" sz="9600" b="1" dirty="0">
              <a:ln>
                <a:solidFill>
                  <a:schemeClr val="bg1"/>
                </a:solidFill>
              </a:ln>
              <a:solidFill>
                <a:srgbClr val="A5CF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B50E8D94-60C2-4CEF-8F5E-A22317E50798}"/>
              </a:ext>
            </a:extLst>
          </p:cNvPr>
          <p:cNvSpPr/>
          <p:nvPr/>
        </p:nvSpPr>
        <p:spPr>
          <a:xfrm>
            <a:off x="7692570" y="1409057"/>
            <a:ext cx="4499429" cy="16158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3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ed South African Coal Mining Company</a:t>
            </a:r>
            <a:endParaRPr lang="en-GB" sz="33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912A5D-0DCF-43A0-BA4C-98CEB361C149}"/>
              </a:ext>
            </a:extLst>
          </p:cNvPr>
          <p:cNvSpPr/>
          <p:nvPr/>
        </p:nvSpPr>
        <p:spPr>
          <a:xfrm>
            <a:off x="2434409" y="4071850"/>
            <a:ext cx="3648342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4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Market </a:t>
            </a:r>
          </a:p>
          <a:p>
            <a:pPr algn="r"/>
            <a:r>
              <a:rPr lang="en-US" sz="4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 of</a:t>
            </a:r>
            <a:endParaRPr lang="en-GB" sz="44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606151F-AB5B-4C72-930D-B271DE247126}"/>
              </a:ext>
            </a:extLst>
          </p:cNvPr>
          <p:cNvSpPr/>
          <p:nvPr/>
        </p:nvSpPr>
        <p:spPr>
          <a:xfrm>
            <a:off x="6349687" y="5473567"/>
            <a:ext cx="449942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.as at Monday 28 October 2019</a:t>
            </a:r>
            <a:endParaRPr lang="en-GB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BD3B9D91-7CC6-4D81-B48A-8552EEAB5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91866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8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700"/>
                            </p:stCondLst>
                            <p:childTnLst>
                              <p:par>
                                <p:cTn id="20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15" grpId="0"/>
      <p:bldP spid="16" grpId="0" animBg="1"/>
      <p:bldP spid="19" grpId="0" animBg="1"/>
      <p:bldP spid="22" grpId="0"/>
      <p:bldP spid="23" grpId="0"/>
      <p:bldP spid="24" grpId="0"/>
      <p:bldP spid="1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DC70927-4A5E-4A71-9BCD-5BB0547B223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509"/>
          <a:stretch/>
        </p:blipFill>
        <p:spPr>
          <a:xfrm>
            <a:off x="-6626" y="0"/>
            <a:ext cx="12198626" cy="688027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88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824212C-07B6-422E-A6DF-289D8E40958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004" y="3924300"/>
            <a:ext cx="2494217" cy="2325526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CD076CF-3DF8-4E49-9D2B-E494D13D93A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0142" y="1330619"/>
            <a:ext cx="3370016" cy="3142092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0DD48E95-91D1-48F0-92C3-61D996858DE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6054" y="2145801"/>
            <a:ext cx="2323529" cy="2166382"/>
          </a:xfrm>
          <a:prstGeom prst="rect">
            <a:avLst/>
          </a:prstGeom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DEB73EDB-895E-4D2D-B61F-FBE8C6EC849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16035" y="3962400"/>
            <a:ext cx="2764992" cy="2577988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B8E84B9E-340A-4618-AD66-0F6645B2043A}"/>
              </a:ext>
            </a:extLst>
          </p:cNvPr>
          <p:cNvSpPr txBox="1"/>
          <p:nvPr/>
        </p:nvSpPr>
        <p:spPr>
          <a:xfrm>
            <a:off x="335535" y="2999817"/>
            <a:ext cx="337001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aro owns 20.6% in </a:t>
            </a:r>
            <a:r>
              <a:rPr lang="en-ZA" sz="28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shen</a:t>
            </a:r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ron Ore</a:t>
            </a:r>
            <a:endParaRPr lang="en-GB" sz="28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24CB8B2F-06CD-4F17-ADF5-4BE2882146B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304" y="3715531"/>
            <a:ext cx="3988547" cy="839694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E93A66B7-96B2-436C-8F67-BC8A681FC6F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9142" y="5970495"/>
            <a:ext cx="3676691" cy="774040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5347BA02-BF98-4284-A60D-C368531D6FF5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856168" y="2856377"/>
            <a:ext cx="3676691" cy="774040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95C10B8D-B42F-4198-AA9C-963CB3882F6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8268664" y="5695913"/>
            <a:ext cx="3676691" cy="774040"/>
          </a:xfrm>
          <a:prstGeom prst="rect">
            <a:avLst/>
          </a:prstGeom>
        </p:spPr>
      </p:pic>
      <p:sp>
        <p:nvSpPr>
          <p:cNvPr id="38" name="TextBox 37">
            <a:extLst>
              <a:ext uri="{FF2B5EF4-FFF2-40B4-BE49-F238E27FC236}">
                <a16:creationId xmlns:a16="http://schemas.microsoft.com/office/drawing/2014/main" id="{2E6EB162-CE2B-4253-949C-9DFECE3CE009}"/>
              </a:ext>
            </a:extLst>
          </p:cNvPr>
          <p:cNvSpPr txBox="1"/>
          <p:nvPr/>
        </p:nvSpPr>
        <p:spPr>
          <a:xfrm>
            <a:off x="1225927" y="5377612"/>
            <a:ext cx="2787780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 interest in </a:t>
            </a:r>
            <a:r>
              <a:rPr lang="en-ZA" sz="28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nergi</a:t>
            </a:r>
            <a:endParaRPr lang="en-ZA" sz="28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ZA" b="1" i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Intent for 100%</a:t>
            </a:r>
            <a:endParaRPr lang="en-GB" b="1" i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298847D1-8D7D-486E-BE73-F3B6798B7CA9}"/>
              </a:ext>
            </a:extLst>
          </p:cNvPr>
          <p:cNvSpPr txBox="1"/>
          <p:nvPr/>
        </p:nvSpPr>
        <p:spPr>
          <a:xfrm>
            <a:off x="8546716" y="2359294"/>
            <a:ext cx="27279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 interest in Tronox</a:t>
            </a:r>
            <a:endParaRPr lang="en-GB" sz="28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780D5790-8E23-4F78-B853-217ADD955F77}"/>
              </a:ext>
            </a:extLst>
          </p:cNvPr>
          <p:cNvSpPr txBox="1"/>
          <p:nvPr/>
        </p:nvSpPr>
        <p:spPr>
          <a:xfrm>
            <a:off x="9029569" y="5196572"/>
            <a:ext cx="2861507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4% interest in </a:t>
            </a:r>
          </a:p>
          <a:p>
            <a:r>
              <a:rPr lang="en-ZA" sz="28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ack Mountain</a:t>
            </a:r>
            <a:endParaRPr lang="en-GB" sz="28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DCAE93C1-45D3-426A-91F9-99CE5FA1A5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C84B5D0F-AC23-49D4-82B0-12D7B35EFEEC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BB2656B-F47B-4748-8A41-5E53F1C1CD91}"/>
              </a:ext>
            </a:extLst>
          </p:cNvPr>
          <p:cNvSpPr/>
          <p:nvPr/>
        </p:nvSpPr>
        <p:spPr>
          <a:xfrm>
            <a:off x="1672905" y="208858"/>
            <a:ext cx="6714807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Investments in Other Natural Resource Assets</a:t>
            </a:r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6AF5252-9D2F-4A9F-A26B-FAA266325A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885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38" grpId="0"/>
      <p:bldP spid="39" grpId="0"/>
      <p:bldP spid="40" grpId="0"/>
      <p:bldP spid="4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2" name="Picture 31" descr="Untitled.jpg">
            <a:extLst>
              <a:ext uri="{FF2B5EF4-FFF2-40B4-BE49-F238E27FC236}">
                <a16:creationId xmlns:a16="http://schemas.microsoft.com/office/drawing/2014/main" id="{3D6DBA9B-9D0E-4567-9713-5BAF1567537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11133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8D80067-3029-410A-9C6C-445944FD3E39}"/>
              </a:ext>
            </a:extLst>
          </p:cNvPr>
          <p:cNvSpPr/>
          <p:nvPr/>
        </p:nvSpPr>
        <p:spPr>
          <a:xfrm>
            <a:off x="1714573" y="486899"/>
            <a:ext cx="96346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fety is o</a:t>
            </a:r>
            <a:r>
              <a:rPr kumimoji="0" lang="en-US" sz="3200" b="1" i="0" u="none" strike="noStrike" kern="1200" cap="none" spc="0" normalizeH="0" baseline="0" noProof="0" dirty="0" err="1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ur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D3E46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Number One Priority</a:t>
            </a:r>
          </a:p>
        </p:txBody>
      </p:sp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E59CF55A-1C17-482F-9E26-A58A22E3893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5121993"/>
              </p:ext>
            </p:extLst>
          </p:nvPr>
        </p:nvGraphicFramePr>
        <p:xfrm>
          <a:off x="528918" y="945439"/>
          <a:ext cx="11008658" cy="4962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8" name="Rectangle: Rounded Corners 37">
            <a:extLst>
              <a:ext uri="{FF2B5EF4-FFF2-40B4-BE49-F238E27FC236}">
                <a16:creationId xmlns:a16="http://schemas.microsoft.com/office/drawing/2014/main" id="{44939352-9785-4628-80ED-C16989C62C3E}"/>
              </a:ext>
            </a:extLst>
          </p:cNvPr>
          <p:cNvSpPr/>
          <p:nvPr/>
        </p:nvSpPr>
        <p:spPr>
          <a:xfrm>
            <a:off x="7691601" y="4542347"/>
            <a:ext cx="702484" cy="21907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Fatality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D756C3-4F79-4ABD-B679-F12812497E30}"/>
              </a:ext>
            </a:extLst>
          </p:cNvPr>
          <p:cNvSpPr txBox="1"/>
          <p:nvPr/>
        </p:nvSpPr>
        <p:spPr>
          <a:xfrm>
            <a:off x="7709531" y="6595184"/>
            <a:ext cx="435547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*LTIFR = Lost time injury frequency rate per 200 000 man hours worked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C7988D8-72BF-4A43-8516-009B26FD2459}"/>
              </a:ext>
            </a:extLst>
          </p:cNvPr>
          <p:cNvSpPr txBox="1"/>
          <p:nvPr/>
        </p:nvSpPr>
        <p:spPr>
          <a:xfrm>
            <a:off x="1092200" y="5897654"/>
            <a:ext cx="92585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fety performance improved 52% in group LTIFR over the past 8 year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Zero fatalities in the last 30 months</a:t>
            </a:r>
          </a:p>
        </p:txBody>
      </p:sp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1DD83D8F-4BD9-41CF-89A2-14AA6DA3FE92}"/>
              </a:ext>
            </a:extLst>
          </p:cNvPr>
          <p:cNvSpPr/>
          <p:nvPr/>
        </p:nvSpPr>
        <p:spPr>
          <a:xfrm>
            <a:off x="3676775" y="4542348"/>
            <a:ext cx="702484" cy="21907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 Fatality</a:t>
            </a:r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7B1D5683-C3BF-4185-880F-B71696977158}"/>
              </a:ext>
            </a:extLst>
          </p:cNvPr>
          <p:cNvSpPr/>
          <p:nvPr/>
        </p:nvSpPr>
        <p:spPr>
          <a:xfrm>
            <a:off x="929238" y="4542348"/>
            <a:ext cx="794300" cy="219075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 Fatalities</a:t>
            </a:r>
          </a:p>
        </p:txBody>
      </p:sp>
    </p:spTree>
    <p:extLst>
      <p:ext uri="{BB962C8B-B14F-4D97-AF65-F5344CB8AC3E}">
        <p14:creationId xmlns:p14="http://schemas.microsoft.com/office/powerpoint/2010/main" val="2760644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Graphic spid="35" grpId="0">
        <p:bldAsOne/>
      </p:bldGraphic>
      <p:bldP spid="38" grpId="0" animBg="1"/>
      <p:bldP spid="3" grpId="0"/>
      <p:bldP spid="9" grpId="0"/>
      <p:bldP spid="14" grpId="0" animBg="1"/>
      <p:bldP spid="1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person wearing a hat&#10;&#10;Description automatically generated">
            <a:extLst>
              <a:ext uri="{FF2B5EF4-FFF2-40B4-BE49-F238E27FC236}">
                <a16:creationId xmlns:a16="http://schemas.microsoft.com/office/drawing/2014/main" id="{406B11C6-78D0-4CB1-A7A5-0F1CEC85144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069"/>
          <a:stretch/>
        </p:blipFill>
        <p:spPr>
          <a:xfrm>
            <a:off x="9180636" y="3698637"/>
            <a:ext cx="3313822" cy="316334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98B36BBD-E4E7-43A8-824A-189EF76F24FD}"/>
              </a:ext>
            </a:extLst>
          </p:cNvPr>
          <p:cNvSpPr/>
          <p:nvPr/>
        </p:nvSpPr>
        <p:spPr>
          <a:xfrm>
            <a:off x="-72427" y="-64404"/>
            <a:ext cx="12672870" cy="10157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8">
            <a:extLst>
              <a:ext uri="{FF2B5EF4-FFF2-40B4-BE49-F238E27FC236}">
                <a16:creationId xmlns:a16="http://schemas.microsoft.com/office/drawing/2014/main" id="{7F58FDE2-480E-46FB-A2E3-A7464B482630}"/>
              </a:ext>
            </a:extLst>
          </p:cNvPr>
          <p:cNvSpPr txBox="1">
            <a:spLocks/>
          </p:cNvSpPr>
          <p:nvPr/>
        </p:nvSpPr>
        <p:spPr>
          <a:xfrm>
            <a:off x="353219" y="121030"/>
            <a:ext cx="11540426" cy="753601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j-cs"/>
              </a:rPr>
              <a:t>Coal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│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6B8A7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srgbClr val="212F3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tegy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7C88EA4-7E0B-40EB-BCB0-C11F4BAF87A4}"/>
              </a:ext>
            </a:extLst>
          </p:cNvPr>
          <p:cNvSpPr/>
          <p:nvPr/>
        </p:nvSpPr>
        <p:spPr>
          <a:xfrm>
            <a:off x="338935" y="2822021"/>
            <a:ext cx="482856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afety at reduced cost 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1FBF9D90-5655-4FB9-94DC-A4D2E975C3F8}"/>
              </a:ext>
            </a:extLst>
          </p:cNvPr>
          <p:cNvGrpSpPr/>
          <p:nvPr/>
        </p:nvGrpSpPr>
        <p:grpSpPr>
          <a:xfrm>
            <a:off x="-31804" y="973963"/>
            <a:ext cx="12284764" cy="2449941"/>
            <a:chOff x="595013" y="1278799"/>
            <a:chExt cx="5208284" cy="2245136"/>
          </a:xfrm>
        </p:grpSpPr>
        <p:sp>
          <p:nvSpPr>
            <p:cNvPr id="144" name="Rectangle 143">
              <a:extLst>
                <a:ext uri="{FF2B5EF4-FFF2-40B4-BE49-F238E27FC236}">
                  <a16:creationId xmlns:a16="http://schemas.microsoft.com/office/drawing/2014/main" id="{8ECA6B4E-82C4-4B30-BD91-BF5758D78036}"/>
                </a:ext>
              </a:extLst>
            </p:cNvPr>
            <p:cNvSpPr/>
            <p:nvPr/>
          </p:nvSpPr>
          <p:spPr>
            <a:xfrm>
              <a:off x="595013" y="1278799"/>
              <a:ext cx="5208284" cy="2245136"/>
            </a:xfrm>
            <a:prstGeom prst="rect">
              <a:avLst/>
            </a:prstGeom>
            <a:solidFill>
              <a:srgbClr val="6B8A7E"/>
            </a:solidFill>
            <a:ln w="762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af-ZA" sz="1800" b="0" i="0" u="none" strike="noStrike" kern="0" cap="none" spc="0" normalizeH="0" baseline="0" noProof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BFAD07B-1C90-4C16-9C76-1B80DB3B9C77}"/>
                </a:ext>
              </a:extLst>
            </p:cNvPr>
            <p:cNvSpPr/>
            <p:nvPr/>
          </p:nvSpPr>
          <p:spPr>
            <a:xfrm>
              <a:off x="807231" y="1332404"/>
              <a:ext cx="4673754" cy="172049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0" i="1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+mn-cs"/>
                </a:rPr>
                <a:t>….is to be cost competitive and capital efficient, across our entire business value chain, maintaining a robust asset and volume base, diverse product mix using innovation and intelligence to quickly respond to market changes!</a:t>
              </a:r>
            </a:p>
          </p:txBody>
        </p:sp>
      </p:grpSp>
      <p:grpSp>
        <p:nvGrpSpPr>
          <p:cNvPr id="134" name="Group 133">
            <a:extLst>
              <a:ext uri="{FF2B5EF4-FFF2-40B4-BE49-F238E27FC236}">
                <a16:creationId xmlns:a16="http://schemas.microsoft.com/office/drawing/2014/main" id="{AA4D9FDA-72DE-4E4F-A1D7-89A6206E69E9}"/>
              </a:ext>
            </a:extLst>
          </p:cNvPr>
          <p:cNvGrpSpPr/>
          <p:nvPr/>
        </p:nvGrpSpPr>
        <p:grpSpPr>
          <a:xfrm flipH="1">
            <a:off x="11135073" y="-112589"/>
            <a:ext cx="1683530" cy="1509616"/>
            <a:chOff x="45719" y="255271"/>
            <a:chExt cx="1683530" cy="1509616"/>
          </a:xfrm>
        </p:grpSpPr>
        <p:grpSp>
          <p:nvGrpSpPr>
            <p:cNvPr id="135" name="Group 134">
              <a:extLst>
                <a:ext uri="{FF2B5EF4-FFF2-40B4-BE49-F238E27FC236}">
                  <a16:creationId xmlns:a16="http://schemas.microsoft.com/office/drawing/2014/main" id="{113D3CBB-5FD2-4415-8329-22884EFCA331}"/>
                </a:ext>
              </a:extLst>
            </p:cNvPr>
            <p:cNvGrpSpPr/>
            <p:nvPr/>
          </p:nvGrpSpPr>
          <p:grpSpPr>
            <a:xfrm rot="2700000">
              <a:off x="45719" y="484727"/>
              <a:ext cx="1280160" cy="1280160"/>
              <a:chOff x="2358572" y="1016001"/>
              <a:chExt cx="856342" cy="856342"/>
            </a:xfrm>
            <a:effectLst>
              <a:glow rad="152400">
                <a:schemeClr val="tx1">
                  <a:alpha val="10000"/>
                </a:schemeClr>
              </a:glow>
            </a:effectLst>
          </p:grpSpPr>
          <p:cxnSp>
            <p:nvCxnSpPr>
              <p:cNvPr id="142" name="Straight Connector 141">
                <a:extLst>
                  <a:ext uri="{FF2B5EF4-FFF2-40B4-BE49-F238E27FC236}">
                    <a16:creationId xmlns:a16="http://schemas.microsoft.com/office/drawing/2014/main" id="{CDD319CE-64F7-4C0A-874E-265526728516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3" name="Straight Connector 142">
                <a:extLst>
                  <a:ext uri="{FF2B5EF4-FFF2-40B4-BE49-F238E27FC236}">
                    <a16:creationId xmlns:a16="http://schemas.microsoft.com/office/drawing/2014/main" id="{0BC8AF19-F59E-4C10-B094-D5B88D0DBF69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6" name="Group 135">
              <a:extLst>
                <a:ext uri="{FF2B5EF4-FFF2-40B4-BE49-F238E27FC236}">
                  <a16:creationId xmlns:a16="http://schemas.microsoft.com/office/drawing/2014/main" id="{884201C8-5FED-4189-98A2-0D394ABEC035}"/>
                </a:ext>
              </a:extLst>
            </p:cNvPr>
            <p:cNvGrpSpPr/>
            <p:nvPr/>
          </p:nvGrpSpPr>
          <p:grpSpPr>
            <a:xfrm rot="2700000">
              <a:off x="814849" y="255271"/>
              <a:ext cx="914400" cy="914400"/>
              <a:chOff x="2358572" y="1016001"/>
              <a:chExt cx="856342" cy="856342"/>
            </a:xfrm>
            <a:effectLst/>
          </p:grpSpPr>
          <p:cxnSp>
            <p:nvCxnSpPr>
              <p:cNvPr id="140" name="Straight Connector 139">
                <a:extLst>
                  <a:ext uri="{FF2B5EF4-FFF2-40B4-BE49-F238E27FC236}">
                    <a16:creationId xmlns:a16="http://schemas.microsoft.com/office/drawing/2014/main" id="{522B28E4-977D-48EC-9A82-00C761A89142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41" name="Straight Connector 140">
                <a:extLst>
                  <a:ext uri="{FF2B5EF4-FFF2-40B4-BE49-F238E27FC236}">
                    <a16:creationId xmlns:a16="http://schemas.microsoft.com/office/drawing/2014/main" id="{2B87972D-D93C-4C5C-8BAA-92F394670CAC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254000">
                <a:solidFill>
                  <a:srgbClr val="8FD4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37" name="Group 136">
              <a:extLst>
                <a:ext uri="{FF2B5EF4-FFF2-40B4-BE49-F238E27FC236}">
                  <a16:creationId xmlns:a16="http://schemas.microsoft.com/office/drawing/2014/main" id="{2617ECD5-8EAA-4993-A287-89F196B3BD4A}"/>
                </a:ext>
              </a:extLst>
            </p:cNvPr>
            <p:cNvGrpSpPr/>
            <p:nvPr/>
          </p:nvGrpSpPr>
          <p:grpSpPr>
            <a:xfrm rot="2700000">
              <a:off x="751731" y="472912"/>
              <a:ext cx="457200" cy="457200"/>
              <a:chOff x="2358572" y="1016001"/>
              <a:chExt cx="856342" cy="856342"/>
            </a:xfr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cxnSp>
            <p:nvCxnSpPr>
              <p:cNvPr id="138" name="Straight Connector 137">
                <a:extLst>
                  <a:ext uri="{FF2B5EF4-FFF2-40B4-BE49-F238E27FC236}">
                    <a16:creationId xmlns:a16="http://schemas.microsoft.com/office/drawing/2014/main" id="{6FC632F0-80A3-4AB5-AA9F-EAC62C7E511B}"/>
                  </a:ext>
                </a:extLst>
              </p:cNvPr>
              <p:cNvCxnSpPr/>
              <p:nvPr/>
            </p:nvCxnSpPr>
            <p:spPr>
              <a:xfrm flipH="1">
                <a:off x="2786743" y="1016001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9" name="Straight Connector 138">
                <a:extLst>
                  <a:ext uri="{FF2B5EF4-FFF2-40B4-BE49-F238E27FC236}">
                    <a16:creationId xmlns:a16="http://schemas.microsoft.com/office/drawing/2014/main" id="{F59736F8-A90E-4C01-A426-ECE269A0C2F2}"/>
                  </a:ext>
                </a:extLst>
              </p:cNvPr>
              <p:cNvCxnSpPr/>
              <p:nvPr/>
            </p:nvCxnSpPr>
            <p:spPr>
              <a:xfrm rot="5400000" flipH="1">
                <a:off x="2786743" y="986972"/>
                <a:ext cx="0" cy="856342"/>
              </a:xfrm>
              <a:prstGeom prst="line">
                <a:avLst/>
              </a:prstGeom>
              <a:ln w="111125">
                <a:solidFill>
                  <a:srgbClr val="212F3F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42" name="Graphic 41" descr="Business Growth">
            <a:extLst>
              <a:ext uri="{FF2B5EF4-FFF2-40B4-BE49-F238E27FC236}">
                <a16:creationId xmlns:a16="http://schemas.microsoft.com/office/drawing/2014/main" id="{E5E80FC7-35D9-44B3-AD9C-5E20774D6F08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060585" y="3670018"/>
            <a:ext cx="897411" cy="897411"/>
          </a:xfrm>
          <a:prstGeom prst="rect">
            <a:avLst/>
          </a:prstGeom>
        </p:spPr>
      </p:pic>
      <p:pic>
        <p:nvPicPr>
          <p:cNvPr id="43" name="Graphic 42" descr="Excavator">
            <a:extLst>
              <a:ext uri="{FF2B5EF4-FFF2-40B4-BE49-F238E27FC236}">
                <a16:creationId xmlns:a16="http://schemas.microsoft.com/office/drawing/2014/main" id="{C4A83CDC-244A-4F8B-BC00-F78E472A5DA7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6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5336" y="3698638"/>
            <a:ext cx="1014033" cy="1014033"/>
          </a:xfrm>
          <a:prstGeom prst="rect">
            <a:avLst/>
          </a:prstGeom>
        </p:spPr>
      </p:pic>
      <p:pic>
        <p:nvPicPr>
          <p:cNvPr id="44" name="Graphic 43" descr="Pie chart">
            <a:extLst>
              <a:ext uri="{FF2B5EF4-FFF2-40B4-BE49-F238E27FC236}">
                <a16:creationId xmlns:a16="http://schemas.microsoft.com/office/drawing/2014/main" id="{D1E3E349-7E51-4F49-B625-C01403C87CFA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29859" y="4775931"/>
            <a:ext cx="936794" cy="936794"/>
          </a:xfrm>
          <a:prstGeom prst="rect">
            <a:avLst/>
          </a:prstGeom>
        </p:spPr>
      </p:pic>
      <p:pic>
        <p:nvPicPr>
          <p:cNvPr id="45" name="Graphic 44" descr="Plant">
            <a:extLst>
              <a:ext uri="{FF2B5EF4-FFF2-40B4-BE49-F238E27FC236}">
                <a16:creationId xmlns:a16="http://schemas.microsoft.com/office/drawing/2014/main" id="{DE7F091F-2D53-410F-BE9A-AB574393418D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422268" y="4803662"/>
            <a:ext cx="881333" cy="881333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F92E9B53-DAC4-4409-9612-7C05BB3E565D}"/>
              </a:ext>
            </a:extLst>
          </p:cNvPr>
          <p:cNvSpPr txBox="1"/>
          <p:nvPr/>
        </p:nvSpPr>
        <p:spPr>
          <a:xfrm>
            <a:off x="2957996" y="3568840"/>
            <a:ext cx="57713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obust Assets and Volumes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pumalanga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G Operations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rowth Project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3794D09-E1FD-4189-B53F-983F39A564F6}"/>
              </a:ext>
            </a:extLst>
          </p:cNvPr>
          <p:cNvSpPr txBox="1"/>
          <p:nvPr/>
        </p:nvSpPr>
        <p:spPr>
          <a:xfrm>
            <a:off x="6366498" y="5012808"/>
            <a:ext cx="585134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R/t and Productivity Improvement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Digital@Exxaro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5FA0BB">
                  <a:lumMod val="50000"/>
                </a:srgbClr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+mn-cs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Operational Excell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4199FDF1-9F91-4406-959C-A2CD990E324A}"/>
              </a:ext>
            </a:extLst>
          </p:cNvPr>
          <p:cNvSpPr txBox="1"/>
          <p:nvPr/>
        </p:nvSpPr>
        <p:spPr>
          <a:xfrm>
            <a:off x="2217934" y="4874627"/>
            <a:ext cx="6408668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Product Mix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arket to Resource (M2R)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Market Intelligence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9084037-AABF-4860-9DF7-B2303F5492FF}"/>
              </a:ext>
            </a:extLst>
          </p:cNvPr>
          <p:cNvSpPr txBox="1"/>
          <p:nvPr/>
        </p:nvSpPr>
        <p:spPr>
          <a:xfrm>
            <a:off x="1473022" y="6099987"/>
            <a:ext cx="64086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Quick “Market to Resource” respons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8CD6BAC7-B5C2-464F-9B14-AA65B2B5878D}"/>
              </a:ext>
            </a:extLst>
          </p:cNvPr>
          <p:cNvSpPr txBox="1"/>
          <p:nvPr/>
        </p:nvSpPr>
        <p:spPr>
          <a:xfrm>
            <a:off x="7719560" y="3720026"/>
            <a:ext cx="478824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Capital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SIB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FA0BB">
                    <a:lumMod val="50000"/>
                  </a:srgbClr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rPr>
              <a:t>Growth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3A2B26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1" name="Graphic 50" descr="Gauge">
            <a:extLst>
              <a:ext uri="{FF2B5EF4-FFF2-40B4-BE49-F238E27FC236}">
                <a16:creationId xmlns:a16="http://schemas.microsoft.com/office/drawing/2014/main" id="{F953D7E3-97AF-4AAC-B8C6-F4F8A27C69D1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88106" y="5755710"/>
            <a:ext cx="823766" cy="8237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99019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638281-49FE-4E70-896A-0B7DB9A1EB13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5671"/>
          <a:stretch/>
        </p:blipFill>
        <p:spPr>
          <a:xfrm>
            <a:off x="0" y="0"/>
            <a:ext cx="12192000" cy="6856794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0" y="0"/>
            <a:ext cx="12191999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grpSp>
        <p:nvGrpSpPr>
          <p:cNvPr id="271" name="Group 270">
            <a:extLst>
              <a:ext uri="{FF2B5EF4-FFF2-40B4-BE49-F238E27FC236}">
                <a16:creationId xmlns:a16="http://schemas.microsoft.com/office/drawing/2014/main" id="{61673A7A-9AFE-44EB-B6EF-452BE3417BC4}"/>
              </a:ext>
            </a:extLst>
          </p:cNvPr>
          <p:cNvGrpSpPr/>
          <p:nvPr/>
        </p:nvGrpSpPr>
        <p:grpSpPr>
          <a:xfrm>
            <a:off x="893602" y="1088908"/>
            <a:ext cx="10463002" cy="5592571"/>
            <a:chOff x="1917700" y="1718183"/>
            <a:chExt cx="8280400" cy="4425950"/>
          </a:xfrm>
          <a:solidFill>
            <a:schemeClr val="bg1">
              <a:alpha val="73000"/>
            </a:schemeClr>
          </a:solidFill>
        </p:grpSpPr>
        <p:grpSp>
          <p:nvGrpSpPr>
            <p:cNvPr id="272" name="Group 271">
              <a:extLst>
                <a:ext uri="{FF2B5EF4-FFF2-40B4-BE49-F238E27FC236}">
                  <a16:creationId xmlns:a16="http://schemas.microsoft.com/office/drawing/2014/main" id="{A9056087-E74D-4C55-AAA0-05327F48E55A}"/>
                </a:ext>
              </a:extLst>
            </p:cNvPr>
            <p:cNvGrpSpPr/>
            <p:nvPr/>
          </p:nvGrpSpPr>
          <p:grpSpPr>
            <a:xfrm>
              <a:off x="1917700" y="1718183"/>
              <a:ext cx="8280400" cy="4425950"/>
              <a:chOff x="393700" y="1781243"/>
              <a:chExt cx="8280400" cy="4425950"/>
            </a:xfrm>
            <a:grpFill/>
          </p:grpSpPr>
          <p:sp>
            <p:nvSpPr>
              <p:cNvPr id="274" name="Freeform 13">
                <a:extLst>
                  <a:ext uri="{FF2B5EF4-FFF2-40B4-BE49-F238E27FC236}">
                    <a16:creationId xmlns:a16="http://schemas.microsoft.com/office/drawing/2014/main" id="{588088B3-B4E9-4D4B-9088-6AB0466AA51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5525" y="1866968"/>
                <a:ext cx="3838575" cy="1520825"/>
              </a:xfrm>
              <a:custGeom>
                <a:avLst/>
                <a:gdLst>
                  <a:gd name="T0" fmla="*/ 946 w 2418"/>
                  <a:gd name="T1" fmla="*/ 206 h 958"/>
                  <a:gd name="T2" fmla="*/ 1986 w 2418"/>
                  <a:gd name="T3" fmla="*/ 336 h 958"/>
                  <a:gd name="T4" fmla="*/ 1570 w 2418"/>
                  <a:gd name="T5" fmla="*/ 302 h 958"/>
                  <a:gd name="T6" fmla="*/ 1320 w 2418"/>
                  <a:gd name="T7" fmla="*/ 174 h 958"/>
                  <a:gd name="T8" fmla="*/ 860 w 2418"/>
                  <a:gd name="T9" fmla="*/ 248 h 958"/>
                  <a:gd name="T10" fmla="*/ 822 w 2418"/>
                  <a:gd name="T11" fmla="*/ 350 h 958"/>
                  <a:gd name="T12" fmla="*/ 692 w 2418"/>
                  <a:gd name="T13" fmla="*/ 356 h 958"/>
                  <a:gd name="T14" fmla="*/ 344 w 2418"/>
                  <a:gd name="T15" fmla="*/ 422 h 958"/>
                  <a:gd name="T16" fmla="*/ 204 w 2418"/>
                  <a:gd name="T17" fmla="*/ 342 h 958"/>
                  <a:gd name="T18" fmla="*/ 114 w 2418"/>
                  <a:gd name="T19" fmla="*/ 632 h 958"/>
                  <a:gd name="T20" fmla="*/ 302 w 2418"/>
                  <a:gd name="T21" fmla="*/ 920 h 958"/>
                  <a:gd name="T22" fmla="*/ 536 w 2418"/>
                  <a:gd name="T23" fmla="*/ 764 h 958"/>
                  <a:gd name="T24" fmla="*/ 886 w 2418"/>
                  <a:gd name="T25" fmla="*/ 770 h 958"/>
                  <a:gd name="T26" fmla="*/ 1412 w 2418"/>
                  <a:gd name="T27" fmla="*/ 764 h 958"/>
                  <a:gd name="T28" fmla="*/ 1672 w 2418"/>
                  <a:gd name="T29" fmla="*/ 856 h 958"/>
                  <a:gd name="T30" fmla="*/ 1814 w 2418"/>
                  <a:gd name="T31" fmla="*/ 584 h 958"/>
                  <a:gd name="T32" fmla="*/ 1982 w 2418"/>
                  <a:gd name="T33" fmla="*/ 584 h 958"/>
                  <a:gd name="T34" fmla="*/ 2052 w 2418"/>
                  <a:gd name="T35" fmla="*/ 574 h 958"/>
                  <a:gd name="T36" fmla="*/ 2326 w 2418"/>
                  <a:gd name="T37" fmla="*/ 456 h 958"/>
                  <a:gd name="T38" fmla="*/ 2284 w 2418"/>
                  <a:gd name="T39" fmla="*/ 296 h 958"/>
                  <a:gd name="T40" fmla="*/ 1466 w 2418"/>
                  <a:gd name="T41" fmla="*/ 248 h 958"/>
                  <a:gd name="T42" fmla="*/ 1530 w 2418"/>
                  <a:gd name="T43" fmla="*/ 260 h 958"/>
                  <a:gd name="T44" fmla="*/ 4 w 2418"/>
                  <a:gd name="T45" fmla="*/ 682 h 958"/>
                  <a:gd name="T46" fmla="*/ 536 w 2418"/>
                  <a:gd name="T47" fmla="*/ 16 h 958"/>
                  <a:gd name="T48" fmla="*/ 536 w 2418"/>
                  <a:gd name="T49" fmla="*/ 26 h 958"/>
                  <a:gd name="T50" fmla="*/ 524 w 2418"/>
                  <a:gd name="T51" fmla="*/ 32 h 958"/>
                  <a:gd name="T52" fmla="*/ 512 w 2418"/>
                  <a:gd name="T53" fmla="*/ 42 h 958"/>
                  <a:gd name="T54" fmla="*/ 442 w 2418"/>
                  <a:gd name="T55" fmla="*/ 54 h 958"/>
                  <a:gd name="T56" fmla="*/ 1710 w 2418"/>
                  <a:gd name="T57" fmla="*/ 174 h 958"/>
                  <a:gd name="T58" fmla="*/ 800 w 2418"/>
                  <a:gd name="T59" fmla="*/ 242 h 958"/>
                  <a:gd name="T60" fmla="*/ 1516 w 2418"/>
                  <a:gd name="T61" fmla="*/ 270 h 958"/>
                  <a:gd name="T62" fmla="*/ 710 w 2418"/>
                  <a:gd name="T63" fmla="*/ 406 h 958"/>
                  <a:gd name="T64" fmla="*/ 546 w 2418"/>
                  <a:gd name="T65" fmla="*/ 12 h 958"/>
                  <a:gd name="T66" fmla="*/ 1034 w 2418"/>
                  <a:gd name="T67" fmla="*/ 38 h 958"/>
                  <a:gd name="T68" fmla="*/ 604 w 2418"/>
                  <a:gd name="T69" fmla="*/ 26 h 958"/>
                  <a:gd name="T70" fmla="*/ 454 w 2418"/>
                  <a:gd name="T71" fmla="*/ 32 h 958"/>
                  <a:gd name="T72" fmla="*/ 362 w 2418"/>
                  <a:gd name="T73" fmla="*/ 38 h 958"/>
                  <a:gd name="T74" fmla="*/ 512 w 2418"/>
                  <a:gd name="T75" fmla="*/ 48 h 958"/>
                  <a:gd name="T76" fmla="*/ 1104 w 2418"/>
                  <a:gd name="T77" fmla="*/ 86 h 958"/>
                  <a:gd name="T78" fmla="*/ 806 w 2418"/>
                  <a:gd name="T79" fmla="*/ 70 h 958"/>
                  <a:gd name="T80" fmla="*/ 1174 w 2418"/>
                  <a:gd name="T81" fmla="*/ 86 h 958"/>
                  <a:gd name="T82" fmla="*/ 1240 w 2418"/>
                  <a:gd name="T83" fmla="*/ 128 h 958"/>
                  <a:gd name="T84" fmla="*/ 664 w 2418"/>
                  <a:gd name="T85" fmla="*/ 140 h 958"/>
                  <a:gd name="T86" fmla="*/ 546 w 2418"/>
                  <a:gd name="T87" fmla="*/ 216 h 958"/>
                  <a:gd name="T88" fmla="*/ 508 w 2418"/>
                  <a:gd name="T89" fmla="*/ 216 h 958"/>
                  <a:gd name="T90" fmla="*/ 1104 w 2418"/>
                  <a:gd name="T91" fmla="*/ 146 h 958"/>
                  <a:gd name="T92" fmla="*/ 1078 w 2418"/>
                  <a:gd name="T93" fmla="*/ 162 h 958"/>
                  <a:gd name="T94" fmla="*/ 1672 w 2418"/>
                  <a:gd name="T95" fmla="*/ 168 h 958"/>
                  <a:gd name="T96" fmla="*/ 1748 w 2418"/>
                  <a:gd name="T97" fmla="*/ 194 h 958"/>
                  <a:gd name="T98" fmla="*/ 1808 w 2418"/>
                  <a:gd name="T99" fmla="*/ 180 h 958"/>
                  <a:gd name="T100" fmla="*/ 952 w 2418"/>
                  <a:gd name="T101" fmla="*/ 194 h 958"/>
                  <a:gd name="T102" fmla="*/ 1716 w 2418"/>
                  <a:gd name="T103" fmla="*/ 216 h 958"/>
                  <a:gd name="T104" fmla="*/ 1728 w 2418"/>
                  <a:gd name="T105" fmla="*/ 238 h 958"/>
                  <a:gd name="T106" fmla="*/ 464 w 2418"/>
                  <a:gd name="T107" fmla="*/ 288 h 958"/>
                  <a:gd name="T108" fmla="*/ 502 w 2418"/>
                  <a:gd name="T109" fmla="*/ 276 h 958"/>
                  <a:gd name="T110" fmla="*/ 838 w 2418"/>
                  <a:gd name="T111" fmla="*/ 248 h 958"/>
                  <a:gd name="T112" fmla="*/ 2008 w 2418"/>
                  <a:gd name="T113" fmla="*/ 308 h 958"/>
                  <a:gd name="T114" fmla="*/ 2004 w 2418"/>
                  <a:gd name="T115" fmla="*/ 342 h 958"/>
                  <a:gd name="T116" fmla="*/ 324 w 2418"/>
                  <a:gd name="T117" fmla="*/ 406 h 958"/>
                  <a:gd name="T118" fmla="*/ 1662 w 2418"/>
                  <a:gd name="T119" fmla="*/ 682 h 958"/>
                  <a:gd name="T120" fmla="*/ 1736 w 2418"/>
                  <a:gd name="T121" fmla="*/ 704 h 958"/>
                  <a:gd name="T122" fmla="*/ 1754 w 2418"/>
                  <a:gd name="T123" fmla="*/ 850 h 958"/>
                  <a:gd name="T124" fmla="*/ 1842 w 2418"/>
                  <a:gd name="T125" fmla="*/ 866 h 9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418" h="958">
                    <a:moveTo>
                      <a:pt x="758" y="710"/>
                    </a:moveTo>
                    <a:lnTo>
                      <a:pt x="764" y="710"/>
                    </a:lnTo>
                    <a:lnTo>
                      <a:pt x="766" y="704"/>
                    </a:lnTo>
                    <a:lnTo>
                      <a:pt x="758" y="704"/>
                    </a:lnTo>
                    <a:lnTo>
                      <a:pt x="758" y="710"/>
                    </a:lnTo>
                    <a:lnTo>
                      <a:pt x="758" y="710"/>
                    </a:lnTo>
                    <a:lnTo>
                      <a:pt x="758" y="710"/>
                    </a:lnTo>
                    <a:close/>
                    <a:moveTo>
                      <a:pt x="1682" y="698"/>
                    </a:moveTo>
                    <a:lnTo>
                      <a:pt x="1678" y="704"/>
                    </a:lnTo>
                    <a:lnTo>
                      <a:pt x="1682" y="704"/>
                    </a:lnTo>
                    <a:lnTo>
                      <a:pt x="1682" y="698"/>
                    </a:lnTo>
                    <a:lnTo>
                      <a:pt x="1682" y="698"/>
                    </a:lnTo>
                    <a:lnTo>
                      <a:pt x="1682" y="698"/>
                    </a:lnTo>
                    <a:close/>
                    <a:moveTo>
                      <a:pt x="242" y="878"/>
                    </a:moveTo>
                    <a:lnTo>
                      <a:pt x="242" y="884"/>
                    </a:lnTo>
                    <a:lnTo>
                      <a:pt x="248" y="884"/>
                    </a:lnTo>
                    <a:lnTo>
                      <a:pt x="248" y="878"/>
                    </a:lnTo>
                    <a:lnTo>
                      <a:pt x="242" y="878"/>
                    </a:lnTo>
                    <a:lnTo>
                      <a:pt x="242" y="878"/>
                    </a:lnTo>
                    <a:lnTo>
                      <a:pt x="242" y="878"/>
                    </a:lnTo>
                    <a:close/>
                    <a:moveTo>
                      <a:pt x="122" y="548"/>
                    </a:moveTo>
                    <a:lnTo>
                      <a:pt x="118" y="548"/>
                    </a:lnTo>
                    <a:lnTo>
                      <a:pt x="118" y="552"/>
                    </a:lnTo>
                    <a:lnTo>
                      <a:pt x="122" y="552"/>
                    </a:lnTo>
                    <a:lnTo>
                      <a:pt x="122" y="548"/>
                    </a:lnTo>
                    <a:lnTo>
                      <a:pt x="122" y="548"/>
                    </a:lnTo>
                    <a:lnTo>
                      <a:pt x="122" y="548"/>
                    </a:lnTo>
                    <a:close/>
                    <a:moveTo>
                      <a:pt x="492" y="774"/>
                    </a:moveTo>
                    <a:lnTo>
                      <a:pt x="496" y="770"/>
                    </a:lnTo>
                    <a:lnTo>
                      <a:pt x="492" y="770"/>
                    </a:lnTo>
                    <a:lnTo>
                      <a:pt x="492" y="774"/>
                    </a:lnTo>
                    <a:lnTo>
                      <a:pt x="492" y="774"/>
                    </a:lnTo>
                    <a:lnTo>
                      <a:pt x="492" y="774"/>
                    </a:lnTo>
                    <a:close/>
                    <a:moveTo>
                      <a:pt x="1554" y="276"/>
                    </a:moveTo>
                    <a:lnTo>
                      <a:pt x="1548" y="276"/>
                    </a:lnTo>
                    <a:lnTo>
                      <a:pt x="1548" y="282"/>
                    </a:lnTo>
                    <a:lnTo>
                      <a:pt x="1554" y="282"/>
                    </a:lnTo>
                    <a:lnTo>
                      <a:pt x="1554" y="276"/>
                    </a:lnTo>
                    <a:lnTo>
                      <a:pt x="1554" y="276"/>
                    </a:lnTo>
                    <a:lnTo>
                      <a:pt x="1554" y="276"/>
                    </a:lnTo>
                    <a:close/>
                    <a:moveTo>
                      <a:pt x="176" y="324"/>
                    </a:moveTo>
                    <a:lnTo>
                      <a:pt x="172" y="324"/>
                    </a:lnTo>
                    <a:lnTo>
                      <a:pt x="172" y="330"/>
                    </a:lnTo>
                    <a:lnTo>
                      <a:pt x="176" y="330"/>
                    </a:lnTo>
                    <a:lnTo>
                      <a:pt x="176" y="324"/>
                    </a:lnTo>
                    <a:lnTo>
                      <a:pt x="176" y="324"/>
                    </a:lnTo>
                    <a:lnTo>
                      <a:pt x="176" y="324"/>
                    </a:lnTo>
                    <a:close/>
                    <a:moveTo>
                      <a:pt x="1982" y="542"/>
                    </a:moveTo>
                    <a:lnTo>
                      <a:pt x="1982" y="548"/>
                    </a:lnTo>
                    <a:lnTo>
                      <a:pt x="1986" y="548"/>
                    </a:lnTo>
                    <a:lnTo>
                      <a:pt x="1986" y="542"/>
                    </a:lnTo>
                    <a:lnTo>
                      <a:pt x="1982" y="542"/>
                    </a:lnTo>
                    <a:lnTo>
                      <a:pt x="1982" y="542"/>
                    </a:lnTo>
                    <a:lnTo>
                      <a:pt x="1982" y="542"/>
                    </a:lnTo>
                    <a:close/>
                    <a:moveTo>
                      <a:pt x="1672" y="698"/>
                    </a:moveTo>
                    <a:lnTo>
                      <a:pt x="1662" y="698"/>
                    </a:lnTo>
                    <a:lnTo>
                      <a:pt x="1662" y="704"/>
                    </a:lnTo>
                    <a:lnTo>
                      <a:pt x="1672" y="704"/>
                    </a:lnTo>
                    <a:lnTo>
                      <a:pt x="1672" y="698"/>
                    </a:lnTo>
                    <a:lnTo>
                      <a:pt x="1672" y="698"/>
                    </a:lnTo>
                    <a:lnTo>
                      <a:pt x="1672" y="698"/>
                    </a:lnTo>
                    <a:close/>
                    <a:moveTo>
                      <a:pt x="596" y="710"/>
                    </a:moveTo>
                    <a:lnTo>
                      <a:pt x="596" y="704"/>
                    </a:lnTo>
                    <a:lnTo>
                      <a:pt x="590" y="704"/>
                    </a:lnTo>
                    <a:lnTo>
                      <a:pt x="590" y="710"/>
                    </a:lnTo>
                    <a:lnTo>
                      <a:pt x="596" y="710"/>
                    </a:lnTo>
                    <a:lnTo>
                      <a:pt x="596" y="710"/>
                    </a:lnTo>
                    <a:lnTo>
                      <a:pt x="596" y="710"/>
                    </a:lnTo>
                    <a:close/>
                    <a:moveTo>
                      <a:pt x="936" y="216"/>
                    </a:moveTo>
                    <a:lnTo>
                      <a:pt x="940" y="216"/>
                    </a:lnTo>
                    <a:lnTo>
                      <a:pt x="940" y="210"/>
                    </a:lnTo>
                    <a:lnTo>
                      <a:pt x="936" y="210"/>
                    </a:lnTo>
                    <a:lnTo>
                      <a:pt x="936" y="216"/>
                    </a:lnTo>
                    <a:lnTo>
                      <a:pt x="936" y="216"/>
                    </a:lnTo>
                    <a:lnTo>
                      <a:pt x="936" y="216"/>
                    </a:lnTo>
                    <a:close/>
                    <a:moveTo>
                      <a:pt x="336" y="356"/>
                    </a:moveTo>
                    <a:lnTo>
                      <a:pt x="336" y="362"/>
                    </a:lnTo>
                    <a:lnTo>
                      <a:pt x="340" y="362"/>
                    </a:lnTo>
                    <a:lnTo>
                      <a:pt x="340" y="356"/>
                    </a:lnTo>
                    <a:lnTo>
                      <a:pt x="336" y="356"/>
                    </a:lnTo>
                    <a:lnTo>
                      <a:pt x="336" y="356"/>
                    </a:lnTo>
                    <a:lnTo>
                      <a:pt x="336" y="356"/>
                    </a:lnTo>
                    <a:close/>
                    <a:moveTo>
                      <a:pt x="940" y="200"/>
                    </a:moveTo>
                    <a:lnTo>
                      <a:pt x="940" y="206"/>
                    </a:lnTo>
                    <a:lnTo>
                      <a:pt x="946" y="206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200"/>
                    </a:lnTo>
                    <a:lnTo>
                      <a:pt x="940" y="200"/>
                    </a:lnTo>
                    <a:close/>
                    <a:moveTo>
                      <a:pt x="2338" y="390"/>
                    </a:moveTo>
                    <a:lnTo>
                      <a:pt x="2338" y="396"/>
                    </a:lnTo>
                    <a:lnTo>
                      <a:pt x="2344" y="396"/>
                    </a:lnTo>
                    <a:lnTo>
                      <a:pt x="2338" y="390"/>
                    </a:lnTo>
                    <a:lnTo>
                      <a:pt x="2338" y="390"/>
                    </a:lnTo>
                    <a:lnTo>
                      <a:pt x="2338" y="390"/>
                    </a:lnTo>
                    <a:close/>
                    <a:moveTo>
                      <a:pt x="2398" y="410"/>
                    </a:moveTo>
                    <a:lnTo>
                      <a:pt x="2392" y="410"/>
                    </a:lnTo>
                    <a:lnTo>
                      <a:pt x="2392" y="406"/>
                    </a:lnTo>
                    <a:lnTo>
                      <a:pt x="2380" y="406"/>
                    </a:lnTo>
                    <a:lnTo>
                      <a:pt x="2380" y="402"/>
                    </a:lnTo>
                    <a:lnTo>
                      <a:pt x="2378" y="402"/>
                    </a:lnTo>
                    <a:lnTo>
                      <a:pt x="2372" y="406"/>
                    </a:lnTo>
                    <a:lnTo>
                      <a:pt x="2360" y="406"/>
                    </a:lnTo>
                    <a:lnTo>
                      <a:pt x="2360" y="396"/>
                    </a:lnTo>
                    <a:lnTo>
                      <a:pt x="2344" y="396"/>
                    </a:lnTo>
                    <a:lnTo>
                      <a:pt x="2344" y="402"/>
                    </a:lnTo>
                    <a:lnTo>
                      <a:pt x="2350" y="402"/>
                    </a:lnTo>
                    <a:lnTo>
                      <a:pt x="2354" y="406"/>
                    </a:lnTo>
                    <a:lnTo>
                      <a:pt x="2350" y="406"/>
                    </a:lnTo>
                    <a:lnTo>
                      <a:pt x="2350" y="416"/>
                    </a:lnTo>
                    <a:lnTo>
                      <a:pt x="2344" y="416"/>
                    </a:lnTo>
                    <a:lnTo>
                      <a:pt x="2344" y="410"/>
                    </a:lnTo>
                    <a:lnTo>
                      <a:pt x="2338" y="410"/>
                    </a:lnTo>
                    <a:lnTo>
                      <a:pt x="2338" y="406"/>
                    </a:lnTo>
                    <a:lnTo>
                      <a:pt x="2344" y="406"/>
                    </a:lnTo>
                    <a:lnTo>
                      <a:pt x="2344" y="402"/>
                    </a:lnTo>
                    <a:lnTo>
                      <a:pt x="2338" y="402"/>
                    </a:lnTo>
                    <a:lnTo>
                      <a:pt x="2338" y="396"/>
                    </a:lnTo>
                    <a:lnTo>
                      <a:pt x="2332" y="396"/>
                    </a:lnTo>
                    <a:lnTo>
                      <a:pt x="2332" y="384"/>
                    </a:lnTo>
                    <a:lnTo>
                      <a:pt x="2324" y="378"/>
                    </a:lnTo>
                    <a:lnTo>
                      <a:pt x="2318" y="378"/>
                    </a:lnTo>
                    <a:lnTo>
                      <a:pt x="2318" y="374"/>
                    </a:lnTo>
                    <a:lnTo>
                      <a:pt x="2306" y="374"/>
                    </a:lnTo>
                    <a:lnTo>
                      <a:pt x="2306" y="368"/>
                    </a:lnTo>
                    <a:lnTo>
                      <a:pt x="2296" y="368"/>
                    </a:lnTo>
                    <a:lnTo>
                      <a:pt x="2296" y="362"/>
                    </a:lnTo>
                    <a:lnTo>
                      <a:pt x="2284" y="362"/>
                    </a:lnTo>
                    <a:lnTo>
                      <a:pt x="2284" y="356"/>
                    </a:lnTo>
                    <a:lnTo>
                      <a:pt x="2272" y="356"/>
                    </a:lnTo>
                    <a:lnTo>
                      <a:pt x="2272" y="350"/>
                    </a:lnTo>
                    <a:lnTo>
                      <a:pt x="2268" y="350"/>
                    </a:lnTo>
                    <a:lnTo>
                      <a:pt x="2264" y="348"/>
                    </a:lnTo>
                    <a:lnTo>
                      <a:pt x="2258" y="348"/>
                    </a:lnTo>
                    <a:lnTo>
                      <a:pt x="2252" y="342"/>
                    </a:lnTo>
                    <a:lnTo>
                      <a:pt x="2252" y="348"/>
                    </a:lnTo>
                    <a:lnTo>
                      <a:pt x="2246" y="348"/>
                    </a:lnTo>
                    <a:lnTo>
                      <a:pt x="2246" y="342"/>
                    </a:lnTo>
                    <a:lnTo>
                      <a:pt x="2240" y="342"/>
                    </a:lnTo>
                    <a:lnTo>
                      <a:pt x="2236" y="336"/>
                    </a:lnTo>
                    <a:lnTo>
                      <a:pt x="2214" y="336"/>
                    </a:lnTo>
                    <a:lnTo>
                      <a:pt x="2214" y="330"/>
                    </a:lnTo>
                    <a:lnTo>
                      <a:pt x="2176" y="330"/>
                    </a:lnTo>
                    <a:lnTo>
                      <a:pt x="2176" y="324"/>
                    </a:lnTo>
                    <a:lnTo>
                      <a:pt x="2170" y="324"/>
                    </a:lnTo>
                    <a:lnTo>
                      <a:pt x="2170" y="330"/>
                    </a:lnTo>
                    <a:lnTo>
                      <a:pt x="2164" y="330"/>
                    </a:lnTo>
                    <a:lnTo>
                      <a:pt x="2164" y="324"/>
                    </a:lnTo>
                    <a:lnTo>
                      <a:pt x="2144" y="324"/>
                    </a:lnTo>
                    <a:lnTo>
                      <a:pt x="2144" y="320"/>
                    </a:lnTo>
                    <a:lnTo>
                      <a:pt x="2132" y="320"/>
                    </a:lnTo>
                    <a:lnTo>
                      <a:pt x="2132" y="336"/>
                    </a:lnTo>
                    <a:lnTo>
                      <a:pt x="2138" y="336"/>
                    </a:lnTo>
                    <a:lnTo>
                      <a:pt x="2138" y="350"/>
                    </a:lnTo>
                    <a:lnTo>
                      <a:pt x="2132" y="350"/>
                    </a:lnTo>
                    <a:lnTo>
                      <a:pt x="2132" y="356"/>
                    </a:lnTo>
                    <a:lnTo>
                      <a:pt x="2116" y="356"/>
                    </a:lnTo>
                    <a:lnTo>
                      <a:pt x="2116" y="348"/>
                    </a:lnTo>
                    <a:lnTo>
                      <a:pt x="2100" y="348"/>
                    </a:lnTo>
                    <a:lnTo>
                      <a:pt x="2100" y="336"/>
                    </a:lnTo>
                    <a:lnTo>
                      <a:pt x="2008" y="336"/>
                    </a:lnTo>
                    <a:lnTo>
                      <a:pt x="2008" y="356"/>
                    </a:lnTo>
                    <a:lnTo>
                      <a:pt x="2004" y="356"/>
                    </a:lnTo>
                    <a:lnTo>
                      <a:pt x="2004" y="362"/>
                    </a:lnTo>
                    <a:lnTo>
                      <a:pt x="1998" y="362"/>
                    </a:lnTo>
                    <a:lnTo>
                      <a:pt x="2004" y="356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36"/>
                    </a:lnTo>
                    <a:lnTo>
                      <a:pt x="1986" y="336"/>
                    </a:lnTo>
                    <a:lnTo>
                      <a:pt x="1982" y="330"/>
                    </a:lnTo>
                    <a:lnTo>
                      <a:pt x="1982" y="324"/>
                    </a:lnTo>
                    <a:lnTo>
                      <a:pt x="1986" y="320"/>
                    </a:lnTo>
                    <a:lnTo>
                      <a:pt x="1986" y="308"/>
                    </a:lnTo>
                    <a:lnTo>
                      <a:pt x="1976" y="308"/>
                    </a:lnTo>
                    <a:lnTo>
                      <a:pt x="1970" y="302"/>
                    </a:lnTo>
                    <a:lnTo>
                      <a:pt x="1964" y="302"/>
                    </a:lnTo>
                    <a:lnTo>
                      <a:pt x="1958" y="296"/>
                    </a:lnTo>
                    <a:lnTo>
                      <a:pt x="1898" y="296"/>
                    </a:lnTo>
                    <a:lnTo>
                      <a:pt x="1898" y="302"/>
                    </a:lnTo>
                    <a:lnTo>
                      <a:pt x="1872" y="302"/>
                    </a:lnTo>
                    <a:lnTo>
                      <a:pt x="1872" y="296"/>
                    </a:lnTo>
                    <a:lnTo>
                      <a:pt x="1868" y="296"/>
                    </a:lnTo>
                    <a:lnTo>
                      <a:pt x="1868" y="292"/>
                    </a:lnTo>
                    <a:lnTo>
                      <a:pt x="1862" y="292"/>
                    </a:lnTo>
                    <a:lnTo>
                      <a:pt x="1856" y="288"/>
                    </a:lnTo>
                    <a:lnTo>
                      <a:pt x="1850" y="292"/>
                    </a:lnTo>
                    <a:lnTo>
                      <a:pt x="1850" y="288"/>
                    </a:lnTo>
                    <a:lnTo>
                      <a:pt x="1836" y="288"/>
                    </a:lnTo>
                    <a:lnTo>
                      <a:pt x="1836" y="282"/>
                    </a:lnTo>
                    <a:lnTo>
                      <a:pt x="1830" y="282"/>
                    </a:lnTo>
                    <a:lnTo>
                      <a:pt x="1830" y="276"/>
                    </a:lnTo>
                    <a:lnTo>
                      <a:pt x="1836" y="276"/>
                    </a:lnTo>
                    <a:lnTo>
                      <a:pt x="1842" y="282"/>
                    </a:lnTo>
                    <a:lnTo>
                      <a:pt x="1842" y="270"/>
                    </a:lnTo>
                    <a:lnTo>
                      <a:pt x="1830" y="270"/>
                    </a:lnTo>
                    <a:lnTo>
                      <a:pt x="1830" y="266"/>
                    </a:lnTo>
                    <a:lnTo>
                      <a:pt x="1802" y="266"/>
                    </a:lnTo>
                    <a:lnTo>
                      <a:pt x="1796" y="270"/>
                    </a:lnTo>
                    <a:lnTo>
                      <a:pt x="1786" y="282"/>
                    </a:lnTo>
                    <a:lnTo>
                      <a:pt x="1782" y="282"/>
                    </a:lnTo>
                    <a:lnTo>
                      <a:pt x="1776" y="288"/>
                    </a:lnTo>
                    <a:lnTo>
                      <a:pt x="1776" y="282"/>
                    </a:lnTo>
                    <a:lnTo>
                      <a:pt x="1770" y="282"/>
                    </a:lnTo>
                    <a:lnTo>
                      <a:pt x="1776" y="276"/>
                    </a:lnTo>
                    <a:lnTo>
                      <a:pt x="1782" y="276"/>
                    </a:lnTo>
                    <a:lnTo>
                      <a:pt x="1782" y="270"/>
                    </a:lnTo>
                    <a:lnTo>
                      <a:pt x="1796" y="270"/>
                    </a:lnTo>
                    <a:lnTo>
                      <a:pt x="1796" y="266"/>
                    </a:lnTo>
                    <a:lnTo>
                      <a:pt x="1790" y="260"/>
                    </a:lnTo>
                    <a:lnTo>
                      <a:pt x="1776" y="260"/>
                    </a:lnTo>
                    <a:lnTo>
                      <a:pt x="1776" y="266"/>
                    </a:lnTo>
                    <a:lnTo>
                      <a:pt x="1770" y="266"/>
                    </a:lnTo>
                    <a:lnTo>
                      <a:pt x="1770" y="270"/>
                    </a:lnTo>
                    <a:lnTo>
                      <a:pt x="1764" y="270"/>
                    </a:lnTo>
                    <a:lnTo>
                      <a:pt x="1758" y="270"/>
                    </a:lnTo>
                    <a:lnTo>
                      <a:pt x="1758" y="266"/>
                    </a:lnTo>
                    <a:lnTo>
                      <a:pt x="1764" y="266"/>
                    </a:lnTo>
                    <a:lnTo>
                      <a:pt x="1764" y="270"/>
                    </a:lnTo>
                    <a:lnTo>
                      <a:pt x="1770" y="266"/>
                    </a:lnTo>
                    <a:lnTo>
                      <a:pt x="1770" y="260"/>
                    </a:lnTo>
                    <a:lnTo>
                      <a:pt x="1758" y="260"/>
                    </a:lnTo>
                    <a:lnTo>
                      <a:pt x="1754" y="254"/>
                    </a:lnTo>
                    <a:lnTo>
                      <a:pt x="1722" y="254"/>
                    </a:lnTo>
                    <a:lnTo>
                      <a:pt x="1722" y="248"/>
                    </a:lnTo>
                    <a:lnTo>
                      <a:pt x="1710" y="248"/>
                    </a:lnTo>
                    <a:lnTo>
                      <a:pt x="1710" y="254"/>
                    </a:lnTo>
                    <a:lnTo>
                      <a:pt x="1716" y="254"/>
                    </a:lnTo>
                    <a:lnTo>
                      <a:pt x="1716" y="260"/>
                    </a:lnTo>
                    <a:lnTo>
                      <a:pt x="1694" y="260"/>
                    </a:lnTo>
                    <a:lnTo>
                      <a:pt x="1688" y="266"/>
                    </a:lnTo>
                    <a:lnTo>
                      <a:pt x="1688" y="270"/>
                    </a:lnTo>
                    <a:lnTo>
                      <a:pt x="1694" y="270"/>
                    </a:lnTo>
                    <a:lnTo>
                      <a:pt x="1700" y="266"/>
                    </a:lnTo>
                    <a:lnTo>
                      <a:pt x="1704" y="270"/>
                    </a:lnTo>
                    <a:lnTo>
                      <a:pt x="1700" y="270"/>
                    </a:lnTo>
                    <a:lnTo>
                      <a:pt x="1700" y="288"/>
                    </a:lnTo>
                    <a:lnTo>
                      <a:pt x="1672" y="288"/>
                    </a:lnTo>
                    <a:lnTo>
                      <a:pt x="1672" y="296"/>
                    </a:lnTo>
                    <a:lnTo>
                      <a:pt x="1668" y="292"/>
                    </a:lnTo>
                    <a:lnTo>
                      <a:pt x="1662" y="288"/>
                    </a:lnTo>
                    <a:lnTo>
                      <a:pt x="1624" y="288"/>
                    </a:lnTo>
                    <a:lnTo>
                      <a:pt x="1624" y="292"/>
                    </a:lnTo>
                    <a:lnTo>
                      <a:pt x="1618" y="288"/>
                    </a:lnTo>
                    <a:lnTo>
                      <a:pt x="1602" y="288"/>
                    </a:lnTo>
                    <a:lnTo>
                      <a:pt x="1602" y="276"/>
                    </a:lnTo>
                    <a:lnTo>
                      <a:pt x="1596" y="276"/>
                    </a:lnTo>
                    <a:lnTo>
                      <a:pt x="1590" y="282"/>
                    </a:lnTo>
                    <a:lnTo>
                      <a:pt x="1590" y="296"/>
                    </a:lnTo>
                    <a:lnTo>
                      <a:pt x="1586" y="296"/>
                    </a:lnTo>
                    <a:lnTo>
                      <a:pt x="1580" y="302"/>
                    </a:lnTo>
                    <a:lnTo>
                      <a:pt x="1574" y="308"/>
                    </a:lnTo>
                    <a:lnTo>
                      <a:pt x="1574" y="302"/>
                    </a:lnTo>
                    <a:lnTo>
                      <a:pt x="1570" y="296"/>
                    </a:lnTo>
                    <a:lnTo>
                      <a:pt x="1570" y="302"/>
                    </a:lnTo>
                    <a:lnTo>
                      <a:pt x="1564" y="302"/>
                    </a:lnTo>
                    <a:lnTo>
                      <a:pt x="1564" y="296"/>
                    </a:lnTo>
                    <a:lnTo>
                      <a:pt x="1554" y="296"/>
                    </a:lnTo>
                    <a:lnTo>
                      <a:pt x="1554" y="288"/>
                    </a:lnTo>
                    <a:lnTo>
                      <a:pt x="1542" y="288"/>
                    </a:lnTo>
                    <a:lnTo>
                      <a:pt x="1542" y="276"/>
                    </a:lnTo>
                    <a:lnTo>
                      <a:pt x="1536" y="276"/>
                    </a:lnTo>
                    <a:lnTo>
                      <a:pt x="1536" y="270"/>
                    </a:lnTo>
                    <a:lnTo>
                      <a:pt x="1530" y="270"/>
                    </a:lnTo>
                    <a:lnTo>
                      <a:pt x="1530" y="266"/>
                    </a:lnTo>
                    <a:lnTo>
                      <a:pt x="1520" y="266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70"/>
                    </a:lnTo>
                    <a:lnTo>
                      <a:pt x="1510" y="266"/>
                    </a:lnTo>
                    <a:lnTo>
                      <a:pt x="1494" y="266"/>
                    </a:lnTo>
                    <a:lnTo>
                      <a:pt x="1494" y="260"/>
                    </a:lnTo>
                    <a:lnTo>
                      <a:pt x="1482" y="260"/>
                    </a:lnTo>
                    <a:lnTo>
                      <a:pt x="1476" y="254"/>
                    </a:lnTo>
                    <a:lnTo>
                      <a:pt x="1456" y="254"/>
                    </a:lnTo>
                    <a:lnTo>
                      <a:pt x="1456" y="248"/>
                    </a:lnTo>
                    <a:lnTo>
                      <a:pt x="1412" y="248"/>
                    </a:lnTo>
                    <a:lnTo>
                      <a:pt x="1408" y="242"/>
                    </a:lnTo>
                    <a:lnTo>
                      <a:pt x="1402" y="242"/>
                    </a:lnTo>
                    <a:lnTo>
                      <a:pt x="1396" y="238"/>
                    </a:lnTo>
                    <a:lnTo>
                      <a:pt x="1408" y="238"/>
                    </a:lnTo>
                    <a:lnTo>
                      <a:pt x="1402" y="234"/>
                    </a:lnTo>
                    <a:lnTo>
                      <a:pt x="1374" y="234"/>
                    </a:lnTo>
                    <a:lnTo>
                      <a:pt x="1374" y="228"/>
                    </a:lnTo>
                    <a:lnTo>
                      <a:pt x="1348" y="228"/>
                    </a:lnTo>
                    <a:lnTo>
                      <a:pt x="1348" y="234"/>
                    </a:lnTo>
                    <a:lnTo>
                      <a:pt x="1326" y="234"/>
                    </a:lnTo>
                    <a:lnTo>
                      <a:pt x="1326" y="238"/>
                    </a:lnTo>
                    <a:lnTo>
                      <a:pt x="1320" y="238"/>
                    </a:lnTo>
                    <a:lnTo>
                      <a:pt x="1326" y="234"/>
                    </a:lnTo>
                    <a:lnTo>
                      <a:pt x="1326" y="228"/>
                    </a:lnTo>
                    <a:lnTo>
                      <a:pt x="1294" y="228"/>
                    </a:lnTo>
                    <a:lnTo>
                      <a:pt x="1288" y="222"/>
                    </a:lnTo>
                    <a:lnTo>
                      <a:pt x="1276" y="222"/>
                    </a:lnTo>
                    <a:lnTo>
                      <a:pt x="1276" y="228"/>
                    </a:lnTo>
                    <a:lnTo>
                      <a:pt x="1282" y="228"/>
                    </a:lnTo>
                    <a:lnTo>
                      <a:pt x="1282" y="234"/>
                    </a:lnTo>
                    <a:lnTo>
                      <a:pt x="1276" y="234"/>
                    </a:lnTo>
                    <a:lnTo>
                      <a:pt x="1276" y="238"/>
                    </a:lnTo>
                    <a:lnTo>
                      <a:pt x="1250" y="238"/>
                    </a:lnTo>
                    <a:lnTo>
                      <a:pt x="1250" y="242"/>
                    </a:lnTo>
                    <a:lnTo>
                      <a:pt x="1222" y="242"/>
                    </a:lnTo>
                    <a:lnTo>
                      <a:pt x="1222" y="248"/>
                    </a:lnTo>
                    <a:lnTo>
                      <a:pt x="1218" y="248"/>
                    </a:lnTo>
                    <a:lnTo>
                      <a:pt x="1212" y="254"/>
                    </a:lnTo>
                    <a:lnTo>
                      <a:pt x="1206" y="254"/>
                    </a:lnTo>
                    <a:lnTo>
                      <a:pt x="1212" y="248"/>
                    </a:lnTo>
                    <a:lnTo>
                      <a:pt x="1218" y="248"/>
                    </a:lnTo>
                    <a:lnTo>
                      <a:pt x="1218" y="238"/>
                    </a:lnTo>
                    <a:lnTo>
                      <a:pt x="1234" y="238"/>
                    </a:lnTo>
                    <a:lnTo>
                      <a:pt x="1240" y="234"/>
                    </a:lnTo>
                    <a:lnTo>
                      <a:pt x="1246" y="234"/>
                    </a:lnTo>
                    <a:lnTo>
                      <a:pt x="1250" y="228"/>
                    </a:lnTo>
                    <a:lnTo>
                      <a:pt x="1260" y="228"/>
                    </a:lnTo>
                    <a:lnTo>
                      <a:pt x="1260" y="222"/>
                    </a:lnTo>
                    <a:lnTo>
                      <a:pt x="1266" y="222"/>
                    </a:lnTo>
                    <a:lnTo>
                      <a:pt x="1266" y="216"/>
                    </a:lnTo>
                    <a:lnTo>
                      <a:pt x="1276" y="216"/>
                    </a:lnTo>
                    <a:lnTo>
                      <a:pt x="1276" y="210"/>
                    </a:lnTo>
                    <a:lnTo>
                      <a:pt x="1288" y="210"/>
                    </a:lnTo>
                    <a:lnTo>
                      <a:pt x="1288" y="206"/>
                    </a:lnTo>
                    <a:lnTo>
                      <a:pt x="1294" y="206"/>
                    </a:lnTo>
                    <a:lnTo>
                      <a:pt x="1294" y="200"/>
                    </a:lnTo>
                    <a:lnTo>
                      <a:pt x="1308" y="200"/>
                    </a:lnTo>
                    <a:lnTo>
                      <a:pt x="1308" y="194"/>
                    </a:lnTo>
                    <a:lnTo>
                      <a:pt x="1314" y="194"/>
                    </a:lnTo>
                    <a:lnTo>
                      <a:pt x="1320" y="188"/>
                    </a:lnTo>
                    <a:lnTo>
                      <a:pt x="1326" y="188"/>
                    </a:lnTo>
                    <a:lnTo>
                      <a:pt x="1326" y="182"/>
                    </a:lnTo>
                    <a:lnTo>
                      <a:pt x="1332" y="182"/>
                    </a:lnTo>
                    <a:lnTo>
                      <a:pt x="1326" y="180"/>
                    </a:lnTo>
                    <a:lnTo>
                      <a:pt x="1332" y="180"/>
                    </a:lnTo>
                    <a:lnTo>
                      <a:pt x="1332" y="168"/>
                    </a:lnTo>
                    <a:lnTo>
                      <a:pt x="1326" y="168"/>
                    </a:lnTo>
                    <a:lnTo>
                      <a:pt x="1326" y="156"/>
                    </a:lnTo>
                    <a:lnTo>
                      <a:pt x="1320" y="162"/>
                    </a:lnTo>
                    <a:lnTo>
                      <a:pt x="1320" y="168"/>
                    </a:lnTo>
                    <a:lnTo>
                      <a:pt x="1314" y="168"/>
                    </a:lnTo>
                    <a:lnTo>
                      <a:pt x="1314" y="174"/>
                    </a:lnTo>
                    <a:lnTo>
                      <a:pt x="1320" y="174"/>
                    </a:lnTo>
                    <a:lnTo>
                      <a:pt x="1320" y="180"/>
                    </a:lnTo>
                    <a:lnTo>
                      <a:pt x="1314" y="180"/>
                    </a:lnTo>
                    <a:lnTo>
                      <a:pt x="1314" y="174"/>
                    </a:lnTo>
                    <a:lnTo>
                      <a:pt x="1308" y="174"/>
                    </a:lnTo>
                    <a:lnTo>
                      <a:pt x="1308" y="168"/>
                    </a:lnTo>
                    <a:lnTo>
                      <a:pt x="1314" y="168"/>
                    </a:lnTo>
                    <a:lnTo>
                      <a:pt x="1314" y="156"/>
                    </a:lnTo>
                    <a:lnTo>
                      <a:pt x="1308" y="152"/>
                    </a:lnTo>
                    <a:lnTo>
                      <a:pt x="1300" y="152"/>
                    </a:lnTo>
                    <a:lnTo>
                      <a:pt x="1300" y="146"/>
                    </a:lnTo>
                    <a:lnTo>
                      <a:pt x="1250" y="146"/>
                    </a:lnTo>
                    <a:lnTo>
                      <a:pt x="1250" y="152"/>
                    </a:lnTo>
                    <a:lnTo>
                      <a:pt x="1234" y="152"/>
                    </a:lnTo>
                    <a:lnTo>
                      <a:pt x="1234" y="140"/>
                    </a:lnTo>
                    <a:lnTo>
                      <a:pt x="1218" y="140"/>
                    </a:lnTo>
                    <a:lnTo>
                      <a:pt x="1218" y="134"/>
                    </a:lnTo>
                    <a:lnTo>
                      <a:pt x="1206" y="134"/>
                    </a:lnTo>
                    <a:lnTo>
                      <a:pt x="1206" y="128"/>
                    </a:lnTo>
                    <a:lnTo>
                      <a:pt x="1218" y="128"/>
                    </a:lnTo>
                    <a:lnTo>
                      <a:pt x="1218" y="124"/>
                    </a:lnTo>
                    <a:lnTo>
                      <a:pt x="1206" y="124"/>
                    </a:lnTo>
                    <a:lnTo>
                      <a:pt x="1206" y="120"/>
                    </a:lnTo>
                    <a:lnTo>
                      <a:pt x="1180" y="120"/>
                    </a:lnTo>
                    <a:lnTo>
                      <a:pt x="1180" y="124"/>
                    </a:lnTo>
                    <a:lnTo>
                      <a:pt x="1168" y="124"/>
                    </a:lnTo>
                    <a:lnTo>
                      <a:pt x="1168" y="128"/>
                    </a:lnTo>
                    <a:lnTo>
                      <a:pt x="1162" y="128"/>
                    </a:lnTo>
                    <a:lnTo>
                      <a:pt x="1158" y="134"/>
                    </a:lnTo>
                    <a:lnTo>
                      <a:pt x="1152" y="134"/>
                    </a:lnTo>
                    <a:lnTo>
                      <a:pt x="1152" y="140"/>
                    </a:lnTo>
                    <a:lnTo>
                      <a:pt x="1146" y="140"/>
                    </a:lnTo>
                    <a:lnTo>
                      <a:pt x="1146" y="146"/>
                    </a:lnTo>
                    <a:lnTo>
                      <a:pt x="1152" y="146"/>
                    </a:lnTo>
                    <a:lnTo>
                      <a:pt x="1152" y="152"/>
                    </a:lnTo>
                    <a:lnTo>
                      <a:pt x="1120" y="152"/>
                    </a:lnTo>
                    <a:lnTo>
                      <a:pt x="1120" y="156"/>
                    </a:lnTo>
                    <a:lnTo>
                      <a:pt x="1132" y="156"/>
                    </a:lnTo>
                    <a:lnTo>
                      <a:pt x="1132" y="162"/>
                    </a:lnTo>
                    <a:lnTo>
                      <a:pt x="1136" y="162"/>
                    </a:lnTo>
                    <a:lnTo>
                      <a:pt x="1136" y="168"/>
                    </a:lnTo>
                    <a:lnTo>
                      <a:pt x="1132" y="174"/>
                    </a:lnTo>
                    <a:lnTo>
                      <a:pt x="1132" y="162"/>
                    </a:lnTo>
                    <a:lnTo>
                      <a:pt x="1120" y="162"/>
                    </a:lnTo>
                    <a:lnTo>
                      <a:pt x="1120" y="156"/>
                    </a:lnTo>
                    <a:lnTo>
                      <a:pt x="1114" y="162"/>
                    </a:lnTo>
                    <a:lnTo>
                      <a:pt x="1108" y="162"/>
                    </a:lnTo>
                    <a:lnTo>
                      <a:pt x="1108" y="168"/>
                    </a:lnTo>
                    <a:lnTo>
                      <a:pt x="1082" y="168"/>
                    </a:lnTo>
                    <a:lnTo>
                      <a:pt x="1078" y="162"/>
                    </a:lnTo>
                    <a:lnTo>
                      <a:pt x="1060" y="162"/>
                    </a:lnTo>
                    <a:lnTo>
                      <a:pt x="1066" y="168"/>
                    </a:lnTo>
                    <a:lnTo>
                      <a:pt x="1054" y="168"/>
                    </a:lnTo>
                    <a:lnTo>
                      <a:pt x="1050" y="162"/>
                    </a:lnTo>
                    <a:lnTo>
                      <a:pt x="1044" y="162"/>
                    </a:lnTo>
                    <a:lnTo>
                      <a:pt x="1044" y="174"/>
                    </a:lnTo>
                    <a:lnTo>
                      <a:pt x="1018" y="174"/>
                    </a:lnTo>
                    <a:lnTo>
                      <a:pt x="1018" y="180"/>
                    </a:lnTo>
                    <a:lnTo>
                      <a:pt x="990" y="180"/>
                    </a:lnTo>
                    <a:lnTo>
                      <a:pt x="984" y="182"/>
                    </a:lnTo>
                    <a:lnTo>
                      <a:pt x="984" y="180"/>
                    </a:lnTo>
                    <a:lnTo>
                      <a:pt x="980" y="180"/>
                    </a:lnTo>
                    <a:lnTo>
                      <a:pt x="980" y="182"/>
                    </a:lnTo>
                    <a:lnTo>
                      <a:pt x="974" y="182"/>
                    </a:lnTo>
                    <a:lnTo>
                      <a:pt x="968" y="188"/>
                    </a:lnTo>
                    <a:lnTo>
                      <a:pt x="964" y="188"/>
                    </a:lnTo>
                    <a:lnTo>
                      <a:pt x="964" y="194"/>
                    </a:lnTo>
                    <a:lnTo>
                      <a:pt x="958" y="194"/>
                    </a:lnTo>
                    <a:lnTo>
                      <a:pt x="958" y="200"/>
                    </a:lnTo>
                    <a:lnTo>
                      <a:pt x="952" y="200"/>
                    </a:lnTo>
                    <a:lnTo>
                      <a:pt x="952" y="206"/>
                    </a:lnTo>
                    <a:lnTo>
                      <a:pt x="946" y="206"/>
                    </a:lnTo>
                    <a:lnTo>
                      <a:pt x="946" y="210"/>
                    </a:lnTo>
                    <a:lnTo>
                      <a:pt x="940" y="210"/>
                    </a:lnTo>
                    <a:lnTo>
                      <a:pt x="946" y="216"/>
                    </a:lnTo>
                    <a:lnTo>
                      <a:pt x="952" y="210"/>
                    </a:lnTo>
                    <a:lnTo>
                      <a:pt x="958" y="210"/>
                    </a:lnTo>
                    <a:lnTo>
                      <a:pt x="952" y="216"/>
                    </a:lnTo>
                    <a:lnTo>
                      <a:pt x="958" y="216"/>
                    </a:lnTo>
                    <a:lnTo>
                      <a:pt x="958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876" y="228"/>
                    </a:lnTo>
                    <a:lnTo>
                      <a:pt x="872" y="234"/>
                    </a:lnTo>
                    <a:lnTo>
                      <a:pt x="860" y="234"/>
                    </a:lnTo>
                    <a:lnTo>
                      <a:pt x="860" y="248"/>
                    </a:lnTo>
                    <a:lnTo>
                      <a:pt x="866" y="248"/>
                    </a:lnTo>
                    <a:lnTo>
                      <a:pt x="860" y="254"/>
                    </a:lnTo>
                    <a:lnTo>
                      <a:pt x="860" y="260"/>
                    </a:lnTo>
                    <a:lnTo>
                      <a:pt x="872" y="260"/>
                    </a:lnTo>
                    <a:lnTo>
                      <a:pt x="872" y="266"/>
                    </a:lnTo>
                    <a:lnTo>
                      <a:pt x="880" y="266"/>
                    </a:lnTo>
                    <a:lnTo>
                      <a:pt x="880" y="276"/>
                    </a:lnTo>
                    <a:lnTo>
                      <a:pt x="904" y="276"/>
                    </a:lnTo>
                    <a:lnTo>
                      <a:pt x="904" y="288"/>
                    </a:lnTo>
                    <a:lnTo>
                      <a:pt x="898" y="288"/>
                    </a:lnTo>
                    <a:lnTo>
                      <a:pt x="898" y="296"/>
                    </a:lnTo>
                    <a:lnTo>
                      <a:pt x="904" y="302"/>
                    </a:lnTo>
                    <a:lnTo>
                      <a:pt x="904" y="308"/>
                    </a:lnTo>
                    <a:lnTo>
                      <a:pt x="908" y="308"/>
                    </a:lnTo>
                    <a:lnTo>
                      <a:pt x="908" y="314"/>
                    </a:lnTo>
                    <a:lnTo>
                      <a:pt x="904" y="314"/>
                    </a:lnTo>
                    <a:lnTo>
                      <a:pt x="904" y="320"/>
                    </a:lnTo>
                    <a:lnTo>
                      <a:pt x="892" y="320"/>
                    </a:lnTo>
                    <a:lnTo>
                      <a:pt x="898" y="314"/>
                    </a:lnTo>
                    <a:lnTo>
                      <a:pt x="898" y="296"/>
                    </a:lnTo>
                    <a:lnTo>
                      <a:pt x="892" y="296"/>
                    </a:lnTo>
                    <a:lnTo>
                      <a:pt x="886" y="302"/>
                    </a:lnTo>
                    <a:lnTo>
                      <a:pt x="886" y="308"/>
                    </a:lnTo>
                    <a:lnTo>
                      <a:pt x="880" y="302"/>
                    </a:lnTo>
                    <a:lnTo>
                      <a:pt x="880" y="292"/>
                    </a:lnTo>
                    <a:lnTo>
                      <a:pt x="892" y="292"/>
                    </a:lnTo>
                    <a:lnTo>
                      <a:pt x="892" y="288"/>
                    </a:lnTo>
                    <a:lnTo>
                      <a:pt x="898" y="288"/>
                    </a:lnTo>
                    <a:lnTo>
                      <a:pt x="898" y="282"/>
                    </a:lnTo>
                    <a:lnTo>
                      <a:pt x="872" y="282"/>
                    </a:lnTo>
                    <a:lnTo>
                      <a:pt x="872" y="276"/>
                    </a:lnTo>
                    <a:lnTo>
                      <a:pt x="866" y="276"/>
                    </a:lnTo>
                    <a:lnTo>
                      <a:pt x="866" y="270"/>
                    </a:lnTo>
                    <a:lnTo>
                      <a:pt x="854" y="270"/>
                    </a:lnTo>
                    <a:lnTo>
                      <a:pt x="850" y="266"/>
                    </a:lnTo>
                    <a:lnTo>
                      <a:pt x="844" y="260"/>
                    </a:lnTo>
                    <a:lnTo>
                      <a:pt x="826" y="260"/>
                    </a:lnTo>
                    <a:lnTo>
                      <a:pt x="826" y="266"/>
                    </a:lnTo>
                    <a:lnTo>
                      <a:pt x="822" y="266"/>
                    </a:lnTo>
                    <a:lnTo>
                      <a:pt x="822" y="270"/>
                    </a:lnTo>
                    <a:lnTo>
                      <a:pt x="818" y="270"/>
                    </a:lnTo>
                    <a:lnTo>
                      <a:pt x="818" y="276"/>
                    </a:lnTo>
                    <a:lnTo>
                      <a:pt x="800" y="276"/>
                    </a:lnTo>
                    <a:lnTo>
                      <a:pt x="800" y="288"/>
                    </a:lnTo>
                    <a:lnTo>
                      <a:pt x="812" y="288"/>
                    </a:lnTo>
                    <a:lnTo>
                      <a:pt x="812" y="292"/>
                    </a:lnTo>
                    <a:lnTo>
                      <a:pt x="826" y="292"/>
                    </a:lnTo>
                    <a:lnTo>
                      <a:pt x="826" y="296"/>
                    </a:lnTo>
                    <a:lnTo>
                      <a:pt x="832" y="296"/>
                    </a:lnTo>
                    <a:lnTo>
                      <a:pt x="838" y="302"/>
                    </a:lnTo>
                    <a:lnTo>
                      <a:pt x="826" y="302"/>
                    </a:lnTo>
                    <a:lnTo>
                      <a:pt x="822" y="296"/>
                    </a:lnTo>
                    <a:lnTo>
                      <a:pt x="800" y="296"/>
                    </a:lnTo>
                    <a:lnTo>
                      <a:pt x="794" y="292"/>
                    </a:lnTo>
                    <a:lnTo>
                      <a:pt x="790" y="292"/>
                    </a:lnTo>
                    <a:lnTo>
                      <a:pt x="790" y="282"/>
                    </a:lnTo>
                    <a:lnTo>
                      <a:pt x="784" y="282"/>
                    </a:lnTo>
                    <a:lnTo>
                      <a:pt x="784" y="276"/>
                    </a:lnTo>
                    <a:lnTo>
                      <a:pt x="790" y="276"/>
                    </a:lnTo>
                    <a:lnTo>
                      <a:pt x="790" y="248"/>
                    </a:lnTo>
                    <a:lnTo>
                      <a:pt x="778" y="248"/>
                    </a:lnTo>
                    <a:lnTo>
                      <a:pt x="778" y="254"/>
                    </a:lnTo>
                    <a:lnTo>
                      <a:pt x="784" y="254"/>
                    </a:lnTo>
                    <a:lnTo>
                      <a:pt x="784" y="270"/>
                    </a:lnTo>
                    <a:lnTo>
                      <a:pt x="778" y="270"/>
                    </a:lnTo>
                    <a:lnTo>
                      <a:pt x="778" y="276"/>
                    </a:lnTo>
                    <a:lnTo>
                      <a:pt x="764" y="276"/>
                    </a:lnTo>
                    <a:lnTo>
                      <a:pt x="764" y="288"/>
                    </a:lnTo>
                    <a:lnTo>
                      <a:pt x="758" y="288"/>
                    </a:lnTo>
                    <a:lnTo>
                      <a:pt x="758" y="292"/>
                    </a:lnTo>
                    <a:lnTo>
                      <a:pt x="764" y="292"/>
                    </a:lnTo>
                    <a:lnTo>
                      <a:pt x="764" y="296"/>
                    </a:lnTo>
                    <a:lnTo>
                      <a:pt x="766" y="296"/>
                    </a:lnTo>
                    <a:lnTo>
                      <a:pt x="766" y="308"/>
                    </a:lnTo>
                    <a:lnTo>
                      <a:pt x="772" y="308"/>
                    </a:lnTo>
                    <a:lnTo>
                      <a:pt x="772" y="314"/>
                    </a:lnTo>
                    <a:lnTo>
                      <a:pt x="766" y="314"/>
                    </a:lnTo>
                    <a:lnTo>
                      <a:pt x="766" y="320"/>
                    </a:lnTo>
                    <a:lnTo>
                      <a:pt x="764" y="330"/>
                    </a:lnTo>
                    <a:lnTo>
                      <a:pt x="764" y="336"/>
                    </a:lnTo>
                    <a:lnTo>
                      <a:pt x="766" y="336"/>
                    </a:lnTo>
                    <a:lnTo>
                      <a:pt x="766" y="348"/>
                    </a:lnTo>
                    <a:lnTo>
                      <a:pt x="812" y="348"/>
                    </a:lnTo>
                    <a:lnTo>
                      <a:pt x="812" y="350"/>
                    </a:lnTo>
                    <a:lnTo>
                      <a:pt x="822" y="350"/>
                    </a:lnTo>
                    <a:lnTo>
                      <a:pt x="822" y="368"/>
                    </a:lnTo>
                    <a:lnTo>
                      <a:pt x="818" y="368"/>
                    </a:lnTo>
                    <a:lnTo>
                      <a:pt x="818" y="384"/>
                    </a:lnTo>
                    <a:lnTo>
                      <a:pt x="812" y="384"/>
                    </a:lnTo>
                    <a:lnTo>
                      <a:pt x="812" y="356"/>
                    </a:lnTo>
                    <a:lnTo>
                      <a:pt x="806" y="356"/>
                    </a:lnTo>
                    <a:lnTo>
                      <a:pt x="806" y="350"/>
                    </a:lnTo>
                    <a:lnTo>
                      <a:pt x="790" y="350"/>
                    </a:lnTo>
                    <a:lnTo>
                      <a:pt x="784" y="356"/>
                    </a:lnTo>
                    <a:lnTo>
                      <a:pt x="772" y="356"/>
                    </a:lnTo>
                    <a:lnTo>
                      <a:pt x="772" y="368"/>
                    </a:lnTo>
                    <a:lnTo>
                      <a:pt x="778" y="368"/>
                    </a:lnTo>
                    <a:lnTo>
                      <a:pt x="778" y="384"/>
                    </a:lnTo>
                    <a:lnTo>
                      <a:pt x="772" y="384"/>
                    </a:lnTo>
                    <a:lnTo>
                      <a:pt x="772" y="390"/>
                    </a:lnTo>
                    <a:lnTo>
                      <a:pt x="766" y="390"/>
                    </a:lnTo>
                    <a:lnTo>
                      <a:pt x="766" y="402"/>
                    </a:lnTo>
                    <a:lnTo>
                      <a:pt x="764" y="406"/>
                    </a:lnTo>
                    <a:lnTo>
                      <a:pt x="752" y="406"/>
                    </a:lnTo>
                    <a:lnTo>
                      <a:pt x="752" y="410"/>
                    </a:lnTo>
                    <a:lnTo>
                      <a:pt x="746" y="410"/>
                    </a:lnTo>
                    <a:lnTo>
                      <a:pt x="746" y="416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698" y="410"/>
                    </a:lnTo>
                    <a:lnTo>
                      <a:pt x="698" y="406"/>
                    </a:lnTo>
                    <a:lnTo>
                      <a:pt x="718" y="406"/>
                    </a:lnTo>
                    <a:lnTo>
                      <a:pt x="718" y="410"/>
                    </a:lnTo>
                    <a:lnTo>
                      <a:pt x="730" y="410"/>
                    </a:lnTo>
                    <a:lnTo>
                      <a:pt x="730" y="402"/>
                    </a:lnTo>
                    <a:lnTo>
                      <a:pt x="736" y="406"/>
                    </a:lnTo>
                    <a:lnTo>
                      <a:pt x="736" y="402"/>
                    </a:lnTo>
                    <a:lnTo>
                      <a:pt x="740" y="402"/>
                    </a:lnTo>
                    <a:lnTo>
                      <a:pt x="740" y="396"/>
                    </a:lnTo>
                    <a:lnTo>
                      <a:pt x="746" y="396"/>
                    </a:lnTo>
                    <a:lnTo>
                      <a:pt x="746" y="384"/>
                    </a:lnTo>
                    <a:lnTo>
                      <a:pt x="758" y="384"/>
                    </a:lnTo>
                    <a:lnTo>
                      <a:pt x="758" y="368"/>
                    </a:lnTo>
                    <a:lnTo>
                      <a:pt x="764" y="368"/>
                    </a:lnTo>
                    <a:lnTo>
                      <a:pt x="764" y="356"/>
                    </a:lnTo>
                    <a:lnTo>
                      <a:pt x="752" y="356"/>
                    </a:lnTo>
                    <a:lnTo>
                      <a:pt x="752" y="350"/>
                    </a:lnTo>
                    <a:lnTo>
                      <a:pt x="746" y="350"/>
                    </a:lnTo>
                    <a:lnTo>
                      <a:pt x="746" y="348"/>
                    </a:lnTo>
                    <a:lnTo>
                      <a:pt x="752" y="342"/>
                    </a:lnTo>
                    <a:lnTo>
                      <a:pt x="752" y="330"/>
                    </a:lnTo>
                    <a:lnTo>
                      <a:pt x="746" y="324"/>
                    </a:lnTo>
                    <a:lnTo>
                      <a:pt x="746" y="314"/>
                    </a:lnTo>
                    <a:lnTo>
                      <a:pt x="752" y="314"/>
                    </a:lnTo>
                    <a:lnTo>
                      <a:pt x="752" y="296"/>
                    </a:lnTo>
                    <a:lnTo>
                      <a:pt x="746" y="296"/>
                    </a:lnTo>
                    <a:lnTo>
                      <a:pt x="740" y="292"/>
                    </a:lnTo>
                    <a:lnTo>
                      <a:pt x="740" y="288"/>
                    </a:lnTo>
                    <a:lnTo>
                      <a:pt x="746" y="282"/>
                    </a:lnTo>
                    <a:lnTo>
                      <a:pt x="740" y="282"/>
                    </a:lnTo>
                    <a:lnTo>
                      <a:pt x="740" y="276"/>
                    </a:lnTo>
                    <a:lnTo>
                      <a:pt x="746" y="276"/>
                    </a:lnTo>
                    <a:lnTo>
                      <a:pt x="752" y="270"/>
                    </a:lnTo>
                    <a:lnTo>
                      <a:pt x="752" y="254"/>
                    </a:lnTo>
                    <a:lnTo>
                      <a:pt x="746" y="254"/>
                    </a:lnTo>
                    <a:lnTo>
                      <a:pt x="740" y="248"/>
                    </a:lnTo>
                    <a:lnTo>
                      <a:pt x="704" y="248"/>
                    </a:lnTo>
                    <a:lnTo>
                      <a:pt x="704" y="254"/>
                    </a:lnTo>
                    <a:lnTo>
                      <a:pt x="698" y="254"/>
                    </a:lnTo>
                    <a:lnTo>
                      <a:pt x="698" y="260"/>
                    </a:lnTo>
                    <a:lnTo>
                      <a:pt x="692" y="266"/>
                    </a:lnTo>
                    <a:lnTo>
                      <a:pt x="692" y="276"/>
                    </a:lnTo>
                    <a:lnTo>
                      <a:pt x="686" y="282"/>
                    </a:lnTo>
                    <a:lnTo>
                      <a:pt x="686" y="288"/>
                    </a:lnTo>
                    <a:lnTo>
                      <a:pt x="676" y="288"/>
                    </a:lnTo>
                    <a:lnTo>
                      <a:pt x="676" y="292"/>
                    </a:lnTo>
                    <a:lnTo>
                      <a:pt x="670" y="292"/>
                    </a:lnTo>
                    <a:lnTo>
                      <a:pt x="670" y="296"/>
                    </a:lnTo>
                    <a:lnTo>
                      <a:pt x="664" y="296"/>
                    </a:lnTo>
                    <a:lnTo>
                      <a:pt x="664" y="308"/>
                    </a:lnTo>
                    <a:lnTo>
                      <a:pt x="670" y="302"/>
                    </a:lnTo>
                    <a:lnTo>
                      <a:pt x="670" y="324"/>
                    </a:lnTo>
                    <a:lnTo>
                      <a:pt x="664" y="336"/>
                    </a:lnTo>
                    <a:lnTo>
                      <a:pt x="680" y="336"/>
                    </a:lnTo>
                    <a:lnTo>
                      <a:pt x="680" y="348"/>
                    </a:lnTo>
                    <a:lnTo>
                      <a:pt x="692" y="348"/>
                    </a:lnTo>
                    <a:lnTo>
                      <a:pt x="692" y="350"/>
                    </a:lnTo>
                    <a:lnTo>
                      <a:pt x="698" y="350"/>
                    </a:lnTo>
                    <a:lnTo>
                      <a:pt x="698" y="356"/>
                    </a:lnTo>
                    <a:lnTo>
                      <a:pt x="692" y="356"/>
                    </a:lnTo>
                    <a:lnTo>
                      <a:pt x="692" y="368"/>
                    </a:lnTo>
                    <a:lnTo>
                      <a:pt x="680" y="368"/>
                    </a:lnTo>
                    <a:lnTo>
                      <a:pt x="680" y="362"/>
                    </a:lnTo>
                    <a:lnTo>
                      <a:pt x="676" y="356"/>
                    </a:lnTo>
                    <a:lnTo>
                      <a:pt x="670" y="356"/>
                    </a:lnTo>
                    <a:lnTo>
                      <a:pt x="670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44" y="348"/>
                    </a:lnTo>
                    <a:lnTo>
                      <a:pt x="638" y="342"/>
                    </a:lnTo>
                    <a:lnTo>
                      <a:pt x="632" y="342"/>
                    </a:lnTo>
                    <a:lnTo>
                      <a:pt x="632" y="336"/>
                    </a:lnTo>
                    <a:lnTo>
                      <a:pt x="596" y="336"/>
                    </a:lnTo>
                    <a:lnTo>
                      <a:pt x="596" y="330"/>
                    </a:lnTo>
                    <a:lnTo>
                      <a:pt x="578" y="330"/>
                    </a:lnTo>
                    <a:lnTo>
                      <a:pt x="578" y="336"/>
                    </a:lnTo>
                    <a:lnTo>
                      <a:pt x="572" y="336"/>
                    </a:lnTo>
                    <a:lnTo>
                      <a:pt x="572" y="342"/>
                    </a:lnTo>
                    <a:lnTo>
                      <a:pt x="578" y="348"/>
                    </a:lnTo>
                    <a:lnTo>
                      <a:pt x="584" y="348"/>
                    </a:lnTo>
                    <a:lnTo>
                      <a:pt x="584" y="356"/>
                    </a:lnTo>
                    <a:lnTo>
                      <a:pt x="568" y="356"/>
                    </a:lnTo>
                    <a:lnTo>
                      <a:pt x="568" y="362"/>
                    </a:lnTo>
                    <a:lnTo>
                      <a:pt x="572" y="362"/>
                    </a:lnTo>
                    <a:lnTo>
                      <a:pt x="568" y="368"/>
                    </a:lnTo>
                    <a:lnTo>
                      <a:pt x="556" y="368"/>
                    </a:lnTo>
                    <a:lnTo>
                      <a:pt x="556" y="356"/>
                    </a:lnTo>
                    <a:lnTo>
                      <a:pt x="562" y="356"/>
                    </a:lnTo>
                    <a:lnTo>
                      <a:pt x="556" y="350"/>
                    </a:lnTo>
                    <a:lnTo>
                      <a:pt x="546" y="350"/>
                    </a:lnTo>
                    <a:lnTo>
                      <a:pt x="546" y="356"/>
                    </a:lnTo>
                    <a:lnTo>
                      <a:pt x="536" y="356"/>
                    </a:lnTo>
                    <a:lnTo>
                      <a:pt x="536" y="362"/>
                    </a:lnTo>
                    <a:lnTo>
                      <a:pt x="524" y="362"/>
                    </a:lnTo>
                    <a:lnTo>
                      <a:pt x="524" y="356"/>
                    </a:lnTo>
                    <a:lnTo>
                      <a:pt x="512" y="356"/>
                    </a:lnTo>
                    <a:lnTo>
                      <a:pt x="508" y="362"/>
                    </a:lnTo>
                    <a:lnTo>
                      <a:pt x="502" y="362"/>
                    </a:lnTo>
                    <a:lnTo>
                      <a:pt x="502" y="368"/>
                    </a:lnTo>
                    <a:lnTo>
                      <a:pt x="486" y="368"/>
                    </a:lnTo>
                    <a:lnTo>
                      <a:pt x="486" y="362"/>
                    </a:lnTo>
                    <a:lnTo>
                      <a:pt x="482" y="362"/>
                    </a:lnTo>
                    <a:lnTo>
                      <a:pt x="482" y="356"/>
                    </a:lnTo>
                    <a:lnTo>
                      <a:pt x="458" y="356"/>
                    </a:lnTo>
                    <a:lnTo>
                      <a:pt x="464" y="362"/>
                    </a:lnTo>
                    <a:lnTo>
                      <a:pt x="464" y="368"/>
                    </a:lnTo>
                    <a:lnTo>
                      <a:pt x="458" y="368"/>
                    </a:lnTo>
                    <a:lnTo>
                      <a:pt x="464" y="362"/>
                    </a:lnTo>
                    <a:lnTo>
                      <a:pt x="454" y="362"/>
                    </a:lnTo>
                    <a:lnTo>
                      <a:pt x="454" y="368"/>
                    </a:lnTo>
                    <a:lnTo>
                      <a:pt x="432" y="368"/>
                    </a:lnTo>
                    <a:lnTo>
                      <a:pt x="432" y="374"/>
                    </a:lnTo>
                    <a:lnTo>
                      <a:pt x="426" y="374"/>
                    </a:lnTo>
                    <a:lnTo>
                      <a:pt x="422" y="378"/>
                    </a:lnTo>
                    <a:lnTo>
                      <a:pt x="410" y="378"/>
                    </a:lnTo>
                    <a:lnTo>
                      <a:pt x="410" y="384"/>
                    </a:lnTo>
                    <a:lnTo>
                      <a:pt x="394" y="384"/>
                    </a:lnTo>
                    <a:lnTo>
                      <a:pt x="398" y="390"/>
                    </a:lnTo>
                    <a:lnTo>
                      <a:pt x="398" y="396"/>
                    </a:lnTo>
                    <a:lnTo>
                      <a:pt x="394" y="396"/>
                    </a:lnTo>
                    <a:lnTo>
                      <a:pt x="394" y="406"/>
                    </a:lnTo>
                    <a:lnTo>
                      <a:pt x="372" y="406"/>
                    </a:lnTo>
                    <a:lnTo>
                      <a:pt x="368" y="402"/>
                    </a:lnTo>
                    <a:lnTo>
                      <a:pt x="368" y="396"/>
                    </a:lnTo>
                    <a:lnTo>
                      <a:pt x="356" y="396"/>
                    </a:lnTo>
                    <a:lnTo>
                      <a:pt x="356" y="390"/>
                    </a:lnTo>
                    <a:lnTo>
                      <a:pt x="362" y="390"/>
                    </a:lnTo>
                    <a:lnTo>
                      <a:pt x="362" y="384"/>
                    </a:lnTo>
                    <a:lnTo>
                      <a:pt x="384" y="384"/>
                    </a:lnTo>
                    <a:lnTo>
                      <a:pt x="384" y="374"/>
                    </a:lnTo>
                    <a:lnTo>
                      <a:pt x="378" y="368"/>
                    </a:lnTo>
                    <a:lnTo>
                      <a:pt x="372" y="368"/>
                    </a:lnTo>
                    <a:lnTo>
                      <a:pt x="372" y="362"/>
                    </a:lnTo>
                    <a:lnTo>
                      <a:pt x="340" y="362"/>
                    </a:lnTo>
                    <a:lnTo>
                      <a:pt x="340" y="368"/>
                    </a:lnTo>
                    <a:lnTo>
                      <a:pt x="344" y="368"/>
                    </a:lnTo>
                    <a:lnTo>
                      <a:pt x="344" y="384"/>
                    </a:lnTo>
                    <a:lnTo>
                      <a:pt x="340" y="390"/>
                    </a:lnTo>
                    <a:lnTo>
                      <a:pt x="340" y="396"/>
                    </a:lnTo>
                    <a:lnTo>
                      <a:pt x="344" y="396"/>
                    </a:lnTo>
                    <a:lnTo>
                      <a:pt x="344" y="402"/>
                    </a:lnTo>
                    <a:lnTo>
                      <a:pt x="350" y="402"/>
                    </a:lnTo>
                    <a:lnTo>
                      <a:pt x="350" y="406"/>
                    </a:lnTo>
                    <a:lnTo>
                      <a:pt x="344" y="410"/>
                    </a:lnTo>
                    <a:lnTo>
                      <a:pt x="344" y="422"/>
                    </a:lnTo>
                    <a:lnTo>
                      <a:pt x="340" y="416"/>
                    </a:lnTo>
                    <a:lnTo>
                      <a:pt x="336" y="422"/>
                    </a:lnTo>
                    <a:lnTo>
                      <a:pt x="336" y="416"/>
                    </a:lnTo>
                    <a:lnTo>
                      <a:pt x="324" y="416"/>
                    </a:lnTo>
                    <a:lnTo>
                      <a:pt x="324" y="410"/>
                    </a:lnTo>
                    <a:lnTo>
                      <a:pt x="318" y="410"/>
                    </a:lnTo>
                    <a:lnTo>
                      <a:pt x="318" y="416"/>
                    </a:lnTo>
                    <a:lnTo>
                      <a:pt x="312" y="416"/>
                    </a:lnTo>
                    <a:lnTo>
                      <a:pt x="308" y="422"/>
                    </a:lnTo>
                    <a:lnTo>
                      <a:pt x="302" y="422"/>
                    </a:lnTo>
                    <a:lnTo>
                      <a:pt x="302" y="428"/>
                    </a:lnTo>
                    <a:lnTo>
                      <a:pt x="296" y="428"/>
                    </a:lnTo>
                    <a:lnTo>
                      <a:pt x="296" y="434"/>
                    </a:lnTo>
                    <a:lnTo>
                      <a:pt x="284" y="434"/>
                    </a:lnTo>
                    <a:lnTo>
                      <a:pt x="284" y="450"/>
                    </a:lnTo>
                    <a:lnTo>
                      <a:pt x="290" y="450"/>
                    </a:lnTo>
                    <a:lnTo>
                      <a:pt x="290" y="456"/>
                    </a:lnTo>
                    <a:lnTo>
                      <a:pt x="296" y="456"/>
                    </a:lnTo>
                    <a:lnTo>
                      <a:pt x="296" y="460"/>
                    </a:lnTo>
                    <a:lnTo>
                      <a:pt x="276" y="460"/>
                    </a:lnTo>
                    <a:lnTo>
                      <a:pt x="276" y="456"/>
                    </a:lnTo>
                    <a:lnTo>
                      <a:pt x="258" y="456"/>
                    </a:lnTo>
                    <a:lnTo>
                      <a:pt x="254" y="450"/>
                    </a:lnTo>
                    <a:lnTo>
                      <a:pt x="254" y="444"/>
                    </a:lnTo>
                    <a:lnTo>
                      <a:pt x="242" y="444"/>
                    </a:lnTo>
                    <a:lnTo>
                      <a:pt x="242" y="450"/>
                    </a:lnTo>
                    <a:lnTo>
                      <a:pt x="236" y="456"/>
                    </a:lnTo>
                    <a:lnTo>
                      <a:pt x="242" y="460"/>
                    </a:lnTo>
                    <a:lnTo>
                      <a:pt x="248" y="464"/>
                    </a:lnTo>
                    <a:lnTo>
                      <a:pt x="258" y="464"/>
                    </a:lnTo>
                    <a:lnTo>
                      <a:pt x="258" y="476"/>
                    </a:lnTo>
                    <a:lnTo>
                      <a:pt x="236" y="476"/>
                    </a:lnTo>
                    <a:lnTo>
                      <a:pt x="236" y="470"/>
                    </a:lnTo>
                    <a:lnTo>
                      <a:pt x="230" y="464"/>
                    </a:lnTo>
                    <a:lnTo>
                      <a:pt x="216" y="464"/>
                    </a:lnTo>
                    <a:lnTo>
                      <a:pt x="216" y="444"/>
                    </a:lnTo>
                    <a:lnTo>
                      <a:pt x="204" y="444"/>
                    </a:lnTo>
                    <a:lnTo>
                      <a:pt x="210" y="438"/>
                    </a:lnTo>
                    <a:lnTo>
                      <a:pt x="216" y="438"/>
                    </a:lnTo>
                    <a:lnTo>
                      <a:pt x="216" y="428"/>
                    </a:lnTo>
                    <a:lnTo>
                      <a:pt x="210" y="422"/>
                    </a:lnTo>
                    <a:lnTo>
                      <a:pt x="204" y="422"/>
                    </a:lnTo>
                    <a:lnTo>
                      <a:pt x="204" y="416"/>
                    </a:lnTo>
                    <a:lnTo>
                      <a:pt x="200" y="416"/>
                    </a:lnTo>
                    <a:lnTo>
                      <a:pt x="200" y="410"/>
                    </a:lnTo>
                    <a:lnTo>
                      <a:pt x="194" y="410"/>
                    </a:lnTo>
                    <a:lnTo>
                      <a:pt x="194" y="416"/>
                    </a:lnTo>
                    <a:lnTo>
                      <a:pt x="188" y="410"/>
                    </a:lnTo>
                    <a:lnTo>
                      <a:pt x="188" y="406"/>
                    </a:lnTo>
                    <a:lnTo>
                      <a:pt x="176" y="406"/>
                    </a:lnTo>
                    <a:lnTo>
                      <a:pt x="176" y="396"/>
                    </a:lnTo>
                    <a:lnTo>
                      <a:pt x="182" y="396"/>
                    </a:lnTo>
                    <a:lnTo>
                      <a:pt x="182" y="402"/>
                    </a:lnTo>
                    <a:lnTo>
                      <a:pt x="188" y="402"/>
                    </a:lnTo>
                    <a:lnTo>
                      <a:pt x="188" y="406"/>
                    </a:lnTo>
                    <a:lnTo>
                      <a:pt x="204" y="406"/>
                    </a:lnTo>
                    <a:lnTo>
                      <a:pt x="204" y="410"/>
                    </a:lnTo>
                    <a:lnTo>
                      <a:pt x="216" y="410"/>
                    </a:lnTo>
                    <a:lnTo>
                      <a:pt x="222" y="416"/>
                    </a:lnTo>
                    <a:lnTo>
                      <a:pt x="254" y="416"/>
                    </a:lnTo>
                    <a:lnTo>
                      <a:pt x="254" y="422"/>
                    </a:lnTo>
                    <a:lnTo>
                      <a:pt x="276" y="422"/>
                    </a:lnTo>
                    <a:lnTo>
                      <a:pt x="282" y="416"/>
                    </a:lnTo>
                    <a:lnTo>
                      <a:pt x="296" y="416"/>
                    </a:lnTo>
                    <a:lnTo>
                      <a:pt x="302" y="410"/>
                    </a:lnTo>
                    <a:lnTo>
                      <a:pt x="302" y="406"/>
                    </a:lnTo>
                    <a:lnTo>
                      <a:pt x="308" y="406"/>
                    </a:lnTo>
                    <a:lnTo>
                      <a:pt x="308" y="396"/>
                    </a:lnTo>
                    <a:lnTo>
                      <a:pt x="302" y="396"/>
                    </a:lnTo>
                    <a:lnTo>
                      <a:pt x="302" y="384"/>
                    </a:lnTo>
                    <a:lnTo>
                      <a:pt x="290" y="384"/>
                    </a:lnTo>
                    <a:lnTo>
                      <a:pt x="290" y="378"/>
                    </a:lnTo>
                    <a:lnTo>
                      <a:pt x="284" y="378"/>
                    </a:lnTo>
                    <a:lnTo>
                      <a:pt x="284" y="374"/>
                    </a:lnTo>
                    <a:lnTo>
                      <a:pt x="282" y="374"/>
                    </a:lnTo>
                    <a:lnTo>
                      <a:pt x="276" y="368"/>
                    </a:lnTo>
                    <a:lnTo>
                      <a:pt x="264" y="368"/>
                    </a:lnTo>
                    <a:lnTo>
                      <a:pt x="258" y="362"/>
                    </a:lnTo>
                    <a:lnTo>
                      <a:pt x="258" y="356"/>
                    </a:lnTo>
                    <a:lnTo>
                      <a:pt x="248" y="356"/>
                    </a:lnTo>
                    <a:lnTo>
                      <a:pt x="242" y="350"/>
                    </a:lnTo>
                    <a:lnTo>
                      <a:pt x="236" y="350"/>
                    </a:lnTo>
                    <a:lnTo>
                      <a:pt x="236" y="348"/>
                    </a:lnTo>
                    <a:lnTo>
                      <a:pt x="204" y="348"/>
                    </a:lnTo>
                    <a:lnTo>
                      <a:pt x="204" y="342"/>
                    </a:lnTo>
                    <a:lnTo>
                      <a:pt x="200" y="342"/>
                    </a:lnTo>
                    <a:lnTo>
                      <a:pt x="200" y="348"/>
                    </a:lnTo>
                    <a:lnTo>
                      <a:pt x="194" y="348"/>
                    </a:lnTo>
                    <a:lnTo>
                      <a:pt x="194" y="342"/>
                    </a:lnTo>
                    <a:lnTo>
                      <a:pt x="188" y="342"/>
                    </a:lnTo>
                    <a:lnTo>
                      <a:pt x="188" y="348"/>
                    </a:lnTo>
                    <a:lnTo>
                      <a:pt x="182" y="348"/>
                    </a:lnTo>
                    <a:lnTo>
                      <a:pt x="188" y="342"/>
                    </a:lnTo>
                    <a:lnTo>
                      <a:pt x="188" y="330"/>
                    </a:lnTo>
                    <a:lnTo>
                      <a:pt x="176" y="330"/>
                    </a:lnTo>
                    <a:lnTo>
                      <a:pt x="176" y="336"/>
                    </a:lnTo>
                    <a:lnTo>
                      <a:pt x="172" y="330"/>
                    </a:lnTo>
                    <a:lnTo>
                      <a:pt x="168" y="330"/>
                    </a:lnTo>
                    <a:lnTo>
                      <a:pt x="168" y="336"/>
                    </a:lnTo>
                    <a:lnTo>
                      <a:pt x="156" y="330"/>
                    </a:lnTo>
                    <a:lnTo>
                      <a:pt x="156" y="336"/>
                    </a:lnTo>
                    <a:lnTo>
                      <a:pt x="144" y="336"/>
                    </a:lnTo>
                    <a:lnTo>
                      <a:pt x="144" y="342"/>
                    </a:lnTo>
                    <a:lnTo>
                      <a:pt x="140" y="342"/>
                    </a:lnTo>
                    <a:lnTo>
                      <a:pt x="134" y="348"/>
                    </a:lnTo>
                    <a:lnTo>
                      <a:pt x="128" y="348"/>
                    </a:lnTo>
                    <a:lnTo>
                      <a:pt x="128" y="350"/>
                    </a:lnTo>
                    <a:lnTo>
                      <a:pt x="122" y="350"/>
                    </a:lnTo>
                    <a:lnTo>
                      <a:pt x="122" y="356"/>
                    </a:lnTo>
                    <a:lnTo>
                      <a:pt x="128" y="356"/>
                    </a:lnTo>
                    <a:lnTo>
                      <a:pt x="122" y="362"/>
                    </a:lnTo>
                    <a:lnTo>
                      <a:pt x="122" y="368"/>
                    </a:lnTo>
                    <a:lnTo>
                      <a:pt x="128" y="368"/>
                    </a:lnTo>
                    <a:lnTo>
                      <a:pt x="134" y="374"/>
                    </a:lnTo>
                    <a:lnTo>
                      <a:pt x="140" y="374"/>
                    </a:lnTo>
                    <a:lnTo>
                      <a:pt x="140" y="378"/>
                    </a:lnTo>
                    <a:lnTo>
                      <a:pt x="144" y="384"/>
                    </a:lnTo>
                    <a:lnTo>
                      <a:pt x="144" y="390"/>
                    </a:lnTo>
                    <a:lnTo>
                      <a:pt x="140" y="396"/>
                    </a:lnTo>
                    <a:lnTo>
                      <a:pt x="134" y="402"/>
                    </a:lnTo>
                    <a:lnTo>
                      <a:pt x="128" y="402"/>
                    </a:lnTo>
                    <a:lnTo>
                      <a:pt x="128" y="406"/>
                    </a:lnTo>
                    <a:lnTo>
                      <a:pt x="134" y="406"/>
                    </a:lnTo>
                    <a:lnTo>
                      <a:pt x="140" y="410"/>
                    </a:lnTo>
                    <a:lnTo>
                      <a:pt x="140" y="416"/>
                    </a:lnTo>
                    <a:lnTo>
                      <a:pt x="144" y="416"/>
                    </a:lnTo>
                    <a:lnTo>
                      <a:pt x="144" y="450"/>
                    </a:lnTo>
                    <a:lnTo>
                      <a:pt x="140" y="450"/>
                    </a:lnTo>
                    <a:lnTo>
                      <a:pt x="140" y="456"/>
                    </a:lnTo>
                    <a:lnTo>
                      <a:pt x="150" y="456"/>
                    </a:lnTo>
                    <a:lnTo>
                      <a:pt x="144" y="460"/>
                    </a:lnTo>
                    <a:lnTo>
                      <a:pt x="144" y="464"/>
                    </a:lnTo>
                    <a:lnTo>
                      <a:pt x="156" y="464"/>
                    </a:lnTo>
                    <a:lnTo>
                      <a:pt x="156" y="476"/>
                    </a:lnTo>
                    <a:lnTo>
                      <a:pt x="144" y="476"/>
                    </a:lnTo>
                    <a:lnTo>
                      <a:pt x="156" y="488"/>
                    </a:lnTo>
                    <a:lnTo>
                      <a:pt x="156" y="492"/>
                    </a:lnTo>
                    <a:lnTo>
                      <a:pt x="168" y="492"/>
                    </a:lnTo>
                    <a:lnTo>
                      <a:pt x="168" y="510"/>
                    </a:lnTo>
                    <a:lnTo>
                      <a:pt x="162" y="514"/>
                    </a:lnTo>
                    <a:lnTo>
                      <a:pt x="156" y="514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44" y="524"/>
                    </a:lnTo>
                    <a:lnTo>
                      <a:pt x="144" y="530"/>
                    </a:lnTo>
                    <a:lnTo>
                      <a:pt x="140" y="536"/>
                    </a:lnTo>
                    <a:lnTo>
                      <a:pt x="128" y="536"/>
                    </a:lnTo>
                    <a:lnTo>
                      <a:pt x="128" y="558"/>
                    </a:lnTo>
                    <a:lnTo>
                      <a:pt x="144" y="558"/>
                    </a:lnTo>
                    <a:lnTo>
                      <a:pt x="144" y="564"/>
                    </a:lnTo>
                    <a:lnTo>
                      <a:pt x="150" y="568"/>
                    </a:lnTo>
                    <a:lnTo>
                      <a:pt x="140" y="568"/>
                    </a:lnTo>
                    <a:lnTo>
                      <a:pt x="134" y="564"/>
                    </a:lnTo>
                    <a:lnTo>
                      <a:pt x="128" y="568"/>
                    </a:lnTo>
                    <a:lnTo>
                      <a:pt x="128" y="574"/>
                    </a:lnTo>
                    <a:lnTo>
                      <a:pt x="122" y="568"/>
                    </a:lnTo>
                    <a:lnTo>
                      <a:pt x="122" y="574"/>
                    </a:lnTo>
                    <a:lnTo>
                      <a:pt x="118" y="574"/>
                    </a:lnTo>
                    <a:lnTo>
                      <a:pt x="118" y="584"/>
                    </a:lnTo>
                    <a:lnTo>
                      <a:pt x="114" y="584"/>
                    </a:lnTo>
                    <a:lnTo>
                      <a:pt x="114" y="590"/>
                    </a:lnTo>
                    <a:lnTo>
                      <a:pt x="108" y="590"/>
                    </a:lnTo>
                    <a:lnTo>
                      <a:pt x="108" y="606"/>
                    </a:lnTo>
                    <a:lnTo>
                      <a:pt x="114" y="606"/>
                    </a:lnTo>
                    <a:lnTo>
                      <a:pt x="114" y="618"/>
                    </a:lnTo>
                    <a:lnTo>
                      <a:pt x="108" y="618"/>
                    </a:lnTo>
                    <a:lnTo>
                      <a:pt x="108" y="622"/>
                    </a:lnTo>
                    <a:lnTo>
                      <a:pt x="114" y="622"/>
                    </a:lnTo>
                    <a:lnTo>
                      <a:pt x="118" y="628"/>
                    </a:lnTo>
                    <a:lnTo>
                      <a:pt x="114" y="632"/>
                    </a:lnTo>
                    <a:lnTo>
                      <a:pt x="118" y="632"/>
                    </a:lnTo>
                    <a:lnTo>
                      <a:pt x="118" y="656"/>
                    </a:lnTo>
                    <a:lnTo>
                      <a:pt x="140" y="656"/>
                    </a:lnTo>
                    <a:lnTo>
                      <a:pt x="134" y="660"/>
                    </a:lnTo>
                    <a:lnTo>
                      <a:pt x="144" y="660"/>
                    </a:lnTo>
                    <a:lnTo>
                      <a:pt x="144" y="656"/>
                    </a:lnTo>
                    <a:lnTo>
                      <a:pt x="150" y="656"/>
                    </a:lnTo>
                    <a:lnTo>
                      <a:pt x="156" y="660"/>
                    </a:lnTo>
                    <a:lnTo>
                      <a:pt x="156" y="672"/>
                    </a:lnTo>
                    <a:lnTo>
                      <a:pt x="162" y="672"/>
                    </a:lnTo>
                    <a:lnTo>
                      <a:pt x="162" y="676"/>
                    </a:lnTo>
                    <a:lnTo>
                      <a:pt x="156" y="676"/>
                    </a:lnTo>
                    <a:lnTo>
                      <a:pt x="156" y="682"/>
                    </a:lnTo>
                    <a:lnTo>
                      <a:pt x="162" y="682"/>
                    </a:lnTo>
                    <a:lnTo>
                      <a:pt x="162" y="688"/>
                    </a:lnTo>
                    <a:lnTo>
                      <a:pt x="168" y="688"/>
                    </a:lnTo>
                    <a:lnTo>
                      <a:pt x="168" y="692"/>
                    </a:lnTo>
                    <a:lnTo>
                      <a:pt x="172" y="692"/>
                    </a:lnTo>
                    <a:lnTo>
                      <a:pt x="172" y="704"/>
                    </a:lnTo>
                    <a:lnTo>
                      <a:pt x="176" y="704"/>
                    </a:lnTo>
                    <a:lnTo>
                      <a:pt x="176" y="710"/>
                    </a:lnTo>
                    <a:lnTo>
                      <a:pt x="182" y="710"/>
                    </a:lnTo>
                    <a:lnTo>
                      <a:pt x="182" y="716"/>
                    </a:lnTo>
                    <a:lnTo>
                      <a:pt x="168" y="716"/>
                    </a:lnTo>
                    <a:lnTo>
                      <a:pt x="168" y="736"/>
                    </a:lnTo>
                    <a:lnTo>
                      <a:pt x="172" y="73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6"/>
                    </a:lnTo>
                    <a:lnTo>
                      <a:pt x="188" y="736"/>
                    </a:lnTo>
                    <a:lnTo>
                      <a:pt x="188" y="730"/>
                    </a:lnTo>
                    <a:lnTo>
                      <a:pt x="194" y="730"/>
                    </a:lnTo>
                    <a:lnTo>
                      <a:pt x="194" y="736"/>
                    </a:lnTo>
                    <a:lnTo>
                      <a:pt x="200" y="736"/>
                    </a:lnTo>
                    <a:lnTo>
                      <a:pt x="200" y="730"/>
                    </a:lnTo>
                    <a:lnTo>
                      <a:pt x="204" y="736"/>
                    </a:lnTo>
                    <a:lnTo>
                      <a:pt x="204" y="742"/>
                    </a:lnTo>
                    <a:lnTo>
                      <a:pt x="210" y="746"/>
                    </a:lnTo>
                    <a:lnTo>
                      <a:pt x="204" y="746"/>
                    </a:lnTo>
                    <a:lnTo>
                      <a:pt x="204" y="758"/>
                    </a:lnTo>
                    <a:lnTo>
                      <a:pt x="216" y="758"/>
                    </a:lnTo>
                    <a:lnTo>
                      <a:pt x="216" y="764"/>
                    </a:lnTo>
                    <a:lnTo>
                      <a:pt x="228" y="764"/>
                    </a:lnTo>
                    <a:lnTo>
                      <a:pt x="228" y="770"/>
                    </a:lnTo>
                    <a:lnTo>
                      <a:pt x="222" y="770"/>
                    </a:lnTo>
                    <a:lnTo>
                      <a:pt x="222" y="774"/>
                    </a:lnTo>
                    <a:lnTo>
                      <a:pt x="254" y="774"/>
                    </a:lnTo>
                    <a:lnTo>
                      <a:pt x="254" y="780"/>
                    </a:lnTo>
                    <a:lnTo>
                      <a:pt x="258" y="780"/>
                    </a:lnTo>
                    <a:lnTo>
                      <a:pt x="258" y="784"/>
                    </a:lnTo>
                    <a:lnTo>
                      <a:pt x="276" y="784"/>
                    </a:lnTo>
                    <a:lnTo>
                      <a:pt x="276" y="790"/>
                    </a:lnTo>
                    <a:lnTo>
                      <a:pt x="284" y="790"/>
                    </a:lnTo>
                    <a:lnTo>
                      <a:pt x="284" y="830"/>
                    </a:lnTo>
                    <a:lnTo>
                      <a:pt x="270" y="830"/>
                    </a:lnTo>
                    <a:lnTo>
                      <a:pt x="270" y="834"/>
                    </a:lnTo>
                    <a:lnTo>
                      <a:pt x="264" y="834"/>
                    </a:lnTo>
                    <a:lnTo>
                      <a:pt x="264" y="844"/>
                    </a:lnTo>
                    <a:lnTo>
                      <a:pt x="270" y="844"/>
                    </a:lnTo>
                    <a:lnTo>
                      <a:pt x="270" y="838"/>
                    </a:lnTo>
                    <a:lnTo>
                      <a:pt x="276" y="838"/>
                    </a:lnTo>
                    <a:lnTo>
                      <a:pt x="276" y="850"/>
                    </a:lnTo>
                    <a:lnTo>
                      <a:pt x="254" y="850"/>
                    </a:lnTo>
                    <a:lnTo>
                      <a:pt x="258" y="856"/>
                    </a:lnTo>
                    <a:lnTo>
                      <a:pt x="258" y="866"/>
                    </a:lnTo>
                    <a:lnTo>
                      <a:pt x="264" y="860"/>
                    </a:lnTo>
                    <a:lnTo>
                      <a:pt x="264" y="866"/>
                    </a:lnTo>
                    <a:lnTo>
                      <a:pt x="258" y="866"/>
                    </a:lnTo>
                    <a:lnTo>
                      <a:pt x="258" y="872"/>
                    </a:lnTo>
                    <a:lnTo>
                      <a:pt x="254" y="872"/>
                    </a:lnTo>
                    <a:lnTo>
                      <a:pt x="254" y="878"/>
                    </a:lnTo>
                    <a:lnTo>
                      <a:pt x="248" y="878"/>
                    </a:lnTo>
                    <a:lnTo>
                      <a:pt x="254" y="884"/>
                    </a:lnTo>
                    <a:lnTo>
                      <a:pt x="248" y="884"/>
                    </a:lnTo>
                    <a:lnTo>
                      <a:pt x="254" y="888"/>
                    </a:lnTo>
                    <a:lnTo>
                      <a:pt x="254" y="892"/>
                    </a:lnTo>
                    <a:lnTo>
                      <a:pt x="258" y="892"/>
                    </a:lnTo>
                    <a:lnTo>
                      <a:pt x="264" y="898"/>
                    </a:lnTo>
                    <a:lnTo>
                      <a:pt x="270" y="898"/>
                    </a:lnTo>
                    <a:lnTo>
                      <a:pt x="276" y="904"/>
                    </a:lnTo>
                    <a:lnTo>
                      <a:pt x="276" y="910"/>
                    </a:lnTo>
                    <a:lnTo>
                      <a:pt x="282" y="910"/>
                    </a:lnTo>
                    <a:lnTo>
                      <a:pt x="284" y="914"/>
                    </a:lnTo>
                    <a:lnTo>
                      <a:pt x="302" y="914"/>
                    </a:lnTo>
                    <a:lnTo>
                      <a:pt x="302" y="920"/>
                    </a:lnTo>
                    <a:lnTo>
                      <a:pt x="330" y="920"/>
                    </a:lnTo>
                    <a:lnTo>
                      <a:pt x="336" y="926"/>
                    </a:lnTo>
                    <a:lnTo>
                      <a:pt x="336" y="932"/>
                    </a:lnTo>
                    <a:lnTo>
                      <a:pt x="372" y="932"/>
                    </a:lnTo>
                    <a:lnTo>
                      <a:pt x="372" y="938"/>
                    </a:lnTo>
                    <a:lnTo>
                      <a:pt x="368" y="938"/>
                    </a:lnTo>
                    <a:lnTo>
                      <a:pt x="368" y="942"/>
                    </a:lnTo>
                    <a:lnTo>
                      <a:pt x="378" y="942"/>
                    </a:lnTo>
                    <a:lnTo>
                      <a:pt x="378" y="946"/>
                    </a:lnTo>
                    <a:lnTo>
                      <a:pt x="384" y="946"/>
                    </a:lnTo>
                    <a:lnTo>
                      <a:pt x="384" y="952"/>
                    </a:lnTo>
                    <a:lnTo>
                      <a:pt x="390" y="952"/>
                    </a:lnTo>
                    <a:lnTo>
                      <a:pt x="390" y="958"/>
                    </a:lnTo>
                    <a:lnTo>
                      <a:pt x="398" y="958"/>
                    </a:lnTo>
                    <a:lnTo>
                      <a:pt x="398" y="952"/>
                    </a:lnTo>
                    <a:lnTo>
                      <a:pt x="410" y="952"/>
                    </a:lnTo>
                    <a:lnTo>
                      <a:pt x="410" y="942"/>
                    </a:lnTo>
                    <a:lnTo>
                      <a:pt x="416" y="942"/>
                    </a:lnTo>
                    <a:lnTo>
                      <a:pt x="422" y="938"/>
                    </a:lnTo>
                    <a:lnTo>
                      <a:pt x="426" y="932"/>
                    </a:lnTo>
                    <a:lnTo>
                      <a:pt x="422" y="926"/>
                    </a:lnTo>
                    <a:lnTo>
                      <a:pt x="422" y="914"/>
                    </a:lnTo>
                    <a:lnTo>
                      <a:pt x="416" y="910"/>
                    </a:lnTo>
                    <a:lnTo>
                      <a:pt x="416" y="898"/>
                    </a:lnTo>
                    <a:lnTo>
                      <a:pt x="410" y="892"/>
                    </a:lnTo>
                    <a:lnTo>
                      <a:pt x="410" y="884"/>
                    </a:lnTo>
                    <a:lnTo>
                      <a:pt x="416" y="884"/>
                    </a:lnTo>
                    <a:lnTo>
                      <a:pt x="422" y="878"/>
                    </a:lnTo>
                    <a:lnTo>
                      <a:pt x="422" y="872"/>
                    </a:lnTo>
                    <a:lnTo>
                      <a:pt x="432" y="872"/>
                    </a:lnTo>
                    <a:lnTo>
                      <a:pt x="432" y="866"/>
                    </a:lnTo>
                    <a:lnTo>
                      <a:pt x="426" y="866"/>
                    </a:lnTo>
                    <a:lnTo>
                      <a:pt x="416" y="856"/>
                    </a:lnTo>
                    <a:lnTo>
                      <a:pt x="410" y="856"/>
                    </a:lnTo>
                    <a:lnTo>
                      <a:pt x="410" y="850"/>
                    </a:lnTo>
                    <a:lnTo>
                      <a:pt x="416" y="850"/>
                    </a:lnTo>
                    <a:lnTo>
                      <a:pt x="410" y="844"/>
                    </a:lnTo>
                    <a:lnTo>
                      <a:pt x="410" y="838"/>
                    </a:lnTo>
                    <a:lnTo>
                      <a:pt x="404" y="834"/>
                    </a:lnTo>
                    <a:lnTo>
                      <a:pt x="404" y="830"/>
                    </a:lnTo>
                    <a:lnTo>
                      <a:pt x="390" y="830"/>
                    </a:lnTo>
                    <a:lnTo>
                      <a:pt x="390" y="818"/>
                    </a:lnTo>
                    <a:lnTo>
                      <a:pt x="384" y="818"/>
                    </a:lnTo>
                    <a:lnTo>
                      <a:pt x="378" y="812"/>
                    </a:lnTo>
                    <a:lnTo>
                      <a:pt x="384" y="812"/>
                    </a:lnTo>
                    <a:lnTo>
                      <a:pt x="384" y="784"/>
                    </a:lnTo>
                    <a:lnTo>
                      <a:pt x="394" y="784"/>
                    </a:lnTo>
                    <a:lnTo>
                      <a:pt x="394" y="780"/>
                    </a:lnTo>
                    <a:lnTo>
                      <a:pt x="390" y="780"/>
                    </a:lnTo>
                    <a:lnTo>
                      <a:pt x="394" y="774"/>
                    </a:lnTo>
                    <a:lnTo>
                      <a:pt x="398" y="774"/>
                    </a:lnTo>
                    <a:lnTo>
                      <a:pt x="398" y="780"/>
                    </a:lnTo>
                    <a:lnTo>
                      <a:pt x="404" y="780"/>
                    </a:lnTo>
                    <a:lnTo>
                      <a:pt x="404" y="784"/>
                    </a:lnTo>
                    <a:lnTo>
                      <a:pt x="410" y="790"/>
                    </a:lnTo>
                    <a:lnTo>
                      <a:pt x="410" y="784"/>
                    </a:lnTo>
                    <a:lnTo>
                      <a:pt x="416" y="784"/>
                    </a:lnTo>
                    <a:lnTo>
                      <a:pt x="416" y="780"/>
                    </a:lnTo>
                    <a:lnTo>
                      <a:pt x="410" y="780"/>
                    </a:lnTo>
                    <a:lnTo>
                      <a:pt x="410" y="770"/>
                    </a:lnTo>
                    <a:lnTo>
                      <a:pt x="416" y="770"/>
                    </a:lnTo>
                    <a:lnTo>
                      <a:pt x="416" y="764"/>
                    </a:lnTo>
                    <a:lnTo>
                      <a:pt x="422" y="764"/>
                    </a:lnTo>
                    <a:lnTo>
                      <a:pt x="426" y="758"/>
                    </a:lnTo>
                    <a:lnTo>
                      <a:pt x="432" y="758"/>
                    </a:lnTo>
                    <a:lnTo>
                      <a:pt x="432" y="752"/>
                    </a:lnTo>
                    <a:lnTo>
                      <a:pt x="442" y="752"/>
                    </a:lnTo>
                    <a:lnTo>
                      <a:pt x="442" y="746"/>
                    </a:lnTo>
                    <a:lnTo>
                      <a:pt x="448" y="746"/>
                    </a:lnTo>
                    <a:lnTo>
                      <a:pt x="448" y="752"/>
                    </a:lnTo>
                    <a:lnTo>
                      <a:pt x="454" y="752"/>
                    </a:lnTo>
                    <a:lnTo>
                      <a:pt x="454" y="746"/>
                    </a:lnTo>
                    <a:lnTo>
                      <a:pt x="464" y="746"/>
                    </a:lnTo>
                    <a:lnTo>
                      <a:pt x="464" y="752"/>
                    </a:lnTo>
                    <a:lnTo>
                      <a:pt x="476" y="752"/>
                    </a:lnTo>
                    <a:lnTo>
                      <a:pt x="482" y="758"/>
                    </a:lnTo>
                    <a:lnTo>
                      <a:pt x="486" y="758"/>
                    </a:lnTo>
                    <a:lnTo>
                      <a:pt x="486" y="764"/>
                    </a:lnTo>
                    <a:lnTo>
                      <a:pt x="502" y="764"/>
                    </a:lnTo>
                    <a:lnTo>
                      <a:pt x="502" y="770"/>
                    </a:lnTo>
                    <a:lnTo>
                      <a:pt x="508" y="770"/>
                    </a:lnTo>
                    <a:lnTo>
                      <a:pt x="508" y="774"/>
                    </a:lnTo>
                    <a:lnTo>
                      <a:pt x="512" y="770"/>
                    </a:lnTo>
                    <a:lnTo>
                      <a:pt x="512" y="764"/>
                    </a:lnTo>
                    <a:lnTo>
                      <a:pt x="536" y="764"/>
                    </a:lnTo>
                    <a:lnTo>
                      <a:pt x="536" y="758"/>
                    </a:lnTo>
                    <a:lnTo>
                      <a:pt x="540" y="764"/>
                    </a:lnTo>
                    <a:lnTo>
                      <a:pt x="546" y="764"/>
                    </a:lnTo>
                    <a:lnTo>
                      <a:pt x="546" y="758"/>
                    </a:lnTo>
                    <a:lnTo>
                      <a:pt x="550" y="758"/>
                    </a:lnTo>
                    <a:lnTo>
                      <a:pt x="550" y="764"/>
                    </a:lnTo>
                    <a:lnTo>
                      <a:pt x="556" y="770"/>
                    </a:lnTo>
                    <a:lnTo>
                      <a:pt x="562" y="770"/>
                    </a:lnTo>
                    <a:lnTo>
                      <a:pt x="562" y="774"/>
                    </a:lnTo>
                    <a:lnTo>
                      <a:pt x="568" y="774"/>
                    </a:lnTo>
                    <a:lnTo>
                      <a:pt x="568" y="764"/>
                    </a:lnTo>
                    <a:lnTo>
                      <a:pt x="572" y="764"/>
                    </a:lnTo>
                    <a:lnTo>
                      <a:pt x="572" y="770"/>
                    </a:lnTo>
                    <a:lnTo>
                      <a:pt x="584" y="770"/>
                    </a:lnTo>
                    <a:lnTo>
                      <a:pt x="590" y="764"/>
                    </a:lnTo>
                    <a:lnTo>
                      <a:pt x="596" y="758"/>
                    </a:lnTo>
                    <a:lnTo>
                      <a:pt x="596" y="752"/>
                    </a:lnTo>
                    <a:lnTo>
                      <a:pt x="578" y="752"/>
                    </a:lnTo>
                    <a:lnTo>
                      <a:pt x="572" y="746"/>
                    </a:lnTo>
                    <a:lnTo>
                      <a:pt x="572" y="742"/>
                    </a:lnTo>
                    <a:lnTo>
                      <a:pt x="578" y="742"/>
                    </a:lnTo>
                    <a:lnTo>
                      <a:pt x="584" y="736"/>
                    </a:lnTo>
                    <a:lnTo>
                      <a:pt x="584" y="720"/>
                    </a:lnTo>
                    <a:lnTo>
                      <a:pt x="600" y="720"/>
                    </a:lnTo>
                    <a:lnTo>
                      <a:pt x="600" y="716"/>
                    </a:lnTo>
                    <a:lnTo>
                      <a:pt x="584" y="716"/>
                    </a:lnTo>
                    <a:lnTo>
                      <a:pt x="584" y="698"/>
                    </a:lnTo>
                    <a:lnTo>
                      <a:pt x="610" y="698"/>
                    </a:lnTo>
                    <a:lnTo>
                      <a:pt x="610" y="692"/>
                    </a:lnTo>
                    <a:lnTo>
                      <a:pt x="644" y="692"/>
                    </a:lnTo>
                    <a:lnTo>
                      <a:pt x="644" y="682"/>
                    </a:lnTo>
                    <a:lnTo>
                      <a:pt x="650" y="682"/>
                    </a:lnTo>
                    <a:lnTo>
                      <a:pt x="650" y="688"/>
                    </a:lnTo>
                    <a:lnTo>
                      <a:pt x="654" y="688"/>
                    </a:lnTo>
                    <a:lnTo>
                      <a:pt x="654" y="682"/>
                    </a:lnTo>
                    <a:lnTo>
                      <a:pt x="680" y="682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2" y="672"/>
                    </a:lnTo>
                    <a:lnTo>
                      <a:pt x="692" y="666"/>
                    </a:lnTo>
                    <a:lnTo>
                      <a:pt x="698" y="672"/>
                    </a:lnTo>
                    <a:lnTo>
                      <a:pt x="698" y="666"/>
                    </a:lnTo>
                    <a:lnTo>
                      <a:pt x="710" y="666"/>
                    </a:lnTo>
                    <a:lnTo>
                      <a:pt x="710" y="672"/>
                    </a:lnTo>
                    <a:lnTo>
                      <a:pt x="718" y="672"/>
                    </a:lnTo>
                    <a:lnTo>
                      <a:pt x="718" y="666"/>
                    </a:lnTo>
                    <a:lnTo>
                      <a:pt x="724" y="666"/>
                    </a:lnTo>
                    <a:lnTo>
                      <a:pt x="724" y="682"/>
                    </a:lnTo>
                    <a:lnTo>
                      <a:pt x="730" y="682"/>
                    </a:lnTo>
                    <a:lnTo>
                      <a:pt x="730" y="692"/>
                    </a:lnTo>
                    <a:lnTo>
                      <a:pt x="758" y="692"/>
                    </a:lnTo>
                    <a:lnTo>
                      <a:pt x="758" y="698"/>
                    </a:lnTo>
                    <a:lnTo>
                      <a:pt x="766" y="698"/>
                    </a:lnTo>
                    <a:lnTo>
                      <a:pt x="766" y="704"/>
                    </a:lnTo>
                    <a:lnTo>
                      <a:pt x="772" y="704"/>
                    </a:lnTo>
                    <a:lnTo>
                      <a:pt x="772" y="710"/>
                    </a:lnTo>
                    <a:lnTo>
                      <a:pt x="778" y="704"/>
                    </a:lnTo>
                    <a:lnTo>
                      <a:pt x="784" y="704"/>
                    </a:lnTo>
                    <a:lnTo>
                      <a:pt x="790" y="698"/>
                    </a:lnTo>
                    <a:lnTo>
                      <a:pt x="790" y="692"/>
                    </a:lnTo>
                    <a:lnTo>
                      <a:pt x="800" y="692"/>
                    </a:lnTo>
                    <a:lnTo>
                      <a:pt x="800" y="698"/>
                    </a:lnTo>
                    <a:lnTo>
                      <a:pt x="806" y="704"/>
                    </a:lnTo>
                    <a:lnTo>
                      <a:pt x="812" y="704"/>
                    </a:lnTo>
                    <a:lnTo>
                      <a:pt x="818" y="710"/>
                    </a:lnTo>
                    <a:lnTo>
                      <a:pt x="822" y="716"/>
                    </a:lnTo>
                    <a:lnTo>
                      <a:pt x="826" y="726"/>
                    </a:lnTo>
                    <a:lnTo>
                      <a:pt x="832" y="726"/>
                    </a:lnTo>
                    <a:lnTo>
                      <a:pt x="832" y="730"/>
                    </a:lnTo>
                    <a:lnTo>
                      <a:pt x="838" y="730"/>
                    </a:lnTo>
                    <a:lnTo>
                      <a:pt x="838" y="736"/>
                    </a:lnTo>
                    <a:lnTo>
                      <a:pt x="844" y="746"/>
                    </a:lnTo>
                    <a:lnTo>
                      <a:pt x="850" y="752"/>
                    </a:lnTo>
                    <a:lnTo>
                      <a:pt x="850" y="764"/>
                    </a:lnTo>
                    <a:lnTo>
                      <a:pt x="860" y="764"/>
                    </a:lnTo>
                    <a:lnTo>
                      <a:pt x="860" y="752"/>
                    </a:lnTo>
                    <a:lnTo>
                      <a:pt x="866" y="758"/>
                    </a:lnTo>
                    <a:lnTo>
                      <a:pt x="872" y="758"/>
                    </a:lnTo>
                    <a:lnTo>
                      <a:pt x="872" y="770"/>
                    </a:lnTo>
                    <a:lnTo>
                      <a:pt x="876" y="770"/>
                    </a:lnTo>
                    <a:lnTo>
                      <a:pt x="876" y="764"/>
                    </a:lnTo>
                    <a:lnTo>
                      <a:pt x="880" y="764"/>
                    </a:lnTo>
                    <a:lnTo>
                      <a:pt x="880" y="770"/>
                    </a:lnTo>
                    <a:lnTo>
                      <a:pt x="886" y="764"/>
                    </a:lnTo>
                    <a:lnTo>
                      <a:pt x="886" y="770"/>
                    </a:lnTo>
                    <a:lnTo>
                      <a:pt x="892" y="764"/>
                    </a:lnTo>
                    <a:lnTo>
                      <a:pt x="908" y="764"/>
                    </a:lnTo>
                    <a:lnTo>
                      <a:pt x="908" y="770"/>
                    </a:lnTo>
                    <a:lnTo>
                      <a:pt x="914" y="774"/>
                    </a:lnTo>
                    <a:lnTo>
                      <a:pt x="914" y="780"/>
                    </a:lnTo>
                    <a:lnTo>
                      <a:pt x="926" y="780"/>
                    </a:lnTo>
                    <a:lnTo>
                      <a:pt x="926" y="790"/>
                    </a:lnTo>
                    <a:lnTo>
                      <a:pt x="936" y="790"/>
                    </a:lnTo>
                    <a:lnTo>
                      <a:pt x="940" y="796"/>
                    </a:lnTo>
                    <a:lnTo>
                      <a:pt x="940" y="790"/>
                    </a:lnTo>
                    <a:lnTo>
                      <a:pt x="952" y="790"/>
                    </a:lnTo>
                    <a:lnTo>
                      <a:pt x="952" y="802"/>
                    </a:lnTo>
                    <a:lnTo>
                      <a:pt x="968" y="802"/>
                    </a:lnTo>
                    <a:lnTo>
                      <a:pt x="968" y="796"/>
                    </a:lnTo>
                    <a:lnTo>
                      <a:pt x="980" y="796"/>
                    </a:lnTo>
                    <a:lnTo>
                      <a:pt x="980" y="790"/>
                    </a:lnTo>
                    <a:lnTo>
                      <a:pt x="990" y="790"/>
                    </a:lnTo>
                    <a:lnTo>
                      <a:pt x="990" y="784"/>
                    </a:lnTo>
                    <a:lnTo>
                      <a:pt x="994" y="784"/>
                    </a:lnTo>
                    <a:lnTo>
                      <a:pt x="994" y="780"/>
                    </a:lnTo>
                    <a:lnTo>
                      <a:pt x="1000" y="780"/>
                    </a:lnTo>
                    <a:lnTo>
                      <a:pt x="1000" y="774"/>
                    </a:lnTo>
                    <a:lnTo>
                      <a:pt x="1018" y="774"/>
                    </a:lnTo>
                    <a:lnTo>
                      <a:pt x="1018" y="770"/>
                    </a:lnTo>
                    <a:lnTo>
                      <a:pt x="1028" y="770"/>
                    </a:lnTo>
                    <a:lnTo>
                      <a:pt x="1028" y="764"/>
                    </a:lnTo>
                    <a:lnTo>
                      <a:pt x="1034" y="770"/>
                    </a:lnTo>
                    <a:lnTo>
                      <a:pt x="1034" y="764"/>
                    </a:lnTo>
                    <a:lnTo>
                      <a:pt x="1038" y="764"/>
                    </a:lnTo>
                    <a:lnTo>
                      <a:pt x="1038" y="770"/>
                    </a:lnTo>
                    <a:lnTo>
                      <a:pt x="1054" y="770"/>
                    </a:lnTo>
                    <a:lnTo>
                      <a:pt x="1054" y="780"/>
                    </a:lnTo>
                    <a:lnTo>
                      <a:pt x="1060" y="780"/>
                    </a:lnTo>
                    <a:lnTo>
                      <a:pt x="1060" y="784"/>
                    </a:lnTo>
                    <a:lnTo>
                      <a:pt x="1066" y="780"/>
                    </a:lnTo>
                    <a:lnTo>
                      <a:pt x="1066" y="784"/>
                    </a:lnTo>
                    <a:lnTo>
                      <a:pt x="1092" y="784"/>
                    </a:lnTo>
                    <a:lnTo>
                      <a:pt x="1098" y="790"/>
                    </a:lnTo>
                    <a:lnTo>
                      <a:pt x="1104" y="790"/>
                    </a:lnTo>
                    <a:lnTo>
                      <a:pt x="1104" y="784"/>
                    </a:lnTo>
                    <a:lnTo>
                      <a:pt x="1108" y="784"/>
                    </a:lnTo>
                    <a:lnTo>
                      <a:pt x="1108" y="764"/>
                    </a:lnTo>
                    <a:lnTo>
                      <a:pt x="1104" y="764"/>
                    </a:lnTo>
                    <a:lnTo>
                      <a:pt x="1108" y="758"/>
                    </a:lnTo>
                    <a:lnTo>
                      <a:pt x="1108" y="746"/>
                    </a:lnTo>
                    <a:lnTo>
                      <a:pt x="1120" y="746"/>
                    </a:lnTo>
                    <a:lnTo>
                      <a:pt x="1120" y="742"/>
                    </a:lnTo>
                    <a:lnTo>
                      <a:pt x="1136" y="742"/>
                    </a:lnTo>
                    <a:lnTo>
                      <a:pt x="1136" y="746"/>
                    </a:lnTo>
                    <a:lnTo>
                      <a:pt x="1146" y="746"/>
                    </a:lnTo>
                    <a:lnTo>
                      <a:pt x="1146" y="752"/>
                    </a:lnTo>
                    <a:lnTo>
                      <a:pt x="1168" y="752"/>
                    </a:lnTo>
                    <a:lnTo>
                      <a:pt x="1168" y="774"/>
                    </a:lnTo>
                    <a:lnTo>
                      <a:pt x="1186" y="774"/>
                    </a:lnTo>
                    <a:lnTo>
                      <a:pt x="1186" y="780"/>
                    </a:lnTo>
                    <a:lnTo>
                      <a:pt x="1196" y="780"/>
                    </a:lnTo>
                    <a:lnTo>
                      <a:pt x="1196" y="774"/>
                    </a:lnTo>
                    <a:lnTo>
                      <a:pt x="1234" y="774"/>
                    </a:lnTo>
                    <a:lnTo>
                      <a:pt x="1234" y="780"/>
                    </a:lnTo>
                    <a:lnTo>
                      <a:pt x="1240" y="784"/>
                    </a:lnTo>
                    <a:lnTo>
                      <a:pt x="1250" y="784"/>
                    </a:lnTo>
                    <a:lnTo>
                      <a:pt x="1250" y="790"/>
                    </a:lnTo>
                    <a:lnTo>
                      <a:pt x="1254" y="796"/>
                    </a:lnTo>
                    <a:lnTo>
                      <a:pt x="1266" y="796"/>
                    </a:lnTo>
                    <a:lnTo>
                      <a:pt x="1272" y="802"/>
                    </a:lnTo>
                    <a:lnTo>
                      <a:pt x="1294" y="802"/>
                    </a:lnTo>
                    <a:lnTo>
                      <a:pt x="1294" y="796"/>
                    </a:lnTo>
                    <a:lnTo>
                      <a:pt x="1308" y="796"/>
                    </a:lnTo>
                    <a:lnTo>
                      <a:pt x="1314" y="790"/>
                    </a:lnTo>
                    <a:lnTo>
                      <a:pt x="1326" y="790"/>
                    </a:lnTo>
                    <a:lnTo>
                      <a:pt x="1326" y="784"/>
                    </a:lnTo>
                    <a:lnTo>
                      <a:pt x="1332" y="780"/>
                    </a:lnTo>
                    <a:lnTo>
                      <a:pt x="1336" y="780"/>
                    </a:lnTo>
                    <a:lnTo>
                      <a:pt x="1336" y="774"/>
                    </a:lnTo>
                    <a:lnTo>
                      <a:pt x="1348" y="774"/>
                    </a:lnTo>
                    <a:lnTo>
                      <a:pt x="1348" y="780"/>
                    </a:lnTo>
                    <a:lnTo>
                      <a:pt x="1354" y="780"/>
                    </a:lnTo>
                    <a:lnTo>
                      <a:pt x="1354" y="784"/>
                    </a:lnTo>
                    <a:lnTo>
                      <a:pt x="1374" y="784"/>
                    </a:lnTo>
                    <a:lnTo>
                      <a:pt x="1374" y="790"/>
                    </a:lnTo>
                    <a:lnTo>
                      <a:pt x="1402" y="790"/>
                    </a:lnTo>
                    <a:lnTo>
                      <a:pt x="1402" y="784"/>
                    </a:lnTo>
                    <a:lnTo>
                      <a:pt x="1408" y="784"/>
                    </a:lnTo>
                    <a:lnTo>
                      <a:pt x="1412" y="780"/>
                    </a:lnTo>
                    <a:lnTo>
                      <a:pt x="1412" y="764"/>
                    </a:lnTo>
                    <a:lnTo>
                      <a:pt x="1418" y="758"/>
                    </a:lnTo>
                    <a:lnTo>
                      <a:pt x="1418" y="752"/>
                    </a:lnTo>
                    <a:lnTo>
                      <a:pt x="1422" y="752"/>
                    </a:lnTo>
                    <a:lnTo>
                      <a:pt x="1422" y="742"/>
                    </a:lnTo>
                    <a:lnTo>
                      <a:pt x="1428" y="742"/>
                    </a:lnTo>
                    <a:lnTo>
                      <a:pt x="1428" y="726"/>
                    </a:lnTo>
                    <a:lnTo>
                      <a:pt x="1422" y="726"/>
                    </a:lnTo>
                    <a:lnTo>
                      <a:pt x="1422" y="720"/>
                    </a:lnTo>
                    <a:lnTo>
                      <a:pt x="1428" y="716"/>
                    </a:lnTo>
                    <a:lnTo>
                      <a:pt x="1446" y="716"/>
                    </a:lnTo>
                    <a:lnTo>
                      <a:pt x="1446" y="710"/>
                    </a:lnTo>
                    <a:lnTo>
                      <a:pt x="1476" y="710"/>
                    </a:lnTo>
                    <a:lnTo>
                      <a:pt x="1476" y="716"/>
                    </a:lnTo>
                    <a:lnTo>
                      <a:pt x="1500" y="716"/>
                    </a:lnTo>
                    <a:lnTo>
                      <a:pt x="1500" y="720"/>
                    </a:lnTo>
                    <a:lnTo>
                      <a:pt x="1504" y="726"/>
                    </a:lnTo>
                    <a:lnTo>
                      <a:pt x="1504" y="736"/>
                    </a:lnTo>
                    <a:lnTo>
                      <a:pt x="1510" y="736"/>
                    </a:lnTo>
                    <a:lnTo>
                      <a:pt x="1510" y="746"/>
                    </a:lnTo>
                    <a:lnTo>
                      <a:pt x="1516" y="746"/>
                    </a:lnTo>
                    <a:lnTo>
                      <a:pt x="1516" y="764"/>
                    </a:lnTo>
                    <a:lnTo>
                      <a:pt x="1520" y="764"/>
                    </a:lnTo>
                    <a:lnTo>
                      <a:pt x="1520" y="774"/>
                    </a:lnTo>
                    <a:lnTo>
                      <a:pt x="1526" y="774"/>
                    </a:lnTo>
                    <a:lnTo>
                      <a:pt x="1526" y="790"/>
                    </a:lnTo>
                    <a:lnTo>
                      <a:pt x="1542" y="790"/>
                    </a:lnTo>
                    <a:lnTo>
                      <a:pt x="1542" y="796"/>
                    </a:lnTo>
                    <a:lnTo>
                      <a:pt x="1554" y="796"/>
                    </a:lnTo>
                    <a:lnTo>
                      <a:pt x="1554" y="802"/>
                    </a:lnTo>
                    <a:lnTo>
                      <a:pt x="1560" y="802"/>
                    </a:lnTo>
                    <a:lnTo>
                      <a:pt x="1564" y="806"/>
                    </a:lnTo>
                    <a:lnTo>
                      <a:pt x="1570" y="806"/>
                    </a:lnTo>
                    <a:lnTo>
                      <a:pt x="1570" y="824"/>
                    </a:lnTo>
                    <a:lnTo>
                      <a:pt x="1574" y="824"/>
                    </a:lnTo>
                    <a:lnTo>
                      <a:pt x="1574" y="830"/>
                    </a:lnTo>
                    <a:lnTo>
                      <a:pt x="1580" y="830"/>
                    </a:lnTo>
                    <a:lnTo>
                      <a:pt x="1580" y="834"/>
                    </a:lnTo>
                    <a:lnTo>
                      <a:pt x="1590" y="834"/>
                    </a:lnTo>
                    <a:lnTo>
                      <a:pt x="1590" y="830"/>
                    </a:lnTo>
                    <a:lnTo>
                      <a:pt x="1596" y="830"/>
                    </a:lnTo>
                    <a:lnTo>
                      <a:pt x="1596" y="824"/>
                    </a:lnTo>
                    <a:lnTo>
                      <a:pt x="1614" y="824"/>
                    </a:lnTo>
                    <a:lnTo>
                      <a:pt x="1614" y="818"/>
                    </a:lnTo>
                    <a:lnTo>
                      <a:pt x="1624" y="818"/>
                    </a:lnTo>
                    <a:lnTo>
                      <a:pt x="1624" y="838"/>
                    </a:lnTo>
                    <a:lnTo>
                      <a:pt x="1618" y="838"/>
                    </a:lnTo>
                    <a:lnTo>
                      <a:pt x="1618" y="850"/>
                    </a:lnTo>
                    <a:lnTo>
                      <a:pt x="1614" y="850"/>
                    </a:lnTo>
                    <a:lnTo>
                      <a:pt x="1614" y="872"/>
                    </a:lnTo>
                    <a:lnTo>
                      <a:pt x="1602" y="872"/>
                    </a:lnTo>
                    <a:lnTo>
                      <a:pt x="1602" y="884"/>
                    </a:lnTo>
                    <a:lnTo>
                      <a:pt x="1590" y="884"/>
                    </a:lnTo>
                    <a:lnTo>
                      <a:pt x="1590" y="878"/>
                    </a:lnTo>
                    <a:lnTo>
                      <a:pt x="1586" y="878"/>
                    </a:lnTo>
                    <a:lnTo>
                      <a:pt x="1586" y="884"/>
                    </a:lnTo>
                    <a:lnTo>
                      <a:pt x="1574" y="884"/>
                    </a:lnTo>
                    <a:lnTo>
                      <a:pt x="1574" y="926"/>
                    </a:lnTo>
                    <a:lnTo>
                      <a:pt x="1570" y="926"/>
                    </a:lnTo>
                    <a:lnTo>
                      <a:pt x="1570" y="938"/>
                    </a:lnTo>
                    <a:lnTo>
                      <a:pt x="1574" y="932"/>
                    </a:lnTo>
                    <a:lnTo>
                      <a:pt x="1580" y="926"/>
                    </a:lnTo>
                    <a:lnTo>
                      <a:pt x="1580" y="920"/>
                    </a:lnTo>
                    <a:lnTo>
                      <a:pt x="1590" y="920"/>
                    </a:lnTo>
                    <a:lnTo>
                      <a:pt x="1590" y="926"/>
                    </a:lnTo>
                    <a:lnTo>
                      <a:pt x="1596" y="926"/>
                    </a:lnTo>
                    <a:lnTo>
                      <a:pt x="1596" y="932"/>
                    </a:lnTo>
                    <a:lnTo>
                      <a:pt x="1602" y="926"/>
                    </a:lnTo>
                    <a:lnTo>
                      <a:pt x="1602" y="932"/>
                    </a:lnTo>
                    <a:lnTo>
                      <a:pt x="1614" y="932"/>
                    </a:lnTo>
                    <a:lnTo>
                      <a:pt x="1614" y="926"/>
                    </a:lnTo>
                    <a:lnTo>
                      <a:pt x="1618" y="926"/>
                    </a:lnTo>
                    <a:lnTo>
                      <a:pt x="1618" y="920"/>
                    </a:lnTo>
                    <a:lnTo>
                      <a:pt x="1628" y="920"/>
                    </a:lnTo>
                    <a:lnTo>
                      <a:pt x="1628" y="914"/>
                    </a:lnTo>
                    <a:lnTo>
                      <a:pt x="1634" y="914"/>
                    </a:lnTo>
                    <a:lnTo>
                      <a:pt x="1634" y="910"/>
                    </a:lnTo>
                    <a:lnTo>
                      <a:pt x="1640" y="910"/>
                    </a:lnTo>
                    <a:lnTo>
                      <a:pt x="1640" y="898"/>
                    </a:lnTo>
                    <a:lnTo>
                      <a:pt x="1650" y="898"/>
                    </a:lnTo>
                    <a:lnTo>
                      <a:pt x="1650" y="884"/>
                    </a:lnTo>
                    <a:lnTo>
                      <a:pt x="1656" y="884"/>
                    </a:lnTo>
                    <a:lnTo>
                      <a:pt x="1662" y="878"/>
                    </a:lnTo>
                    <a:lnTo>
                      <a:pt x="1662" y="872"/>
                    </a:lnTo>
                    <a:lnTo>
                      <a:pt x="1672" y="872"/>
                    </a:lnTo>
                    <a:lnTo>
                      <a:pt x="1672" y="856"/>
                    </a:lnTo>
                    <a:lnTo>
                      <a:pt x="1678" y="856"/>
                    </a:lnTo>
                    <a:lnTo>
                      <a:pt x="1678" y="850"/>
                    </a:lnTo>
                    <a:lnTo>
                      <a:pt x="1682" y="844"/>
                    </a:lnTo>
                    <a:lnTo>
                      <a:pt x="1682" y="838"/>
                    </a:lnTo>
                    <a:lnTo>
                      <a:pt x="1688" y="838"/>
                    </a:lnTo>
                    <a:lnTo>
                      <a:pt x="1688" y="830"/>
                    </a:lnTo>
                    <a:lnTo>
                      <a:pt x="1694" y="830"/>
                    </a:lnTo>
                    <a:lnTo>
                      <a:pt x="1694" y="824"/>
                    </a:lnTo>
                    <a:lnTo>
                      <a:pt x="1700" y="824"/>
                    </a:lnTo>
                    <a:lnTo>
                      <a:pt x="1700" y="818"/>
                    </a:lnTo>
                    <a:lnTo>
                      <a:pt x="1704" y="812"/>
                    </a:lnTo>
                    <a:lnTo>
                      <a:pt x="1704" y="806"/>
                    </a:lnTo>
                    <a:lnTo>
                      <a:pt x="1710" y="806"/>
                    </a:lnTo>
                    <a:lnTo>
                      <a:pt x="1710" y="752"/>
                    </a:lnTo>
                    <a:lnTo>
                      <a:pt x="1716" y="752"/>
                    </a:lnTo>
                    <a:lnTo>
                      <a:pt x="1716" y="746"/>
                    </a:lnTo>
                    <a:lnTo>
                      <a:pt x="1722" y="746"/>
                    </a:lnTo>
                    <a:lnTo>
                      <a:pt x="1722" y="726"/>
                    </a:lnTo>
                    <a:lnTo>
                      <a:pt x="1716" y="720"/>
                    </a:lnTo>
                    <a:lnTo>
                      <a:pt x="1710" y="716"/>
                    </a:lnTo>
                    <a:lnTo>
                      <a:pt x="1716" y="716"/>
                    </a:lnTo>
                    <a:lnTo>
                      <a:pt x="1722" y="720"/>
                    </a:lnTo>
                    <a:lnTo>
                      <a:pt x="1722" y="716"/>
                    </a:lnTo>
                    <a:lnTo>
                      <a:pt x="1716" y="710"/>
                    </a:lnTo>
                    <a:lnTo>
                      <a:pt x="1710" y="710"/>
                    </a:lnTo>
                    <a:lnTo>
                      <a:pt x="1710" y="704"/>
                    </a:lnTo>
                    <a:lnTo>
                      <a:pt x="1704" y="704"/>
                    </a:lnTo>
                    <a:lnTo>
                      <a:pt x="1704" y="692"/>
                    </a:lnTo>
                    <a:lnTo>
                      <a:pt x="1688" y="692"/>
                    </a:lnTo>
                    <a:lnTo>
                      <a:pt x="1688" y="698"/>
                    </a:lnTo>
                    <a:lnTo>
                      <a:pt x="1682" y="704"/>
                    </a:lnTo>
                    <a:lnTo>
                      <a:pt x="1682" y="710"/>
                    </a:lnTo>
                    <a:lnTo>
                      <a:pt x="1678" y="710"/>
                    </a:lnTo>
                    <a:lnTo>
                      <a:pt x="1678" y="704"/>
                    </a:lnTo>
                    <a:lnTo>
                      <a:pt x="1672" y="704"/>
                    </a:lnTo>
                    <a:lnTo>
                      <a:pt x="1672" y="710"/>
                    </a:lnTo>
                    <a:lnTo>
                      <a:pt x="1662" y="710"/>
                    </a:lnTo>
                    <a:lnTo>
                      <a:pt x="1662" y="704"/>
                    </a:lnTo>
                    <a:lnTo>
                      <a:pt x="1656" y="704"/>
                    </a:lnTo>
                    <a:lnTo>
                      <a:pt x="1656" y="682"/>
                    </a:lnTo>
                    <a:lnTo>
                      <a:pt x="1650" y="688"/>
                    </a:lnTo>
                    <a:lnTo>
                      <a:pt x="1650" y="682"/>
                    </a:lnTo>
                    <a:lnTo>
                      <a:pt x="1644" y="688"/>
                    </a:lnTo>
                    <a:lnTo>
                      <a:pt x="1640" y="688"/>
                    </a:lnTo>
                    <a:lnTo>
                      <a:pt x="1640" y="682"/>
                    </a:lnTo>
                    <a:lnTo>
                      <a:pt x="1634" y="682"/>
                    </a:lnTo>
                    <a:lnTo>
                      <a:pt x="1634" y="676"/>
                    </a:lnTo>
                    <a:lnTo>
                      <a:pt x="1640" y="676"/>
                    </a:lnTo>
                    <a:lnTo>
                      <a:pt x="1640" y="672"/>
                    </a:lnTo>
                    <a:lnTo>
                      <a:pt x="1644" y="672"/>
                    </a:lnTo>
                    <a:lnTo>
                      <a:pt x="1644" y="666"/>
                    </a:lnTo>
                    <a:lnTo>
                      <a:pt x="1650" y="666"/>
                    </a:lnTo>
                    <a:lnTo>
                      <a:pt x="1656" y="660"/>
                    </a:lnTo>
                    <a:lnTo>
                      <a:pt x="1662" y="660"/>
                    </a:lnTo>
                    <a:lnTo>
                      <a:pt x="1662" y="656"/>
                    </a:lnTo>
                    <a:lnTo>
                      <a:pt x="1668" y="656"/>
                    </a:lnTo>
                    <a:lnTo>
                      <a:pt x="1672" y="650"/>
                    </a:lnTo>
                    <a:lnTo>
                      <a:pt x="1672" y="644"/>
                    </a:lnTo>
                    <a:lnTo>
                      <a:pt x="1678" y="644"/>
                    </a:lnTo>
                    <a:lnTo>
                      <a:pt x="1678" y="638"/>
                    </a:lnTo>
                    <a:lnTo>
                      <a:pt x="1682" y="632"/>
                    </a:lnTo>
                    <a:lnTo>
                      <a:pt x="1688" y="632"/>
                    </a:lnTo>
                    <a:lnTo>
                      <a:pt x="1688" y="628"/>
                    </a:lnTo>
                    <a:lnTo>
                      <a:pt x="1694" y="628"/>
                    </a:lnTo>
                    <a:lnTo>
                      <a:pt x="1694" y="622"/>
                    </a:lnTo>
                    <a:lnTo>
                      <a:pt x="1700" y="622"/>
                    </a:lnTo>
                    <a:lnTo>
                      <a:pt x="1700" y="618"/>
                    </a:lnTo>
                    <a:lnTo>
                      <a:pt x="1710" y="618"/>
                    </a:lnTo>
                    <a:lnTo>
                      <a:pt x="1710" y="606"/>
                    </a:lnTo>
                    <a:lnTo>
                      <a:pt x="1716" y="602"/>
                    </a:lnTo>
                    <a:lnTo>
                      <a:pt x="1722" y="602"/>
                    </a:lnTo>
                    <a:lnTo>
                      <a:pt x="1722" y="596"/>
                    </a:lnTo>
                    <a:lnTo>
                      <a:pt x="1728" y="596"/>
                    </a:lnTo>
                    <a:lnTo>
                      <a:pt x="1728" y="590"/>
                    </a:lnTo>
                    <a:lnTo>
                      <a:pt x="1732" y="590"/>
                    </a:lnTo>
                    <a:lnTo>
                      <a:pt x="1732" y="584"/>
                    </a:lnTo>
                    <a:lnTo>
                      <a:pt x="1748" y="584"/>
                    </a:lnTo>
                    <a:lnTo>
                      <a:pt x="1748" y="578"/>
                    </a:lnTo>
                    <a:lnTo>
                      <a:pt x="1786" y="578"/>
                    </a:lnTo>
                    <a:lnTo>
                      <a:pt x="1782" y="584"/>
                    </a:lnTo>
                    <a:lnTo>
                      <a:pt x="1790" y="584"/>
                    </a:lnTo>
                    <a:lnTo>
                      <a:pt x="1790" y="578"/>
                    </a:lnTo>
                    <a:lnTo>
                      <a:pt x="1802" y="578"/>
                    </a:lnTo>
                    <a:lnTo>
                      <a:pt x="1802" y="584"/>
                    </a:lnTo>
                    <a:lnTo>
                      <a:pt x="1814" y="584"/>
                    </a:lnTo>
                    <a:lnTo>
                      <a:pt x="1814" y="578"/>
                    </a:lnTo>
                    <a:lnTo>
                      <a:pt x="1818" y="578"/>
                    </a:lnTo>
                    <a:lnTo>
                      <a:pt x="1818" y="584"/>
                    </a:lnTo>
                    <a:lnTo>
                      <a:pt x="1830" y="584"/>
                    </a:lnTo>
                    <a:lnTo>
                      <a:pt x="1830" y="578"/>
                    </a:lnTo>
                    <a:lnTo>
                      <a:pt x="1824" y="578"/>
                    </a:lnTo>
                    <a:lnTo>
                      <a:pt x="1830" y="574"/>
                    </a:lnTo>
                    <a:lnTo>
                      <a:pt x="1850" y="574"/>
                    </a:lnTo>
                    <a:lnTo>
                      <a:pt x="1850" y="578"/>
                    </a:lnTo>
                    <a:lnTo>
                      <a:pt x="1856" y="578"/>
                    </a:lnTo>
                    <a:lnTo>
                      <a:pt x="1856" y="574"/>
                    </a:lnTo>
                    <a:lnTo>
                      <a:pt x="1862" y="574"/>
                    </a:lnTo>
                    <a:lnTo>
                      <a:pt x="1862" y="578"/>
                    </a:lnTo>
                    <a:lnTo>
                      <a:pt x="1868" y="578"/>
                    </a:lnTo>
                    <a:lnTo>
                      <a:pt x="1868" y="584"/>
                    </a:lnTo>
                    <a:lnTo>
                      <a:pt x="1862" y="584"/>
                    </a:lnTo>
                    <a:lnTo>
                      <a:pt x="1862" y="590"/>
                    </a:lnTo>
                    <a:lnTo>
                      <a:pt x="1872" y="590"/>
                    </a:lnTo>
                    <a:lnTo>
                      <a:pt x="1878" y="584"/>
                    </a:lnTo>
                    <a:lnTo>
                      <a:pt x="1878" y="590"/>
                    </a:lnTo>
                    <a:lnTo>
                      <a:pt x="1884" y="590"/>
                    </a:lnTo>
                    <a:lnTo>
                      <a:pt x="1890" y="584"/>
                    </a:lnTo>
                    <a:lnTo>
                      <a:pt x="1916" y="584"/>
                    </a:lnTo>
                    <a:lnTo>
                      <a:pt x="1916" y="578"/>
                    </a:lnTo>
                    <a:lnTo>
                      <a:pt x="1910" y="578"/>
                    </a:lnTo>
                    <a:lnTo>
                      <a:pt x="1910" y="574"/>
                    </a:lnTo>
                    <a:lnTo>
                      <a:pt x="1904" y="574"/>
                    </a:lnTo>
                    <a:lnTo>
                      <a:pt x="1904" y="578"/>
                    </a:lnTo>
                    <a:lnTo>
                      <a:pt x="1898" y="578"/>
                    </a:lnTo>
                    <a:lnTo>
                      <a:pt x="1898" y="568"/>
                    </a:lnTo>
                    <a:lnTo>
                      <a:pt x="1904" y="568"/>
                    </a:lnTo>
                    <a:lnTo>
                      <a:pt x="1904" y="564"/>
                    </a:lnTo>
                    <a:lnTo>
                      <a:pt x="1910" y="564"/>
                    </a:lnTo>
                    <a:lnTo>
                      <a:pt x="1910" y="558"/>
                    </a:lnTo>
                    <a:lnTo>
                      <a:pt x="1916" y="558"/>
                    </a:lnTo>
                    <a:lnTo>
                      <a:pt x="1922" y="552"/>
                    </a:lnTo>
                    <a:lnTo>
                      <a:pt x="1922" y="548"/>
                    </a:lnTo>
                    <a:lnTo>
                      <a:pt x="1928" y="548"/>
                    </a:lnTo>
                    <a:lnTo>
                      <a:pt x="1928" y="542"/>
                    </a:lnTo>
                    <a:lnTo>
                      <a:pt x="1932" y="536"/>
                    </a:lnTo>
                    <a:lnTo>
                      <a:pt x="1938" y="536"/>
                    </a:lnTo>
                    <a:lnTo>
                      <a:pt x="1938" y="530"/>
                    </a:lnTo>
                    <a:lnTo>
                      <a:pt x="1944" y="530"/>
                    </a:lnTo>
                    <a:lnTo>
                      <a:pt x="1944" y="524"/>
                    </a:lnTo>
                    <a:lnTo>
                      <a:pt x="1986" y="524"/>
                    </a:lnTo>
                    <a:lnTo>
                      <a:pt x="1986" y="520"/>
                    </a:lnTo>
                    <a:lnTo>
                      <a:pt x="1992" y="520"/>
                    </a:lnTo>
                    <a:lnTo>
                      <a:pt x="1992" y="524"/>
                    </a:lnTo>
                    <a:lnTo>
                      <a:pt x="1986" y="530"/>
                    </a:lnTo>
                    <a:lnTo>
                      <a:pt x="1986" y="542"/>
                    </a:lnTo>
                    <a:lnTo>
                      <a:pt x="1992" y="542"/>
                    </a:lnTo>
                    <a:lnTo>
                      <a:pt x="1986" y="548"/>
                    </a:lnTo>
                    <a:lnTo>
                      <a:pt x="1998" y="548"/>
                    </a:lnTo>
                    <a:lnTo>
                      <a:pt x="1998" y="542"/>
                    </a:lnTo>
                    <a:lnTo>
                      <a:pt x="2004" y="542"/>
                    </a:lnTo>
                    <a:lnTo>
                      <a:pt x="2008" y="536"/>
                    </a:lnTo>
                    <a:lnTo>
                      <a:pt x="2012" y="536"/>
                    </a:lnTo>
                    <a:lnTo>
                      <a:pt x="2018" y="530"/>
                    </a:lnTo>
                    <a:lnTo>
                      <a:pt x="2030" y="530"/>
                    </a:lnTo>
                    <a:lnTo>
                      <a:pt x="2030" y="524"/>
                    </a:lnTo>
                    <a:lnTo>
                      <a:pt x="2024" y="524"/>
                    </a:lnTo>
                    <a:lnTo>
                      <a:pt x="2030" y="520"/>
                    </a:lnTo>
                    <a:lnTo>
                      <a:pt x="2030" y="510"/>
                    </a:lnTo>
                    <a:lnTo>
                      <a:pt x="2036" y="510"/>
                    </a:lnTo>
                    <a:lnTo>
                      <a:pt x="2036" y="504"/>
                    </a:lnTo>
                    <a:lnTo>
                      <a:pt x="2052" y="504"/>
                    </a:lnTo>
                    <a:lnTo>
                      <a:pt x="2052" y="510"/>
                    </a:lnTo>
                    <a:lnTo>
                      <a:pt x="2046" y="510"/>
                    </a:lnTo>
                    <a:lnTo>
                      <a:pt x="2046" y="524"/>
                    </a:lnTo>
                    <a:lnTo>
                      <a:pt x="2040" y="524"/>
                    </a:lnTo>
                    <a:lnTo>
                      <a:pt x="2036" y="536"/>
                    </a:lnTo>
                    <a:lnTo>
                      <a:pt x="2036" y="548"/>
                    </a:lnTo>
                    <a:lnTo>
                      <a:pt x="2024" y="548"/>
                    </a:lnTo>
                    <a:lnTo>
                      <a:pt x="2018" y="552"/>
                    </a:lnTo>
                    <a:lnTo>
                      <a:pt x="2012" y="552"/>
                    </a:lnTo>
                    <a:lnTo>
                      <a:pt x="2012" y="558"/>
                    </a:lnTo>
                    <a:lnTo>
                      <a:pt x="2008" y="558"/>
                    </a:lnTo>
                    <a:lnTo>
                      <a:pt x="2008" y="564"/>
                    </a:lnTo>
                    <a:lnTo>
                      <a:pt x="2004" y="568"/>
                    </a:lnTo>
                    <a:lnTo>
                      <a:pt x="1998" y="574"/>
                    </a:lnTo>
                    <a:lnTo>
                      <a:pt x="1992" y="574"/>
                    </a:lnTo>
                    <a:lnTo>
                      <a:pt x="1992" y="578"/>
                    </a:lnTo>
                    <a:lnTo>
                      <a:pt x="1986" y="578"/>
                    </a:lnTo>
                    <a:lnTo>
                      <a:pt x="1986" y="584"/>
                    </a:lnTo>
                    <a:lnTo>
                      <a:pt x="1982" y="584"/>
                    </a:lnTo>
                    <a:lnTo>
                      <a:pt x="1982" y="590"/>
                    </a:lnTo>
                    <a:lnTo>
                      <a:pt x="1976" y="596"/>
                    </a:lnTo>
                    <a:lnTo>
                      <a:pt x="1970" y="596"/>
                    </a:lnTo>
                    <a:lnTo>
                      <a:pt x="1970" y="602"/>
                    </a:lnTo>
                    <a:lnTo>
                      <a:pt x="1964" y="606"/>
                    </a:lnTo>
                    <a:lnTo>
                      <a:pt x="1958" y="606"/>
                    </a:lnTo>
                    <a:lnTo>
                      <a:pt x="1958" y="612"/>
                    </a:lnTo>
                    <a:lnTo>
                      <a:pt x="1950" y="612"/>
                    </a:lnTo>
                    <a:lnTo>
                      <a:pt x="1950" y="618"/>
                    </a:lnTo>
                    <a:lnTo>
                      <a:pt x="1944" y="618"/>
                    </a:lnTo>
                    <a:lnTo>
                      <a:pt x="1944" y="612"/>
                    </a:lnTo>
                    <a:lnTo>
                      <a:pt x="1938" y="618"/>
                    </a:lnTo>
                    <a:lnTo>
                      <a:pt x="1938" y="622"/>
                    </a:lnTo>
                    <a:lnTo>
                      <a:pt x="1944" y="622"/>
                    </a:lnTo>
                    <a:lnTo>
                      <a:pt x="1938" y="628"/>
                    </a:lnTo>
                    <a:lnTo>
                      <a:pt x="1938" y="632"/>
                    </a:lnTo>
                    <a:lnTo>
                      <a:pt x="1932" y="632"/>
                    </a:lnTo>
                    <a:lnTo>
                      <a:pt x="1932" y="638"/>
                    </a:lnTo>
                    <a:lnTo>
                      <a:pt x="1928" y="638"/>
                    </a:lnTo>
                    <a:lnTo>
                      <a:pt x="1928" y="644"/>
                    </a:lnTo>
                    <a:lnTo>
                      <a:pt x="1922" y="644"/>
                    </a:lnTo>
                    <a:lnTo>
                      <a:pt x="1922" y="698"/>
                    </a:lnTo>
                    <a:lnTo>
                      <a:pt x="1928" y="698"/>
                    </a:lnTo>
                    <a:lnTo>
                      <a:pt x="1928" y="726"/>
                    </a:lnTo>
                    <a:lnTo>
                      <a:pt x="1932" y="726"/>
                    </a:lnTo>
                    <a:lnTo>
                      <a:pt x="1932" y="730"/>
                    </a:lnTo>
                    <a:lnTo>
                      <a:pt x="1938" y="726"/>
                    </a:lnTo>
                    <a:lnTo>
                      <a:pt x="1938" y="730"/>
                    </a:lnTo>
                    <a:lnTo>
                      <a:pt x="1932" y="730"/>
                    </a:lnTo>
                    <a:lnTo>
                      <a:pt x="1938" y="736"/>
                    </a:lnTo>
                    <a:lnTo>
                      <a:pt x="1938" y="764"/>
                    </a:lnTo>
                    <a:lnTo>
                      <a:pt x="1944" y="758"/>
                    </a:lnTo>
                    <a:lnTo>
                      <a:pt x="1950" y="758"/>
                    </a:lnTo>
                    <a:lnTo>
                      <a:pt x="1950" y="752"/>
                    </a:lnTo>
                    <a:lnTo>
                      <a:pt x="1954" y="752"/>
                    </a:lnTo>
                    <a:lnTo>
                      <a:pt x="1954" y="746"/>
                    </a:lnTo>
                    <a:lnTo>
                      <a:pt x="1958" y="742"/>
                    </a:lnTo>
                    <a:lnTo>
                      <a:pt x="1958" y="736"/>
                    </a:lnTo>
                    <a:lnTo>
                      <a:pt x="1964" y="736"/>
                    </a:lnTo>
                    <a:lnTo>
                      <a:pt x="1964" y="720"/>
                    </a:lnTo>
                    <a:lnTo>
                      <a:pt x="1958" y="720"/>
                    </a:lnTo>
                    <a:lnTo>
                      <a:pt x="1964" y="716"/>
                    </a:lnTo>
                    <a:lnTo>
                      <a:pt x="1964" y="720"/>
                    </a:lnTo>
                    <a:lnTo>
                      <a:pt x="1970" y="720"/>
                    </a:lnTo>
                    <a:lnTo>
                      <a:pt x="1970" y="716"/>
                    </a:lnTo>
                    <a:lnTo>
                      <a:pt x="1986" y="716"/>
                    </a:lnTo>
                    <a:lnTo>
                      <a:pt x="1986" y="692"/>
                    </a:lnTo>
                    <a:lnTo>
                      <a:pt x="1992" y="692"/>
                    </a:lnTo>
                    <a:lnTo>
                      <a:pt x="1992" y="688"/>
                    </a:lnTo>
                    <a:lnTo>
                      <a:pt x="2008" y="688"/>
                    </a:lnTo>
                    <a:lnTo>
                      <a:pt x="2008" y="682"/>
                    </a:lnTo>
                    <a:lnTo>
                      <a:pt x="2012" y="682"/>
                    </a:lnTo>
                    <a:lnTo>
                      <a:pt x="2012" y="676"/>
                    </a:lnTo>
                    <a:lnTo>
                      <a:pt x="2008" y="676"/>
                    </a:lnTo>
                    <a:lnTo>
                      <a:pt x="2008" y="656"/>
                    </a:lnTo>
                    <a:lnTo>
                      <a:pt x="2012" y="656"/>
                    </a:lnTo>
                    <a:lnTo>
                      <a:pt x="2018" y="650"/>
                    </a:lnTo>
                    <a:lnTo>
                      <a:pt x="2024" y="656"/>
                    </a:lnTo>
                    <a:lnTo>
                      <a:pt x="2030" y="656"/>
                    </a:lnTo>
                    <a:lnTo>
                      <a:pt x="2036" y="650"/>
                    </a:lnTo>
                    <a:lnTo>
                      <a:pt x="2036" y="644"/>
                    </a:lnTo>
                    <a:lnTo>
                      <a:pt x="2030" y="644"/>
                    </a:lnTo>
                    <a:lnTo>
                      <a:pt x="2036" y="638"/>
                    </a:lnTo>
                    <a:lnTo>
                      <a:pt x="2024" y="638"/>
                    </a:lnTo>
                    <a:lnTo>
                      <a:pt x="2024" y="622"/>
                    </a:lnTo>
                    <a:lnTo>
                      <a:pt x="2030" y="622"/>
                    </a:lnTo>
                    <a:lnTo>
                      <a:pt x="2036" y="618"/>
                    </a:lnTo>
                    <a:lnTo>
                      <a:pt x="2030" y="612"/>
                    </a:lnTo>
                    <a:lnTo>
                      <a:pt x="2018" y="612"/>
                    </a:lnTo>
                    <a:lnTo>
                      <a:pt x="2018" y="618"/>
                    </a:lnTo>
                    <a:lnTo>
                      <a:pt x="2012" y="612"/>
                    </a:lnTo>
                    <a:lnTo>
                      <a:pt x="2012" y="602"/>
                    </a:lnTo>
                    <a:lnTo>
                      <a:pt x="2018" y="596"/>
                    </a:lnTo>
                    <a:lnTo>
                      <a:pt x="2024" y="596"/>
                    </a:lnTo>
                    <a:lnTo>
                      <a:pt x="2024" y="590"/>
                    </a:lnTo>
                    <a:lnTo>
                      <a:pt x="2030" y="590"/>
                    </a:lnTo>
                    <a:lnTo>
                      <a:pt x="2030" y="584"/>
                    </a:lnTo>
                    <a:lnTo>
                      <a:pt x="2036" y="584"/>
                    </a:lnTo>
                    <a:lnTo>
                      <a:pt x="2036" y="578"/>
                    </a:lnTo>
                    <a:lnTo>
                      <a:pt x="2030" y="578"/>
                    </a:lnTo>
                    <a:lnTo>
                      <a:pt x="2030" y="574"/>
                    </a:lnTo>
                    <a:lnTo>
                      <a:pt x="2036" y="574"/>
                    </a:lnTo>
                    <a:lnTo>
                      <a:pt x="2036" y="564"/>
                    </a:lnTo>
                    <a:lnTo>
                      <a:pt x="2052" y="564"/>
                    </a:lnTo>
                    <a:lnTo>
                      <a:pt x="2052" y="574"/>
                    </a:lnTo>
                    <a:lnTo>
                      <a:pt x="2058" y="568"/>
                    </a:lnTo>
                    <a:lnTo>
                      <a:pt x="2058" y="564"/>
                    </a:lnTo>
                    <a:lnTo>
                      <a:pt x="2062" y="558"/>
                    </a:lnTo>
                    <a:lnTo>
                      <a:pt x="2068" y="558"/>
                    </a:lnTo>
                    <a:lnTo>
                      <a:pt x="2072" y="552"/>
                    </a:lnTo>
                    <a:lnTo>
                      <a:pt x="2072" y="564"/>
                    </a:lnTo>
                    <a:lnTo>
                      <a:pt x="2068" y="564"/>
                    </a:lnTo>
                    <a:lnTo>
                      <a:pt x="2068" y="574"/>
                    </a:lnTo>
                    <a:lnTo>
                      <a:pt x="2072" y="574"/>
                    </a:lnTo>
                    <a:lnTo>
                      <a:pt x="2072" y="568"/>
                    </a:lnTo>
                    <a:lnTo>
                      <a:pt x="2078" y="568"/>
                    </a:lnTo>
                    <a:lnTo>
                      <a:pt x="2078" y="558"/>
                    </a:lnTo>
                    <a:lnTo>
                      <a:pt x="2096" y="558"/>
                    </a:lnTo>
                    <a:lnTo>
                      <a:pt x="2096" y="552"/>
                    </a:lnTo>
                    <a:lnTo>
                      <a:pt x="2116" y="552"/>
                    </a:lnTo>
                    <a:lnTo>
                      <a:pt x="2116" y="558"/>
                    </a:lnTo>
                    <a:lnTo>
                      <a:pt x="2122" y="558"/>
                    </a:lnTo>
                    <a:lnTo>
                      <a:pt x="2126" y="564"/>
                    </a:lnTo>
                    <a:lnTo>
                      <a:pt x="2126" y="568"/>
                    </a:lnTo>
                    <a:lnTo>
                      <a:pt x="2132" y="568"/>
                    </a:lnTo>
                    <a:lnTo>
                      <a:pt x="2132" y="558"/>
                    </a:lnTo>
                    <a:lnTo>
                      <a:pt x="2138" y="558"/>
                    </a:lnTo>
                    <a:lnTo>
                      <a:pt x="2138" y="552"/>
                    </a:lnTo>
                    <a:lnTo>
                      <a:pt x="2144" y="552"/>
                    </a:lnTo>
                    <a:lnTo>
                      <a:pt x="2144" y="548"/>
                    </a:lnTo>
                    <a:lnTo>
                      <a:pt x="2154" y="548"/>
                    </a:lnTo>
                    <a:lnTo>
                      <a:pt x="2154" y="542"/>
                    </a:lnTo>
                    <a:lnTo>
                      <a:pt x="2160" y="542"/>
                    </a:lnTo>
                    <a:lnTo>
                      <a:pt x="2160" y="536"/>
                    </a:lnTo>
                    <a:lnTo>
                      <a:pt x="2164" y="530"/>
                    </a:lnTo>
                    <a:lnTo>
                      <a:pt x="2164" y="536"/>
                    </a:lnTo>
                    <a:lnTo>
                      <a:pt x="2170" y="536"/>
                    </a:lnTo>
                    <a:lnTo>
                      <a:pt x="2176" y="530"/>
                    </a:lnTo>
                    <a:lnTo>
                      <a:pt x="2176" y="524"/>
                    </a:lnTo>
                    <a:lnTo>
                      <a:pt x="2192" y="524"/>
                    </a:lnTo>
                    <a:lnTo>
                      <a:pt x="2192" y="520"/>
                    </a:lnTo>
                    <a:lnTo>
                      <a:pt x="2198" y="520"/>
                    </a:lnTo>
                    <a:lnTo>
                      <a:pt x="2198" y="514"/>
                    </a:lnTo>
                    <a:lnTo>
                      <a:pt x="2214" y="514"/>
                    </a:lnTo>
                    <a:lnTo>
                      <a:pt x="2218" y="510"/>
                    </a:lnTo>
                    <a:lnTo>
                      <a:pt x="2246" y="510"/>
                    </a:lnTo>
                    <a:lnTo>
                      <a:pt x="2246" y="514"/>
                    </a:lnTo>
                    <a:lnTo>
                      <a:pt x="2258" y="514"/>
                    </a:lnTo>
                    <a:lnTo>
                      <a:pt x="2258" y="492"/>
                    </a:lnTo>
                    <a:lnTo>
                      <a:pt x="2252" y="492"/>
                    </a:lnTo>
                    <a:lnTo>
                      <a:pt x="2252" y="488"/>
                    </a:lnTo>
                    <a:lnTo>
                      <a:pt x="2246" y="482"/>
                    </a:lnTo>
                    <a:lnTo>
                      <a:pt x="2246" y="488"/>
                    </a:lnTo>
                    <a:lnTo>
                      <a:pt x="2240" y="482"/>
                    </a:lnTo>
                    <a:lnTo>
                      <a:pt x="2246" y="482"/>
                    </a:lnTo>
                    <a:lnTo>
                      <a:pt x="2246" y="464"/>
                    </a:lnTo>
                    <a:lnTo>
                      <a:pt x="2230" y="464"/>
                    </a:lnTo>
                    <a:lnTo>
                      <a:pt x="2230" y="456"/>
                    </a:lnTo>
                    <a:lnTo>
                      <a:pt x="2224" y="450"/>
                    </a:lnTo>
                    <a:lnTo>
                      <a:pt x="2230" y="450"/>
                    </a:lnTo>
                    <a:lnTo>
                      <a:pt x="2230" y="456"/>
                    </a:lnTo>
                    <a:lnTo>
                      <a:pt x="2246" y="456"/>
                    </a:lnTo>
                    <a:lnTo>
                      <a:pt x="2246" y="460"/>
                    </a:lnTo>
                    <a:lnTo>
                      <a:pt x="2252" y="456"/>
                    </a:lnTo>
                    <a:lnTo>
                      <a:pt x="2264" y="456"/>
                    </a:lnTo>
                    <a:lnTo>
                      <a:pt x="2264" y="450"/>
                    </a:lnTo>
                    <a:lnTo>
                      <a:pt x="2268" y="450"/>
                    </a:lnTo>
                    <a:lnTo>
                      <a:pt x="2268" y="444"/>
                    </a:lnTo>
                    <a:lnTo>
                      <a:pt x="2272" y="444"/>
                    </a:lnTo>
                    <a:lnTo>
                      <a:pt x="2272" y="438"/>
                    </a:lnTo>
                    <a:lnTo>
                      <a:pt x="2278" y="438"/>
                    </a:lnTo>
                    <a:lnTo>
                      <a:pt x="2272" y="434"/>
                    </a:lnTo>
                    <a:lnTo>
                      <a:pt x="2268" y="434"/>
                    </a:lnTo>
                    <a:lnTo>
                      <a:pt x="2268" y="416"/>
                    </a:lnTo>
                    <a:lnTo>
                      <a:pt x="2272" y="422"/>
                    </a:lnTo>
                    <a:lnTo>
                      <a:pt x="2278" y="422"/>
                    </a:lnTo>
                    <a:lnTo>
                      <a:pt x="2278" y="416"/>
                    </a:lnTo>
                    <a:lnTo>
                      <a:pt x="2290" y="416"/>
                    </a:lnTo>
                    <a:lnTo>
                      <a:pt x="2284" y="422"/>
                    </a:lnTo>
                    <a:lnTo>
                      <a:pt x="2284" y="434"/>
                    </a:lnTo>
                    <a:lnTo>
                      <a:pt x="2290" y="434"/>
                    </a:lnTo>
                    <a:lnTo>
                      <a:pt x="2284" y="438"/>
                    </a:lnTo>
                    <a:lnTo>
                      <a:pt x="2306" y="438"/>
                    </a:lnTo>
                    <a:lnTo>
                      <a:pt x="2306" y="434"/>
                    </a:lnTo>
                    <a:lnTo>
                      <a:pt x="2318" y="434"/>
                    </a:lnTo>
                    <a:lnTo>
                      <a:pt x="2318" y="438"/>
                    </a:lnTo>
                    <a:lnTo>
                      <a:pt x="2324" y="438"/>
                    </a:lnTo>
                    <a:lnTo>
                      <a:pt x="2324" y="444"/>
                    </a:lnTo>
                    <a:lnTo>
                      <a:pt x="2326" y="444"/>
                    </a:lnTo>
                    <a:lnTo>
                      <a:pt x="2326" y="456"/>
                    </a:lnTo>
                    <a:lnTo>
                      <a:pt x="2344" y="456"/>
                    </a:lnTo>
                    <a:lnTo>
                      <a:pt x="2350" y="460"/>
                    </a:lnTo>
                    <a:lnTo>
                      <a:pt x="2350" y="464"/>
                    </a:lnTo>
                    <a:lnTo>
                      <a:pt x="2378" y="464"/>
                    </a:lnTo>
                    <a:lnTo>
                      <a:pt x="2378" y="460"/>
                    </a:lnTo>
                    <a:lnTo>
                      <a:pt x="2366" y="460"/>
                    </a:lnTo>
                    <a:lnTo>
                      <a:pt x="2366" y="456"/>
                    </a:lnTo>
                    <a:lnTo>
                      <a:pt x="2378" y="456"/>
                    </a:lnTo>
                    <a:lnTo>
                      <a:pt x="2378" y="438"/>
                    </a:lnTo>
                    <a:lnTo>
                      <a:pt x="2392" y="438"/>
                    </a:lnTo>
                    <a:lnTo>
                      <a:pt x="2392" y="434"/>
                    </a:lnTo>
                    <a:lnTo>
                      <a:pt x="2404" y="434"/>
                    </a:lnTo>
                    <a:lnTo>
                      <a:pt x="2404" y="416"/>
                    </a:lnTo>
                    <a:lnTo>
                      <a:pt x="2398" y="416"/>
                    </a:lnTo>
                    <a:lnTo>
                      <a:pt x="2398" y="410"/>
                    </a:lnTo>
                    <a:lnTo>
                      <a:pt x="2398" y="410"/>
                    </a:lnTo>
                    <a:lnTo>
                      <a:pt x="2398" y="410"/>
                    </a:lnTo>
                    <a:close/>
                    <a:moveTo>
                      <a:pt x="806" y="692"/>
                    </a:moveTo>
                    <a:lnTo>
                      <a:pt x="806" y="688"/>
                    </a:lnTo>
                    <a:lnTo>
                      <a:pt x="812" y="692"/>
                    </a:lnTo>
                    <a:lnTo>
                      <a:pt x="806" y="692"/>
                    </a:lnTo>
                    <a:lnTo>
                      <a:pt x="806" y="692"/>
                    </a:lnTo>
                    <a:lnTo>
                      <a:pt x="806" y="692"/>
                    </a:lnTo>
                    <a:close/>
                    <a:moveTo>
                      <a:pt x="936" y="238"/>
                    </a:moveTo>
                    <a:lnTo>
                      <a:pt x="936" y="234"/>
                    </a:lnTo>
                    <a:lnTo>
                      <a:pt x="940" y="234"/>
                    </a:lnTo>
                    <a:lnTo>
                      <a:pt x="936" y="238"/>
                    </a:lnTo>
                    <a:lnTo>
                      <a:pt x="936" y="238"/>
                    </a:lnTo>
                    <a:lnTo>
                      <a:pt x="936" y="238"/>
                    </a:lnTo>
                    <a:close/>
                    <a:moveTo>
                      <a:pt x="946" y="242"/>
                    </a:moveTo>
                    <a:lnTo>
                      <a:pt x="940" y="242"/>
                    </a:lnTo>
                    <a:lnTo>
                      <a:pt x="940" y="238"/>
                    </a:lnTo>
                    <a:lnTo>
                      <a:pt x="946" y="238"/>
                    </a:lnTo>
                    <a:lnTo>
                      <a:pt x="946" y="242"/>
                    </a:lnTo>
                    <a:lnTo>
                      <a:pt x="946" y="242"/>
                    </a:lnTo>
                    <a:lnTo>
                      <a:pt x="946" y="242"/>
                    </a:lnTo>
                    <a:close/>
                    <a:moveTo>
                      <a:pt x="1126" y="180"/>
                    </a:moveTo>
                    <a:lnTo>
                      <a:pt x="1120" y="180"/>
                    </a:lnTo>
                    <a:lnTo>
                      <a:pt x="1126" y="174"/>
                    </a:lnTo>
                    <a:lnTo>
                      <a:pt x="1126" y="180"/>
                    </a:lnTo>
                    <a:lnTo>
                      <a:pt x="1126" y="180"/>
                    </a:lnTo>
                    <a:lnTo>
                      <a:pt x="1126" y="180"/>
                    </a:lnTo>
                    <a:close/>
                    <a:moveTo>
                      <a:pt x="1136" y="182"/>
                    </a:moveTo>
                    <a:lnTo>
                      <a:pt x="1132" y="182"/>
                    </a:lnTo>
                    <a:lnTo>
                      <a:pt x="1132" y="180"/>
                    </a:lnTo>
                    <a:lnTo>
                      <a:pt x="1136" y="180"/>
                    </a:lnTo>
                    <a:lnTo>
                      <a:pt x="1136" y="182"/>
                    </a:lnTo>
                    <a:lnTo>
                      <a:pt x="1136" y="182"/>
                    </a:lnTo>
                    <a:lnTo>
                      <a:pt x="1136" y="182"/>
                    </a:lnTo>
                    <a:close/>
                    <a:moveTo>
                      <a:pt x="1168" y="156"/>
                    </a:moveTo>
                    <a:lnTo>
                      <a:pt x="1162" y="152"/>
                    </a:lnTo>
                    <a:lnTo>
                      <a:pt x="1168" y="152"/>
                    </a:lnTo>
                    <a:lnTo>
                      <a:pt x="1168" y="156"/>
                    </a:lnTo>
                    <a:lnTo>
                      <a:pt x="1168" y="156"/>
                    </a:lnTo>
                    <a:lnTo>
                      <a:pt x="1168" y="156"/>
                    </a:lnTo>
                    <a:close/>
                    <a:moveTo>
                      <a:pt x="1520" y="288"/>
                    </a:moveTo>
                    <a:lnTo>
                      <a:pt x="1516" y="282"/>
                    </a:lnTo>
                    <a:lnTo>
                      <a:pt x="1516" y="276"/>
                    </a:lnTo>
                    <a:lnTo>
                      <a:pt x="1520" y="276"/>
                    </a:lnTo>
                    <a:lnTo>
                      <a:pt x="1520" y="288"/>
                    </a:lnTo>
                    <a:lnTo>
                      <a:pt x="1520" y="288"/>
                    </a:lnTo>
                    <a:lnTo>
                      <a:pt x="1520" y="288"/>
                    </a:lnTo>
                    <a:close/>
                    <a:moveTo>
                      <a:pt x="1844" y="296"/>
                    </a:moveTo>
                    <a:lnTo>
                      <a:pt x="1842" y="296"/>
                    </a:lnTo>
                    <a:lnTo>
                      <a:pt x="1844" y="292"/>
                    </a:lnTo>
                    <a:lnTo>
                      <a:pt x="1844" y="296"/>
                    </a:lnTo>
                    <a:lnTo>
                      <a:pt x="1844" y="296"/>
                    </a:lnTo>
                    <a:lnTo>
                      <a:pt x="1844" y="296"/>
                    </a:lnTo>
                    <a:close/>
                    <a:moveTo>
                      <a:pt x="2214" y="460"/>
                    </a:moveTo>
                    <a:lnTo>
                      <a:pt x="2210" y="460"/>
                    </a:lnTo>
                    <a:lnTo>
                      <a:pt x="2210" y="450"/>
                    </a:lnTo>
                    <a:lnTo>
                      <a:pt x="2214" y="456"/>
                    </a:lnTo>
                    <a:lnTo>
                      <a:pt x="2214" y="460"/>
                    </a:lnTo>
                    <a:lnTo>
                      <a:pt x="2214" y="460"/>
                    </a:lnTo>
                    <a:lnTo>
                      <a:pt x="2214" y="460"/>
                    </a:lnTo>
                    <a:close/>
                    <a:moveTo>
                      <a:pt x="2408" y="416"/>
                    </a:moveTo>
                    <a:lnTo>
                      <a:pt x="2408" y="428"/>
                    </a:lnTo>
                    <a:lnTo>
                      <a:pt x="2414" y="428"/>
                    </a:lnTo>
                    <a:lnTo>
                      <a:pt x="2414" y="422"/>
                    </a:lnTo>
                    <a:lnTo>
                      <a:pt x="2408" y="416"/>
                    </a:lnTo>
                    <a:lnTo>
                      <a:pt x="2408" y="416"/>
                    </a:lnTo>
                    <a:lnTo>
                      <a:pt x="2408" y="416"/>
                    </a:lnTo>
                    <a:close/>
                    <a:moveTo>
                      <a:pt x="2306" y="292"/>
                    </a:moveTo>
                    <a:lnTo>
                      <a:pt x="2300" y="296"/>
                    </a:lnTo>
                    <a:lnTo>
                      <a:pt x="2284" y="296"/>
                    </a:lnTo>
                    <a:lnTo>
                      <a:pt x="2278" y="302"/>
                    </a:lnTo>
                    <a:lnTo>
                      <a:pt x="2272" y="302"/>
                    </a:lnTo>
                    <a:lnTo>
                      <a:pt x="2268" y="296"/>
                    </a:lnTo>
                    <a:lnTo>
                      <a:pt x="2264" y="296"/>
                    </a:lnTo>
                    <a:lnTo>
                      <a:pt x="2264" y="302"/>
                    </a:lnTo>
                    <a:lnTo>
                      <a:pt x="2246" y="302"/>
                    </a:lnTo>
                    <a:lnTo>
                      <a:pt x="2246" y="296"/>
                    </a:lnTo>
                    <a:lnTo>
                      <a:pt x="2252" y="296"/>
                    </a:lnTo>
                    <a:lnTo>
                      <a:pt x="2252" y="292"/>
                    </a:lnTo>
                    <a:lnTo>
                      <a:pt x="2258" y="292"/>
                    </a:lnTo>
                    <a:lnTo>
                      <a:pt x="2258" y="288"/>
                    </a:lnTo>
                    <a:lnTo>
                      <a:pt x="2296" y="288"/>
                    </a:lnTo>
                    <a:lnTo>
                      <a:pt x="2296" y="292"/>
                    </a:lnTo>
                    <a:lnTo>
                      <a:pt x="2306" y="292"/>
                    </a:lnTo>
                    <a:lnTo>
                      <a:pt x="2306" y="292"/>
                    </a:lnTo>
                    <a:lnTo>
                      <a:pt x="2306" y="292"/>
                    </a:lnTo>
                    <a:close/>
                    <a:moveTo>
                      <a:pt x="1314" y="152"/>
                    </a:moveTo>
                    <a:lnTo>
                      <a:pt x="1308" y="152"/>
                    </a:lnTo>
                    <a:lnTo>
                      <a:pt x="1308" y="152"/>
                    </a:lnTo>
                    <a:lnTo>
                      <a:pt x="1304" y="152"/>
                    </a:lnTo>
                    <a:lnTo>
                      <a:pt x="1308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lnTo>
                      <a:pt x="1314" y="152"/>
                    </a:lnTo>
                    <a:close/>
                    <a:moveTo>
                      <a:pt x="1466" y="242"/>
                    </a:moveTo>
                    <a:lnTo>
                      <a:pt x="1466" y="238"/>
                    </a:lnTo>
                    <a:lnTo>
                      <a:pt x="1466" y="238"/>
                    </a:lnTo>
                    <a:lnTo>
                      <a:pt x="1466" y="234"/>
                    </a:lnTo>
                    <a:lnTo>
                      <a:pt x="1466" y="228"/>
                    </a:lnTo>
                    <a:lnTo>
                      <a:pt x="1466" y="228"/>
                    </a:lnTo>
                    <a:lnTo>
                      <a:pt x="1466" y="234"/>
                    </a:lnTo>
                    <a:lnTo>
                      <a:pt x="1472" y="234"/>
                    </a:lnTo>
                    <a:lnTo>
                      <a:pt x="1476" y="234"/>
                    </a:lnTo>
                    <a:lnTo>
                      <a:pt x="1472" y="228"/>
                    </a:lnTo>
                    <a:lnTo>
                      <a:pt x="1476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8" y="228"/>
                    </a:lnTo>
                    <a:lnTo>
                      <a:pt x="1488" y="234"/>
                    </a:lnTo>
                    <a:lnTo>
                      <a:pt x="1494" y="228"/>
                    </a:lnTo>
                    <a:lnTo>
                      <a:pt x="1494" y="234"/>
                    </a:lnTo>
                    <a:lnTo>
                      <a:pt x="1494" y="234"/>
                    </a:lnTo>
                    <a:lnTo>
                      <a:pt x="1500" y="234"/>
                    </a:lnTo>
                    <a:lnTo>
                      <a:pt x="1500" y="238"/>
                    </a:lnTo>
                    <a:lnTo>
                      <a:pt x="1494" y="238"/>
                    </a:lnTo>
                    <a:lnTo>
                      <a:pt x="1500" y="238"/>
                    </a:lnTo>
                    <a:lnTo>
                      <a:pt x="1504" y="238"/>
                    </a:lnTo>
                    <a:lnTo>
                      <a:pt x="1504" y="234"/>
                    </a:lnTo>
                    <a:lnTo>
                      <a:pt x="1504" y="234"/>
                    </a:lnTo>
                    <a:lnTo>
                      <a:pt x="1510" y="234"/>
                    </a:lnTo>
                    <a:lnTo>
                      <a:pt x="1504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42"/>
                    </a:lnTo>
                    <a:lnTo>
                      <a:pt x="1516" y="242"/>
                    </a:lnTo>
                    <a:lnTo>
                      <a:pt x="1516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54"/>
                    </a:lnTo>
                    <a:lnTo>
                      <a:pt x="1504" y="254"/>
                    </a:lnTo>
                    <a:lnTo>
                      <a:pt x="1504" y="260"/>
                    </a:lnTo>
                    <a:lnTo>
                      <a:pt x="1504" y="260"/>
                    </a:lnTo>
                    <a:lnTo>
                      <a:pt x="1504" y="266"/>
                    </a:lnTo>
                    <a:lnTo>
                      <a:pt x="1504" y="266"/>
                    </a:lnTo>
                    <a:lnTo>
                      <a:pt x="1500" y="266"/>
                    </a:lnTo>
                    <a:lnTo>
                      <a:pt x="1500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94" y="260"/>
                    </a:lnTo>
                    <a:lnTo>
                      <a:pt x="1488" y="260"/>
                    </a:lnTo>
                    <a:lnTo>
                      <a:pt x="1488" y="254"/>
                    </a:lnTo>
                    <a:lnTo>
                      <a:pt x="1482" y="254"/>
                    </a:lnTo>
                    <a:lnTo>
                      <a:pt x="1482" y="254"/>
                    </a:lnTo>
                    <a:lnTo>
                      <a:pt x="1476" y="254"/>
                    </a:lnTo>
                    <a:lnTo>
                      <a:pt x="1472" y="254"/>
                    </a:lnTo>
                    <a:lnTo>
                      <a:pt x="1466" y="254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48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lnTo>
                      <a:pt x="1466" y="242"/>
                    </a:lnTo>
                    <a:close/>
                    <a:moveTo>
                      <a:pt x="1516" y="248"/>
                    </a:moveTo>
                    <a:lnTo>
                      <a:pt x="1516" y="242"/>
                    </a:lnTo>
                    <a:lnTo>
                      <a:pt x="1510" y="238"/>
                    </a:lnTo>
                    <a:lnTo>
                      <a:pt x="1516" y="238"/>
                    </a:lnTo>
                    <a:lnTo>
                      <a:pt x="1516" y="238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16" y="234"/>
                    </a:lnTo>
                    <a:lnTo>
                      <a:pt x="1520" y="234"/>
                    </a:lnTo>
                    <a:lnTo>
                      <a:pt x="1526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36" y="238"/>
                    </a:lnTo>
                    <a:lnTo>
                      <a:pt x="1542" y="238"/>
                    </a:lnTo>
                    <a:lnTo>
                      <a:pt x="1542" y="238"/>
                    </a:lnTo>
                    <a:lnTo>
                      <a:pt x="1542" y="242"/>
                    </a:lnTo>
                    <a:lnTo>
                      <a:pt x="1542" y="248"/>
                    </a:lnTo>
                    <a:lnTo>
                      <a:pt x="1542" y="242"/>
                    </a:lnTo>
                    <a:lnTo>
                      <a:pt x="1548" y="242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30" y="248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26" y="254"/>
                    </a:lnTo>
                    <a:lnTo>
                      <a:pt x="1520" y="254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0" y="260"/>
                    </a:lnTo>
                    <a:lnTo>
                      <a:pt x="1510" y="260"/>
                    </a:lnTo>
                    <a:lnTo>
                      <a:pt x="1504" y="260"/>
                    </a:lnTo>
                    <a:lnTo>
                      <a:pt x="1504" y="254"/>
                    </a:lnTo>
                    <a:lnTo>
                      <a:pt x="1510" y="254"/>
                    </a:lnTo>
                    <a:lnTo>
                      <a:pt x="1510" y="248"/>
                    </a:lnTo>
                    <a:lnTo>
                      <a:pt x="1504" y="248"/>
                    </a:lnTo>
                    <a:lnTo>
                      <a:pt x="1510" y="248"/>
                    </a:lnTo>
                    <a:lnTo>
                      <a:pt x="1510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lnTo>
                      <a:pt x="1516" y="248"/>
                    </a:lnTo>
                    <a:close/>
                    <a:moveTo>
                      <a:pt x="1520" y="260"/>
                    </a:moveTo>
                    <a:lnTo>
                      <a:pt x="1520" y="254"/>
                    </a:lnTo>
                    <a:lnTo>
                      <a:pt x="1526" y="254"/>
                    </a:lnTo>
                    <a:lnTo>
                      <a:pt x="1530" y="254"/>
                    </a:lnTo>
                    <a:lnTo>
                      <a:pt x="1530" y="254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8" y="254"/>
                    </a:lnTo>
                    <a:lnTo>
                      <a:pt x="1554" y="254"/>
                    </a:lnTo>
                    <a:lnTo>
                      <a:pt x="1548" y="260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36" y="254"/>
                    </a:lnTo>
                    <a:lnTo>
                      <a:pt x="1530" y="260"/>
                    </a:lnTo>
                    <a:lnTo>
                      <a:pt x="1530" y="254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lnTo>
                      <a:pt x="1520" y="260"/>
                    </a:lnTo>
                    <a:close/>
                    <a:moveTo>
                      <a:pt x="1516" y="260"/>
                    </a:moveTo>
                    <a:lnTo>
                      <a:pt x="1516" y="260"/>
                    </a:lnTo>
                    <a:lnTo>
                      <a:pt x="1516" y="260"/>
                    </a:lnTo>
                    <a:lnTo>
                      <a:pt x="1520" y="260"/>
                    </a:lnTo>
                    <a:lnTo>
                      <a:pt x="152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48" y="260"/>
                    </a:lnTo>
                    <a:lnTo>
                      <a:pt x="1554" y="260"/>
                    </a:lnTo>
                    <a:lnTo>
                      <a:pt x="1554" y="266"/>
                    </a:lnTo>
                    <a:lnTo>
                      <a:pt x="1554" y="266"/>
                    </a:lnTo>
                    <a:lnTo>
                      <a:pt x="1554" y="270"/>
                    </a:lnTo>
                    <a:lnTo>
                      <a:pt x="1554" y="270"/>
                    </a:lnTo>
                    <a:lnTo>
                      <a:pt x="1548" y="270"/>
                    </a:lnTo>
                    <a:lnTo>
                      <a:pt x="1554" y="270"/>
                    </a:lnTo>
                    <a:lnTo>
                      <a:pt x="1548" y="276"/>
                    </a:lnTo>
                    <a:lnTo>
                      <a:pt x="1542" y="276"/>
                    </a:lnTo>
                    <a:lnTo>
                      <a:pt x="1542" y="276"/>
                    </a:lnTo>
                    <a:lnTo>
                      <a:pt x="1542" y="270"/>
                    </a:lnTo>
                    <a:lnTo>
                      <a:pt x="1536" y="270"/>
                    </a:lnTo>
                    <a:lnTo>
                      <a:pt x="1536" y="266"/>
                    </a:lnTo>
                    <a:lnTo>
                      <a:pt x="1530" y="266"/>
                    </a:lnTo>
                    <a:lnTo>
                      <a:pt x="1530" y="266"/>
                    </a:lnTo>
                    <a:lnTo>
                      <a:pt x="1530" y="260"/>
                    </a:lnTo>
                    <a:lnTo>
                      <a:pt x="1526" y="260"/>
                    </a:lnTo>
                    <a:lnTo>
                      <a:pt x="1520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lnTo>
                      <a:pt x="1516" y="260"/>
                    </a:lnTo>
                    <a:close/>
                    <a:moveTo>
                      <a:pt x="1998" y="302"/>
                    </a:moveTo>
                    <a:lnTo>
                      <a:pt x="1992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lnTo>
                      <a:pt x="1998" y="302"/>
                    </a:lnTo>
                    <a:close/>
                    <a:moveTo>
                      <a:pt x="562" y="348"/>
                    </a:moveTo>
                    <a:lnTo>
                      <a:pt x="556" y="348"/>
                    </a:lnTo>
                    <a:lnTo>
                      <a:pt x="550" y="348"/>
                    </a:lnTo>
                    <a:lnTo>
                      <a:pt x="550" y="342"/>
                    </a:lnTo>
                    <a:lnTo>
                      <a:pt x="550" y="348"/>
                    </a:lnTo>
                    <a:lnTo>
                      <a:pt x="556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lnTo>
                      <a:pt x="562" y="348"/>
                    </a:lnTo>
                    <a:close/>
                    <a:moveTo>
                      <a:pt x="14" y="672"/>
                    </a:moveTo>
                    <a:lnTo>
                      <a:pt x="20" y="672"/>
                    </a:lnTo>
                    <a:lnTo>
                      <a:pt x="14" y="67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82"/>
                    </a:lnTo>
                    <a:lnTo>
                      <a:pt x="14" y="682"/>
                    </a:lnTo>
                    <a:lnTo>
                      <a:pt x="20" y="682"/>
                    </a:lnTo>
                    <a:lnTo>
                      <a:pt x="26" y="682"/>
                    </a:lnTo>
                    <a:lnTo>
                      <a:pt x="26" y="676"/>
                    </a:lnTo>
                    <a:lnTo>
                      <a:pt x="20" y="672"/>
                    </a:lnTo>
                    <a:lnTo>
                      <a:pt x="26" y="672"/>
                    </a:lnTo>
                    <a:lnTo>
                      <a:pt x="26" y="672"/>
                    </a:lnTo>
                    <a:lnTo>
                      <a:pt x="36" y="676"/>
                    </a:lnTo>
                    <a:lnTo>
                      <a:pt x="36" y="676"/>
                    </a:lnTo>
                    <a:lnTo>
                      <a:pt x="42" y="676"/>
                    </a:lnTo>
                    <a:lnTo>
                      <a:pt x="48" y="682"/>
                    </a:lnTo>
                    <a:lnTo>
                      <a:pt x="48" y="682"/>
                    </a:lnTo>
                    <a:lnTo>
                      <a:pt x="42" y="682"/>
                    </a:lnTo>
                    <a:lnTo>
                      <a:pt x="42" y="688"/>
                    </a:lnTo>
                    <a:lnTo>
                      <a:pt x="42" y="692"/>
                    </a:lnTo>
                    <a:lnTo>
                      <a:pt x="36" y="692"/>
                    </a:lnTo>
                    <a:lnTo>
                      <a:pt x="36" y="692"/>
                    </a:lnTo>
                    <a:lnTo>
                      <a:pt x="30" y="692"/>
                    </a:lnTo>
                    <a:lnTo>
                      <a:pt x="26" y="692"/>
                    </a:lnTo>
                    <a:lnTo>
                      <a:pt x="26" y="692"/>
                    </a:lnTo>
                    <a:lnTo>
                      <a:pt x="20" y="692"/>
                    </a:lnTo>
                    <a:lnTo>
                      <a:pt x="14" y="692"/>
                    </a:lnTo>
                    <a:lnTo>
                      <a:pt x="14" y="692"/>
                    </a:lnTo>
                    <a:lnTo>
                      <a:pt x="10" y="692"/>
                    </a:lnTo>
                    <a:lnTo>
                      <a:pt x="4" y="692"/>
                    </a:lnTo>
                    <a:lnTo>
                      <a:pt x="0" y="692"/>
                    </a:lnTo>
                    <a:lnTo>
                      <a:pt x="0" y="688"/>
                    </a:lnTo>
                    <a:lnTo>
                      <a:pt x="4" y="688"/>
                    </a:lnTo>
                    <a:lnTo>
                      <a:pt x="10" y="688"/>
                    </a:lnTo>
                    <a:lnTo>
                      <a:pt x="10" y="682"/>
                    </a:lnTo>
                    <a:lnTo>
                      <a:pt x="4" y="682"/>
                    </a:lnTo>
                    <a:lnTo>
                      <a:pt x="0" y="682"/>
                    </a:lnTo>
                    <a:lnTo>
                      <a:pt x="4" y="682"/>
                    </a:lnTo>
                    <a:lnTo>
                      <a:pt x="4" y="682"/>
                    </a:lnTo>
                    <a:lnTo>
                      <a:pt x="4" y="676"/>
                    </a:lnTo>
                    <a:lnTo>
                      <a:pt x="4" y="682"/>
                    </a:lnTo>
                    <a:lnTo>
                      <a:pt x="10" y="682"/>
                    </a:lnTo>
                    <a:lnTo>
                      <a:pt x="14" y="682"/>
                    </a:lnTo>
                    <a:lnTo>
                      <a:pt x="14" y="676"/>
                    </a:lnTo>
                    <a:lnTo>
                      <a:pt x="14" y="676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lnTo>
                      <a:pt x="14" y="672"/>
                    </a:lnTo>
                    <a:close/>
                    <a:moveTo>
                      <a:pt x="0" y="688"/>
                    </a:move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lnTo>
                      <a:pt x="0" y="688"/>
                    </a:lnTo>
                    <a:close/>
                    <a:moveTo>
                      <a:pt x="600" y="6"/>
                    </a:moveTo>
                    <a:lnTo>
                      <a:pt x="604" y="6"/>
                    </a:lnTo>
                    <a:lnTo>
                      <a:pt x="610" y="0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10" y="0"/>
                    </a:lnTo>
                    <a:lnTo>
                      <a:pt x="616" y="0"/>
                    </a:lnTo>
                    <a:lnTo>
                      <a:pt x="622" y="0"/>
                    </a:lnTo>
                    <a:lnTo>
                      <a:pt x="622" y="6"/>
                    </a:lnTo>
                    <a:lnTo>
                      <a:pt x="622" y="6"/>
                    </a:lnTo>
                    <a:lnTo>
                      <a:pt x="622" y="12"/>
                    </a:lnTo>
                    <a:lnTo>
                      <a:pt x="616" y="6"/>
                    </a:lnTo>
                    <a:lnTo>
                      <a:pt x="610" y="6"/>
                    </a:lnTo>
                    <a:lnTo>
                      <a:pt x="610" y="6"/>
                    </a:lnTo>
                    <a:lnTo>
                      <a:pt x="604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lnTo>
                      <a:pt x="600" y="6"/>
                    </a:lnTo>
                    <a:close/>
                    <a:moveTo>
                      <a:pt x="546" y="6"/>
                    </a:moveTo>
                    <a:lnTo>
                      <a:pt x="550" y="6"/>
                    </a:lnTo>
                    <a:lnTo>
                      <a:pt x="550" y="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lnTo>
                      <a:pt x="546" y="6"/>
                    </a:lnTo>
                    <a:close/>
                    <a:moveTo>
                      <a:pt x="596" y="6"/>
                    </a:moveTo>
                    <a:lnTo>
                      <a:pt x="600" y="6"/>
                    </a:lnTo>
                    <a:lnTo>
                      <a:pt x="600" y="12"/>
                    </a:lnTo>
                    <a:lnTo>
                      <a:pt x="600" y="12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lnTo>
                      <a:pt x="596" y="6"/>
                    </a:lnTo>
                    <a:close/>
                    <a:moveTo>
                      <a:pt x="550" y="12"/>
                    </a:moveTo>
                    <a:lnTo>
                      <a:pt x="550" y="12"/>
                    </a:lnTo>
                    <a:lnTo>
                      <a:pt x="556" y="12"/>
                    </a:lnTo>
                    <a:lnTo>
                      <a:pt x="562" y="12"/>
                    </a:lnTo>
                    <a:lnTo>
                      <a:pt x="562" y="16"/>
                    </a:lnTo>
                    <a:lnTo>
                      <a:pt x="556" y="16"/>
                    </a:lnTo>
                    <a:lnTo>
                      <a:pt x="550" y="16"/>
                    </a:lnTo>
                    <a:lnTo>
                      <a:pt x="550" y="16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50" y="12"/>
                    </a:lnTo>
                    <a:close/>
                    <a:moveTo>
                      <a:pt x="492" y="16"/>
                    </a:moveTo>
                    <a:lnTo>
                      <a:pt x="486" y="12"/>
                    </a:lnTo>
                    <a:lnTo>
                      <a:pt x="492" y="12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lnTo>
                      <a:pt x="492" y="16"/>
                    </a:lnTo>
                    <a:close/>
                    <a:moveTo>
                      <a:pt x="568" y="16"/>
                    </a:moveTo>
                    <a:lnTo>
                      <a:pt x="572" y="16"/>
                    </a:lnTo>
                    <a:lnTo>
                      <a:pt x="572" y="16"/>
                    </a:lnTo>
                    <a:lnTo>
                      <a:pt x="578" y="16"/>
                    </a:lnTo>
                    <a:lnTo>
                      <a:pt x="572" y="16"/>
                    </a:lnTo>
                    <a:lnTo>
                      <a:pt x="572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lnTo>
                      <a:pt x="568" y="16"/>
                    </a:lnTo>
                    <a:close/>
                    <a:moveTo>
                      <a:pt x="530" y="20"/>
                    </a:move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40" y="20"/>
                    </a:lnTo>
                    <a:lnTo>
                      <a:pt x="536" y="20"/>
                    </a:lnTo>
                    <a:lnTo>
                      <a:pt x="536" y="20"/>
                    </a:lnTo>
                    <a:lnTo>
                      <a:pt x="530" y="20"/>
                    </a:lnTo>
                    <a:lnTo>
                      <a:pt x="524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lnTo>
                      <a:pt x="530" y="20"/>
                    </a:lnTo>
                    <a:close/>
                    <a:moveTo>
                      <a:pt x="1006" y="26"/>
                    </a:moveTo>
                    <a:lnTo>
                      <a:pt x="1006" y="26"/>
                    </a:lnTo>
                    <a:lnTo>
                      <a:pt x="994" y="20"/>
                    </a:lnTo>
                    <a:lnTo>
                      <a:pt x="990" y="20"/>
                    </a:lnTo>
                    <a:lnTo>
                      <a:pt x="994" y="20"/>
                    </a:lnTo>
                    <a:lnTo>
                      <a:pt x="994" y="16"/>
                    </a:lnTo>
                    <a:lnTo>
                      <a:pt x="1000" y="16"/>
                    </a:lnTo>
                    <a:lnTo>
                      <a:pt x="1006" y="16"/>
                    </a:lnTo>
                    <a:lnTo>
                      <a:pt x="1006" y="16"/>
                    </a:lnTo>
                    <a:lnTo>
                      <a:pt x="1012" y="16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0"/>
                    </a:lnTo>
                    <a:lnTo>
                      <a:pt x="1018" y="26"/>
                    </a:lnTo>
                    <a:lnTo>
                      <a:pt x="1012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lnTo>
                      <a:pt x="1006" y="26"/>
                    </a:lnTo>
                    <a:close/>
                    <a:moveTo>
                      <a:pt x="556" y="16"/>
                    </a:moveTo>
                    <a:lnTo>
                      <a:pt x="562" y="16"/>
                    </a:lnTo>
                    <a:lnTo>
                      <a:pt x="562" y="16"/>
                    </a:lnTo>
                    <a:lnTo>
                      <a:pt x="562" y="20"/>
                    </a:lnTo>
                    <a:lnTo>
                      <a:pt x="568" y="20"/>
                    </a:lnTo>
                    <a:lnTo>
                      <a:pt x="562" y="20"/>
                    </a:lnTo>
                    <a:lnTo>
                      <a:pt x="556" y="20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lnTo>
                      <a:pt x="556" y="16"/>
                    </a:lnTo>
                    <a:close/>
                    <a:moveTo>
                      <a:pt x="432" y="26"/>
                    </a:move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0"/>
                    </a:lnTo>
                    <a:lnTo>
                      <a:pt x="438" y="20"/>
                    </a:lnTo>
                    <a:lnTo>
                      <a:pt x="442" y="20"/>
                    </a:lnTo>
                    <a:lnTo>
                      <a:pt x="442" y="26"/>
                    </a:lnTo>
                    <a:lnTo>
                      <a:pt x="438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close/>
                    <a:moveTo>
                      <a:pt x="546" y="20"/>
                    </a:moveTo>
                    <a:lnTo>
                      <a:pt x="550" y="20"/>
                    </a:lnTo>
                    <a:lnTo>
                      <a:pt x="550" y="20"/>
                    </a:lnTo>
                    <a:lnTo>
                      <a:pt x="550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lnTo>
                      <a:pt x="546" y="20"/>
                    </a:lnTo>
                    <a:close/>
                    <a:moveTo>
                      <a:pt x="572" y="26"/>
                    </a:moveTo>
                    <a:lnTo>
                      <a:pt x="572" y="26"/>
                    </a:lnTo>
                    <a:lnTo>
                      <a:pt x="578" y="20"/>
                    </a:lnTo>
                    <a:lnTo>
                      <a:pt x="584" y="20"/>
                    </a:lnTo>
                    <a:lnTo>
                      <a:pt x="584" y="20"/>
                    </a:lnTo>
                    <a:lnTo>
                      <a:pt x="590" y="20"/>
                    </a:lnTo>
                    <a:lnTo>
                      <a:pt x="596" y="20"/>
                    </a:lnTo>
                    <a:lnTo>
                      <a:pt x="596" y="26"/>
                    </a:lnTo>
                    <a:lnTo>
                      <a:pt x="590" y="26"/>
                    </a:lnTo>
                    <a:lnTo>
                      <a:pt x="584" y="26"/>
                    </a:lnTo>
                    <a:lnTo>
                      <a:pt x="584" y="26"/>
                    </a:lnTo>
                    <a:lnTo>
                      <a:pt x="57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26"/>
                    </a:lnTo>
                    <a:close/>
                    <a:moveTo>
                      <a:pt x="512" y="20"/>
                    </a:moveTo>
                    <a:lnTo>
                      <a:pt x="518" y="20"/>
                    </a:lnTo>
                    <a:lnTo>
                      <a:pt x="524" y="20"/>
                    </a:lnTo>
                    <a:lnTo>
                      <a:pt x="524" y="20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40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36" y="26"/>
                    </a:lnTo>
                    <a:lnTo>
                      <a:pt x="536" y="26"/>
                    </a:lnTo>
                    <a:lnTo>
                      <a:pt x="530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18" y="26"/>
                    </a:lnTo>
                    <a:lnTo>
                      <a:pt x="512" y="2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12" y="20"/>
                    </a:lnTo>
                    <a:close/>
                    <a:moveTo>
                      <a:pt x="540" y="26"/>
                    </a:moveTo>
                    <a:lnTo>
                      <a:pt x="536" y="26"/>
                    </a:lnTo>
                    <a:lnTo>
                      <a:pt x="540" y="20"/>
                    </a:lnTo>
                    <a:lnTo>
                      <a:pt x="546" y="20"/>
                    </a:lnTo>
                    <a:lnTo>
                      <a:pt x="550" y="20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46" y="26"/>
                    </a:lnTo>
                    <a:lnTo>
                      <a:pt x="546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lnTo>
                      <a:pt x="540" y="26"/>
                    </a:lnTo>
                    <a:close/>
                    <a:moveTo>
                      <a:pt x="844" y="26"/>
                    </a:move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0" y="26"/>
                    </a:lnTo>
                    <a:lnTo>
                      <a:pt x="854" y="26"/>
                    </a:lnTo>
                    <a:lnTo>
                      <a:pt x="860" y="26"/>
                    </a:lnTo>
                    <a:lnTo>
                      <a:pt x="854" y="32"/>
                    </a:lnTo>
                    <a:lnTo>
                      <a:pt x="850" y="32"/>
                    </a:lnTo>
                    <a:lnTo>
                      <a:pt x="844" y="32"/>
                    </a:lnTo>
                    <a:lnTo>
                      <a:pt x="838" y="32"/>
                    </a:lnTo>
                    <a:lnTo>
                      <a:pt x="838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lnTo>
                      <a:pt x="844" y="26"/>
                    </a:lnTo>
                    <a:close/>
                    <a:moveTo>
                      <a:pt x="540" y="32"/>
                    </a:moveTo>
                    <a:lnTo>
                      <a:pt x="540" y="26"/>
                    </a:lnTo>
                    <a:lnTo>
                      <a:pt x="546" y="26"/>
                    </a:lnTo>
                    <a:lnTo>
                      <a:pt x="550" y="26"/>
                    </a:lnTo>
                    <a:lnTo>
                      <a:pt x="550" y="26"/>
                    </a:lnTo>
                    <a:lnTo>
                      <a:pt x="556" y="26"/>
                    </a:lnTo>
                    <a:lnTo>
                      <a:pt x="556" y="32"/>
                    </a:lnTo>
                    <a:lnTo>
                      <a:pt x="550" y="32"/>
                    </a:lnTo>
                    <a:lnTo>
                      <a:pt x="550" y="32"/>
                    </a:lnTo>
                    <a:lnTo>
                      <a:pt x="546" y="32"/>
                    </a:lnTo>
                    <a:lnTo>
                      <a:pt x="540" y="32"/>
                    </a:lnTo>
                    <a:lnTo>
                      <a:pt x="536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lnTo>
                      <a:pt x="540" y="32"/>
                    </a:lnTo>
                    <a:close/>
                    <a:moveTo>
                      <a:pt x="486" y="32"/>
                    </a:moveTo>
                    <a:lnTo>
                      <a:pt x="48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32"/>
                    </a:lnTo>
                    <a:lnTo>
                      <a:pt x="512" y="32"/>
                    </a:lnTo>
                    <a:lnTo>
                      <a:pt x="508" y="32"/>
                    </a:lnTo>
                    <a:lnTo>
                      <a:pt x="502" y="32"/>
                    </a:lnTo>
                    <a:lnTo>
                      <a:pt x="50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6" y="32"/>
                    </a:lnTo>
                    <a:lnTo>
                      <a:pt x="492" y="32"/>
                    </a:lnTo>
                    <a:lnTo>
                      <a:pt x="492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lnTo>
                      <a:pt x="486" y="32"/>
                    </a:lnTo>
                    <a:close/>
                    <a:moveTo>
                      <a:pt x="508" y="32"/>
                    </a:moveTo>
                    <a:lnTo>
                      <a:pt x="512" y="32"/>
                    </a:lnTo>
                    <a:lnTo>
                      <a:pt x="518" y="32"/>
                    </a:lnTo>
                    <a:lnTo>
                      <a:pt x="524" y="32"/>
                    </a:lnTo>
                    <a:lnTo>
                      <a:pt x="524" y="38"/>
                    </a:lnTo>
                    <a:lnTo>
                      <a:pt x="524" y="38"/>
                    </a:lnTo>
                    <a:lnTo>
                      <a:pt x="518" y="38"/>
                    </a:lnTo>
                    <a:lnTo>
                      <a:pt x="512" y="38"/>
                    </a:lnTo>
                    <a:lnTo>
                      <a:pt x="512" y="38"/>
                    </a:lnTo>
                    <a:lnTo>
                      <a:pt x="508" y="38"/>
                    </a:lnTo>
                    <a:lnTo>
                      <a:pt x="502" y="38"/>
                    </a:lnTo>
                    <a:lnTo>
                      <a:pt x="502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lnTo>
                      <a:pt x="508" y="32"/>
                    </a:lnTo>
                    <a:close/>
                    <a:moveTo>
                      <a:pt x="476" y="38"/>
                    </a:move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lnTo>
                      <a:pt x="476" y="38"/>
                    </a:lnTo>
                    <a:close/>
                    <a:moveTo>
                      <a:pt x="550" y="38"/>
                    </a:move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lnTo>
                      <a:pt x="550" y="38"/>
                    </a:lnTo>
                    <a:close/>
                    <a:moveTo>
                      <a:pt x="530" y="38"/>
                    </a:move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4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lnTo>
                      <a:pt x="530" y="38"/>
                    </a:lnTo>
                    <a:close/>
                    <a:moveTo>
                      <a:pt x="482" y="38"/>
                    </a:move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8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42"/>
                    </a:lnTo>
                    <a:lnTo>
                      <a:pt x="486" y="42"/>
                    </a:lnTo>
                    <a:lnTo>
                      <a:pt x="486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lnTo>
                      <a:pt x="482" y="38"/>
                    </a:lnTo>
                    <a:close/>
                    <a:moveTo>
                      <a:pt x="492" y="38"/>
                    </a:moveTo>
                    <a:lnTo>
                      <a:pt x="496" y="38"/>
                    </a:lnTo>
                    <a:lnTo>
                      <a:pt x="502" y="38"/>
                    </a:lnTo>
                    <a:lnTo>
                      <a:pt x="496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lnTo>
                      <a:pt x="492" y="38"/>
                    </a:lnTo>
                    <a:close/>
                    <a:moveTo>
                      <a:pt x="492" y="42"/>
                    </a:moveTo>
                    <a:lnTo>
                      <a:pt x="492" y="38"/>
                    </a:lnTo>
                    <a:lnTo>
                      <a:pt x="496" y="38"/>
                    </a:lnTo>
                    <a:lnTo>
                      <a:pt x="496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lnTo>
                      <a:pt x="492" y="42"/>
                    </a:lnTo>
                    <a:close/>
                    <a:moveTo>
                      <a:pt x="502" y="42"/>
                    </a:move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lnTo>
                      <a:pt x="502" y="42"/>
                    </a:lnTo>
                    <a:close/>
                    <a:moveTo>
                      <a:pt x="512" y="42"/>
                    </a:moveTo>
                    <a:lnTo>
                      <a:pt x="512" y="42"/>
                    </a:lnTo>
                    <a:lnTo>
                      <a:pt x="518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2" y="42"/>
                    </a:lnTo>
                    <a:close/>
                    <a:moveTo>
                      <a:pt x="464" y="48"/>
                    </a:moveTo>
                    <a:lnTo>
                      <a:pt x="458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2"/>
                    </a:lnTo>
                    <a:lnTo>
                      <a:pt x="470" y="42"/>
                    </a:lnTo>
                    <a:lnTo>
                      <a:pt x="476" y="42"/>
                    </a:lnTo>
                    <a:lnTo>
                      <a:pt x="476" y="42"/>
                    </a:lnTo>
                    <a:lnTo>
                      <a:pt x="476" y="48"/>
                    </a:lnTo>
                    <a:lnTo>
                      <a:pt x="482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6" y="48"/>
                    </a:lnTo>
                    <a:lnTo>
                      <a:pt x="470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lnTo>
                      <a:pt x="464" y="48"/>
                    </a:lnTo>
                    <a:close/>
                    <a:moveTo>
                      <a:pt x="496" y="48"/>
                    </a:moveTo>
                    <a:lnTo>
                      <a:pt x="502" y="48"/>
                    </a:lnTo>
                    <a:lnTo>
                      <a:pt x="502" y="42"/>
                    </a:lnTo>
                    <a:lnTo>
                      <a:pt x="508" y="48"/>
                    </a:lnTo>
                    <a:lnTo>
                      <a:pt x="502" y="48"/>
                    </a:lnTo>
                    <a:lnTo>
                      <a:pt x="502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6" y="48"/>
                    </a:lnTo>
                    <a:close/>
                    <a:moveTo>
                      <a:pt x="492" y="48"/>
                    </a:moveTo>
                    <a:lnTo>
                      <a:pt x="486" y="48"/>
                    </a:lnTo>
                    <a:lnTo>
                      <a:pt x="492" y="48"/>
                    </a:lnTo>
                    <a:lnTo>
                      <a:pt x="492" y="42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lnTo>
                      <a:pt x="492" y="48"/>
                    </a:lnTo>
                    <a:close/>
                    <a:moveTo>
                      <a:pt x="426" y="54"/>
                    </a:moveTo>
                    <a:lnTo>
                      <a:pt x="426" y="48"/>
                    </a:lnTo>
                    <a:lnTo>
                      <a:pt x="422" y="48"/>
                    </a:lnTo>
                    <a:lnTo>
                      <a:pt x="426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48"/>
                    </a:lnTo>
                    <a:lnTo>
                      <a:pt x="432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lnTo>
                      <a:pt x="426" y="54"/>
                    </a:lnTo>
                    <a:close/>
                    <a:moveTo>
                      <a:pt x="568" y="48"/>
                    </a:moveTo>
                    <a:lnTo>
                      <a:pt x="568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72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lnTo>
                      <a:pt x="568" y="48"/>
                    </a:lnTo>
                    <a:close/>
                    <a:moveTo>
                      <a:pt x="550" y="54"/>
                    </a:moveTo>
                    <a:lnTo>
                      <a:pt x="556" y="54"/>
                    </a:lnTo>
                    <a:lnTo>
                      <a:pt x="556" y="48"/>
                    </a:lnTo>
                    <a:lnTo>
                      <a:pt x="562" y="48"/>
                    </a:lnTo>
                    <a:lnTo>
                      <a:pt x="562" y="48"/>
                    </a:lnTo>
                    <a:lnTo>
                      <a:pt x="568" y="48"/>
                    </a:lnTo>
                    <a:lnTo>
                      <a:pt x="568" y="54"/>
                    </a:lnTo>
                    <a:lnTo>
                      <a:pt x="562" y="54"/>
                    </a:lnTo>
                    <a:lnTo>
                      <a:pt x="562" y="60"/>
                    </a:lnTo>
                    <a:lnTo>
                      <a:pt x="562" y="60"/>
                    </a:lnTo>
                    <a:lnTo>
                      <a:pt x="562" y="54"/>
                    </a:lnTo>
                    <a:lnTo>
                      <a:pt x="556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54"/>
                    </a:lnTo>
                    <a:close/>
                    <a:moveTo>
                      <a:pt x="432" y="54"/>
                    </a:moveTo>
                    <a:lnTo>
                      <a:pt x="432" y="54"/>
                    </a:lnTo>
                    <a:lnTo>
                      <a:pt x="438" y="54"/>
                    </a:lnTo>
                    <a:lnTo>
                      <a:pt x="442" y="54"/>
                    </a:lnTo>
                    <a:lnTo>
                      <a:pt x="442" y="48"/>
                    </a:lnTo>
                    <a:lnTo>
                      <a:pt x="442" y="48"/>
                    </a:lnTo>
                    <a:lnTo>
                      <a:pt x="442" y="54"/>
                    </a:lnTo>
                    <a:lnTo>
                      <a:pt x="448" y="54"/>
                    </a:lnTo>
                    <a:lnTo>
                      <a:pt x="448" y="60"/>
                    </a:lnTo>
                    <a:lnTo>
                      <a:pt x="442" y="60"/>
                    </a:lnTo>
                    <a:lnTo>
                      <a:pt x="442" y="60"/>
                    </a:lnTo>
                    <a:lnTo>
                      <a:pt x="442" y="54"/>
                    </a:lnTo>
                    <a:lnTo>
                      <a:pt x="438" y="54"/>
                    </a:lnTo>
                    <a:lnTo>
                      <a:pt x="438" y="60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lnTo>
                      <a:pt x="432" y="54"/>
                    </a:lnTo>
                    <a:close/>
                    <a:moveTo>
                      <a:pt x="422" y="54"/>
                    </a:moveTo>
                    <a:lnTo>
                      <a:pt x="422" y="48"/>
                    </a:lnTo>
                    <a:lnTo>
                      <a:pt x="426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lnTo>
                      <a:pt x="422" y="54"/>
                    </a:lnTo>
                    <a:close/>
                    <a:moveTo>
                      <a:pt x="1054" y="54"/>
                    </a:move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4" y="54"/>
                    </a:lnTo>
                    <a:close/>
                    <a:moveTo>
                      <a:pt x="546" y="60"/>
                    </a:moveTo>
                    <a:lnTo>
                      <a:pt x="550" y="60"/>
                    </a:lnTo>
                    <a:lnTo>
                      <a:pt x="550" y="54"/>
                    </a:lnTo>
                    <a:lnTo>
                      <a:pt x="550" y="54"/>
                    </a:lnTo>
                    <a:lnTo>
                      <a:pt x="550" y="60"/>
                    </a:lnTo>
                    <a:lnTo>
                      <a:pt x="556" y="60"/>
                    </a:lnTo>
                    <a:lnTo>
                      <a:pt x="550" y="60"/>
                    </a:lnTo>
                    <a:lnTo>
                      <a:pt x="550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lnTo>
                      <a:pt x="546" y="60"/>
                    </a:lnTo>
                    <a:close/>
                    <a:moveTo>
                      <a:pt x="1018" y="66"/>
                    </a:moveTo>
                    <a:lnTo>
                      <a:pt x="1018" y="66"/>
                    </a:lnTo>
                    <a:lnTo>
                      <a:pt x="1012" y="60"/>
                    </a:lnTo>
                    <a:lnTo>
                      <a:pt x="1018" y="60"/>
                    </a:lnTo>
                    <a:lnTo>
                      <a:pt x="1018" y="60"/>
                    </a:lnTo>
                    <a:lnTo>
                      <a:pt x="1022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lnTo>
                      <a:pt x="1018" y="66"/>
                    </a:lnTo>
                    <a:close/>
                    <a:moveTo>
                      <a:pt x="1078" y="146"/>
                    </a:moveTo>
                    <a:lnTo>
                      <a:pt x="1078" y="146"/>
                    </a:lnTo>
                    <a:lnTo>
                      <a:pt x="1078" y="152"/>
                    </a:lnTo>
                    <a:lnTo>
                      <a:pt x="1072" y="152"/>
                    </a:lnTo>
                    <a:lnTo>
                      <a:pt x="1072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lnTo>
                      <a:pt x="1078" y="146"/>
                    </a:lnTo>
                    <a:close/>
                    <a:moveTo>
                      <a:pt x="568" y="162"/>
                    </a:moveTo>
                    <a:lnTo>
                      <a:pt x="572" y="162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72" y="162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68" y="168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lnTo>
                      <a:pt x="568" y="162"/>
                    </a:lnTo>
                    <a:close/>
                    <a:moveTo>
                      <a:pt x="550" y="168"/>
                    </a:moveTo>
                    <a:lnTo>
                      <a:pt x="562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lnTo>
                      <a:pt x="550" y="168"/>
                    </a:lnTo>
                    <a:close/>
                    <a:moveTo>
                      <a:pt x="1710" y="180"/>
                    </a:moveTo>
                    <a:lnTo>
                      <a:pt x="1710" y="180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0" y="180"/>
                    </a:lnTo>
                    <a:close/>
                    <a:moveTo>
                      <a:pt x="946" y="200"/>
                    </a:move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6" y="200"/>
                    </a:lnTo>
                    <a:close/>
                    <a:moveTo>
                      <a:pt x="936" y="210"/>
                    </a:moveTo>
                    <a:lnTo>
                      <a:pt x="930" y="210"/>
                    </a:lnTo>
                    <a:lnTo>
                      <a:pt x="930" y="206"/>
                    </a:lnTo>
                    <a:lnTo>
                      <a:pt x="936" y="206"/>
                    </a:lnTo>
                    <a:lnTo>
                      <a:pt x="940" y="206"/>
                    </a:lnTo>
                    <a:lnTo>
                      <a:pt x="936" y="206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lnTo>
                      <a:pt x="936" y="210"/>
                    </a:lnTo>
                    <a:close/>
                    <a:moveTo>
                      <a:pt x="926" y="210"/>
                    </a:moveTo>
                    <a:lnTo>
                      <a:pt x="930" y="210"/>
                    </a:lnTo>
                    <a:lnTo>
                      <a:pt x="930" y="210"/>
                    </a:ln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6" y="210"/>
                    </a:lnTo>
                    <a:close/>
                    <a:moveTo>
                      <a:pt x="952" y="234"/>
                    </a:moveTo>
                    <a:lnTo>
                      <a:pt x="952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8" y="228"/>
                    </a:lnTo>
                    <a:lnTo>
                      <a:pt x="952" y="228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lnTo>
                      <a:pt x="952" y="234"/>
                    </a:lnTo>
                    <a:close/>
                    <a:moveTo>
                      <a:pt x="952" y="228"/>
                    </a:moveTo>
                    <a:lnTo>
                      <a:pt x="946" y="234"/>
                    </a:lnTo>
                    <a:lnTo>
                      <a:pt x="946" y="234"/>
                    </a:lnTo>
                    <a:lnTo>
                      <a:pt x="946" y="228"/>
                    </a:lnTo>
                    <a:lnTo>
                      <a:pt x="946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lnTo>
                      <a:pt x="952" y="228"/>
                    </a:lnTo>
                    <a:close/>
                    <a:moveTo>
                      <a:pt x="790" y="238"/>
                    </a:moveTo>
                    <a:lnTo>
                      <a:pt x="790" y="234"/>
                    </a:lnTo>
                    <a:lnTo>
                      <a:pt x="794" y="234"/>
                    </a:lnTo>
                    <a:lnTo>
                      <a:pt x="800" y="234"/>
                    </a:lnTo>
                    <a:lnTo>
                      <a:pt x="794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lnTo>
                      <a:pt x="790" y="238"/>
                    </a:lnTo>
                    <a:close/>
                    <a:moveTo>
                      <a:pt x="800" y="234"/>
                    </a:moveTo>
                    <a:lnTo>
                      <a:pt x="800" y="234"/>
                    </a:lnTo>
                    <a:lnTo>
                      <a:pt x="800" y="238"/>
                    </a:lnTo>
                    <a:lnTo>
                      <a:pt x="806" y="238"/>
                    </a:lnTo>
                    <a:lnTo>
                      <a:pt x="800" y="238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lnTo>
                      <a:pt x="800" y="234"/>
                    </a:lnTo>
                    <a:close/>
                    <a:moveTo>
                      <a:pt x="1510" y="238"/>
                    </a:moveTo>
                    <a:lnTo>
                      <a:pt x="1516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lnTo>
                      <a:pt x="1510" y="238"/>
                    </a:lnTo>
                    <a:close/>
                    <a:moveTo>
                      <a:pt x="730" y="238"/>
                    </a:move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0" y="238"/>
                    </a:lnTo>
                    <a:close/>
                    <a:moveTo>
                      <a:pt x="800" y="242"/>
                    </a:moveTo>
                    <a:lnTo>
                      <a:pt x="800" y="242"/>
                    </a:lnTo>
                    <a:lnTo>
                      <a:pt x="806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lnTo>
                      <a:pt x="800" y="242"/>
                    </a:lnTo>
                    <a:close/>
                    <a:moveTo>
                      <a:pt x="766" y="248"/>
                    </a:moveTo>
                    <a:lnTo>
                      <a:pt x="766" y="242"/>
                    </a:lnTo>
                    <a:lnTo>
                      <a:pt x="772" y="242"/>
                    </a:lnTo>
                    <a:lnTo>
                      <a:pt x="778" y="242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2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8" y="248"/>
                    </a:lnTo>
                    <a:lnTo>
                      <a:pt x="772" y="248"/>
                    </a:lnTo>
                    <a:lnTo>
                      <a:pt x="772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lnTo>
                      <a:pt x="766" y="248"/>
                    </a:lnTo>
                    <a:close/>
                    <a:moveTo>
                      <a:pt x="1446" y="248"/>
                    </a:moveTo>
                    <a:lnTo>
                      <a:pt x="144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lnTo>
                      <a:pt x="1446" y="248"/>
                    </a:lnTo>
                    <a:close/>
                    <a:moveTo>
                      <a:pt x="1542" y="248"/>
                    </a:moveTo>
                    <a:lnTo>
                      <a:pt x="1542" y="248"/>
                    </a:lnTo>
                    <a:lnTo>
                      <a:pt x="1548" y="248"/>
                    </a:lnTo>
                    <a:lnTo>
                      <a:pt x="1548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2" y="248"/>
                    </a:lnTo>
                    <a:close/>
                    <a:moveTo>
                      <a:pt x="1450" y="248"/>
                    </a:moveTo>
                    <a:lnTo>
                      <a:pt x="1456" y="248"/>
                    </a:lnTo>
                    <a:lnTo>
                      <a:pt x="1456" y="248"/>
                    </a:lnTo>
                    <a:lnTo>
                      <a:pt x="1462" y="248"/>
                    </a:lnTo>
                    <a:lnTo>
                      <a:pt x="1466" y="248"/>
                    </a:lnTo>
                    <a:lnTo>
                      <a:pt x="1466" y="254"/>
                    </a:lnTo>
                    <a:lnTo>
                      <a:pt x="1466" y="254"/>
                    </a:lnTo>
                    <a:lnTo>
                      <a:pt x="1462" y="248"/>
                    </a:lnTo>
                    <a:lnTo>
                      <a:pt x="1456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lnTo>
                      <a:pt x="1450" y="248"/>
                    </a:lnTo>
                    <a:close/>
                    <a:moveTo>
                      <a:pt x="1548" y="254"/>
                    </a:moveTo>
                    <a:lnTo>
                      <a:pt x="1542" y="254"/>
                    </a:lnTo>
                    <a:lnTo>
                      <a:pt x="1542" y="248"/>
                    </a:lnTo>
                    <a:lnTo>
                      <a:pt x="1536" y="248"/>
                    </a:lnTo>
                    <a:lnTo>
                      <a:pt x="1542" y="248"/>
                    </a:lnTo>
                    <a:lnTo>
                      <a:pt x="1542" y="248"/>
                    </a:lnTo>
                    <a:lnTo>
                      <a:pt x="1548" y="248"/>
                    </a:lnTo>
                    <a:lnTo>
                      <a:pt x="1554" y="248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lnTo>
                      <a:pt x="1548" y="254"/>
                    </a:lnTo>
                    <a:close/>
                    <a:moveTo>
                      <a:pt x="1530" y="260"/>
                    </a:moveTo>
                    <a:lnTo>
                      <a:pt x="1536" y="260"/>
                    </a:lnTo>
                    <a:lnTo>
                      <a:pt x="1536" y="254"/>
                    </a:lnTo>
                    <a:lnTo>
                      <a:pt x="1542" y="254"/>
                    </a:lnTo>
                    <a:lnTo>
                      <a:pt x="1542" y="254"/>
                    </a:lnTo>
                    <a:lnTo>
                      <a:pt x="1542" y="260"/>
                    </a:lnTo>
                    <a:lnTo>
                      <a:pt x="1542" y="260"/>
                    </a:lnTo>
                    <a:lnTo>
                      <a:pt x="1536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lnTo>
                      <a:pt x="1530" y="260"/>
                    </a:lnTo>
                    <a:close/>
                    <a:moveTo>
                      <a:pt x="1516" y="270"/>
                    </a:moveTo>
                    <a:lnTo>
                      <a:pt x="1516" y="266"/>
                    </a:lnTo>
                    <a:lnTo>
                      <a:pt x="1510" y="266"/>
                    </a:lnTo>
                    <a:lnTo>
                      <a:pt x="1516" y="266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lnTo>
                      <a:pt x="1516" y="270"/>
                    </a:lnTo>
                    <a:close/>
                    <a:moveTo>
                      <a:pt x="1516" y="276"/>
                    </a:moveTo>
                    <a:lnTo>
                      <a:pt x="1520" y="276"/>
                    </a:lnTo>
                    <a:lnTo>
                      <a:pt x="1520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lnTo>
                      <a:pt x="1516" y="276"/>
                    </a:lnTo>
                    <a:close/>
                    <a:moveTo>
                      <a:pt x="886" y="302"/>
                    </a:moveTo>
                    <a:lnTo>
                      <a:pt x="880" y="302"/>
                    </a:lnTo>
                    <a:lnTo>
                      <a:pt x="880" y="296"/>
                    </a:lnTo>
                    <a:lnTo>
                      <a:pt x="886" y="296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lnTo>
                      <a:pt x="886" y="302"/>
                    </a:lnTo>
                    <a:close/>
                    <a:moveTo>
                      <a:pt x="898" y="302"/>
                    </a:moveTo>
                    <a:lnTo>
                      <a:pt x="898" y="302"/>
                    </a:lnTo>
                    <a:lnTo>
                      <a:pt x="898" y="296"/>
                    </a:lnTo>
                    <a:lnTo>
                      <a:pt x="898" y="296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lnTo>
                      <a:pt x="898" y="302"/>
                    </a:lnTo>
                    <a:close/>
                    <a:moveTo>
                      <a:pt x="898" y="314"/>
                    </a:move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02"/>
                    </a:lnTo>
                    <a:lnTo>
                      <a:pt x="904" y="308"/>
                    </a:lnTo>
                    <a:lnTo>
                      <a:pt x="898" y="308"/>
                    </a:lnTo>
                    <a:lnTo>
                      <a:pt x="898" y="308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lnTo>
                      <a:pt x="898" y="314"/>
                    </a:lnTo>
                    <a:close/>
                    <a:moveTo>
                      <a:pt x="530" y="314"/>
                    </a:moveTo>
                    <a:lnTo>
                      <a:pt x="524" y="308"/>
                    </a:lnTo>
                    <a:lnTo>
                      <a:pt x="530" y="308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lnTo>
                      <a:pt x="530" y="314"/>
                    </a:lnTo>
                    <a:close/>
                    <a:moveTo>
                      <a:pt x="904" y="308"/>
                    </a:moveTo>
                    <a:lnTo>
                      <a:pt x="898" y="308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lnTo>
                      <a:pt x="904" y="308"/>
                    </a:lnTo>
                    <a:close/>
                    <a:moveTo>
                      <a:pt x="904" y="314"/>
                    </a:moveTo>
                    <a:lnTo>
                      <a:pt x="898" y="314"/>
                    </a:lnTo>
                    <a:lnTo>
                      <a:pt x="904" y="314"/>
                    </a:lnTo>
                    <a:lnTo>
                      <a:pt x="904" y="308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lnTo>
                      <a:pt x="904" y="314"/>
                    </a:lnTo>
                    <a:close/>
                    <a:moveTo>
                      <a:pt x="892" y="320"/>
                    </a:moveTo>
                    <a:lnTo>
                      <a:pt x="892" y="320"/>
                    </a:lnTo>
                    <a:lnTo>
                      <a:pt x="898" y="320"/>
                    </a:lnTo>
                    <a:lnTo>
                      <a:pt x="898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lnTo>
                      <a:pt x="892" y="320"/>
                    </a:lnTo>
                    <a:close/>
                    <a:moveTo>
                      <a:pt x="670" y="342"/>
                    </a:move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42"/>
                    </a:lnTo>
                    <a:close/>
                    <a:moveTo>
                      <a:pt x="710" y="410"/>
                    </a:moveTo>
                    <a:lnTo>
                      <a:pt x="710" y="410"/>
                    </a:lnTo>
                    <a:lnTo>
                      <a:pt x="710" y="406"/>
                    </a:lnTo>
                    <a:lnTo>
                      <a:pt x="704" y="406"/>
                    </a:lnTo>
                    <a:lnTo>
                      <a:pt x="698" y="406"/>
                    </a:lnTo>
                    <a:lnTo>
                      <a:pt x="698" y="406"/>
                    </a:lnTo>
                    <a:lnTo>
                      <a:pt x="704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0" y="406"/>
                    </a:lnTo>
                    <a:lnTo>
                      <a:pt x="712" y="406"/>
                    </a:lnTo>
                    <a:lnTo>
                      <a:pt x="712" y="410"/>
                    </a:lnTo>
                    <a:lnTo>
                      <a:pt x="710" y="416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lnTo>
                      <a:pt x="710" y="410"/>
                    </a:lnTo>
                    <a:close/>
                    <a:moveTo>
                      <a:pt x="290" y="456"/>
                    </a:moveTo>
                    <a:lnTo>
                      <a:pt x="296" y="460"/>
                    </a:lnTo>
                    <a:lnTo>
                      <a:pt x="290" y="460"/>
                    </a:lnTo>
                    <a:lnTo>
                      <a:pt x="284" y="460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84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lnTo>
                      <a:pt x="290" y="456"/>
                    </a:lnTo>
                    <a:close/>
                    <a:moveTo>
                      <a:pt x="1850" y="584"/>
                    </a:move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90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lnTo>
                      <a:pt x="1850" y="584"/>
                    </a:lnTo>
                    <a:close/>
                    <a:moveTo>
                      <a:pt x="1656" y="682"/>
                    </a:moveTo>
                    <a:lnTo>
                      <a:pt x="1656" y="676"/>
                    </a:lnTo>
                    <a:lnTo>
                      <a:pt x="1662" y="676"/>
                    </a:lnTo>
                    <a:lnTo>
                      <a:pt x="1662" y="676"/>
                    </a:lnTo>
                    <a:lnTo>
                      <a:pt x="1662" y="682"/>
                    </a:lnTo>
                    <a:lnTo>
                      <a:pt x="1662" y="676"/>
                    </a:lnTo>
                    <a:lnTo>
                      <a:pt x="1656" y="676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lnTo>
                      <a:pt x="1656" y="682"/>
                    </a:lnTo>
                    <a:close/>
                    <a:moveTo>
                      <a:pt x="1668" y="692"/>
                    </a:moveTo>
                    <a:lnTo>
                      <a:pt x="1668" y="688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lnTo>
                      <a:pt x="1668" y="692"/>
                    </a:lnTo>
                    <a:close/>
                    <a:moveTo>
                      <a:pt x="1672" y="692"/>
                    </a:moveTo>
                    <a:lnTo>
                      <a:pt x="1672" y="688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lnTo>
                      <a:pt x="1672" y="692"/>
                    </a:lnTo>
                    <a:close/>
                    <a:moveTo>
                      <a:pt x="1590" y="926"/>
                    </a:moveTo>
                    <a:lnTo>
                      <a:pt x="1586" y="926"/>
                    </a:lnTo>
                    <a:lnTo>
                      <a:pt x="1586" y="920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lnTo>
                      <a:pt x="1590" y="926"/>
                    </a:lnTo>
                    <a:close/>
                    <a:moveTo>
                      <a:pt x="540" y="6"/>
                    </a:moveTo>
                    <a:lnTo>
                      <a:pt x="540" y="0"/>
                    </a:lnTo>
                    <a:lnTo>
                      <a:pt x="54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56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62" y="0"/>
                    </a:lnTo>
                    <a:lnTo>
                      <a:pt x="556" y="0"/>
                    </a:lnTo>
                    <a:lnTo>
                      <a:pt x="550" y="0"/>
                    </a:lnTo>
                    <a:lnTo>
                      <a:pt x="550" y="0"/>
                    </a:lnTo>
                    <a:lnTo>
                      <a:pt x="546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lnTo>
                      <a:pt x="540" y="6"/>
                    </a:lnTo>
                    <a:close/>
                    <a:moveTo>
                      <a:pt x="540" y="12"/>
                    </a:moveTo>
                    <a:lnTo>
                      <a:pt x="536" y="12"/>
                    </a:lnTo>
                    <a:lnTo>
                      <a:pt x="536" y="12"/>
                    </a:lnTo>
                    <a:lnTo>
                      <a:pt x="530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2"/>
                    </a:lnTo>
                    <a:lnTo>
                      <a:pt x="536" y="12"/>
                    </a:lnTo>
                    <a:lnTo>
                      <a:pt x="540" y="12"/>
                    </a:lnTo>
                    <a:lnTo>
                      <a:pt x="546" y="12"/>
                    </a:lnTo>
                    <a:lnTo>
                      <a:pt x="550" y="12"/>
                    </a:lnTo>
                    <a:lnTo>
                      <a:pt x="550" y="12"/>
                    </a:lnTo>
                    <a:lnTo>
                      <a:pt x="546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lnTo>
                      <a:pt x="540" y="12"/>
                    </a:lnTo>
                    <a:close/>
                    <a:moveTo>
                      <a:pt x="508" y="16"/>
                    </a:moveTo>
                    <a:lnTo>
                      <a:pt x="502" y="16"/>
                    </a:lnTo>
                    <a:lnTo>
                      <a:pt x="508" y="16"/>
                    </a:lnTo>
                    <a:lnTo>
                      <a:pt x="512" y="16"/>
                    </a:lnTo>
                    <a:lnTo>
                      <a:pt x="512" y="16"/>
                    </a:lnTo>
                    <a:lnTo>
                      <a:pt x="518" y="16"/>
                    </a:lnTo>
                    <a:lnTo>
                      <a:pt x="524" y="16"/>
                    </a:lnTo>
                    <a:lnTo>
                      <a:pt x="518" y="16"/>
                    </a:lnTo>
                    <a:lnTo>
                      <a:pt x="518" y="12"/>
                    </a:lnTo>
                    <a:lnTo>
                      <a:pt x="524" y="12"/>
                    </a:lnTo>
                    <a:lnTo>
                      <a:pt x="524" y="12"/>
                    </a:lnTo>
                    <a:lnTo>
                      <a:pt x="530" y="12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40" y="16"/>
                    </a:lnTo>
                    <a:lnTo>
                      <a:pt x="536" y="16"/>
                    </a:lnTo>
                    <a:lnTo>
                      <a:pt x="536" y="16"/>
                    </a:lnTo>
                    <a:lnTo>
                      <a:pt x="530" y="16"/>
                    </a:lnTo>
                    <a:lnTo>
                      <a:pt x="524" y="16"/>
                    </a:lnTo>
                    <a:lnTo>
                      <a:pt x="524" y="20"/>
                    </a:lnTo>
                    <a:lnTo>
                      <a:pt x="518" y="20"/>
                    </a:lnTo>
                    <a:lnTo>
                      <a:pt x="518" y="16"/>
                    </a:lnTo>
                    <a:lnTo>
                      <a:pt x="512" y="16"/>
                    </a:lnTo>
                    <a:lnTo>
                      <a:pt x="512" y="20"/>
                    </a:lnTo>
                    <a:lnTo>
                      <a:pt x="512" y="20"/>
                    </a:lnTo>
                    <a:lnTo>
                      <a:pt x="508" y="20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lnTo>
                      <a:pt x="508" y="16"/>
                    </a:lnTo>
                    <a:close/>
                    <a:moveTo>
                      <a:pt x="1088" y="48"/>
                    </a:moveTo>
                    <a:lnTo>
                      <a:pt x="1088" y="48"/>
                    </a:lnTo>
                    <a:lnTo>
                      <a:pt x="108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72" y="48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0" y="48"/>
                    </a:lnTo>
                    <a:lnTo>
                      <a:pt x="1054" y="48"/>
                    </a:lnTo>
                    <a:lnTo>
                      <a:pt x="1054" y="54"/>
                    </a:lnTo>
                    <a:lnTo>
                      <a:pt x="1054" y="54"/>
                    </a:lnTo>
                    <a:lnTo>
                      <a:pt x="1050" y="54"/>
                    </a:lnTo>
                    <a:lnTo>
                      <a:pt x="104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34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8" y="48"/>
                    </a:lnTo>
                    <a:lnTo>
                      <a:pt x="1034" y="48"/>
                    </a:lnTo>
                    <a:lnTo>
                      <a:pt x="1028" y="48"/>
                    </a:lnTo>
                    <a:lnTo>
                      <a:pt x="1028" y="48"/>
                    </a:lnTo>
                    <a:lnTo>
                      <a:pt x="1022" y="48"/>
                    </a:lnTo>
                    <a:lnTo>
                      <a:pt x="1018" y="48"/>
                    </a:lnTo>
                    <a:lnTo>
                      <a:pt x="1018" y="48"/>
                    </a:lnTo>
                    <a:lnTo>
                      <a:pt x="1018" y="42"/>
                    </a:lnTo>
                    <a:lnTo>
                      <a:pt x="1018" y="42"/>
                    </a:lnTo>
                    <a:lnTo>
                      <a:pt x="1022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8" y="42"/>
                    </a:lnTo>
                    <a:lnTo>
                      <a:pt x="1022" y="42"/>
                    </a:lnTo>
                    <a:lnTo>
                      <a:pt x="1022" y="38"/>
                    </a:lnTo>
                    <a:lnTo>
                      <a:pt x="1028" y="38"/>
                    </a:lnTo>
                    <a:lnTo>
                      <a:pt x="1028" y="38"/>
                    </a:lnTo>
                    <a:lnTo>
                      <a:pt x="1034" y="38"/>
                    </a:lnTo>
                    <a:lnTo>
                      <a:pt x="1034" y="38"/>
                    </a:lnTo>
                    <a:lnTo>
                      <a:pt x="1038" y="38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8" y="32"/>
                    </a:lnTo>
                    <a:lnTo>
                      <a:pt x="1034" y="32"/>
                    </a:lnTo>
                    <a:lnTo>
                      <a:pt x="1028" y="32"/>
                    </a:lnTo>
                    <a:lnTo>
                      <a:pt x="1034" y="32"/>
                    </a:lnTo>
                    <a:lnTo>
                      <a:pt x="1034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38" y="26"/>
                    </a:lnTo>
                    <a:lnTo>
                      <a:pt x="1044" y="26"/>
                    </a:lnTo>
                    <a:lnTo>
                      <a:pt x="1050" y="26"/>
                    </a:lnTo>
                    <a:lnTo>
                      <a:pt x="1054" y="26"/>
                    </a:lnTo>
                    <a:lnTo>
                      <a:pt x="1054" y="20"/>
                    </a:lnTo>
                    <a:lnTo>
                      <a:pt x="1054" y="20"/>
                    </a:lnTo>
                    <a:lnTo>
                      <a:pt x="1060" y="20"/>
                    </a:lnTo>
                    <a:lnTo>
                      <a:pt x="1066" y="20"/>
                    </a:lnTo>
                    <a:lnTo>
                      <a:pt x="1066" y="20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2" y="16"/>
                    </a:lnTo>
                    <a:lnTo>
                      <a:pt x="1066" y="16"/>
                    </a:lnTo>
                    <a:lnTo>
                      <a:pt x="1072" y="16"/>
                    </a:lnTo>
                    <a:lnTo>
                      <a:pt x="1078" y="16"/>
                    </a:lnTo>
                    <a:lnTo>
                      <a:pt x="1078" y="16"/>
                    </a:lnTo>
                    <a:lnTo>
                      <a:pt x="1082" y="20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88" y="26"/>
                    </a:lnTo>
                    <a:lnTo>
                      <a:pt x="1092" y="26"/>
                    </a:lnTo>
                    <a:lnTo>
                      <a:pt x="1104" y="26"/>
                    </a:lnTo>
                    <a:lnTo>
                      <a:pt x="1104" y="32"/>
                    </a:lnTo>
                    <a:lnTo>
                      <a:pt x="1108" y="32"/>
                    </a:lnTo>
                    <a:lnTo>
                      <a:pt x="1104" y="38"/>
                    </a:lnTo>
                    <a:lnTo>
                      <a:pt x="1104" y="38"/>
                    </a:lnTo>
                    <a:lnTo>
                      <a:pt x="1098" y="38"/>
                    </a:lnTo>
                    <a:lnTo>
                      <a:pt x="1092" y="38"/>
                    </a:lnTo>
                    <a:lnTo>
                      <a:pt x="1092" y="38"/>
                    </a:lnTo>
                    <a:lnTo>
                      <a:pt x="1098" y="38"/>
                    </a:lnTo>
                    <a:lnTo>
                      <a:pt x="1098" y="42"/>
                    </a:lnTo>
                    <a:lnTo>
                      <a:pt x="1104" y="48"/>
                    </a:lnTo>
                    <a:lnTo>
                      <a:pt x="1098" y="48"/>
                    </a:lnTo>
                    <a:lnTo>
                      <a:pt x="109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88" y="48"/>
                    </a:lnTo>
                    <a:close/>
                    <a:moveTo>
                      <a:pt x="604" y="26"/>
                    </a:moveTo>
                    <a:lnTo>
                      <a:pt x="610" y="26"/>
                    </a:lnTo>
                    <a:lnTo>
                      <a:pt x="610" y="26"/>
                    </a:lnTo>
                    <a:lnTo>
                      <a:pt x="616" y="26"/>
                    </a:lnTo>
                    <a:lnTo>
                      <a:pt x="622" y="26"/>
                    </a:lnTo>
                    <a:lnTo>
                      <a:pt x="622" y="26"/>
                    </a:lnTo>
                    <a:lnTo>
                      <a:pt x="626" y="26"/>
                    </a:lnTo>
                    <a:lnTo>
                      <a:pt x="632" y="26"/>
                    </a:lnTo>
                    <a:lnTo>
                      <a:pt x="626" y="26"/>
                    </a:lnTo>
                    <a:lnTo>
                      <a:pt x="626" y="20"/>
                    </a:lnTo>
                    <a:lnTo>
                      <a:pt x="632" y="20"/>
                    </a:lnTo>
                    <a:lnTo>
                      <a:pt x="632" y="20"/>
                    </a:lnTo>
                    <a:lnTo>
                      <a:pt x="638" y="20"/>
                    </a:lnTo>
                    <a:lnTo>
                      <a:pt x="644" y="20"/>
                    </a:lnTo>
                    <a:lnTo>
                      <a:pt x="644" y="20"/>
                    </a:lnTo>
                    <a:lnTo>
                      <a:pt x="644" y="26"/>
                    </a:lnTo>
                    <a:lnTo>
                      <a:pt x="644" y="26"/>
                    </a:lnTo>
                    <a:lnTo>
                      <a:pt x="644" y="32"/>
                    </a:lnTo>
                    <a:lnTo>
                      <a:pt x="638" y="32"/>
                    </a:lnTo>
                    <a:lnTo>
                      <a:pt x="632" y="32"/>
                    </a:lnTo>
                    <a:lnTo>
                      <a:pt x="632" y="32"/>
                    </a:lnTo>
                    <a:lnTo>
                      <a:pt x="626" y="32"/>
                    </a:lnTo>
                    <a:lnTo>
                      <a:pt x="622" y="32"/>
                    </a:lnTo>
                    <a:lnTo>
                      <a:pt x="622" y="32"/>
                    </a:lnTo>
                    <a:lnTo>
                      <a:pt x="622" y="38"/>
                    </a:lnTo>
                    <a:lnTo>
                      <a:pt x="616" y="38"/>
                    </a:lnTo>
                    <a:lnTo>
                      <a:pt x="610" y="38"/>
                    </a:lnTo>
                    <a:lnTo>
                      <a:pt x="610" y="32"/>
                    </a:lnTo>
                    <a:lnTo>
                      <a:pt x="610" y="32"/>
                    </a:lnTo>
                    <a:lnTo>
                      <a:pt x="604" y="32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lnTo>
                      <a:pt x="604" y="26"/>
                    </a:lnTo>
                    <a:close/>
                    <a:moveTo>
                      <a:pt x="492" y="26"/>
                    </a:moveTo>
                    <a:lnTo>
                      <a:pt x="492" y="20"/>
                    </a:lnTo>
                    <a:lnTo>
                      <a:pt x="496" y="20"/>
                    </a:lnTo>
                    <a:lnTo>
                      <a:pt x="496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8" y="26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18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24" y="26"/>
                    </a:lnTo>
                    <a:lnTo>
                      <a:pt x="530" y="26"/>
                    </a:lnTo>
                    <a:lnTo>
                      <a:pt x="536" y="26"/>
                    </a:lnTo>
                    <a:lnTo>
                      <a:pt x="536" y="32"/>
                    </a:lnTo>
                    <a:lnTo>
                      <a:pt x="536" y="3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24" y="32"/>
                    </a:lnTo>
                    <a:lnTo>
                      <a:pt x="524" y="32"/>
                    </a:lnTo>
                    <a:lnTo>
                      <a:pt x="518" y="32"/>
                    </a:lnTo>
                    <a:lnTo>
                      <a:pt x="512" y="32"/>
                    </a:lnTo>
                    <a:lnTo>
                      <a:pt x="512" y="26"/>
                    </a:lnTo>
                    <a:lnTo>
                      <a:pt x="512" y="26"/>
                    </a:lnTo>
                    <a:lnTo>
                      <a:pt x="508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502" y="26"/>
                    </a:lnTo>
                    <a:lnTo>
                      <a:pt x="496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lnTo>
                      <a:pt x="492" y="26"/>
                    </a:lnTo>
                    <a:close/>
                    <a:moveTo>
                      <a:pt x="384" y="48"/>
                    </a:moveTo>
                    <a:lnTo>
                      <a:pt x="384" y="42"/>
                    </a:lnTo>
                    <a:lnTo>
                      <a:pt x="390" y="42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4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8" y="42"/>
                    </a:lnTo>
                    <a:lnTo>
                      <a:pt x="404" y="42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4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404" y="38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16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6" y="32"/>
                    </a:lnTo>
                    <a:lnTo>
                      <a:pt x="422" y="32"/>
                    </a:lnTo>
                    <a:lnTo>
                      <a:pt x="422" y="38"/>
                    </a:lnTo>
                    <a:lnTo>
                      <a:pt x="422" y="38"/>
                    </a:lnTo>
                    <a:lnTo>
                      <a:pt x="422" y="32"/>
                    </a:lnTo>
                    <a:lnTo>
                      <a:pt x="416" y="32"/>
                    </a:lnTo>
                    <a:lnTo>
                      <a:pt x="422" y="32"/>
                    </a:lnTo>
                    <a:lnTo>
                      <a:pt x="422" y="32"/>
                    </a:lnTo>
                    <a:lnTo>
                      <a:pt x="422" y="26"/>
                    </a:lnTo>
                    <a:lnTo>
                      <a:pt x="426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2" y="26"/>
                    </a:lnTo>
                    <a:lnTo>
                      <a:pt x="438" y="26"/>
                    </a:lnTo>
                    <a:lnTo>
                      <a:pt x="442" y="26"/>
                    </a:lnTo>
                    <a:lnTo>
                      <a:pt x="442" y="26"/>
                    </a:lnTo>
                    <a:lnTo>
                      <a:pt x="438" y="32"/>
                    </a:lnTo>
                    <a:lnTo>
                      <a:pt x="432" y="32"/>
                    </a:lnTo>
                    <a:lnTo>
                      <a:pt x="438" y="32"/>
                    </a:lnTo>
                    <a:lnTo>
                      <a:pt x="442" y="32"/>
                    </a:lnTo>
                    <a:lnTo>
                      <a:pt x="442" y="32"/>
                    </a:lnTo>
                    <a:lnTo>
                      <a:pt x="448" y="32"/>
                    </a:lnTo>
                    <a:lnTo>
                      <a:pt x="454" y="32"/>
                    </a:lnTo>
                    <a:lnTo>
                      <a:pt x="454" y="38"/>
                    </a:lnTo>
                    <a:lnTo>
                      <a:pt x="448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42" y="38"/>
                    </a:lnTo>
                    <a:lnTo>
                      <a:pt x="438" y="38"/>
                    </a:lnTo>
                    <a:lnTo>
                      <a:pt x="432" y="38"/>
                    </a:lnTo>
                    <a:lnTo>
                      <a:pt x="432" y="38"/>
                    </a:lnTo>
                    <a:lnTo>
                      <a:pt x="426" y="38"/>
                    </a:lnTo>
                    <a:lnTo>
                      <a:pt x="426" y="42"/>
                    </a:lnTo>
                    <a:lnTo>
                      <a:pt x="422" y="42"/>
                    </a:lnTo>
                    <a:lnTo>
                      <a:pt x="422" y="42"/>
                    </a:lnTo>
                    <a:lnTo>
                      <a:pt x="416" y="42"/>
                    </a:lnTo>
                    <a:lnTo>
                      <a:pt x="410" y="42"/>
                    </a:lnTo>
                    <a:lnTo>
                      <a:pt x="410" y="48"/>
                    </a:lnTo>
                    <a:lnTo>
                      <a:pt x="416" y="48"/>
                    </a:lnTo>
                    <a:lnTo>
                      <a:pt x="416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10" y="48"/>
                    </a:lnTo>
                    <a:lnTo>
                      <a:pt x="404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54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0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lnTo>
                      <a:pt x="384" y="48"/>
                    </a:lnTo>
                    <a:close/>
                    <a:moveTo>
                      <a:pt x="562" y="38"/>
                    </a:moveTo>
                    <a:lnTo>
                      <a:pt x="562" y="38"/>
                    </a:lnTo>
                    <a:lnTo>
                      <a:pt x="562" y="32"/>
                    </a:lnTo>
                    <a:lnTo>
                      <a:pt x="562" y="32"/>
                    </a:lnTo>
                    <a:lnTo>
                      <a:pt x="568" y="32"/>
                    </a:lnTo>
                    <a:lnTo>
                      <a:pt x="568" y="26"/>
                    </a:lnTo>
                    <a:lnTo>
                      <a:pt x="572" y="26"/>
                    </a:lnTo>
                    <a:lnTo>
                      <a:pt x="572" y="26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2" y="32"/>
                    </a:lnTo>
                    <a:lnTo>
                      <a:pt x="578" y="32"/>
                    </a:lnTo>
                    <a:lnTo>
                      <a:pt x="584" y="32"/>
                    </a:lnTo>
                    <a:lnTo>
                      <a:pt x="584" y="26"/>
                    </a:lnTo>
                    <a:lnTo>
                      <a:pt x="590" y="26"/>
                    </a:lnTo>
                    <a:lnTo>
                      <a:pt x="596" y="26"/>
                    </a:lnTo>
                    <a:lnTo>
                      <a:pt x="600" y="26"/>
                    </a:lnTo>
                    <a:lnTo>
                      <a:pt x="600" y="26"/>
                    </a:lnTo>
                    <a:lnTo>
                      <a:pt x="600" y="32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600" y="38"/>
                    </a:lnTo>
                    <a:lnTo>
                      <a:pt x="596" y="38"/>
                    </a:lnTo>
                    <a:lnTo>
                      <a:pt x="596" y="38"/>
                    </a:lnTo>
                    <a:lnTo>
                      <a:pt x="590" y="38"/>
                    </a:lnTo>
                    <a:lnTo>
                      <a:pt x="584" y="42"/>
                    </a:lnTo>
                    <a:lnTo>
                      <a:pt x="584" y="42"/>
                    </a:lnTo>
                    <a:lnTo>
                      <a:pt x="578" y="42"/>
                    </a:lnTo>
                    <a:lnTo>
                      <a:pt x="578" y="38"/>
                    </a:lnTo>
                    <a:lnTo>
                      <a:pt x="572" y="38"/>
                    </a:lnTo>
                    <a:lnTo>
                      <a:pt x="572" y="38"/>
                    </a:lnTo>
                    <a:lnTo>
                      <a:pt x="568" y="42"/>
                    </a:lnTo>
                    <a:lnTo>
                      <a:pt x="562" y="42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lnTo>
                      <a:pt x="562" y="38"/>
                    </a:lnTo>
                    <a:close/>
                    <a:moveTo>
                      <a:pt x="372" y="42"/>
                    </a:moveTo>
                    <a:lnTo>
                      <a:pt x="372" y="38"/>
                    </a:lnTo>
                    <a:lnTo>
                      <a:pt x="372" y="38"/>
                    </a:lnTo>
                    <a:lnTo>
                      <a:pt x="368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56" y="38"/>
                    </a:lnTo>
                    <a:lnTo>
                      <a:pt x="362" y="38"/>
                    </a:lnTo>
                    <a:lnTo>
                      <a:pt x="362" y="38"/>
                    </a:lnTo>
                    <a:lnTo>
                      <a:pt x="368" y="38"/>
                    </a:lnTo>
                    <a:lnTo>
                      <a:pt x="372" y="38"/>
                    </a:lnTo>
                    <a:lnTo>
                      <a:pt x="372" y="38"/>
                    </a:lnTo>
                    <a:lnTo>
                      <a:pt x="378" y="38"/>
                    </a:lnTo>
                    <a:lnTo>
                      <a:pt x="384" y="32"/>
                    </a:lnTo>
                    <a:lnTo>
                      <a:pt x="378" y="32"/>
                    </a:lnTo>
                    <a:lnTo>
                      <a:pt x="384" y="32"/>
                    </a:lnTo>
                    <a:lnTo>
                      <a:pt x="384" y="32"/>
                    </a:lnTo>
                    <a:lnTo>
                      <a:pt x="390" y="32"/>
                    </a:lnTo>
                    <a:lnTo>
                      <a:pt x="390" y="26"/>
                    </a:lnTo>
                    <a:lnTo>
                      <a:pt x="394" y="26"/>
                    </a:lnTo>
                    <a:lnTo>
                      <a:pt x="394" y="26"/>
                    </a:lnTo>
                    <a:lnTo>
                      <a:pt x="394" y="32"/>
                    </a:lnTo>
                    <a:lnTo>
                      <a:pt x="398" y="32"/>
                    </a:lnTo>
                    <a:lnTo>
                      <a:pt x="404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2"/>
                    </a:lnTo>
                    <a:lnTo>
                      <a:pt x="410" y="38"/>
                    </a:lnTo>
                    <a:lnTo>
                      <a:pt x="410" y="38"/>
                    </a:lnTo>
                    <a:lnTo>
                      <a:pt x="404" y="38"/>
                    </a:lnTo>
                    <a:lnTo>
                      <a:pt x="398" y="38"/>
                    </a:lnTo>
                    <a:lnTo>
                      <a:pt x="398" y="32"/>
                    </a:lnTo>
                    <a:lnTo>
                      <a:pt x="394" y="32"/>
                    </a:lnTo>
                    <a:lnTo>
                      <a:pt x="394" y="32"/>
                    </a:lnTo>
                    <a:lnTo>
                      <a:pt x="394" y="38"/>
                    </a:lnTo>
                    <a:lnTo>
                      <a:pt x="390" y="38"/>
                    </a:lnTo>
                    <a:lnTo>
                      <a:pt x="384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84" y="38"/>
                    </a:lnTo>
                    <a:lnTo>
                      <a:pt x="378" y="38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lnTo>
                      <a:pt x="372" y="42"/>
                    </a:lnTo>
                    <a:close/>
                    <a:moveTo>
                      <a:pt x="536" y="48"/>
                    </a:moveTo>
                    <a:lnTo>
                      <a:pt x="536" y="48"/>
                    </a:lnTo>
                    <a:lnTo>
                      <a:pt x="530" y="48"/>
                    </a:lnTo>
                    <a:lnTo>
                      <a:pt x="530" y="42"/>
                    </a:lnTo>
                    <a:lnTo>
                      <a:pt x="530" y="38"/>
                    </a:lnTo>
                    <a:lnTo>
                      <a:pt x="524" y="38"/>
                    </a:lnTo>
                    <a:lnTo>
                      <a:pt x="530" y="38"/>
                    </a:lnTo>
                    <a:lnTo>
                      <a:pt x="536" y="38"/>
                    </a:lnTo>
                    <a:lnTo>
                      <a:pt x="536" y="38"/>
                    </a:lnTo>
                    <a:lnTo>
                      <a:pt x="540" y="38"/>
                    </a:lnTo>
                    <a:lnTo>
                      <a:pt x="550" y="38"/>
                    </a:lnTo>
                    <a:lnTo>
                      <a:pt x="550" y="42"/>
                    </a:lnTo>
                    <a:lnTo>
                      <a:pt x="556" y="42"/>
                    </a:lnTo>
                    <a:lnTo>
                      <a:pt x="562" y="42"/>
                    </a:lnTo>
                    <a:lnTo>
                      <a:pt x="562" y="48"/>
                    </a:lnTo>
                    <a:lnTo>
                      <a:pt x="550" y="42"/>
                    </a:lnTo>
                    <a:lnTo>
                      <a:pt x="550" y="42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6" y="48"/>
                    </a:lnTo>
                    <a:lnTo>
                      <a:pt x="550" y="48"/>
                    </a:lnTo>
                    <a:lnTo>
                      <a:pt x="550" y="48"/>
                    </a:lnTo>
                    <a:lnTo>
                      <a:pt x="546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40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lnTo>
                      <a:pt x="536" y="48"/>
                    </a:lnTo>
                    <a:close/>
                    <a:moveTo>
                      <a:pt x="512" y="48"/>
                    </a:move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2"/>
                    </a:lnTo>
                    <a:lnTo>
                      <a:pt x="512" y="42"/>
                    </a:lnTo>
                    <a:lnTo>
                      <a:pt x="518" y="42"/>
                    </a:lnTo>
                    <a:lnTo>
                      <a:pt x="524" y="42"/>
                    </a:lnTo>
                    <a:lnTo>
                      <a:pt x="524" y="42"/>
                    </a:lnTo>
                    <a:lnTo>
                      <a:pt x="530" y="42"/>
                    </a:lnTo>
                    <a:lnTo>
                      <a:pt x="530" y="48"/>
                    </a:lnTo>
                    <a:lnTo>
                      <a:pt x="530" y="48"/>
                    </a:lnTo>
                    <a:lnTo>
                      <a:pt x="524" y="48"/>
                    </a:lnTo>
                    <a:lnTo>
                      <a:pt x="524" y="54"/>
                    </a:lnTo>
                    <a:lnTo>
                      <a:pt x="524" y="54"/>
                    </a:lnTo>
                    <a:lnTo>
                      <a:pt x="524" y="48"/>
                    </a:lnTo>
                    <a:lnTo>
                      <a:pt x="51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08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lnTo>
                      <a:pt x="512" y="48"/>
                    </a:lnTo>
                    <a:close/>
                    <a:moveTo>
                      <a:pt x="1038" y="70"/>
                    </a:move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66"/>
                    </a:lnTo>
                    <a:lnTo>
                      <a:pt x="1038" y="66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44" y="66"/>
                    </a:lnTo>
                    <a:lnTo>
                      <a:pt x="1050" y="66"/>
                    </a:lnTo>
                    <a:lnTo>
                      <a:pt x="1050" y="60"/>
                    </a:lnTo>
                    <a:lnTo>
                      <a:pt x="1054" y="60"/>
                    </a:lnTo>
                    <a:lnTo>
                      <a:pt x="1054" y="60"/>
                    </a:lnTo>
                    <a:lnTo>
                      <a:pt x="1060" y="60"/>
                    </a:lnTo>
                    <a:lnTo>
                      <a:pt x="1060" y="60"/>
                    </a:lnTo>
                    <a:lnTo>
                      <a:pt x="1054" y="60"/>
                    </a:lnTo>
                    <a:lnTo>
                      <a:pt x="1054" y="54"/>
                    </a:lnTo>
                    <a:lnTo>
                      <a:pt x="1060" y="54"/>
                    </a:lnTo>
                    <a:lnTo>
                      <a:pt x="1066" y="54"/>
                    </a:lnTo>
                    <a:lnTo>
                      <a:pt x="1066" y="48"/>
                    </a:lnTo>
                    <a:lnTo>
                      <a:pt x="1066" y="48"/>
                    </a:lnTo>
                    <a:lnTo>
                      <a:pt x="1066" y="54"/>
                    </a:lnTo>
                    <a:lnTo>
                      <a:pt x="1072" y="54"/>
                    </a:lnTo>
                    <a:lnTo>
                      <a:pt x="1072" y="48"/>
                    </a:lnTo>
                    <a:lnTo>
                      <a:pt x="1078" y="48"/>
                    </a:lnTo>
                    <a:lnTo>
                      <a:pt x="1078" y="48"/>
                    </a:lnTo>
                    <a:lnTo>
                      <a:pt x="1082" y="48"/>
                    </a:lnTo>
                    <a:lnTo>
                      <a:pt x="1088" y="48"/>
                    </a:lnTo>
                    <a:lnTo>
                      <a:pt x="1088" y="48"/>
                    </a:lnTo>
                    <a:lnTo>
                      <a:pt x="1092" y="48"/>
                    </a:lnTo>
                    <a:lnTo>
                      <a:pt x="1098" y="48"/>
                    </a:lnTo>
                    <a:lnTo>
                      <a:pt x="1104" y="48"/>
                    </a:lnTo>
                    <a:lnTo>
                      <a:pt x="1104" y="48"/>
                    </a:lnTo>
                    <a:lnTo>
                      <a:pt x="1108" y="54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098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4" y="60"/>
                    </a:lnTo>
                    <a:lnTo>
                      <a:pt x="1108" y="60"/>
                    </a:lnTo>
                    <a:lnTo>
                      <a:pt x="1108" y="60"/>
                    </a:lnTo>
                    <a:lnTo>
                      <a:pt x="1114" y="60"/>
                    </a:lnTo>
                    <a:lnTo>
                      <a:pt x="1114" y="54"/>
                    </a:lnTo>
                    <a:lnTo>
                      <a:pt x="1120" y="54"/>
                    </a:lnTo>
                    <a:lnTo>
                      <a:pt x="1120" y="54"/>
                    </a:lnTo>
                    <a:lnTo>
                      <a:pt x="1126" y="54"/>
                    </a:lnTo>
                    <a:lnTo>
                      <a:pt x="1132" y="54"/>
                    </a:lnTo>
                    <a:lnTo>
                      <a:pt x="1132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0"/>
                    </a:lnTo>
                    <a:lnTo>
                      <a:pt x="1136" y="66"/>
                    </a:lnTo>
                    <a:lnTo>
                      <a:pt x="1132" y="66"/>
                    </a:lnTo>
                    <a:lnTo>
                      <a:pt x="1132" y="70"/>
                    </a:lnTo>
                    <a:lnTo>
                      <a:pt x="1132" y="70"/>
                    </a:lnTo>
                    <a:lnTo>
                      <a:pt x="1136" y="70"/>
                    </a:lnTo>
                    <a:lnTo>
                      <a:pt x="1132" y="70"/>
                    </a:lnTo>
                    <a:lnTo>
                      <a:pt x="1132" y="74"/>
                    </a:lnTo>
                    <a:lnTo>
                      <a:pt x="1126" y="74"/>
                    </a:lnTo>
                    <a:lnTo>
                      <a:pt x="1126" y="70"/>
                    </a:lnTo>
                    <a:lnTo>
                      <a:pt x="1120" y="70"/>
                    </a:lnTo>
                    <a:lnTo>
                      <a:pt x="1120" y="74"/>
                    </a:lnTo>
                    <a:lnTo>
                      <a:pt x="1126" y="74"/>
                    </a:lnTo>
                    <a:lnTo>
                      <a:pt x="1132" y="74"/>
                    </a:lnTo>
                    <a:lnTo>
                      <a:pt x="1132" y="80"/>
                    </a:lnTo>
                    <a:lnTo>
                      <a:pt x="1136" y="80"/>
                    </a:lnTo>
                    <a:lnTo>
                      <a:pt x="1136" y="86"/>
                    </a:lnTo>
                    <a:lnTo>
                      <a:pt x="1132" y="86"/>
                    </a:lnTo>
                    <a:lnTo>
                      <a:pt x="1126" y="86"/>
                    </a:lnTo>
                    <a:lnTo>
                      <a:pt x="1120" y="86"/>
                    </a:lnTo>
                    <a:lnTo>
                      <a:pt x="1120" y="86"/>
                    </a:lnTo>
                    <a:lnTo>
                      <a:pt x="1114" y="86"/>
                    </a:lnTo>
                    <a:lnTo>
                      <a:pt x="1114" y="92"/>
                    </a:lnTo>
                    <a:lnTo>
                      <a:pt x="1108" y="86"/>
                    </a:lnTo>
                    <a:lnTo>
                      <a:pt x="1108" y="86"/>
                    </a:lnTo>
                    <a:lnTo>
                      <a:pt x="1104" y="86"/>
                    </a:lnTo>
                    <a:lnTo>
                      <a:pt x="1104" y="86"/>
                    </a:lnTo>
                    <a:lnTo>
                      <a:pt x="1098" y="86"/>
                    </a:lnTo>
                    <a:lnTo>
                      <a:pt x="1092" y="86"/>
                    </a:lnTo>
                    <a:lnTo>
                      <a:pt x="1092" y="86"/>
                    </a:lnTo>
                    <a:lnTo>
                      <a:pt x="1088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88" y="86"/>
                    </a:lnTo>
                    <a:lnTo>
                      <a:pt x="1082" y="86"/>
                    </a:lnTo>
                    <a:lnTo>
                      <a:pt x="1078" y="86"/>
                    </a:lnTo>
                    <a:lnTo>
                      <a:pt x="1078" y="86"/>
                    </a:lnTo>
                    <a:lnTo>
                      <a:pt x="1078" y="80"/>
                    </a:lnTo>
                    <a:lnTo>
                      <a:pt x="1072" y="80"/>
                    </a:lnTo>
                    <a:lnTo>
                      <a:pt x="1066" y="80"/>
                    </a:lnTo>
                    <a:lnTo>
                      <a:pt x="1066" y="80"/>
                    </a:lnTo>
                    <a:lnTo>
                      <a:pt x="1060" y="80"/>
                    </a:lnTo>
                    <a:lnTo>
                      <a:pt x="1060" y="74"/>
                    </a:lnTo>
                    <a:lnTo>
                      <a:pt x="1054" y="74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4" y="70"/>
                    </a:lnTo>
                    <a:lnTo>
                      <a:pt x="1050" y="70"/>
                    </a:lnTo>
                    <a:lnTo>
                      <a:pt x="1050" y="66"/>
                    </a:lnTo>
                    <a:lnTo>
                      <a:pt x="104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8" y="70"/>
                    </a:lnTo>
                    <a:close/>
                    <a:moveTo>
                      <a:pt x="1012" y="54"/>
                    </a:moveTo>
                    <a:lnTo>
                      <a:pt x="1006" y="54"/>
                    </a:lnTo>
                    <a:lnTo>
                      <a:pt x="1012" y="54"/>
                    </a:lnTo>
                    <a:lnTo>
                      <a:pt x="1018" y="54"/>
                    </a:lnTo>
                    <a:lnTo>
                      <a:pt x="1018" y="54"/>
                    </a:lnTo>
                    <a:lnTo>
                      <a:pt x="1022" y="54"/>
                    </a:lnTo>
                    <a:lnTo>
                      <a:pt x="1028" y="54"/>
                    </a:lnTo>
                    <a:lnTo>
                      <a:pt x="1028" y="54"/>
                    </a:lnTo>
                    <a:lnTo>
                      <a:pt x="1034" y="54"/>
                    </a:lnTo>
                    <a:lnTo>
                      <a:pt x="1038" y="54"/>
                    </a:lnTo>
                    <a:lnTo>
                      <a:pt x="1038" y="54"/>
                    </a:lnTo>
                    <a:lnTo>
                      <a:pt x="1044" y="54"/>
                    </a:lnTo>
                    <a:lnTo>
                      <a:pt x="1050" y="60"/>
                    </a:lnTo>
                    <a:lnTo>
                      <a:pt x="1044" y="60"/>
                    </a:lnTo>
                    <a:lnTo>
                      <a:pt x="1044" y="60"/>
                    </a:lnTo>
                    <a:lnTo>
                      <a:pt x="1038" y="60"/>
                    </a:lnTo>
                    <a:lnTo>
                      <a:pt x="1038" y="60"/>
                    </a:lnTo>
                    <a:lnTo>
                      <a:pt x="1034" y="60"/>
                    </a:lnTo>
                    <a:lnTo>
                      <a:pt x="1034" y="66"/>
                    </a:lnTo>
                    <a:lnTo>
                      <a:pt x="1028" y="66"/>
                    </a:lnTo>
                    <a:lnTo>
                      <a:pt x="1028" y="66"/>
                    </a:lnTo>
                    <a:lnTo>
                      <a:pt x="1022" y="66"/>
                    </a:lnTo>
                    <a:lnTo>
                      <a:pt x="1022" y="60"/>
                    </a:lnTo>
                    <a:lnTo>
                      <a:pt x="1028" y="60"/>
                    </a:lnTo>
                    <a:lnTo>
                      <a:pt x="1022" y="60"/>
                    </a:lnTo>
                    <a:lnTo>
                      <a:pt x="1018" y="60"/>
                    </a:lnTo>
                    <a:lnTo>
                      <a:pt x="1012" y="60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lnTo>
                      <a:pt x="1012" y="54"/>
                    </a:lnTo>
                    <a:close/>
                    <a:moveTo>
                      <a:pt x="1136" y="66"/>
                    </a:moveTo>
                    <a:lnTo>
                      <a:pt x="1136" y="60"/>
                    </a:lnTo>
                    <a:lnTo>
                      <a:pt x="1136" y="60"/>
                    </a:lnTo>
                    <a:lnTo>
                      <a:pt x="1142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lnTo>
                      <a:pt x="1136" y="66"/>
                    </a:lnTo>
                    <a:close/>
                    <a:moveTo>
                      <a:pt x="806" y="70"/>
                    </a:moveTo>
                    <a:lnTo>
                      <a:pt x="800" y="70"/>
                    </a:lnTo>
                    <a:lnTo>
                      <a:pt x="800" y="66"/>
                    </a:lnTo>
                    <a:lnTo>
                      <a:pt x="800" y="66"/>
                    </a:lnTo>
                    <a:lnTo>
                      <a:pt x="806" y="66"/>
                    </a:lnTo>
                    <a:lnTo>
                      <a:pt x="812" y="66"/>
                    </a:lnTo>
                    <a:lnTo>
                      <a:pt x="812" y="66"/>
                    </a:lnTo>
                    <a:lnTo>
                      <a:pt x="812" y="70"/>
                    </a:lnTo>
                    <a:lnTo>
                      <a:pt x="818" y="70"/>
                    </a:lnTo>
                    <a:lnTo>
                      <a:pt x="822" y="70"/>
                    </a:lnTo>
                    <a:lnTo>
                      <a:pt x="818" y="70"/>
                    </a:lnTo>
                    <a:lnTo>
                      <a:pt x="812" y="70"/>
                    </a:lnTo>
                    <a:lnTo>
                      <a:pt x="812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lnTo>
                      <a:pt x="806" y="70"/>
                    </a:lnTo>
                    <a:close/>
                    <a:moveTo>
                      <a:pt x="1018" y="70"/>
                    </a:moveTo>
                    <a:lnTo>
                      <a:pt x="1022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2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lnTo>
                      <a:pt x="1018" y="70"/>
                    </a:lnTo>
                    <a:close/>
                    <a:moveTo>
                      <a:pt x="1028" y="70"/>
                    </a:moveTo>
                    <a:lnTo>
                      <a:pt x="1034" y="70"/>
                    </a:lnTo>
                    <a:lnTo>
                      <a:pt x="1038" y="70"/>
                    </a:lnTo>
                    <a:lnTo>
                      <a:pt x="1038" y="70"/>
                    </a:lnTo>
                    <a:lnTo>
                      <a:pt x="1034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lnTo>
                      <a:pt x="1028" y="70"/>
                    </a:lnTo>
                    <a:close/>
                    <a:moveTo>
                      <a:pt x="1206" y="96"/>
                    </a:moveTo>
                    <a:lnTo>
                      <a:pt x="1206" y="96"/>
                    </a:lnTo>
                    <a:lnTo>
                      <a:pt x="1206" y="102"/>
                    </a:lnTo>
                    <a:lnTo>
                      <a:pt x="1200" y="102"/>
                    </a:lnTo>
                    <a:lnTo>
                      <a:pt x="1196" y="102"/>
                    </a:lnTo>
                    <a:lnTo>
                      <a:pt x="1196" y="102"/>
                    </a:lnTo>
                    <a:lnTo>
                      <a:pt x="1190" y="102"/>
                    </a:lnTo>
                    <a:lnTo>
                      <a:pt x="1186" y="102"/>
                    </a:lnTo>
                    <a:lnTo>
                      <a:pt x="1186" y="108"/>
                    </a:lnTo>
                    <a:lnTo>
                      <a:pt x="1180" y="108"/>
                    </a:lnTo>
                    <a:lnTo>
                      <a:pt x="1174" y="108"/>
                    </a:lnTo>
                    <a:lnTo>
                      <a:pt x="1168" y="108"/>
                    </a:lnTo>
                    <a:lnTo>
                      <a:pt x="1168" y="108"/>
                    </a:lnTo>
                    <a:lnTo>
                      <a:pt x="1162" y="108"/>
                    </a:lnTo>
                    <a:lnTo>
                      <a:pt x="1158" y="108"/>
                    </a:lnTo>
                    <a:lnTo>
                      <a:pt x="1158" y="108"/>
                    </a:lnTo>
                    <a:lnTo>
                      <a:pt x="1152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6" y="108"/>
                    </a:lnTo>
                    <a:lnTo>
                      <a:pt x="1142" y="108"/>
                    </a:lnTo>
                    <a:lnTo>
                      <a:pt x="1136" y="114"/>
                    </a:lnTo>
                    <a:lnTo>
                      <a:pt x="1136" y="114"/>
                    </a:lnTo>
                    <a:lnTo>
                      <a:pt x="1132" y="114"/>
                    </a:lnTo>
                    <a:lnTo>
                      <a:pt x="1126" y="114"/>
                    </a:lnTo>
                    <a:lnTo>
                      <a:pt x="1126" y="108"/>
                    </a:lnTo>
                    <a:lnTo>
                      <a:pt x="1132" y="108"/>
                    </a:lnTo>
                    <a:lnTo>
                      <a:pt x="1136" y="102"/>
                    </a:lnTo>
                    <a:lnTo>
                      <a:pt x="1136" y="102"/>
                    </a:lnTo>
                    <a:lnTo>
                      <a:pt x="1136" y="96"/>
                    </a:lnTo>
                    <a:lnTo>
                      <a:pt x="1136" y="92"/>
                    </a:lnTo>
                    <a:lnTo>
                      <a:pt x="1142" y="92"/>
                    </a:lnTo>
                    <a:lnTo>
                      <a:pt x="1146" y="86"/>
                    </a:lnTo>
                    <a:lnTo>
                      <a:pt x="1146" y="92"/>
                    </a:lnTo>
                    <a:lnTo>
                      <a:pt x="1152" y="92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46" y="86"/>
                    </a:lnTo>
                    <a:lnTo>
                      <a:pt x="1152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8" y="86"/>
                    </a:lnTo>
                    <a:lnTo>
                      <a:pt x="1152" y="86"/>
                    </a:lnTo>
                    <a:lnTo>
                      <a:pt x="1152" y="80"/>
                    </a:lnTo>
                    <a:lnTo>
                      <a:pt x="1146" y="80"/>
                    </a:lnTo>
                    <a:lnTo>
                      <a:pt x="1152" y="74"/>
                    </a:lnTo>
                    <a:lnTo>
                      <a:pt x="1158" y="74"/>
                    </a:lnTo>
                    <a:lnTo>
                      <a:pt x="1158" y="70"/>
                    </a:lnTo>
                    <a:lnTo>
                      <a:pt x="1158" y="70"/>
                    </a:lnTo>
                    <a:lnTo>
                      <a:pt x="1162" y="70"/>
                    </a:lnTo>
                    <a:lnTo>
                      <a:pt x="1162" y="74"/>
                    </a:lnTo>
                    <a:lnTo>
                      <a:pt x="1168" y="74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68" y="70"/>
                    </a:lnTo>
                    <a:lnTo>
                      <a:pt x="1174" y="70"/>
                    </a:lnTo>
                    <a:lnTo>
                      <a:pt x="1180" y="70"/>
                    </a:lnTo>
                    <a:lnTo>
                      <a:pt x="1180" y="74"/>
                    </a:lnTo>
                    <a:lnTo>
                      <a:pt x="1174" y="74"/>
                    </a:lnTo>
                    <a:lnTo>
                      <a:pt x="1174" y="80"/>
                    </a:lnTo>
                    <a:lnTo>
                      <a:pt x="1168" y="86"/>
                    </a:lnTo>
                    <a:lnTo>
                      <a:pt x="1168" y="86"/>
                    </a:lnTo>
                    <a:lnTo>
                      <a:pt x="1174" y="86"/>
                    </a:lnTo>
                    <a:lnTo>
                      <a:pt x="1174" y="86"/>
                    </a:lnTo>
                    <a:lnTo>
                      <a:pt x="1180" y="80"/>
                    </a:lnTo>
                    <a:lnTo>
                      <a:pt x="1186" y="80"/>
                    </a:lnTo>
                    <a:lnTo>
                      <a:pt x="1186" y="80"/>
                    </a:lnTo>
                    <a:lnTo>
                      <a:pt x="1190" y="80"/>
                    </a:lnTo>
                    <a:lnTo>
                      <a:pt x="1196" y="80"/>
                    </a:lnTo>
                    <a:lnTo>
                      <a:pt x="1196" y="86"/>
                    </a:lnTo>
                    <a:lnTo>
                      <a:pt x="1196" y="86"/>
                    </a:lnTo>
                    <a:lnTo>
                      <a:pt x="1200" y="86"/>
                    </a:lnTo>
                    <a:lnTo>
                      <a:pt x="1200" y="86"/>
                    </a:lnTo>
                    <a:lnTo>
                      <a:pt x="1200" y="92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0" y="86"/>
                    </a:lnTo>
                    <a:lnTo>
                      <a:pt x="1206" y="86"/>
                    </a:lnTo>
                    <a:lnTo>
                      <a:pt x="1206" y="86"/>
                    </a:lnTo>
                    <a:lnTo>
                      <a:pt x="1206" y="92"/>
                    </a:lnTo>
                    <a:lnTo>
                      <a:pt x="1212" y="96"/>
                    </a:lnTo>
                    <a:lnTo>
                      <a:pt x="1212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lnTo>
                      <a:pt x="1206" y="96"/>
                    </a:lnTo>
                    <a:close/>
                    <a:moveTo>
                      <a:pt x="1222" y="108"/>
                    </a:moveTo>
                    <a:lnTo>
                      <a:pt x="1218" y="108"/>
                    </a:lnTo>
                    <a:lnTo>
                      <a:pt x="1218" y="102"/>
                    </a:lnTo>
                    <a:lnTo>
                      <a:pt x="1222" y="102"/>
                    </a:lnTo>
                    <a:lnTo>
                      <a:pt x="1228" y="102"/>
                    </a:lnTo>
                    <a:lnTo>
                      <a:pt x="1234" y="102"/>
                    </a:lnTo>
                    <a:lnTo>
                      <a:pt x="1228" y="102"/>
                    </a:lnTo>
                    <a:lnTo>
                      <a:pt x="1228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lnTo>
                      <a:pt x="1222" y="108"/>
                    </a:lnTo>
                    <a:close/>
                    <a:moveTo>
                      <a:pt x="1050" y="108"/>
                    </a:moveTo>
                    <a:lnTo>
                      <a:pt x="1044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lnTo>
                      <a:pt x="1050" y="108"/>
                    </a:lnTo>
                    <a:close/>
                    <a:moveTo>
                      <a:pt x="1246" y="108"/>
                    </a:moveTo>
                    <a:lnTo>
                      <a:pt x="1240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28" y="108"/>
                    </a:lnTo>
                    <a:lnTo>
                      <a:pt x="1228" y="108"/>
                    </a:lnTo>
                    <a:lnTo>
                      <a:pt x="1234" y="108"/>
                    </a:lnTo>
                    <a:lnTo>
                      <a:pt x="1234" y="108"/>
                    </a:lnTo>
                    <a:lnTo>
                      <a:pt x="1240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lnTo>
                      <a:pt x="1246" y="108"/>
                    </a:lnTo>
                    <a:close/>
                    <a:moveTo>
                      <a:pt x="1022" y="120"/>
                    </a:moveTo>
                    <a:lnTo>
                      <a:pt x="1018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lnTo>
                      <a:pt x="1022" y="120"/>
                    </a:lnTo>
                    <a:close/>
                    <a:moveTo>
                      <a:pt x="880" y="124"/>
                    </a:moveTo>
                    <a:lnTo>
                      <a:pt x="886" y="124"/>
                    </a:lnTo>
                    <a:lnTo>
                      <a:pt x="886" y="128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lnTo>
                      <a:pt x="880" y="124"/>
                    </a:lnTo>
                    <a:close/>
                    <a:moveTo>
                      <a:pt x="1228" y="128"/>
                    </a:moveTo>
                    <a:lnTo>
                      <a:pt x="1234" y="124"/>
                    </a:lnTo>
                    <a:lnTo>
                      <a:pt x="1234" y="128"/>
                    </a:lnTo>
                    <a:lnTo>
                      <a:pt x="1234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lnTo>
                      <a:pt x="1228" y="128"/>
                    </a:lnTo>
                    <a:close/>
                    <a:moveTo>
                      <a:pt x="1240" y="128"/>
                    </a:moveTo>
                    <a:lnTo>
                      <a:pt x="1240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6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lnTo>
                      <a:pt x="1240" y="128"/>
                    </a:lnTo>
                    <a:close/>
                    <a:moveTo>
                      <a:pt x="980" y="134"/>
                    </a:moveTo>
                    <a:lnTo>
                      <a:pt x="980" y="128"/>
                    </a:lnTo>
                    <a:lnTo>
                      <a:pt x="984" y="128"/>
                    </a:lnTo>
                    <a:lnTo>
                      <a:pt x="990" y="128"/>
                    </a:lnTo>
                    <a:lnTo>
                      <a:pt x="990" y="134"/>
                    </a:lnTo>
                    <a:lnTo>
                      <a:pt x="984" y="134"/>
                    </a:lnTo>
                    <a:lnTo>
                      <a:pt x="980" y="128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088" y="128"/>
                    </a:moveTo>
                    <a:lnTo>
                      <a:pt x="1088" y="134"/>
                    </a:lnTo>
                    <a:lnTo>
                      <a:pt x="1088" y="134"/>
                    </a:lnTo>
                    <a:lnTo>
                      <a:pt x="1088" y="134"/>
                    </a:ln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72" y="140"/>
                    </a:lnTo>
                    <a:lnTo>
                      <a:pt x="1066" y="140"/>
                    </a:lnTo>
                    <a:lnTo>
                      <a:pt x="1072" y="140"/>
                    </a:lnTo>
                    <a:lnTo>
                      <a:pt x="1078" y="134"/>
                    </a:lnTo>
                    <a:lnTo>
                      <a:pt x="1082" y="134"/>
                    </a:lnTo>
                    <a:lnTo>
                      <a:pt x="1088" y="134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lnTo>
                      <a:pt x="1088" y="128"/>
                    </a:lnTo>
                    <a:close/>
                    <a:moveTo>
                      <a:pt x="980" y="134"/>
                    </a:moveTo>
                    <a:lnTo>
                      <a:pt x="980" y="134"/>
                    </a:lnTo>
                    <a:lnTo>
                      <a:pt x="980" y="134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40"/>
                    </a:lnTo>
                    <a:lnTo>
                      <a:pt x="974" y="140"/>
                    </a:lnTo>
                    <a:lnTo>
                      <a:pt x="974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lnTo>
                      <a:pt x="980" y="134"/>
                    </a:lnTo>
                    <a:close/>
                    <a:moveTo>
                      <a:pt x="1938" y="134"/>
                    </a:move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lnTo>
                      <a:pt x="1938" y="134"/>
                    </a:lnTo>
                    <a:close/>
                    <a:moveTo>
                      <a:pt x="584" y="168"/>
                    </a:moveTo>
                    <a:lnTo>
                      <a:pt x="584" y="168"/>
                    </a:lnTo>
                    <a:lnTo>
                      <a:pt x="584" y="162"/>
                    </a:lnTo>
                    <a:lnTo>
                      <a:pt x="584" y="162"/>
                    </a:lnTo>
                    <a:lnTo>
                      <a:pt x="584" y="156"/>
                    </a:lnTo>
                    <a:lnTo>
                      <a:pt x="590" y="156"/>
                    </a:lnTo>
                    <a:lnTo>
                      <a:pt x="596" y="156"/>
                    </a:lnTo>
                    <a:lnTo>
                      <a:pt x="600" y="156"/>
                    </a:lnTo>
                    <a:lnTo>
                      <a:pt x="600" y="162"/>
                    </a:lnTo>
                    <a:lnTo>
                      <a:pt x="600" y="162"/>
                    </a:lnTo>
                    <a:lnTo>
                      <a:pt x="600" y="156"/>
                    </a:lnTo>
                    <a:lnTo>
                      <a:pt x="604" y="162"/>
                    </a:lnTo>
                    <a:lnTo>
                      <a:pt x="610" y="162"/>
                    </a:lnTo>
                    <a:lnTo>
                      <a:pt x="610" y="156"/>
                    </a:lnTo>
                    <a:lnTo>
                      <a:pt x="610" y="162"/>
                    </a:lnTo>
                    <a:lnTo>
                      <a:pt x="616" y="162"/>
                    </a:lnTo>
                    <a:lnTo>
                      <a:pt x="616" y="156"/>
                    </a:lnTo>
                    <a:lnTo>
                      <a:pt x="622" y="156"/>
                    </a:lnTo>
                    <a:lnTo>
                      <a:pt x="622" y="156"/>
                    </a:lnTo>
                    <a:lnTo>
                      <a:pt x="626" y="156"/>
                    </a:lnTo>
                    <a:lnTo>
                      <a:pt x="632" y="156"/>
                    </a:lnTo>
                    <a:lnTo>
                      <a:pt x="632" y="152"/>
                    </a:lnTo>
                    <a:lnTo>
                      <a:pt x="638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44" y="152"/>
                    </a:lnTo>
                    <a:lnTo>
                      <a:pt x="650" y="152"/>
                    </a:lnTo>
                    <a:lnTo>
                      <a:pt x="654" y="152"/>
                    </a:lnTo>
                    <a:lnTo>
                      <a:pt x="658" y="152"/>
                    </a:lnTo>
                    <a:lnTo>
                      <a:pt x="654" y="152"/>
                    </a:lnTo>
                    <a:lnTo>
                      <a:pt x="654" y="146"/>
                    </a:lnTo>
                    <a:lnTo>
                      <a:pt x="658" y="146"/>
                    </a:lnTo>
                    <a:lnTo>
                      <a:pt x="658" y="140"/>
                    </a:lnTo>
                    <a:lnTo>
                      <a:pt x="664" y="140"/>
                    </a:lnTo>
                    <a:lnTo>
                      <a:pt x="670" y="140"/>
                    </a:lnTo>
                    <a:lnTo>
                      <a:pt x="670" y="140"/>
                    </a:lnTo>
                    <a:lnTo>
                      <a:pt x="676" y="140"/>
                    </a:lnTo>
                    <a:lnTo>
                      <a:pt x="680" y="140"/>
                    </a:lnTo>
                    <a:lnTo>
                      <a:pt x="680" y="140"/>
                    </a:lnTo>
                    <a:lnTo>
                      <a:pt x="686" y="140"/>
                    </a:lnTo>
                    <a:lnTo>
                      <a:pt x="692" y="140"/>
                    </a:lnTo>
                    <a:lnTo>
                      <a:pt x="692" y="140"/>
                    </a:lnTo>
                    <a:lnTo>
                      <a:pt x="698" y="146"/>
                    </a:lnTo>
                    <a:lnTo>
                      <a:pt x="692" y="146"/>
                    </a:lnTo>
                    <a:lnTo>
                      <a:pt x="692" y="152"/>
                    </a:lnTo>
                    <a:lnTo>
                      <a:pt x="692" y="156"/>
                    </a:lnTo>
                    <a:lnTo>
                      <a:pt x="686" y="156"/>
                    </a:lnTo>
                    <a:lnTo>
                      <a:pt x="680" y="156"/>
                    </a:lnTo>
                    <a:lnTo>
                      <a:pt x="680" y="162"/>
                    </a:lnTo>
                    <a:lnTo>
                      <a:pt x="676" y="162"/>
                    </a:lnTo>
                    <a:lnTo>
                      <a:pt x="670" y="162"/>
                    </a:lnTo>
                    <a:lnTo>
                      <a:pt x="670" y="168"/>
                    </a:lnTo>
                    <a:lnTo>
                      <a:pt x="670" y="168"/>
                    </a:lnTo>
                    <a:lnTo>
                      <a:pt x="664" y="168"/>
                    </a:lnTo>
                    <a:lnTo>
                      <a:pt x="658" y="168"/>
                    </a:lnTo>
                    <a:lnTo>
                      <a:pt x="658" y="168"/>
                    </a:lnTo>
                    <a:lnTo>
                      <a:pt x="654" y="168"/>
                    </a:lnTo>
                    <a:lnTo>
                      <a:pt x="650" y="168"/>
                    </a:lnTo>
                    <a:lnTo>
                      <a:pt x="644" y="168"/>
                    </a:lnTo>
                    <a:lnTo>
                      <a:pt x="644" y="174"/>
                    </a:lnTo>
                    <a:lnTo>
                      <a:pt x="638" y="174"/>
                    </a:lnTo>
                    <a:lnTo>
                      <a:pt x="632" y="174"/>
                    </a:lnTo>
                    <a:lnTo>
                      <a:pt x="632" y="174"/>
                    </a:lnTo>
                    <a:lnTo>
                      <a:pt x="626" y="174"/>
                    </a:lnTo>
                    <a:lnTo>
                      <a:pt x="622" y="180"/>
                    </a:lnTo>
                    <a:lnTo>
                      <a:pt x="622" y="180"/>
                    </a:lnTo>
                    <a:lnTo>
                      <a:pt x="616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10" y="180"/>
                    </a:lnTo>
                    <a:lnTo>
                      <a:pt x="604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600" y="180"/>
                    </a:lnTo>
                    <a:lnTo>
                      <a:pt x="600" y="180"/>
                    </a:lnTo>
                    <a:lnTo>
                      <a:pt x="600" y="182"/>
                    </a:lnTo>
                    <a:lnTo>
                      <a:pt x="596" y="182"/>
                    </a:lnTo>
                    <a:lnTo>
                      <a:pt x="596" y="188"/>
                    </a:lnTo>
                    <a:lnTo>
                      <a:pt x="590" y="188"/>
                    </a:lnTo>
                    <a:lnTo>
                      <a:pt x="590" y="182"/>
                    </a:lnTo>
                    <a:lnTo>
                      <a:pt x="590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84" y="188"/>
                    </a:lnTo>
                    <a:lnTo>
                      <a:pt x="578" y="194"/>
                    </a:lnTo>
                    <a:lnTo>
                      <a:pt x="578" y="188"/>
                    </a:lnTo>
                    <a:lnTo>
                      <a:pt x="572" y="188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68" y="194"/>
                    </a:lnTo>
                    <a:lnTo>
                      <a:pt x="572" y="194"/>
                    </a:lnTo>
                    <a:lnTo>
                      <a:pt x="572" y="194"/>
                    </a:lnTo>
                    <a:lnTo>
                      <a:pt x="578" y="194"/>
                    </a:lnTo>
                    <a:lnTo>
                      <a:pt x="578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72" y="200"/>
                    </a:lnTo>
                    <a:lnTo>
                      <a:pt x="568" y="200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8" y="200"/>
                    </a:lnTo>
                    <a:lnTo>
                      <a:pt x="568" y="206"/>
                    </a:lnTo>
                    <a:lnTo>
                      <a:pt x="562" y="206"/>
                    </a:lnTo>
                    <a:lnTo>
                      <a:pt x="562" y="200"/>
                    </a:lnTo>
                    <a:lnTo>
                      <a:pt x="562" y="200"/>
                    </a:lnTo>
                    <a:lnTo>
                      <a:pt x="562" y="206"/>
                    </a:lnTo>
                    <a:lnTo>
                      <a:pt x="556" y="206"/>
                    </a:lnTo>
                    <a:lnTo>
                      <a:pt x="556" y="210"/>
                    </a:lnTo>
                    <a:lnTo>
                      <a:pt x="550" y="210"/>
                    </a:lnTo>
                    <a:lnTo>
                      <a:pt x="550" y="206"/>
                    </a:lnTo>
                    <a:lnTo>
                      <a:pt x="550" y="206"/>
                    </a:lnTo>
                    <a:lnTo>
                      <a:pt x="546" y="206"/>
                    </a:lnTo>
                    <a:lnTo>
                      <a:pt x="550" y="206"/>
                    </a:lnTo>
                    <a:lnTo>
                      <a:pt x="550" y="210"/>
                    </a:lnTo>
                    <a:lnTo>
                      <a:pt x="550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16"/>
                    </a:lnTo>
                    <a:lnTo>
                      <a:pt x="550" y="216"/>
                    </a:lnTo>
                    <a:lnTo>
                      <a:pt x="546" y="216"/>
                    </a:lnTo>
                    <a:lnTo>
                      <a:pt x="546" y="222"/>
                    </a:lnTo>
                    <a:lnTo>
                      <a:pt x="540" y="222"/>
                    </a:lnTo>
                    <a:lnTo>
                      <a:pt x="536" y="222"/>
                    </a:lnTo>
                    <a:lnTo>
                      <a:pt x="536" y="216"/>
                    </a:lnTo>
                    <a:lnTo>
                      <a:pt x="536" y="216"/>
                    </a:lnTo>
                    <a:lnTo>
                      <a:pt x="530" y="216"/>
                    </a:lnTo>
                    <a:lnTo>
                      <a:pt x="536" y="216"/>
                    </a:lnTo>
                    <a:lnTo>
                      <a:pt x="536" y="222"/>
                    </a:lnTo>
                    <a:lnTo>
                      <a:pt x="536" y="222"/>
                    </a:lnTo>
                    <a:lnTo>
                      <a:pt x="540" y="222"/>
                    </a:lnTo>
                    <a:lnTo>
                      <a:pt x="54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0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30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28"/>
                    </a:lnTo>
                    <a:lnTo>
                      <a:pt x="536" y="234"/>
                    </a:lnTo>
                    <a:lnTo>
                      <a:pt x="536" y="234"/>
                    </a:lnTo>
                    <a:lnTo>
                      <a:pt x="530" y="234"/>
                    </a:lnTo>
                    <a:lnTo>
                      <a:pt x="524" y="234"/>
                    </a:lnTo>
                    <a:lnTo>
                      <a:pt x="524" y="228"/>
                    </a:lnTo>
                    <a:lnTo>
                      <a:pt x="524" y="228"/>
                    </a:lnTo>
                    <a:lnTo>
                      <a:pt x="524" y="234"/>
                    </a:lnTo>
                    <a:lnTo>
                      <a:pt x="524" y="234"/>
                    </a:lnTo>
                    <a:lnTo>
                      <a:pt x="530" y="234"/>
                    </a:lnTo>
                    <a:lnTo>
                      <a:pt x="530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24" y="238"/>
                    </a:lnTo>
                    <a:lnTo>
                      <a:pt x="51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08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49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4"/>
                    </a:lnTo>
                    <a:lnTo>
                      <a:pt x="492" y="234"/>
                    </a:lnTo>
                    <a:lnTo>
                      <a:pt x="496" y="234"/>
                    </a:lnTo>
                    <a:lnTo>
                      <a:pt x="496" y="228"/>
                    </a:lnTo>
                    <a:lnTo>
                      <a:pt x="502" y="228"/>
                    </a:lnTo>
                    <a:lnTo>
                      <a:pt x="496" y="228"/>
                    </a:lnTo>
                    <a:lnTo>
                      <a:pt x="492" y="228"/>
                    </a:lnTo>
                    <a:lnTo>
                      <a:pt x="492" y="234"/>
                    </a:lnTo>
                    <a:lnTo>
                      <a:pt x="486" y="234"/>
                    </a:lnTo>
                    <a:lnTo>
                      <a:pt x="486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2" y="228"/>
                    </a:lnTo>
                    <a:lnTo>
                      <a:pt x="486" y="228"/>
                    </a:lnTo>
                    <a:lnTo>
                      <a:pt x="486" y="228"/>
                    </a:lnTo>
                    <a:lnTo>
                      <a:pt x="492" y="228"/>
                    </a:lnTo>
                    <a:lnTo>
                      <a:pt x="492" y="222"/>
                    </a:lnTo>
                    <a:lnTo>
                      <a:pt x="492" y="222"/>
                    </a:lnTo>
                    <a:lnTo>
                      <a:pt x="496" y="222"/>
                    </a:lnTo>
                    <a:lnTo>
                      <a:pt x="492" y="222"/>
                    </a:lnTo>
                    <a:lnTo>
                      <a:pt x="496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8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2" y="216"/>
                    </a:lnTo>
                    <a:lnTo>
                      <a:pt x="508" y="216"/>
                    </a:lnTo>
                    <a:lnTo>
                      <a:pt x="512" y="216"/>
                    </a:lnTo>
                    <a:lnTo>
                      <a:pt x="508" y="216"/>
                    </a:lnTo>
                    <a:lnTo>
                      <a:pt x="502" y="210"/>
                    </a:lnTo>
                    <a:lnTo>
                      <a:pt x="512" y="210"/>
                    </a:lnTo>
                    <a:lnTo>
                      <a:pt x="512" y="210"/>
                    </a:lnTo>
                    <a:lnTo>
                      <a:pt x="518" y="206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08" y="206"/>
                    </a:lnTo>
                    <a:lnTo>
                      <a:pt x="50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24" y="200"/>
                    </a:lnTo>
                    <a:lnTo>
                      <a:pt x="518" y="200"/>
                    </a:lnTo>
                    <a:lnTo>
                      <a:pt x="512" y="200"/>
                    </a:lnTo>
                    <a:lnTo>
                      <a:pt x="512" y="200"/>
                    </a:lnTo>
                    <a:lnTo>
                      <a:pt x="518" y="194"/>
                    </a:lnTo>
                    <a:lnTo>
                      <a:pt x="524" y="194"/>
                    </a:lnTo>
                    <a:lnTo>
                      <a:pt x="518" y="194"/>
                    </a:lnTo>
                    <a:lnTo>
                      <a:pt x="518" y="188"/>
                    </a:lnTo>
                    <a:lnTo>
                      <a:pt x="512" y="194"/>
                    </a:lnTo>
                    <a:lnTo>
                      <a:pt x="512" y="194"/>
                    </a:lnTo>
                    <a:lnTo>
                      <a:pt x="512" y="188"/>
                    </a:lnTo>
                    <a:lnTo>
                      <a:pt x="508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2" y="188"/>
                    </a:lnTo>
                    <a:lnTo>
                      <a:pt x="518" y="188"/>
                    </a:lnTo>
                    <a:lnTo>
                      <a:pt x="518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8"/>
                    </a:lnTo>
                    <a:lnTo>
                      <a:pt x="524" y="182"/>
                    </a:lnTo>
                    <a:lnTo>
                      <a:pt x="524" y="182"/>
                    </a:lnTo>
                    <a:lnTo>
                      <a:pt x="530" y="182"/>
                    </a:lnTo>
                    <a:lnTo>
                      <a:pt x="536" y="182"/>
                    </a:lnTo>
                    <a:lnTo>
                      <a:pt x="536" y="182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46" y="180"/>
                    </a:lnTo>
                    <a:lnTo>
                      <a:pt x="540" y="180"/>
                    </a:lnTo>
                    <a:lnTo>
                      <a:pt x="546" y="180"/>
                    </a:lnTo>
                    <a:lnTo>
                      <a:pt x="550" y="174"/>
                    </a:lnTo>
                    <a:lnTo>
                      <a:pt x="550" y="174"/>
                    </a:lnTo>
                    <a:lnTo>
                      <a:pt x="550" y="168"/>
                    </a:lnTo>
                    <a:lnTo>
                      <a:pt x="556" y="168"/>
                    </a:lnTo>
                    <a:lnTo>
                      <a:pt x="562" y="168"/>
                    </a:lnTo>
                    <a:lnTo>
                      <a:pt x="562" y="168"/>
                    </a:lnTo>
                    <a:lnTo>
                      <a:pt x="568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8"/>
                    </a:lnTo>
                    <a:lnTo>
                      <a:pt x="572" y="162"/>
                    </a:lnTo>
                    <a:lnTo>
                      <a:pt x="578" y="162"/>
                    </a:lnTo>
                    <a:lnTo>
                      <a:pt x="584" y="162"/>
                    </a:lnTo>
                    <a:lnTo>
                      <a:pt x="584" y="168"/>
                    </a:lnTo>
                    <a:lnTo>
                      <a:pt x="578" y="168"/>
                    </a:lnTo>
                    <a:lnTo>
                      <a:pt x="572" y="168"/>
                    </a:lnTo>
                    <a:lnTo>
                      <a:pt x="578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lnTo>
                      <a:pt x="584" y="168"/>
                    </a:lnTo>
                    <a:close/>
                    <a:moveTo>
                      <a:pt x="1088" y="140"/>
                    </a:moveTo>
                    <a:lnTo>
                      <a:pt x="1082" y="140"/>
                    </a:lnTo>
                    <a:lnTo>
                      <a:pt x="1078" y="140"/>
                    </a:lnTo>
                    <a:lnTo>
                      <a:pt x="1078" y="140"/>
                    </a:lnTo>
                    <a:lnTo>
                      <a:pt x="1082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lnTo>
                      <a:pt x="1088" y="140"/>
                    </a:lnTo>
                    <a:close/>
                    <a:moveTo>
                      <a:pt x="1104" y="146"/>
                    </a:moveTo>
                    <a:lnTo>
                      <a:pt x="1104" y="140"/>
                    </a:lnTo>
                    <a:lnTo>
                      <a:pt x="1108" y="140"/>
                    </a:lnTo>
                    <a:lnTo>
                      <a:pt x="110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104" y="146"/>
                    </a:move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lnTo>
                      <a:pt x="1104" y="146"/>
                    </a:lnTo>
                    <a:close/>
                    <a:moveTo>
                      <a:pt x="1818" y="152"/>
                    </a:moveTo>
                    <a:lnTo>
                      <a:pt x="1818" y="146"/>
                    </a:lnTo>
                    <a:lnTo>
                      <a:pt x="1824" y="146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36" y="146"/>
                    </a:lnTo>
                    <a:lnTo>
                      <a:pt x="1830" y="146"/>
                    </a:lnTo>
                    <a:lnTo>
                      <a:pt x="1830" y="152"/>
                    </a:lnTo>
                    <a:lnTo>
                      <a:pt x="1830" y="146"/>
                    </a:lnTo>
                    <a:lnTo>
                      <a:pt x="1830" y="146"/>
                    </a:lnTo>
                    <a:lnTo>
                      <a:pt x="1824" y="146"/>
                    </a:lnTo>
                    <a:lnTo>
                      <a:pt x="1824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lnTo>
                      <a:pt x="1818" y="152"/>
                    </a:lnTo>
                    <a:close/>
                    <a:moveTo>
                      <a:pt x="1104" y="152"/>
                    </a:moveTo>
                    <a:lnTo>
                      <a:pt x="1098" y="152"/>
                    </a:lnTo>
                    <a:lnTo>
                      <a:pt x="1098" y="146"/>
                    </a:lnTo>
                    <a:lnTo>
                      <a:pt x="1104" y="146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lnTo>
                      <a:pt x="1104" y="152"/>
                    </a:lnTo>
                    <a:close/>
                    <a:moveTo>
                      <a:pt x="1066" y="146"/>
                    </a:moveTo>
                    <a:lnTo>
                      <a:pt x="1072" y="152"/>
                    </a:lnTo>
                    <a:lnTo>
                      <a:pt x="1066" y="152"/>
                    </a:lnTo>
                    <a:lnTo>
                      <a:pt x="1066" y="152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lnTo>
                      <a:pt x="1066" y="146"/>
                    </a:lnTo>
                    <a:close/>
                    <a:moveTo>
                      <a:pt x="1088" y="146"/>
                    </a:moveTo>
                    <a:lnTo>
                      <a:pt x="1088" y="152"/>
                    </a:lnTo>
                    <a:lnTo>
                      <a:pt x="1082" y="152"/>
                    </a:lnTo>
                    <a:lnTo>
                      <a:pt x="1078" y="152"/>
                    </a:lnTo>
                    <a:lnTo>
                      <a:pt x="1078" y="146"/>
                    </a:lnTo>
                    <a:lnTo>
                      <a:pt x="1082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lnTo>
                      <a:pt x="1088" y="146"/>
                    </a:lnTo>
                    <a:close/>
                    <a:moveTo>
                      <a:pt x="1054" y="152"/>
                    </a:moveTo>
                    <a:lnTo>
                      <a:pt x="1054" y="152"/>
                    </a:lnTo>
                    <a:lnTo>
                      <a:pt x="1054" y="152"/>
                    </a:lnTo>
                    <a:lnTo>
                      <a:pt x="1050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lnTo>
                      <a:pt x="1054" y="152"/>
                    </a:lnTo>
                    <a:close/>
                    <a:moveTo>
                      <a:pt x="1320" y="156"/>
                    </a:moveTo>
                    <a:lnTo>
                      <a:pt x="1320" y="152"/>
                    </a:lnTo>
                    <a:lnTo>
                      <a:pt x="1326" y="152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6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lnTo>
                      <a:pt x="1320" y="156"/>
                    </a:lnTo>
                    <a:close/>
                    <a:moveTo>
                      <a:pt x="1088" y="162"/>
                    </a:moveTo>
                    <a:lnTo>
                      <a:pt x="1088" y="156"/>
                    </a:lnTo>
                    <a:lnTo>
                      <a:pt x="1092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92" y="162"/>
                    </a:lnTo>
                    <a:lnTo>
                      <a:pt x="1092" y="156"/>
                    </a:lnTo>
                    <a:lnTo>
                      <a:pt x="1092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62"/>
                    </a:lnTo>
                    <a:close/>
                    <a:moveTo>
                      <a:pt x="1088" y="168"/>
                    </a:moveTo>
                    <a:lnTo>
                      <a:pt x="1082" y="162"/>
                    </a:lnTo>
                    <a:lnTo>
                      <a:pt x="1078" y="162"/>
                    </a:lnTo>
                    <a:lnTo>
                      <a:pt x="1078" y="162"/>
                    </a:lnTo>
                    <a:lnTo>
                      <a:pt x="1072" y="162"/>
                    </a:lnTo>
                    <a:lnTo>
                      <a:pt x="1072" y="156"/>
                    </a:lnTo>
                    <a:lnTo>
                      <a:pt x="1078" y="162"/>
                    </a:lnTo>
                    <a:lnTo>
                      <a:pt x="1078" y="156"/>
                    </a:lnTo>
                    <a:lnTo>
                      <a:pt x="1078" y="156"/>
                    </a:lnTo>
                    <a:lnTo>
                      <a:pt x="1082" y="156"/>
                    </a:lnTo>
                    <a:lnTo>
                      <a:pt x="1088" y="156"/>
                    </a:lnTo>
                    <a:lnTo>
                      <a:pt x="1088" y="156"/>
                    </a:lnTo>
                    <a:lnTo>
                      <a:pt x="1088" y="162"/>
                    </a:lnTo>
                    <a:lnTo>
                      <a:pt x="1088" y="162"/>
                    </a:lnTo>
                    <a:lnTo>
                      <a:pt x="1088" y="156"/>
                    </a:lnTo>
                    <a:lnTo>
                      <a:pt x="1082" y="162"/>
                    </a:lnTo>
                    <a:lnTo>
                      <a:pt x="1088" y="162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88" y="168"/>
                    </a:lnTo>
                    <a:close/>
                    <a:moveTo>
                      <a:pt x="1066" y="162"/>
                    </a:moveTo>
                    <a:lnTo>
                      <a:pt x="1066" y="156"/>
                    </a:lnTo>
                    <a:lnTo>
                      <a:pt x="1066" y="156"/>
                    </a:lnTo>
                    <a:lnTo>
                      <a:pt x="1066" y="162"/>
                    </a:lnTo>
                    <a:lnTo>
                      <a:pt x="1060" y="162"/>
                    </a:lnTo>
                    <a:lnTo>
                      <a:pt x="1054" y="162"/>
                    </a:lnTo>
                    <a:lnTo>
                      <a:pt x="1060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lnTo>
                      <a:pt x="1066" y="162"/>
                    </a:lnTo>
                    <a:close/>
                    <a:moveTo>
                      <a:pt x="1736" y="200"/>
                    </a:moveTo>
                    <a:lnTo>
                      <a:pt x="1732" y="200"/>
                    </a:lnTo>
                    <a:lnTo>
                      <a:pt x="1732" y="200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32" y="194"/>
                    </a:lnTo>
                    <a:lnTo>
                      <a:pt x="1728" y="194"/>
                    </a:lnTo>
                    <a:lnTo>
                      <a:pt x="1722" y="194"/>
                    </a:lnTo>
                    <a:lnTo>
                      <a:pt x="1722" y="194"/>
                    </a:lnTo>
                    <a:lnTo>
                      <a:pt x="1716" y="194"/>
                    </a:lnTo>
                    <a:lnTo>
                      <a:pt x="1710" y="200"/>
                    </a:lnTo>
                    <a:lnTo>
                      <a:pt x="1710" y="200"/>
                    </a:lnTo>
                    <a:lnTo>
                      <a:pt x="1704" y="200"/>
                    </a:lnTo>
                    <a:lnTo>
                      <a:pt x="1700" y="194"/>
                    </a:lnTo>
                    <a:lnTo>
                      <a:pt x="1700" y="194"/>
                    </a:lnTo>
                    <a:lnTo>
                      <a:pt x="1694" y="194"/>
                    </a:lnTo>
                    <a:lnTo>
                      <a:pt x="1694" y="200"/>
                    </a:lnTo>
                    <a:lnTo>
                      <a:pt x="1700" y="200"/>
                    </a:lnTo>
                    <a:lnTo>
                      <a:pt x="1694" y="200"/>
                    </a:lnTo>
                    <a:lnTo>
                      <a:pt x="1694" y="200"/>
                    </a:lnTo>
                    <a:lnTo>
                      <a:pt x="1688" y="200"/>
                    </a:lnTo>
                    <a:lnTo>
                      <a:pt x="1688" y="200"/>
                    </a:lnTo>
                    <a:lnTo>
                      <a:pt x="1682" y="200"/>
                    </a:lnTo>
                    <a:lnTo>
                      <a:pt x="1678" y="200"/>
                    </a:lnTo>
                    <a:lnTo>
                      <a:pt x="1678" y="200"/>
                    </a:lnTo>
                    <a:lnTo>
                      <a:pt x="1672" y="200"/>
                    </a:lnTo>
                    <a:lnTo>
                      <a:pt x="1672" y="200"/>
                    </a:lnTo>
                    <a:lnTo>
                      <a:pt x="1672" y="194"/>
                    </a:lnTo>
                    <a:lnTo>
                      <a:pt x="1668" y="194"/>
                    </a:lnTo>
                    <a:lnTo>
                      <a:pt x="1668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62" y="188"/>
                    </a:lnTo>
                    <a:lnTo>
                      <a:pt x="1656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8" y="182"/>
                    </a:lnTo>
                    <a:lnTo>
                      <a:pt x="1662" y="182"/>
                    </a:lnTo>
                    <a:lnTo>
                      <a:pt x="1662" y="182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80"/>
                    </a:lnTo>
                    <a:lnTo>
                      <a:pt x="1662" y="174"/>
                    </a:lnTo>
                    <a:lnTo>
                      <a:pt x="1662" y="174"/>
                    </a:lnTo>
                    <a:lnTo>
                      <a:pt x="1668" y="174"/>
                    </a:lnTo>
                    <a:lnTo>
                      <a:pt x="1672" y="174"/>
                    </a:lnTo>
                    <a:lnTo>
                      <a:pt x="1668" y="174"/>
                    </a:lnTo>
                    <a:lnTo>
                      <a:pt x="1668" y="168"/>
                    </a:lnTo>
                    <a:lnTo>
                      <a:pt x="1662" y="168"/>
                    </a:lnTo>
                    <a:lnTo>
                      <a:pt x="1668" y="168"/>
                    </a:lnTo>
                    <a:lnTo>
                      <a:pt x="1672" y="168"/>
                    </a:lnTo>
                    <a:lnTo>
                      <a:pt x="1672" y="168"/>
                    </a:lnTo>
                    <a:lnTo>
                      <a:pt x="1672" y="162"/>
                    </a:lnTo>
                    <a:lnTo>
                      <a:pt x="1678" y="162"/>
                    </a:lnTo>
                    <a:lnTo>
                      <a:pt x="1678" y="168"/>
                    </a:lnTo>
                    <a:lnTo>
                      <a:pt x="1678" y="162"/>
                    </a:lnTo>
                    <a:lnTo>
                      <a:pt x="1682" y="162"/>
                    </a:lnTo>
                    <a:lnTo>
                      <a:pt x="1688" y="162"/>
                    </a:lnTo>
                    <a:lnTo>
                      <a:pt x="1688" y="162"/>
                    </a:lnTo>
                    <a:lnTo>
                      <a:pt x="1688" y="168"/>
                    </a:lnTo>
                    <a:lnTo>
                      <a:pt x="1694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68"/>
                    </a:lnTo>
                    <a:lnTo>
                      <a:pt x="1700" y="174"/>
                    </a:lnTo>
                    <a:lnTo>
                      <a:pt x="1704" y="174"/>
                    </a:lnTo>
                    <a:lnTo>
                      <a:pt x="1710" y="174"/>
                    </a:lnTo>
                    <a:lnTo>
                      <a:pt x="1710" y="180"/>
                    </a:lnTo>
                    <a:lnTo>
                      <a:pt x="1710" y="180"/>
                    </a:lnTo>
                    <a:lnTo>
                      <a:pt x="1716" y="180"/>
                    </a:lnTo>
                    <a:lnTo>
                      <a:pt x="1716" y="174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22" y="168"/>
                    </a:lnTo>
                    <a:lnTo>
                      <a:pt x="1722" y="168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2" y="162"/>
                    </a:lnTo>
                    <a:lnTo>
                      <a:pt x="1728" y="168"/>
                    </a:lnTo>
                    <a:lnTo>
                      <a:pt x="1732" y="168"/>
                    </a:lnTo>
                    <a:lnTo>
                      <a:pt x="1732" y="168"/>
                    </a:lnTo>
                    <a:lnTo>
                      <a:pt x="1736" y="168"/>
                    </a:lnTo>
                    <a:lnTo>
                      <a:pt x="1736" y="174"/>
                    </a:lnTo>
                    <a:lnTo>
                      <a:pt x="1742" y="174"/>
                    </a:lnTo>
                    <a:lnTo>
                      <a:pt x="1748" y="174"/>
                    </a:lnTo>
                    <a:lnTo>
                      <a:pt x="1748" y="174"/>
                    </a:lnTo>
                    <a:lnTo>
                      <a:pt x="1754" y="168"/>
                    </a:lnTo>
                    <a:lnTo>
                      <a:pt x="1758" y="174"/>
                    </a:lnTo>
                    <a:lnTo>
                      <a:pt x="1758" y="174"/>
                    </a:lnTo>
                    <a:lnTo>
                      <a:pt x="1764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6" y="180"/>
                    </a:lnTo>
                    <a:lnTo>
                      <a:pt x="1776" y="180"/>
                    </a:lnTo>
                    <a:lnTo>
                      <a:pt x="1782" y="180"/>
                    </a:lnTo>
                    <a:lnTo>
                      <a:pt x="1776" y="180"/>
                    </a:lnTo>
                    <a:lnTo>
                      <a:pt x="1770" y="180"/>
                    </a:lnTo>
                    <a:lnTo>
                      <a:pt x="1770" y="180"/>
                    </a:lnTo>
                    <a:lnTo>
                      <a:pt x="1770" y="182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70" y="188"/>
                    </a:lnTo>
                    <a:lnTo>
                      <a:pt x="1764" y="188"/>
                    </a:lnTo>
                    <a:lnTo>
                      <a:pt x="1758" y="188"/>
                    </a:lnTo>
                    <a:lnTo>
                      <a:pt x="1758" y="194"/>
                    </a:lnTo>
                    <a:lnTo>
                      <a:pt x="1758" y="194"/>
                    </a:lnTo>
                    <a:lnTo>
                      <a:pt x="1758" y="188"/>
                    </a:lnTo>
                    <a:lnTo>
                      <a:pt x="1754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2" y="188"/>
                    </a:lnTo>
                    <a:lnTo>
                      <a:pt x="1742" y="188"/>
                    </a:lnTo>
                    <a:lnTo>
                      <a:pt x="1736" y="188"/>
                    </a:lnTo>
                    <a:lnTo>
                      <a:pt x="1736" y="182"/>
                    </a:lnTo>
                    <a:lnTo>
                      <a:pt x="1736" y="180"/>
                    </a:lnTo>
                    <a:lnTo>
                      <a:pt x="1742" y="180"/>
                    </a:lnTo>
                    <a:lnTo>
                      <a:pt x="1748" y="180"/>
                    </a:lnTo>
                    <a:lnTo>
                      <a:pt x="1742" y="180"/>
                    </a:lnTo>
                    <a:lnTo>
                      <a:pt x="1742" y="174"/>
                    </a:lnTo>
                    <a:lnTo>
                      <a:pt x="1736" y="174"/>
                    </a:lnTo>
                    <a:lnTo>
                      <a:pt x="1736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0"/>
                    </a:lnTo>
                    <a:lnTo>
                      <a:pt x="1732" y="182"/>
                    </a:lnTo>
                    <a:lnTo>
                      <a:pt x="1732" y="182"/>
                    </a:lnTo>
                    <a:lnTo>
                      <a:pt x="1732" y="188"/>
                    </a:lnTo>
                    <a:lnTo>
                      <a:pt x="1736" y="188"/>
                    </a:lnTo>
                    <a:lnTo>
                      <a:pt x="1742" y="188"/>
                    </a:lnTo>
                    <a:lnTo>
                      <a:pt x="1748" y="188"/>
                    </a:lnTo>
                    <a:lnTo>
                      <a:pt x="1748" y="194"/>
                    </a:lnTo>
                    <a:lnTo>
                      <a:pt x="1754" y="194"/>
                    </a:lnTo>
                    <a:lnTo>
                      <a:pt x="1748" y="200"/>
                    </a:lnTo>
                    <a:lnTo>
                      <a:pt x="1748" y="194"/>
                    </a:lnTo>
                    <a:lnTo>
                      <a:pt x="1748" y="194"/>
                    </a:lnTo>
                    <a:lnTo>
                      <a:pt x="1748" y="200"/>
                    </a:lnTo>
                    <a:lnTo>
                      <a:pt x="1742" y="200"/>
                    </a:lnTo>
                    <a:lnTo>
                      <a:pt x="1742" y="194"/>
                    </a:lnTo>
                    <a:lnTo>
                      <a:pt x="1736" y="194"/>
                    </a:lnTo>
                    <a:lnTo>
                      <a:pt x="1736" y="200"/>
                    </a:lnTo>
                    <a:lnTo>
                      <a:pt x="1742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lnTo>
                      <a:pt x="1736" y="200"/>
                    </a:lnTo>
                    <a:close/>
                    <a:moveTo>
                      <a:pt x="1878" y="168"/>
                    </a:moveTo>
                    <a:lnTo>
                      <a:pt x="1878" y="162"/>
                    </a:lnTo>
                    <a:lnTo>
                      <a:pt x="1884" y="162"/>
                    </a:lnTo>
                    <a:lnTo>
                      <a:pt x="1884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lnTo>
                      <a:pt x="1878" y="168"/>
                    </a:lnTo>
                    <a:close/>
                    <a:moveTo>
                      <a:pt x="1716" y="168"/>
                    </a:moveTo>
                    <a:lnTo>
                      <a:pt x="1716" y="162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lnTo>
                      <a:pt x="1716" y="168"/>
                    </a:lnTo>
                    <a:close/>
                    <a:moveTo>
                      <a:pt x="1098" y="168"/>
                    </a:moveTo>
                    <a:lnTo>
                      <a:pt x="1092" y="168"/>
                    </a:lnTo>
                    <a:lnTo>
                      <a:pt x="1092" y="168"/>
                    </a:lnTo>
                    <a:lnTo>
                      <a:pt x="1088" y="168"/>
                    </a:lnTo>
                    <a:lnTo>
                      <a:pt x="108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lnTo>
                      <a:pt x="1098" y="168"/>
                    </a:lnTo>
                    <a:close/>
                    <a:moveTo>
                      <a:pt x="898" y="168"/>
                    </a:moveTo>
                    <a:lnTo>
                      <a:pt x="892" y="168"/>
                    </a:lnTo>
                    <a:lnTo>
                      <a:pt x="886" y="168"/>
                    </a:lnTo>
                    <a:lnTo>
                      <a:pt x="880" y="168"/>
                    </a:lnTo>
                    <a:lnTo>
                      <a:pt x="886" y="168"/>
                    </a:lnTo>
                    <a:lnTo>
                      <a:pt x="886" y="168"/>
                    </a:lnTo>
                    <a:lnTo>
                      <a:pt x="892" y="168"/>
                    </a:lnTo>
                    <a:lnTo>
                      <a:pt x="892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lnTo>
                      <a:pt x="898" y="168"/>
                    </a:lnTo>
                    <a:close/>
                    <a:moveTo>
                      <a:pt x="876" y="168"/>
                    </a:moveTo>
                    <a:lnTo>
                      <a:pt x="880" y="168"/>
                    </a:lnTo>
                    <a:lnTo>
                      <a:pt x="880" y="168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2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lnTo>
                      <a:pt x="876" y="168"/>
                    </a:lnTo>
                    <a:close/>
                    <a:moveTo>
                      <a:pt x="1640" y="182"/>
                    </a:move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80"/>
                    </a:lnTo>
                    <a:lnTo>
                      <a:pt x="1640" y="174"/>
                    </a:lnTo>
                    <a:lnTo>
                      <a:pt x="1640" y="168"/>
                    </a:lnTo>
                    <a:lnTo>
                      <a:pt x="1640" y="174"/>
                    </a:lnTo>
                    <a:lnTo>
                      <a:pt x="1644" y="180"/>
                    </a:lnTo>
                    <a:lnTo>
                      <a:pt x="1650" y="180"/>
                    </a:lnTo>
                    <a:lnTo>
                      <a:pt x="1644" y="180"/>
                    </a:lnTo>
                    <a:lnTo>
                      <a:pt x="1644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lnTo>
                      <a:pt x="1640" y="182"/>
                    </a:lnTo>
                    <a:close/>
                    <a:moveTo>
                      <a:pt x="1790" y="180"/>
                    </a:moveTo>
                    <a:lnTo>
                      <a:pt x="1790" y="180"/>
                    </a:lnTo>
                    <a:lnTo>
                      <a:pt x="1796" y="180"/>
                    </a:lnTo>
                    <a:lnTo>
                      <a:pt x="1790" y="182"/>
                    </a:lnTo>
                    <a:lnTo>
                      <a:pt x="1796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2" y="182"/>
                    </a:lnTo>
                    <a:lnTo>
                      <a:pt x="1808" y="182"/>
                    </a:lnTo>
                    <a:lnTo>
                      <a:pt x="1808" y="180"/>
                    </a:lnTo>
                    <a:lnTo>
                      <a:pt x="1808" y="182"/>
                    </a:lnTo>
                    <a:lnTo>
                      <a:pt x="1814" y="182"/>
                    </a:lnTo>
                    <a:lnTo>
                      <a:pt x="1814" y="182"/>
                    </a:lnTo>
                    <a:lnTo>
                      <a:pt x="1818" y="182"/>
                    </a:lnTo>
                    <a:lnTo>
                      <a:pt x="1824" y="182"/>
                    </a:lnTo>
                    <a:lnTo>
                      <a:pt x="1818" y="182"/>
                    </a:lnTo>
                    <a:lnTo>
                      <a:pt x="1818" y="188"/>
                    </a:lnTo>
                    <a:lnTo>
                      <a:pt x="1824" y="188"/>
                    </a:lnTo>
                    <a:lnTo>
                      <a:pt x="1830" y="188"/>
                    </a:lnTo>
                    <a:lnTo>
                      <a:pt x="1830" y="188"/>
                    </a:lnTo>
                    <a:lnTo>
                      <a:pt x="1836" y="188"/>
                    </a:lnTo>
                    <a:lnTo>
                      <a:pt x="1842" y="188"/>
                    </a:lnTo>
                    <a:lnTo>
                      <a:pt x="1842" y="188"/>
                    </a:lnTo>
                    <a:lnTo>
                      <a:pt x="1844" y="188"/>
                    </a:lnTo>
                    <a:lnTo>
                      <a:pt x="1850" y="188"/>
                    </a:lnTo>
                    <a:lnTo>
                      <a:pt x="1850" y="188"/>
                    </a:lnTo>
                    <a:lnTo>
                      <a:pt x="1856" y="188"/>
                    </a:lnTo>
                    <a:lnTo>
                      <a:pt x="1850" y="188"/>
                    </a:lnTo>
                    <a:lnTo>
                      <a:pt x="1850" y="194"/>
                    </a:lnTo>
                    <a:lnTo>
                      <a:pt x="1850" y="200"/>
                    </a:lnTo>
                    <a:lnTo>
                      <a:pt x="1850" y="200"/>
                    </a:lnTo>
                    <a:lnTo>
                      <a:pt x="1844" y="200"/>
                    </a:lnTo>
                    <a:lnTo>
                      <a:pt x="1842" y="200"/>
                    </a:lnTo>
                    <a:lnTo>
                      <a:pt x="1842" y="200"/>
                    </a:lnTo>
                    <a:lnTo>
                      <a:pt x="1836" y="200"/>
                    </a:lnTo>
                    <a:lnTo>
                      <a:pt x="1830" y="200"/>
                    </a:lnTo>
                    <a:lnTo>
                      <a:pt x="1830" y="200"/>
                    </a:lnTo>
                    <a:lnTo>
                      <a:pt x="1824" y="200"/>
                    </a:lnTo>
                    <a:lnTo>
                      <a:pt x="1818" y="200"/>
                    </a:lnTo>
                    <a:lnTo>
                      <a:pt x="1814" y="200"/>
                    </a:lnTo>
                    <a:lnTo>
                      <a:pt x="1814" y="200"/>
                    </a:lnTo>
                    <a:lnTo>
                      <a:pt x="1814" y="194"/>
                    </a:lnTo>
                    <a:lnTo>
                      <a:pt x="1808" y="194"/>
                    </a:lnTo>
                    <a:lnTo>
                      <a:pt x="1802" y="194"/>
                    </a:lnTo>
                    <a:lnTo>
                      <a:pt x="1802" y="194"/>
                    </a:lnTo>
                    <a:lnTo>
                      <a:pt x="1802" y="188"/>
                    </a:lnTo>
                    <a:lnTo>
                      <a:pt x="1796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90" y="188"/>
                    </a:lnTo>
                    <a:lnTo>
                      <a:pt x="1786" y="188"/>
                    </a:lnTo>
                    <a:lnTo>
                      <a:pt x="1790" y="188"/>
                    </a:lnTo>
                    <a:lnTo>
                      <a:pt x="1790" y="182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lnTo>
                      <a:pt x="1790" y="180"/>
                    </a:lnTo>
                    <a:close/>
                    <a:moveTo>
                      <a:pt x="880" y="180"/>
                    </a:moveTo>
                    <a:lnTo>
                      <a:pt x="880" y="180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2"/>
                    </a:lnTo>
                    <a:lnTo>
                      <a:pt x="880" y="188"/>
                    </a:lnTo>
                    <a:lnTo>
                      <a:pt x="880" y="182"/>
                    </a:lnTo>
                    <a:lnTo>
                      <a:pt x="876" y="182"/>
                    </a:lnTo>
                    <a:lnTo>
                      <a:pt x="876" y="188"/>
                    </a:lnTo>
                    <a:lnTo>
                      <a:pt x="872" y="182"/>
                    </a:lnTo>
                    <a:lnTo>
                      <a:pt x="876" y="182"/>
                    </a:lnTo>
                    <a:lnTo>
                      <a:pt x="876" y="180"/>
                    </a:lnTo>
                    <a:lnTo>
                      <a:pt x="876" y="182"/>
                    </a:lnTo>
                    <a:lnTo>
                      <a:pt x="880" y="182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lnTo>
                      <a:pt x="880" y="180"/>
                    </a:lnTo>
                    <a:close/>
                    <a:moveTo>
                      <a:pt x="952" y="194"/>
                    </a:moveTo>
                    <a:lnTo>
                      <a:pt x="958" y="194"/>
                    </a:lnTo>
                    <a:lnTo>
                      <a:pt x="952" y="194"/>
                    </a:lnTo>
                    <a:lnTo>
                      <a:pt x="952" y="200"/>
                    </a:lnTo>
                    <a:lnTo>
                      <a:pt x="952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52" y="200"/>
                    </a:lnTo>
                    <a:lnTo>
                      <a:pt x="946" y="200"/>
                    </a:lnTo>
                    <a:lnTo>
                      <a:pt x="946" y="200"/>
                    </a:lnTo>
                    <a:lnTo>
                      <a:pt x="940" y="200"/>
                    </a:lnTo>
                    <a:lnTo>
                      <a:pt x="940" y="194"/>
                    </a:lnTo>
                    <a:lnTo>
                      <a:pt x="946" y="194"/>
                    </a:lnTo>
                    <a:lnTo>
                      <a:pt x="946" y="200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46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lnTo>
                      <a:pt x="952" y="194"/>
                    </a:lnTo>
                    <a:close/>
                    <a:moveTo>
                      <a:pt x="930" y="200"/>
                    </a:move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26" y="200"/>
                    </a:lnTo>
                    <a:lnTo>
                      <a:pt x="926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lnTo>
                      <a:pt x="930" y="200"/>
                    </a:lnTo>
                    <a:close/>
                    <a:moveTo>
                      <a:pt x="838" y="206"/>
                    </a:moveTo>
                    <a:lnTo>
                      <a:pt x="844" y="206"/>
                    </a:lnTo>
                    <a:lnTo>
                      <a:pt x="844" y="200"/>
                    </a:lnTo>
                    <a:lnTo>
                      <a:pt x="844" y="206"/>
                    </a:lnTo>
                    <a:lnTo>
                      <a:pt x="850" y="206"/>
                    </a:lnTo>
                    <a:lnTo>
                      <a:pt x="844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lnTo>
                      <a:pt x="838" y="206"/>
                    </a:lnTo>
                    <a:close/>
                    <a:moveTo>
                      <a:pt x="930" y="206"/>
                    </a:moveTo>
                    <a:lnTo>
                      <a:pt x="930" y="210"/>
                    </a:lnTo>
                    <a:lnTo>
                      <a:pt x="926" y="210"/>
                    </a:lnTo>
                    <a:lnTo>
                      <a:pt x="926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lnTo>
                      <a:pt x="930" y="206"/>
                    </a:lnTo>
                    <a:close/>
                    <a:moveTo>
                      <a:pt x="1314" y="216"/>
                    </a:moveTo>
                    <a:lnTo>
                      <a:pt x="1314" y="216"/>
                    </a:lnTo>
                    <a:lnTo>
                      <a:pt x="1308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4" y="216"/>
                    </a:lnTo>
                    <a:lnTo>
                      <a:pt x="1300" y="216"/>
                    </a:lnTo>
                    <a:lnTo>
                      <a:pt x="1300" y="210"/>
                    </a:lnTo>
                    <a:lnTo>
                      <a:pt x="1304" y="210"/>
                    </a:lnTo>
                    <a:lnTo>
                      <a:pt x="1304" y="210"/>
                    </a:lnTo>
                    <a:lnTo>
                      <a:pt x="1304" y="206"/>
                    </a:lnTo>
                    <a:lnTo>
                      <a:pt x="1308" y="206"/>
                    </a:lnTo>
                    <a:lnTo>
                      <a:pt x="1314" y="206"/>
                    </a:lnTo>
                    <a:lnTo>
                      <a:pt x="1320" y="206"/>
                    </a:lnTo>
                    <a:lnTo>
                      <a:pt x="1326" y="206"/>
                    </a:lnTo>
                    <a:lnTo>
                      <a:pt x="1326" y="210"/>
                    </a:lnTo>
                    <a:lnTo>
                      <a:pt x="1326" y="216"/>
                    </a:lnTo>
                    <a:lnTo>
                      <a:pt x="1320" y="216"/>
                    </a:lnTo>
                    <a:lnTo>
                      <a:pt x="1320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lnTo>
                      <a:pt x="1314" y="216"/>
                    </a:lnTo>
                    <a:close/>
                    <a:moveTo>
                      <a:pt x="920" y="206"/>
                    </a:moveTo>
                    <a:lnTo>
                      <a:pt x="920" y="206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20" y="210"/>
                    </a:lnTo>
                    <a:lnTo>
                      <a:pt x="914" y="210"/>
                    </a:lnTo>
                    <a:lnTo>
                      <a:pt x="920" y="210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lnTo>
                      <a:pt x="920" y="206"/>
                    </a:lnTo>
                    <a:close/>
                    <a:moveTo>
                      <a:pt x="1362" y="216"/>
                    </a:moveTo>
                    <a:lnTo>
                      <a:pt x="1362" y="210"/>
                    </a:lnTo>
                    <a:lnTo>
                      <a:pt x="1362" y="210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lnTo>
                      <a:pt x="1362" y="216"/>
                    </a:lnTo>
                    <a:close/>
                    <a:moveTo>
                      <a:pt x="1710" y="228"/>
                    </a:moveTo>
                    <a:lnTo>
                      <a:pt x="1710" y="222"/>
                    </a:lnTo>
                    <a:lnTo>
                      <a:pt x="1704" y="222"/>
                    </a:lnTo>
                    <a:lnTo>
                      <a:pt x="1704" y="216"/>
                    </a:lnTo>
                    <a:lnTo>
                      <a:pt x="1704" y="216"/>
                    </a:lnTo>
                    <a:lnTo>
                      <a:pt x="1710" y="216"/>
                    </a:lnTo>
                    <a:lnTo>
                      <a:pt x="1710" y="216"/>
                    </a:lnTo>
                    <a:lnTo>
                      <a:pt x="1716" y="216"/>
                    </a:lnTo>
                    <a:lnTo>
                      <a:pt x="1722" y="216"/>
                    </a:lnTo>
                    <a:lnTo>
                      <a:pt x="1716" y="216"/>
                    </a:lnTo>
                    <a:lnTo>
                      <a:pt x="1716" y="222"/>
                    </a:lnTo>
                    <a:lnTo>
                      <a:pt x="1710" y="222"/>
                    </a:lnTo>
                    <a:lnTo>
                      <a:pt x="1710" y="222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lnTo>
                      <a:pt x="1710" y="228"/>
                    </a:lnTo>
                    <a:close/>
                    <a:moveTo>
                      <a:pt x="1640" y="216"/>
                    </a:moveTo>
                    <a:lnTo>
                      <a:pt x="1640" y="216"/>
                    </a:lnTo>
                    <a:lnTo>
                      <a:pt x="1644" y="216"/>
                    </a:lnTo>
                    <a:lnTo>
                      <a:pt x="1650" y="222"/>
                    </a:lnTo>
                    <a:lnTo>
                      <a:pt x="1650" y="228"/>
                    </a:lnTo>
                    <a:lnTo>
                      <a:pt x="1644" y="228"/>
                    </a:lnTo>
                    <a:lnTo>
                      <a:pt x="1644" y="222"/>
                    </a:lnTo>
                    <a:lnTo>
                      <a:pt x="1640" y="222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lnTo>
                      <a:pt x="1640" y="216"/>
                    </a:lnTo>
                    <a:close/>
                    <a:moveTo>
                      <a:pt x="886" y="216"/>
                    </a:moveTo>
                    <a:lnTo>
                      <a:pt x="892" y="216"/>
                    </a:lnTo>
                    <a:lnTo>
                      <a:pt x="892" y="222"/>
                    </a:lnTo>
                    <a:lnTo>
                      <a:pt x="886" y="222"/>
                    </a:lnTo>
                    <a:lnTo>
                      <a:pt x="886" y="216"/>
                    </a:lnTo>
                    <a:lnTo>
                      <a:pt x="880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lnTo>
                      <a:pt x="886" y="216"/>
                    </a:lnTo>
                    <a:close/>
                    <a:moveTo>
                      <a:pt x="892" y="216"/>
                    </a:moveTo>
                    <a:lnTo>
                      <a:pt x="898" y="216"/>
                    </a:lnTo>
                    <a:lnTo>
                      <a:pt x="898" y="216"/>
                    </a:lnTo>
                    <a:lnTo>
                      <a:pt x="904" y="216"/>
                    </a:lnTo>
                    <a:lnTo>
                      <a:pt x="898" y="216"/>
                    </a:lnTo>
                    <a:lnTo>
                      <a:pt x="898" y="222"/>
                    </a:lnTo>
                    <a:lnTo>
                      <a:pt x="904" y="222"/>
                    </a:lnTo>
                    <a:lnTo>
                      <a:pt x="898" y="222"/>
                    </a:lnTo>
                    <a:lnTo>
                      <a:pt x="898" y="216"/>
                    </a:lnTo>
                    <a:lnTo>
                      <a:pt x="898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lnTo>
                      <a:pt x="892" y="216"/>
                    </a:lnTo>
                    <a:close/>
                    <a:moveTo>
                      <a:pt x="908" y="222"/>
                    </a:moveTo>
                    <a:lnTo>
                      <a:pt x="914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lnTo>
                      <a:pt x="908" y="222"/>
                    </a:lnTo>
                    <a:close/>
                    <a:moveTo>
                      <a:pt x="1482" y="228"/>
                    </a:move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2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lnTo>
                      <a:pt x="1482" y="228"/>
                    </a:lnTo>
                    <a:close/>
                    <a:moveTo>
                      <a:pt x="1722" y="228"/>
                    </a:moveTo>
                    <a:lnTo>
                      <a:pt x="1722" y="228"/>
                    </a:lnTo>
                    <a:lnTo>
                      <a:pt x="1728" y="228"/>
                    </a:lnTo>
                    <a:lnTo>
                      <a:pt x="1732" y="228"/>
                    </a:lnTo>
                    <a:lnTo>
                      <a:pt x="1732" y="228"/>
                    </a:lnTo>
                    <a:lnTo>
                      <a:pt x="1736" y="228"/>
                    </a:lnTo>
                    <a:lnTo>
                      <a:pt x="1742" y="228"/>
                    </a:lnTo>
                    <a:lnTo>
                      <a:pt x="1748" y="228"/>
                    </a:lnTo>
                    <a:lnTo>
                      <a:pt x="1748" y="234"/>
                    </a:lnTo>
                    <a:lnTo>
                      <a:pt x="1748" y="234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38"/>
                    </a:lnTo>
                    <a:lnTo>
                      <a:pt x="1748" y="238"/>
                    </a:lnTo>
                    <a:lnTo>
                      <a:pt x="1754" y="238"/>
                    </a:lnTo>
                    <a:lnTo>
                      <a:pt x="1748" y="242"/>
                    </a:lnTo>
                    <a:lnTo>
                      <a:pt x="1748" y="242"/>
                    </a:lnTo>
                    <a:lnTo>
                      <a:pt x="1742" y="238"/>
                    </a:lnTo>
                    <a:lnTo>
                      <a:pt x="1736" y="238"/>
                    </a:lnTo>
                    <a:lnTo>
                      <a:pt x="1732" y="238"/>
                    </a:lnTo>
                    <a:lnTo>
                      <a:pt x="1732" y="238"/>
                    </a:lnTo>
                    <a:lnTo>
                      <a:pt x="1728" y="238"/>
                    </a:lnTo>
                    <a:lnTo>
                      <a:pt x="1722" y="238"/>
                    </a:lnTo>
                    <a:lnTo>
                      <a:pt x="1722" y="238"/>
                    </a:lnTo>
                    <a:lnTo>
                      <a:pt x="1716" y="238"/>
                    </a:lnTo>
                    <a:lnTo>
                      <a:pt x="1710" y="238"/>
                    </a:lnTo>
                    <a:lnTo>
                      <a:pt x="1710" y="238"/>
                    </a:lnTo>
                    <a:lnTo>
                      <a:pt x="1704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0" y="238"/>
                    </a:lnTo>
                    <a:lnTo>
                      <a:pt x="1704" y="238"/>
                    </a:lnTo>
                    <a:lnTo>
                      <a:pt x="1710" y="238"/>
                    </a:lnTo>
                    <a:lnTo>
                      <a:pt x="1710" y="234"/>
                    </a:lnTo>
                    <a:lnTo>
                      <a:pt x="1710" y="234"/>
                    </a:lnTo>
                    <a:lnTo>
                      <a:pt x="1710" y="228"/>
                    </a:lnTo>
                    <a:lnTo>
                      <a:pt x="1716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lnTo>
                      <a:pt x="1722" y="228"/>
                    </a:lnTo>
                    <a:close/>
                    <a:moveTo>
                      <a:pt x="1500" y="234"/>
                    </a:moveTo>
                    <a:lnTo>
                      <a:pt x="1504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lnTo>
                      <a:pt x="1500" y="234"/>
                    </a:lnTo>
                    <a:close/>
                    <a:moveTo>
                      <a:pt x="860" y="238"/>
                    </a:moveTo>
                    <a:lnTo>
                      <a:pt x="854" y="234"/>
                    </a:lnTo>
                    <a:lnTo>
                      <a:pt x="860" y="234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lnTo>
                      <a:pt x="860" y="238"/>
                    </a:lnTo>
                    <a:close/>
                    <a:moveTo>
                      <a:pt x="1520" y="234"/>
                    </a:moveTo>
                    <a:lnTo>
                      <a:pt x="1526" y="234"/>
                    </a:lnTo>
                    <a:lnTo>
                      <a:pt x="1530" y="234"/>
                    </a:lnTo>
                    <a:lnTo>
                      <a:pt x="1530" y="238"/>
                    </a:lnTo>
                    <a:lnTo>
                      <a:pt x="1530" y="238"/>
                    </a:lnTo>
                    <a:lnTo>
                      <a:pt x="1526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lnTo>
                      <a:pt x="1520" y="234"/>
                    </a:lnTo>
                    <a:close/>
                    <a:moveTo>
                      <a:pt x="710" y="248"/>
                    </a:moveTo>
                    <a:lnTo>
                      <a:pt x="710" y="242"/>
                    </a:lnTo>
                    <a:lnTo>
                      <a:pt x="712" y="242"/>
                    </a:lnTo>
                    <a:lnTo>
                      <a:pt x="712" y="238"/>
                    </a:lnTo>
                    <a:lnTo>
                      <a:pt x="712" y="238"/>
                    </a:lnTo>
                    <a:lnTo>
                      <a:pt x="710" y="238"/>
                    </a:lnTo>
                    <a:lnTo>
                      <a:pt x="712" y="238"/>
                    </a:lnTo>
                    <a:lnTo>
                      <a:pt x="718" y="238"/>
                    </a:lnTo>
                    <a:lnTo>
                      <a:pt x="718" y="238"/>
                    </a:lnTo>
                    <a:lnTo>
                      <a:pt x="724" y="234"/>
                    </a:lnTo>
                    <a:lnTo>
                      <a:pt x="730" y="238"/>
                    </a:lnTo>
                    <a:lnTo>
                      <a:pt x="724" y="238"/>
                    </a:lnTo>
                    <a:lnTo>
                      <a:pt x="730" y="238"/>
                    </a:lnTo>
                    <a:lnTo>
                      <a:pt x="730" y="238"/>
                    </a:lnTo>
                    <a:lnTo>
                      <a:pt x="736" y="238"/>
                    </a:lnTo>
                    <a:lnTo>
                      <a:pt x="736" y="242"/>
                    </a:lnTo>
                    <a:lnTo>
                      <a:pt x="730" y="242"/>
                    </a:lnTo>
                    <a:lnTo>
                      <a:pt x="730" y="242"/>
                    </a:lnTo>
                    <a:lnTo>
                      <a:pt x="724" y="242"/>
                    </a:lnTo>
                    <a:lnTo>
                      <a:pt x="718" y="242"/>
                    </a:lnTo>
                    <a:lnTo>
                      <a:pt x="718" y="248"/>
                    </a:lnTo>
                    <a:lnTo>
                      <a:pt x="718" y="248"/>
                    </a:lnTo>
                    <a:lnTo>
                      <a:pt x="712" y="248"/>
                    </a:lnTo>
                    <a:lnTo>
                      <a:pt x="712" y="242"/>
                    </a:lnTo>
                    <a:lnTo>
                      <a:pt x="712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lnTo>
                      <a:pt x="710" y="248"/>
                    </a:lnTo>
                    <a:close/>
                    <a:moveTo>
                      <a:pt x="476" y="292"/>
                    </a:moveTo>
                    <a:lnTo>
                      <a:pt x="482" y="288"/>
                    </a:lnTo>
                    <a:lnTo>
                      <a:pt x="486" y="288"/>
                    </a:lnTo>
                    <a:lnTo>
                      <a:pt x="482" y="288"/>
                    </a:lnTo>
                    <a:lnTo>
                      <a:pt x="476" y="288"/>
                    </a:lnTo>
                    <a:lnTo>
                      <a:pt x="476" y="292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6" y="288"/>
                    </a:lnTo>
                    <a:lnTo>
                      <a:pt x="470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8" y="288"/>
                    </a:lnTo>
                    <a:lnTo>
                      <a:pt x="454" y="288"/>
                    </a:lnTo>
                    <a:lnTo>
                      <a:pt x="454" y="288"/>
                    </a:lnTo>
                    <a:lnTo>
                      <a:pt x="448" y="282"/>
                    </a:lnTo>
                    <a:lnTo>
                      <a:pt x="448" y="276"/>
                    </a:lnTo>
                    <a:lnTo>
                      <a:pt x="448" y="276"/>
                    </a:lnTo>
                    <a:lnTo>
                      <a:pt x="454" y="276"/>
                    </a:lnTo>
                    <a:lnTo>
                      <a:pt x="454" y="270"/>
                    </a:lnTo>
                    <a:lnTo>
                      <a:pt x="454" y="270"/>
                    </a:lnTo>
                    <a:lnTo>
                      <a:pt x="458" y="270"/>
                    </a:lnTo>
                    <a:lnTo>
                      <a:pt x="458" y="276"/>
                    </a:lnTo>
                    <a:lnTo>
                      <a:pt x="464" y="276"/>
                    </a:lnTo>
                    <a:lnTo>
                      <a:pt x="464" y="270"/>
                    </a:lnTo>
                    <a:lnTo>
                      <a:pt x="464" y="266"/>
                    </a:lnTo>
                    <a:lnTo>
                      <a:pt x="464" y="266"/>
                    </a:lnTo>
                    <a:lnTo>
                      <a:pt x="464" y="260"/>
                    </a:lnTo>
                    <a:lnTo>
                      <a:pt x="470" y="260"/>
                    </a:lnTo>
                    <a:lnTo>
                      <a:pt x="470" y="260"/>
                    </a:lnTo>
                    <a:lnTo>
                      <a:pt x="464" y="260"/>
                    </a:lnTo>
                    <a:lnTo>
                      <a:pt x="470" y="254"/>
                    </a:lnTo>
                    <a:lnTo>
                      <a:pt x="470" y="260"/>
                    </a:lnTo>
                    <a:lnTo>
                      <a:pt x="476" y="260"/>
                    </a:lnTo>
                    <a:lnTo>
                      <a:pt x="470" y="254"/>
                    </a:lnTo>
                    <a:lnTo>
                      <a:pt x="464" y="254"/>
                    </a:lnTo>
                    <a:lnTo>
                      <a:pt x="464" y="254"/>
                    </a:lnTo>
                    <a:lnTo>
                      <a:pt x="464" y="248"/>
                    </a:lnTo>
                    <a:lnTo>
                      <a:pt x="470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8"/>
                    </a:lnTo>
                    <a:lnTo>
                      <a:pt x="476" y="242"/>
                    </a:lnTo>
                    <a:lnTo>
                      <a:pt x="476" y="238"/>
                    </a:lnTo>
                    <a:lnTo>
                      <a:pt x="482" y="238"/>
                    </a:lnTo>
                    <a:lnTo>
                      <a:pt x="486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2" y="238"/>
                    </a:lnTo>
                    <a:lnTo>
                      <a:pt x="496" y="238"/>
                    </a:lnTo>
                    <a:lnTo>
                      <a:pt x="502" y="238"/>
                    </a:lnTo>
                    <a:lnTo>
                      <a:pt x="502" y="238"/>
                    </a:lnTo>
                    <a:lnTo>
                      <a:pt x="508" y="238"/>
                    </a:lnTo>
                    <a:lnTo>
                      <a:pt x="512" y="238"/>
                    </a:lnTo>
                    <a:lnTo>
                      <a:pt x="512" y="238"/>
                    </a:lnTo>
                    <a:lnTo>
                      <a:pt x="518" y="238"/>
                    </a:lnTo>
                    <a:lnTo>
                      <a:pt x="518" y="242"/>
                    </a:lnTo>
                    <a:lnTo>
                      <a:pt x="524" y="242"/>
                    </a:lnTo>
                    <a:lnTo>
                      <a:pt x="518" y="242"/>
                    </a:lnTo>
                    <a:lnTo>
                      <a:pt x="512" y="242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08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12" y="254"/>
                    </a:lnTo>
                    <a:lnTo>
                      <a:pt x="512" y="248"/>
                    </a:lnTo>
                    <a:lnTo>
                      <a:pt x="512" y="254"/>
                    </a:lnTo>
                    <a:lnTo>
                      <a:pt x="508" y="254"/>
                    </a:lnTo>
                    <a:lnTo>
                      <a:pt x="508" y="248"/>
                    </a:lnTo>
                    <a:lnTo>
                      <a:pt x="502" y="254"/>
                    </a:lnTo>
                    <a:lnTo>
                      <a:pt x="508" y="254"/>
                    </a:lnTo>
                    <a:lnTo>
                      <a:pt x="512" y="254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8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2" y="260"/>
                    </a:lnTo>
                    <a:lnTo>
                      <a:pt x="508" y="260"/>
                    </a:lnTo>
                    <a:lnTo>
                      <a:pt x="502" y="266"/>
                    </a:lnTo>
                    <a:lnTo>
                      <a:pt x="508" y="266"/>
                    </a:lnTo>
                    <a:lnTo>
                      <a:pt x="508" y="270"/>
                    </a:lnTo>
                    <a:lnTo>
                      <a:pt x="502" y="270"/>
                    </a:lnTo>
                    <a:lnTo>
                      <a:pt x="502" y="276"/>
                    </a:lnTo>
                    <a:lnTo>
                      <a:pt x="502" y="276"/>
                    </a:lnTo>
                    <a:lnTo>
                      <a:pt x="508" y="276"/>
                    </a:lnTo>
                    <a:lnTo>
                      <a:pt x="508" y="282"/>
                    </a:lnTo>
                    <a:lnTo>
                      <a:pt x="508" y="288"/>
                    </a:lnTo>
                    <a:lnTo>
                      <a:pt x="512" y="288"/>
                    </a:lnTo>
                    <a:lnTo>
                      <a:pt x="512" y="288"/>
                    </a:lnTo>
                    <a:lnTo>
                      <a:pt x="512" y="292"/>
                    </a:lnTo>
                    <a:lnTo>
                      <a:pt x="512" y="296"/>
                    </a:lnTo>
                    <a:lnTo>
                      <a:pt x="518" y="296"/>
                    </a:lnTo>
                    <a:lnTo>
                      <a:pt x="524" y="296"/>
                    </a:lnTo>
                    <a:lnTo>
                      <a:pt x="524" y="302"/>
                    </a:lnTo>
                    <a:lnTo>
                      <a:pt x="530" y="302"/>
                    </a:lnTo>
                    <a:lnTo>
                      <a:pt x="536" y="302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30" y="308"/>
                    </a:lnTo>
                    <a:lnTo>
                      <a:pt x="536" y="308"/>
                    </a:lnTo>
                    <a:lnTo>
                      <a:pt x="530" y="308"/>
                    </a:lnTo>
                    <a:lnTo>
                      <a:pt x="524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8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24" y="308"/>
                    </a:lnTo>
                    <a:lnTo>
                      <a:pt x="51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12" y="308"/>
                    </a:lnTo>
                    <a:lnTo>
                      <a:pt x="512" y="308"/>
                    </a:lnTo>
                    <a:lnTo>
                      <a:pt x="508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50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6" y="308"/>
                    </a:lnTo>
                    <a:lnTo>
                      <a:pt x="492" y="308"/>
                    </a:lnTo>
                    <a:lnTo>
                      <a:pt x="492" y="308"/>
                    </a:lnTo>
                    <a:lnTo>
                      <a:pt x="486" y="308"/>
                    </a:lnTo>
                    <a:lnTo>
                      <a:pt x="482" y="302"/>
                    </a:lnTo>
                    <a:lnTo>
                      <a:pt x="482" y="308"/>
                    </a:lnTo>
                    <a:lnTo>
                      <a:pt x="482" y="302"/>
                    </a:lnTo>
                    <a:lnTo>
                      <a:pt x="476" y="302"/>
                    </a:lnTo>
                    <a:lnTo>
                      <a:pt x="482" y="302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82" y="296"/>
                    </a:lnTo>
                    <a:lnTo>
                      <a:pt x="486" y="296"/>
                    </a:lnTo>
                    <a:lnTo>
                      <a:pt x="492" y="296"/>
                    </a:lnTo>
                    <a:lnTo>
                      <a:pt x="486" y="296"/>
                    </a:lnTo>
                    <a:lnTo>
                      <a:pt x="482" y="296"/>
                    </a:lnTo>
                    <a:lnTo>
                      <a:pt x="476" y="296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lnTo>
                      <a:pt x="476" y="292"/>
                    </a:lnTo>
                    <a:close/>
                    <a:moveTo>
                      <a:pt x="1418" y="248"/>
                    </a:moveTo>
                    <a:lnTo>
                      <a:pt x="1412" y="242"/>
                    </a:lnTo>
                    <a:lnTo>
                      <a:pt x="1418" y="242"/>
                    </a:lnTo>
                    <a:lnTo>
                      <a:pt x="1422" y="242"/>
                    </a:lnTo>
                    <a:lnTo>
                      <a:pt x="1422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lnTo>
                      <a:pt x="1418" y="248"/>
                    </a:lnTo>
                    <a:close/>
                    <a:moveTo>
                      <a:pt x="838" y="248"/>
                    </a:move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2"/>
                    </a:lnTo>
                    <a:lnTo>
                      <a:pt x="844" y="242"/>
                    </a:lnTo>
                    <a:lnTo>
                      <a:pt x="844" y="248"/>
                    </a:lnTo>
                    <a:lnTo>
                      <a:pt x="850" y="248"/>
                    </a:lnTo>
                    <a:lnTo>
                      <a:pt x="850" y="254"/>
                    </a:lnTo>
                    <a:lnTo>
                      <a:pt x="844" y="254"/>
                    </a:lnTo>
                    <a:lnTo>
                      <a:pt x="838" y="254"/>
                    </a:lnTo>
                    <a:lnTo>
                      <a:pt x="838" y="254"/>
                    </a:lnTo>
                    <a:lnTo>
                      <a:pt x="832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lnTo>
                      <a:pt x="838" y="248"/>
                    </a:lnTo>
                    <a:close/>
                    <a:moveTo>
                      <a:pt x="812" y="266"/>
                    </a:moveTo>
                    <a:lnTo>
                      <a:pt x="812" y="260"/>
                    </a:lnTo>
                    <a:lnTo>
                      <a:pt x="812" y="260"/>
                    </a:lnTo>
                    <a:lnTo>
                      <a:pt x="812" y="260"/>
                    </a:lnTo>
                    <a:lnTo>
                      <a:pt x="818" y="260"/>
                    </a:lnTo>
                    <a:lnTo>
                      <a:pt x="822" y="260"/>
                    </a:lnTo>
                    <a:lnTo>
                      <a:pt x="822" y="260"/>
                    </a:lnTo>
                    <a:lnTo>
                      <a:pt x="826" y="260"/>
                    </a:lnTo>
                    <a:lnTo>
                      <a:pt x="826" y="260"/>
                    </a:lnTo>
                    <a:lnTo>
                      <a:pt x="822" y="260"/>
                    </a:lnTo>
                    <a:lnTo>
                      <a:pt x="822" y="266"/>
                    </a:lnTo>
                    <a:lnTo>
                      <a:pt x="822" y="266"/>
                    </a:lnTo>
                    <a:lnTo>
                      <a:pt x="818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lnTo>
                      <a:pt x="812" y="266"/>
                    </a:lnTo>
                    <a:close/>
                    <a:moveTo>
                      <a:pt x="1678" y="288"/>
                    </a:moveTo>
                    <a:lnTo>
                      <a:pt x="1678" y="282"/>
                    </a:lnTo>
                    <a:lnTo>
                      <a:pt x="1682" y="282"/>
                    </a:lnTo>
                    <a:lnTo>
                      <a:pt x="1682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lnTo>
                      <a:pt x="1678" y="288"/>
                    </a:lnTo>
                    <a:close/>
                    <a:moveTo>
                      <a:pt x="1672" y="288"/>
                    </a:moveTo>
                    <a:lnTo>
                      <a:pt x="1672" y="288"/>
                    </a:lnTo>
                    <a:lnTo>
                      <a:pt x="1668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2" y="288"/>
                    </a:lnTo>
                    <a:lnTo>
                      <a:pt x="1668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lnTo>
                      <a:pt x="1672" y="288"/>
                    </a:lnTo>
                    <a:close/>
                    <a:moveTo>
                      <a:pt x="470" y="296"/>
                    </a:moveTo>
                    <a:lnTo>
                      <a:pt x="464" y="296"/>
                    </a:lnTo>
                    <a:lnTo>
                      <a:pt x="464" y="292"/>
                    </a:lnTo>
                    <a:lnTo>
                      <a:pt x="464" y="292"/>
                    </a:lnTo>
                    <a:lnTo>
                      <a:pt x="458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88"/>
                    </a:lnTo>
                    <a:lnTo>
                      <a:pt x="470" y="288"/>
                    </a:lnTo>
                    <a:lnTo>
                      <a:pt x="470" y="292"/>
                    </a:lnTo>
                    <a:lnTo>
                      <a:pt x="464" y="292"/>
                    </a:lnTo>
                    <a:lnTo>
                      <a:pt x="464" y="288"/>
                    </a:lnTo>
                    <a:lnTo>
                      <a:pt x="464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0" y="292"/>
                    </a:lnTo>
                    <a:lnTo>
                      <a:pt x="476" y="292"/>
                    </a:lnTo>
                    <a:lnTo>
                      <a:pt x="476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6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lnTo>
                      <a:pt x="470" y="296"/>
                    </a:lnTo>
                    <a:close/>
                    <a:moveTo>
                      <a:pt x="2008" y="308"/>
                    </a:moveTo>
                    <a:lnTo>
                      <a:pt x="2008" y="308"/>
                    </a:lnTo>
                    <a:lnTo>
                      <a:pt x="2008" y="302"/>
                    </a:lnTo>
                    <a:lnTo>
                      <a:pt x="2008" y="302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lnTo>
                      <a:pt x="2008" y="308"/>
                    </a:lnTo>
                    <a:close/>
                    <a:moveTo>
                      <a:pt x="568" y="336"/>
                    </a:moveTo>
                    <a:lnTo>
                      <a:pt x="562" y="336"/>
                    </a:lnTo>
                    <a:lnTo>
                      <a:pt x="562" y="330"/>
                    </a:lnTo>
                    <a:lnTo>
                      <a:pt x="562" y="330"/>
                    </a:lnTo>
                    <a:lnTo>
                      <a:pt x="556" y="330"/>
                    </a:lnTo>
                    <a:lnTo>
                      <a:pt x="556" y="324"/>
                    </a:lnTo>
                    <a:lnTo>
                      <a:pt x="556" y="330"/>
                    </a:lnTo>
                    <a:lnTo>
                      <a:pt x="550" y="324"/>
                    </a:lnTo>
                    <a:lnTo>
                      <a:pt x="550" y="324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20"/>
                    </a:lnTo>
                    <a:lnTo>
                      <a:pt x="550" y="314"/>
                    </a:lnTo>
                    <a:lnTo>
                      <a:pt x="556" y="314"/>
                    </a:lnTo>
                    <a:lnTo>
                      <a:pt x="562" y="314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2" y="320"/>
                    </a:lnTo>
                    <a:lnTo>
                      <a:pt x="568" y="320"/>
                    </a:lnTo>
                    <a:lnTo>
                      <a:pt x="572" y="324"/>
                    </a:lnTo>
                    <a:lnTo>
                      <a:pt x="572" y="324"/>
                    </a:lnTo>
                    <a:lnTo>
                      <a:pt x="578" y="330"/>
                    </a:lnTo>
                    <a:lnTo>
                      <a:pt x="572" y="336"/>
                    </a:lnTo>
                    <a:lnTo>
                      <a:pt x="572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lnTo>
                      <a:pt x="568" y="336"/>
                    </a:lnTo>
                    <a:close/>
                    <a:moveTo>
                      <a:pt x="2116" y="336"/>
                    </a:moveTo>
                    <a:lnTo>
                      <a:pt x="2116" y="336"/>
                    </a:lnTo>
                    <a:lnTo>
                      <a:pt x="2116" y="336"/>
                    </a:lnTo>
                    <a:lnTo>
                      <a:pt x="2112" y="336"/>
                    </a:lnTo>
                    <a:lnTo>
                      <a:pt x="2106" y="336"/>
                    </a:lnTo>
                    <a:lnTo>
                      <a:pt x="2100" y="336"/>
                    </a:lnTo>
                    <a:lnTo>
                      <a:pt x="2100" y="336"/>
                    </a:lnTo>
                    <a:lnTo>
                      <a:pt x="2096" y="330"/>
                    </a:lnTo>
                    <a:lnTo>
                      <a:pt x="2096" y="324"/>
                    </a:lnTo>
                    <a:lnTo>
                      <a:pt x="2100" y="324"/>
                    </a:lnTo>
                    <a:lnTo>
                      <a:pt x="2100" y="324"/>
                    </a:lnTo>
                    <a:lnTo>
                      <a:pt x="2106" y="324"/>
                    </a:lnTo>
                    <a:lnTo>
                      <a:pt x="2112" y="324"/>
                    </a:lnTo>
                    <a:lnTo>
                      <a:pt x="2112" y="330"/>
                    </a:lnTo>
                    <a:lnTo>
                      <a:pt x="2116" y="330"/>
                    </a:lnTo>
                    <a:lnTo>
                      <a:pt x="2116" y="330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lnTo>
                      <a:pt x="2116" y="336"/>
                    </a:lnTo>
                    <a:close/>
                    <a:moveTo>
                      <a:pt x="2008" y="336"/>
                    </a:move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36"/>
                    </a:lnTo>
                    <a:close/>
                    <a:moveTo>
                      <a:pt x="2004" y="342"/>
                    </a:moveTo>
                    <a:lnTo>
                      <a:pt x="2008" y="342"/>
                    </a:lnTo>
                    <a:lnTo>
                      <a:pt x="2008" y="336"/>
                    </a:lnTo>
                    <a:lnTo>
                      <a:pt x="2004" y="336"/>
                    </a:lnTo>
                    <a:lnTo>
                      <a:pt x="2008" y="336"/>
                    </a:lnTo>
                    <a:lnTo>
                      <a:pt x="2008" y="336"/>
                    </a:lnTo>
                    <a:lnTo>
                      <a:pt x="2008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lnTo>
                      <a:pt x="2004" y="342"/>
                    </a:lnTo>
                    <a:close/>
                    <a:moveTo>
                      <a:pt x="670" y="336"/>
                    </a:moveTo>
                    <a:lnTo>
                      <a:pt x="670" y="336"/>
                    </a:lnTo>
                    <a:lnTo>
                      <a:pt x="676" y="336"/>
                    </a:lnTo>
                    <a:lnTo>
                      <a:pt x="670" y="342"/>
                    </a:lnTo>
                    <a:lnTo>
                      <a:pt x="670" y="342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lnTo>
                      <a:pt x="670" y="336"/>
                    </a:lnTo>
                    <a:close/>
                    <a:moveTo>
                      <a:pt x="2008" y="350"/>
                    </a:moveTo>
                    <a:lnTo>
                      <a:pt x="2004" y="350"/>
                    </a:lnTo>
                    <a:lnTo>
                      <a:pt x="2004" y="348"/>
                    </a:lnTo>
                    <a:lnTo>
                      <a:pt x="1998" y="348"/>
                    </a:lnTo>
                    <a:lnTo>
                      <a:pt x="1998" y="348"/>
                    </a:lnTo>
                    <a:lnTo>
                      <a:pt x="2004" y="348"/>
                    </a:lnTo>
                    <a:lnTo>
                      <a:pt x="2004" y="342"/>
                    </a:lnTo>
                    <a:lnTo>
                      <a:pt x="1998" y="342"/>
                    </a:lnTo>
                    <a:lnTo>
                      <a:pt x="2004" y="336"/>
                    </a:lnTo>
                    <a:lnTo>
                      <a:pt x="2004" y="342"/>
                    </a:lnTo>
                    <a:lnTo>
                      <a:pt x="2004" y="348"/>
                    </a:lnTo>
                    <a:lnTo>
                      <a:pt x="2004" y="348"/>
                    </a:lnTo>
                    <a:lnTo>
                      <a:pt x="2008" y="348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lnTo>
                      <a:pt x="2008" y="350"/>
                    </a:lnTo>
                    <a:close/>
                    <a:moveTo>
                      <a:pt x="404" y="348"/>
                    </a:moveTo>
                    <a:lnTo>
                      <a:pt x="404" y="348"/>
                    </a:lnTo>
                    <a:lnTo>
                      <a:pt x="410" y="348"/>
                    </a:lnTo>
                    <a:lnTo>
                      <a:pt x="410" y="342"/>
                    </a:lnTo>
                    <a:lnTo>
                      <a:pt x="410" y="342"/>
                    </a:lnTo>
                    <a:lnTo>
                      <a:pt x="410" y="336"/>
                    </a:lnTo>
                    <a:lnTo>
                      <a:pt x="416" y="336"/>
                    </a:lnTo>
                    <a:lnTo>
                      <a:pt x="422" y="336"/>
                    </a:lnTo>
                    <a:lnTo>
                      <a:pt x="422" y="342"/>
                    </a:lnTo>
                    <a:lnTo>
                      <a:pt x="426" y="342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50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32" y="348"/>
                    </a:lnTo>
                    <a:lnTo>
                      <a:pt x="426" y="350"/>
                    </a:lnTo>
                    <a:lnTo>
                      <a:pt x="426" y="356"/>
                    </a:lnTo>
                    <a:lnTo>
                      <a:pt x="422" y="356"/>
                    </a:lnTo>
                    <a:lnTo>
                      <a:pt x="422" y="356"/>
                    </a:lnTo>
                    <a:lnTo>
                      <a:pt x="416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04" y="350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lnTo>
                      <a:pt x="404" y="348"/>
                    </a:lnTo>
                    <a:close/>
                    <a:moveTo>
                      <a:pt x="204" y="342"/>
                    </a:moveTo>
                    <a:lnTo>
                      <a:pt x="210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lnTo>
                      <a:pt x="204" y="342"/>
                    </a:lnTo>
                    <a:close/>
                    <a:moveTo>
                      <a:pt x="654" y="348"/>
                    </a:moveTo>
                    <a:lnTo>
                      <a:pt x="658" y="348"/>
                    </a:lnTo>
                    <a:lnTo>
                      <a:pt x="658" y="348"/>
                    </a:lnTo>
                    <a:lnTo>
                      <a:pt x="658" y="350"/>
                    </a:lnTo>
                    <a:lnTo>
                      <a:pt x="664" y="350"/>
                    </a:lnTo>
                    <a:lnTo>
                      <a:pt x="658" y="350"/>
                    </a:lnTo>
                    <a:lnTo>
                      <a:pt x="658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lnTo>
                      <a:pt x="654" y="348"/>
                    </a:lnTo>
                    <a:close/>
                    <a:moveTo>
                      <a:pt x="530" y="356"/>
                    </a:moveTo>
                    <a:lnTo>
                      <a:pt x="536" y="356"/>
                    </a:lnTo>
                    <a:lnTo>
                      <a:pt x="536" y="356"/>
                    </a:lnTo>
                    <a:lnTo>
                      <a:pt x="540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6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lnTo>
                      <a:pt x="530" y="356"/>
                    </a:lnTo>
                    <a:close/>
                    <a:moveTo>
                      <a:pt x="442" y="368"/>
                    </a:moveTo>
                    <a:lnTo>
                      <a:pt x="442" y="362"/>
                    </a:lnTo>
                    <a:lnTo>
                      <a:pt x="442" y="362"/>
                    </a:lnTo>
                    <a:lnTo>
                      <a:pt x="448" y="362"/>
                    </a:lnTo>
                    <a:lnTo>
                      <a:pt x="442" y="362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lnTo>
                      <a:pt x="442" y="368"/>
                    </a:lnTo>
                    <a:close/>
                    <a:moveTo>
                      <a:pt x="324" y="406"/>
                    </a:move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lnTo>
                      <a:pt x="324" y="406"/>
                    </a:lnTo>
                    <a:close/>
                    <a:moveTo>
                      <a:pt x="228" y="444"/>
                    </a:moveTo>
                    <a:lnTo>
                      <a:pt x="228" y="450"/>
                    </a:lnTo>
                    <a:lnTo>
                      <a:pt x="228" y="450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lnTo>
                      <a:pt x="228" y="444"/>
                    </a:lnTo>
                    <a:close/>
                    <a:moveTo>
                      <a:pt x="2412" y="456"/>
                    </a:moveTo>
                    <a:lnTo>
                      <a:pt x="2412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8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lnTo>
                      <a:pt x="2412" y="456"/>
                    </a:lnTo>
                    <a:close/>
                    <a:moveTo>
                      <a:pt x="2408" y="456"/>
                    </a:moveTo>
                    <a:lnTo>
                      <a:pt x="2412" y="456"/>
                    </a:lnTo>
                    <a:lnTo>
                      <a:pt x="2412" y="460"/>
                    </a:lnTo>
                    <a:lnTo>
                      <a:pt x="2412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lnTo>
                      <a:pt x="2408" y="456"/>
                    </a:lnTo>
                    <a:close/>
                    <a:moveTo>
                      <a:pt x="2036" y="596"/>
                    </a:move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0"/>
                    </a:lnTo>
                    <a:lnTo>
                      <a:pt x="2040" y="590"/>
                    </a:lnTo>
                    <a:lnTo>
                      <a:pt x="2040" y="584"/>
                    </a:lnTo>
                    <a:lnTo>
                      <a:pt x="2036" y="584"/>
                    </a:lnTo>
                    <a:lnTo>
                      <a:pt x="2036" y="590"/>
                    </a:lnTo>
                    <a:lnTo>
                      <a:pt x="2036" y="584"/>
                    </a:lnTo>
                    <a:lnTo>
                      <a:pt x="2040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46" y="584"/>
                    </a:lnTo>
                    <a:lnTo>
                      <a:pt x="2052" y="584"/>
                    </a:lnTo>
                    <a:lnTo>
                      <a:pt x="2052" y="584"/>
                    </a:lnTo>
                    <a:lnTo>
                      <a:pt x="2052" y="590"/>
                    </a:lnTo>
                    <a:lnTo>
                      <a:pt x="2046" y="590"/>
                    </a:lnTo>
                    <a:lnTo>
                      <a:pt x="2046" y="590"/>
                    </a:lnTo>
                    <a:lnTo>
                      <a:pt x="2046" y="596"/>
                    </a:lnTo>
                    <a:lnTo>
                      <a:pt x="2040" y="596"/>
                    </a:lnTo>
                    <a:lnTo>
                      <a:pt x="2036" y="596"/>
                    </a:lnTo>
                    <a:lnTo>
                      <a:pt x="2036" y="602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lnTo>
                      <a:pt x="2036" y="596"/>
                    </a:lnTo>
                    <a:close/>
                    <a:moveTo>
                      <a:pt x="2072" y="666"/>
                    </a:moveTo>
                    <a:lnTo>
                      <a:pt x="2072" y="672"/>
                    </a:lnTo>
                    <a:lnTo>
                      <a:pt x="2072" y="676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8" y="682"/>
                    </a:lnTo>
                    <a:lnTo>
                      <a:pt x="2072" y="682"/>
                    </a:lnTo>
                    <a:lnTo>
                      <a:pt x="2072" y="676"/>
                    </a:lnTo>
                    <a:lnTo>
                      <a:pt x="2068" y="676"/>
                    </a:lnTo>
                    <a:lnTo>
                      <a:pt x="2068" y="672"/>
                    </a:lnTo>
                    <a:lnTo>
                      <a:pt x="2068" y="672"/>
                    </a:lnTo>
                    <a:lnTo>
                      <a:pt x="2068" y="666"/>
                    </a:lnTo>
                    <a:lnTo>
                      <a:pt x="2068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lnTo>
                      <a:pt x="2072" y="666"/>
                    </a:lnTo>
                    <a:close/>
                    <a:moveTo>
                      <a:pt x="1662" y="682"/>
                    </a:moveTo>
                    <a:lnTo>
                      <a:pt x="1662" y="682"/>
                    </a:lnTo>
                    <a:lnTo>
                      <a:pt x="1662" y="676"/>
                    </a:lnTo>
                    <a:lnTo>
                      <a:pt x="1668" y="676"/>
                    </a:lnTo>
                    <a:lnTo>
                      <a:pt x="1668" y="672"/>
                    </a:lnTo>
                    <a:lnTo>
                      <a:pt x="1672" y="672"/>
                    </a:lnTo>
                    <a:lnTo>
                      <a:pt x="1672" y="676"/>
                    </a:lnTo>
                    <a:lnTo>
                      <a:pt x="1672" y="676"/>
                    </a:lnTo>
                    <a:lnTo>
                      <a:pt x="1672" y="682"/>
                    </a:lnTo>
                    <a:lnTo>
                      <a:pt x="1672" y="682"/>
                    </a:lnTo>
                    <a:lnTo>
                      <a:pt x="1668" y="682"/>
                    </a:lnTo>
                    <a:lnTo>
                      <a:pt x="1668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lnTo>
                      <a:pt x="1662" y="682"/>
                    </a:lnTo>
                    <a:close/>
                    <a:moveTo>
                      <a:pt x="2090" y="682"/>
                    </a:moveTo>
                    <a:lnTo>
                      <a:pt x="2096" y="682"/>
                    </a:lnTo>
                    <a:lnTo>
                      <a:pt x="2096" y="682"/>
                    </a:lnTo>
                    <a:lnTo>
                      <a:pt x="2100" y="688"/>
                    </a:lnTo>
                    <a:lnTo>
                      <a:pt x="2096" y="688"/>
                    </a:lnTo>
                    <a:lnTo>
                      <a:pt x="2096" y="682"/>
                    </a:lnTo>
                    <a:lnTo>
                      <a:pt x="2096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lnTo>
                      <a:pt x="2090" y="682"/>
                    </a:lnTo>
                    <a:close/>
                    <a:moveTo>
                      <a:pt x="1748" y="866"/>
                    </a:moveTo>
                    <a:lnTo>
                      <a:pt x="1748" y="860"/>
                    </a:lnTo>
                    <a:lnTo>
                      <a:pt x="1748" y="86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8" y="856"/>
                    </a:lnTo>
                    <a:lnTo>
                      <a:pt x="1748" y="850"/>
                    </a:lnTo>
                    <a:lnTo>
                      <a:pt x="1742" y="850"/>
                    </a:lnTo>
                    <a:lnTo>
                      <a:pt x="1736" y="850"/>
                    </a:lnTo>
                    <a:lnTo>
                      <a:pt x="1732" y="856"/>
                    </a:lnTo>
                    <a:lnTo>
                      <a:pt x="1732" y="860"/>
                    </a:lnTo>
                    <a:lnTo>
                      <a:pt x="1732" y="860"/>
                    </a:lnTo>
                    <a:lnTo>
                      <a:pt x="1732" y="866"/>
                    </a:lnTo>
                    <a:lnTo>
                      <a:pt x="1732" y="866"/>
                    </a:lnTo>
                    <a:lnTo>
                      <a:pt x="1732" y="860"/>
                    </a:lnTo>
                    <a:lnTo>
                      <a:pt x="1728" y="860"/>
                    </a:lnTo>
                    <a:lnTo>
                      <a:pt x="1728" y="856"/>
                    </a:lnTo>
                    <a:lnTo>
                      <a:pt x="1728" y="850"/>
                    </a:lnTo>
                    <a:lnTo>
                      <a:pt x="1732" y="850"/>
                    </a:lnTo>
                    <a:lnTo>
                      <a:pt x="1732" y="844"/>
                    </a:lnTo>
                    <a:lnTo>
                      <a:pt x="1732" y="838"/>
                    </a:lnTo>
                    <a:lnTo>
                      <a:pt x="1732" y="838"/>
                    </a:lnTo>
                    <a:lnTo>
                      <a:pt x="1732" y="834"/>
                    </a:lnTo>
                    <a:lnTo>
                      <a:pt x="1732" y="830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24"/>
                    </a:lnTo>
                    <a:lnTo>
                      <a:pt x="1732" y="818"/>
                    </a:lnTo>
                    <a:lnTo>
                      <a:pt x="1732" y="812"/>
                    </a:lnTo>
                    <a:lnTo>
                      <a:pt x="1732" y="812"/>
                    </a:lnTo>
                    <a:lnTo>
                      <a:pt x="1728" y="812"/>
                    </a:lnTo>
                    <a:lnTo>
                      <a:pt x="1728" y="806"/>
                    </a:lnTo>
                    <a:lnTo>
                      <a:pt x="1732" y="806"/>
                    </a:lnTo>
                    <a:lnTo>
                      <a:pt x="1732" y="802"/>
                    </a:lnTo>
                    <a:lnTo>
                      <a:pt x="1732" y="802"/>
                    </a:lnTo>
                    <a:lnTo>
                      <a:pt x="1732" y="796"/>
                    </a:lnTo>
                    <a:lnTo>
                      <a:pt x="1732" y="790"/>
                    </a:lnTo>
                    <a:lnTo>
                      <a:pt x="1732" y="790"/>
                    </a:lnTo>
                    <a:lnTo>
                      <a:pt x="1732" y="784"/>
                    </a:lnTo>
                    <a:lnTo>
                      <a:pt x="1732" y="780"/>
                    </a:lnTo>
                    <a:lnTo>
                      <a:pt x="1732" y="774"/>
                    </a:lnTo>
                    <a:lnTo>
                      <a:pt x="1732" y="774"/>
                    </a:lnTo>
                    <a:lnTo>
                      <a:pt x="1732" y="770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64"/>
                    </a:lnTo>
                    <a:lnTo>
                      <a:pt x="1732" y="758"/>
                    </a:lnTo>
                    <a:lnTo>
                      <a:pt x="1732" y="752"/>
                    </a:lnTo>
                    <a:lnTo>
                      <a:pt x="1732" y="752"/>
                    </a:lnTo>
                    <a:lnTo>
                      <a:pt x="1728" y="746"/>
                    </a:lnTo>
                    <a:lnTo>
                      <a:pt x="1728" y="742"/>
                    </a:lnTo>
                    <a:lnTo>
                      <a:pt x="1728" y="742"/>
                    </a:lnTo>
                    <a:lnTo>
                      <a:pt x="1728" y="736"/>
                    </a:lnTo>
                    <a:lnTo>
                      <a:pt x="1728" y="730"/>
                    </a:lnTo>
                    <a:lnTo>
                      <a:pt x="1728" y="726"/>
                    </a:lnTo>
                    <a:lnTo>
                      <a:pt x="1728" y="726"/>
                    </a:lnTo>
                    <a:lnTo>
                      <a:pt x="1728" y="720"/>
                    </a:lnTo>
                    <a:lnTo>
                      <a:pt x="1732" y="720"/>
                    </a:lnTo>
                    <a:lnTo>
                      <a:pt x="1732" y="716"/>
                    </a:lnTo>
                    <a:lnTo>
                      <a:pt x="1728" y="716"/>
                    </a:lnTo>
                    <a:lnTo>
                      <a:pt x="1728" y="716"/>
                    </a:lnTo>
                    <a:lnTo>
                      <a:pt x="1732" y="710"/>
                    </a:lnTo>
                    <a:lnTo>
                      <a:pt x="1732" y="710"/>
                    </a:lnTo>
                    <a:lnTo>
                      <a:pt x="1732" y="716"/>
                    </a:lnTo>
                    <a:lnTo>
                      <a:pt x="1736" y="716"/>
                    </a:lnTo>
                    <a:lnTo>
                      <a:pt x="1736" y="710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36" y="704"/>
                    </a:lnTo>
                    <a:lnTo>
                      <a:pt x="1736" y="704"/>
                    </a:lnTo>
                    <a:lnTo>
                      <a:pt x="1742" y="704"/>
                    </a:lnTo>
                    <a:lnTo>
                      <a:pt x="1742" y="698"/>
                    </a:lnTo>
                    <a:lnTo>
                      <a:pt x="1736" y="698"/>
                    </a:lnTo>
                    <a:lnTo>
                      <a:pt x="1736" y="692"/>
                    </a:lnTo>
                    <a:lnTo>
                      <a:pt x="1732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36" y="692"/>
                    </a:lnTo>
                    <a:lnTo>
                      <a:pt x="1742" y="692"/>
                    </a:lnTo>
                    <a:lnTo>
                      <a:pt x="1742" y="692"/>
                    </a:lnTo>
                    <a:lnTo>
                      <a:pt x="1748" y="692"/>
                    </a:lnTo>
                    <a:lnTo>
                      <a:pt x="1748" y="698"/>
                    </a:lnTo>
                    <a:lnTo>
                      <a:pt x="1742" y="698"/>
                    </a:lnTo>
                    <a:lnTo>
                      <a:pt x="1742" y="704"/>
                    </a:lnTo>
                    <a:lnTo>
                      <a:pt x="1742" y="704"/>
                    </a:lnTo>
                    <a:lnTo>
                      <a:pt x="1748" y="704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0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16"/>
                    </a:lnTo>
                    <a:lnTo>
                      <a:pt x="1748" y="720"/>
                    </a:lnTo>
                    <a:lnTo>
                      <a:pt x="1748" y="726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30"/>
                    </a:lnTo>
                    <a:lnTo>
                      <a:pt x="1748" y="730"/>
                    </a:lnTo>
                    <a:lnTo>
                      <a:pt x="1748" y="726"/>
                    </a:lnTo>
                    <a:lnTo>
                      <a:pt x="1748" y="730"/>
                    </a:lnTo>
                    <a:lnTo>
                      <a:pt x="1748" y="736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2"/>
                    </a:lnTo>
                    <a:lnTo>
                      <a:pt x="1748" y="746"/>
                    </a:lnTo>
                    <a:lnTo>
                      <a:pt x="1748" y="752"/>
                    </a:lnTo>
                    <a:lnTo>
                      <a:pt x="1748" y="752"/>
                    </a:lnTo>
                    <a:lnTo>
                      <a:pt x="1748" y="758"/>
                    </a:lnTo>
                    <a:lnTo>
                      <a:pt x="1754" y="752"/>
                    </a:lnTo>
                    <a:lnTo>
                      <a:pt x="1754" y="758"/>
                    </a:lnTo>
                    <a:lnTo>
                      <a:pt x="1754" y="764"/>
                    </a:lnTo>
                    <a:lnTo>
                      <a:pt x="1754" y="764"/>
                    </a:lnTo>
                    <a:lnTo>
                      <a:pt x="1754" y="770"/>
                    </a:lnTo>
                    <a:lnTo>
                      <a:pt x="1754" y="774"/>
                    </a:lnTo>
                    <a:lnTo>
                      <a:pt x="1758" y="774"/>
                    </a:lnTo>
                    <a:lnTo>
                      <a:pt x="1758" y="780"/>
                    </a:lnTo>
                    <a:lnTo>
                      <a:pt x="1758" y="784"/>
                    </a:lnTo>
                    <a:lnTo>
                      <a:pt x="1758" y="790"/>
                    </a:lnTo>
                    <a:lnTo>
                      <a:pt x="1758" y="796"/>
                    </a:lnTo>
                    <a:lnTo>
                      <a:pt x="1764" y="802"/>
                    </a:lnTo>
                    <a:lnTo>
                      <a:pt x="1764" y="802"/>
                    </a:lnTo>
                    <a:lnTo>
                      <a:pt x="1770" y="806"/>
                    </a:lnTo>
                    <a:lnTo>
                      <a:pt x="1770" y="812"/>
                    </a:lnTo>
                    <a:lnTo>
                      <a:pt x="1770" y="806"/>
                    </a:lnTo>
                    <a:lnTo>
                      <a:pt x="1764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8" y="802"/>
                    </a:lnTo>
                    <a:lnTo>
                      <a:pt x="1754" y="802"/>
                    </a:lnTo>
                    <a:lnTo>
                      <a:pt x="1748" y="796"/>
                    </a:lnTo>
                    <a:lnTo>
                      <a:pt x="1748" y="802"/>
                    </a:lnTo>
                    <a:lnTo>
                      <a:pt x="1754" y="796"/>
                    </a:lnTo>
                    <a:lnTo>
                      <a:pt x="1754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2"/>
                    </a:lnTo>
                    <a:lnTo>
                      <a:pt x="1748" y="806"/>
                    </a:lnTo>
                    <a:lnTo>
                      <a:pt x="1742" y="806"/>
                    </a:lnTo>
                    <a:lnTo>
                      <a:pt x="1742" y="812"/>
                    </a:lnTo>
                    <a:lnTo>
                      <a:pt x="1742" y="812"/>
                    </a:lnTo>
                    <a:lnTo>
                      <a:pt x="1736" y="818"/>
                    </a:lnTo>
                    <a:lnTo>
                      <a:pt x="1736" y="824"/>
                    </a:lnTo>
                    <a:lnTo>
                      <a:pt x="1736" y="824"/>
                    </a:lnTo>
                    <a:lnTo>
                      <a:pt x="1736" y="830"/>
                    </a:lnTo>
                    <a:lnTo>
                      <a:pt x="1736" y="834"/>
                    </a:lnTo>
                    <a:lnTo>
                      <a:pt x="1742" y="838"/>
                    </a:lnTo>
                    <a:lnTo>
                      <a:pt x="1748" y="838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48" y="850"/>
                    </a:lnTo>
                    <a:lnTo>
                      <a:pt x="1754" y="850"/>
                    </a:lnTo>
                    <a:lnTo>
                      <a:pt x="1754" y="850"/>
                    </a:lnTo>
                    <a:lnTo>
                      <a:pt x="1754" y="856"/>
                    </a:lnTo>
                    <a:lnTo>
                      <a:pt x="1754" y="860"/>
                    </a:lnTo>
                    <a:lnTo>
                      <a:pt x="1754" y="860"/>
                    </a:lnTo>
                    <a:lnTo>
                      <a:pt x="1748" y="860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lnTo>
                      <a:pt x="1748" y="866"/>
                    </a:lnTo>
                    <a:close/>
                    <a:moveTo>
                      <a:pt x="1922" y="764"/>
                    </a:move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lnTo>
                      <a:pt x="1922" y="764"/>
                    </a:lnTo>
                    <a:close/>
                    <a:moveTo>
                      <a:pt x="1938" y="770"/>
                    </a:moveTo>
                    <a:lnTo>
                      <a:pt x="1932" y="770"/>
                    </a:lnTo>
                    <a:lnTo>
                      <a:pt x="1932" y="764"/>
                    </a:lnTo>
                    <a:lnTo>
                      <a:pt x="1938" y="764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lnTo>
                      <a:pt x="1938" y="770"/>
                    </a:lnTo>
                    <a:close/>
                    <a:moveTo>
                      <a:pt x="1916" y="780"/>
                    </a:moveTo>
                    <a:lnTo>
                      <a:pt x="1916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4"/>
                    </a:lnTo>
                    <a:lnTo>
                      <a:pt x="1922" y="770"/>
                    </a:lnTo>
                    <a:lnTo>
                      <a:pt x="1928" y="770"/>
                    </a:lnTo>
                    <a:lnTo>
                      <a:pt x="1928" y="764"/>
                    </a:lnTo>
                    <a:lnTo>
                      <a:pt x="1928" y="770"/>
                    </a:lnTo>
                    <a:lnTo>
                      <a:pt x="1932" y="774"/>
                    </a:lnTo>
                    <a:lnTo>
                      <a:pt x="1928" y="774"/>
                    </a:lnTo>
                    <a:lnTo>
                      <a:pt x="1922" y="780"/>
                    </a:lnTo>
                    <a:lnTo>
                      <a:pt x="1922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lnTo>
                      <a:pt x="1916" y="780"/>
                    </a:lnTo>
                    <a:close/>
                    <a:moveTo>
                      <a:pt x="1910" y="802"/>
                    </a:moveTo>
                    <a:lnTo>
                      <a:pt x="1910" y="796"/>
                    </a:lnTo>
                    <a:lnTo>
                      <a:pt x="1910" y="790"/>
                    </a:lnTo>
                    <a:lnTo>
                      <a:pt x="1910" y="790"/>
                    </a:lnTo>
                    <a:lnTo>
                      <a:pt x="1910" y="796"/>
                    </a:lnTo>
                    <a:lnTo>
                      <a:pt x="1910" y="796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lnTo>
                      <a:pt x="1910" y="802"/>
                    </a:lnTo>
                    <a:close/>
                    <a:moveTo>
                      <a:pt x="1904" y="802"/>
                    </a:moveTo>
                    <a:lnTo>
                      <a:pt x="1910" y="802"/>
                    </a:lnTo>
                    <a:lnTo>
                      <a:pt x="1910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lnTo>
                      <a:pt x="1904" y="802"/>
                    </a:lnTo>
                    <a:close/>
                    <a:moveTo>
                      <a:pt x="1898" y="812"/>
                    </a:moveTo>
                    <a:lnTo>
                      <a:pt x="1898" y="806"/>
                    </a:lnTo>
                    <a:lnTo>
                      <a:pt x="1898" y="806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lnTo>
                      <a:pt x="1898" y="812"/>
                    </a:lnTo>
                    <a:close/>
                    <a:moveTo>
                      <a:pt x="1878" y="844"/>
                    </a:moveTo>
                    <a:lnTo>
                      <a:pt x="1878" y="838"/>
                    </a:lnTo>
                    <a:lnTo>
                      <a:pt x="1878" y="844"/>
                    </a:lnTo>
                    <a:lnTo>
                      <a:pt x="1872" y="844"/>
                    </a:lnTo>
                    <a:lnTo>
                      <a:pt x="1872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68" y="850"/>
                    </a:lnTo>
                    <a:lnTo>
                      <a:pt x="1872" y="844"/>
                    </a:lnTo>
                    <a:lnTo>
                      <a:pt x="1878" y="838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lnTo>
                      <a:pt x="1878" y="844"/>
                    </a:lnTo>
                    <a:close/>
                    <a:moveTo>
                      <a:pt x="1836" y="872"/>
                    </a:moveTo>
                    <a:lnTo>
                      <a:pt x="1842" y="872"/>
                    </a:lnTo>
                    <a:lnTo>
                      <a:pt x="1842" y="866"/>
                    </a:lnTo>
                    <a:lnTo>
                      <a:pt x="1842" y="866"/>
                    </a:lnTo>
                    <a:lnTo>
                      <a:pt x="1842" y="860"/>
                    </a:lnTo>
                    <a:lnTo>
                      <a:pt x="1844" y="860"/>
                    </a:lnTo>
                    <a:lnTo>
                      <a:pt x="1850" y="860"/>
                    </a:lnTo>
                    <a:lnTo>
                      <a:pt x="1844" y="860"/>
                    </a:lnTo>
                    <a:lnTo>
                      <a:pt x="1844" y="866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42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lnTo>
                      <a:pt x="1836" y="872"/>
                    </a:lnTo>
                    <a:close/>
                    <a:moveTo>
                      <a:pt x="1796" y="898"/>
                    </a:moveTo>
                    <a:lnTo>
                      <a:pt x="1802" y="892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4"/>
                    </a:lnTo>
                    <a:lnTo>
                      <a:pt x="1808" y="884"/>
                    </a:lnTo>
                    <a:lnTo>
                      <a:pt x="1808" y="884"/>
                    </a:lnTo>
                    <a:lnTo>
                      <a:pt x="1814" y="884"/>
                    </a:lnTo>
                    <a:lnTo>
                      <a:pt x="1814" y="878"/>
                    </a:lnTo>
                    <a:lnTo>
                      <a:pt x="1814" y="878"/>
                    </a:lnTo>
                    <a:lnTo>
                      <a:pt x="1814" y="884"/>
                    </a:lnTo>
                    <a:lnTo>
                      <a:pt x="1818" y="884"/>
                    </a:lnTo>
                    <a:lnTo>
                      <a:pt x="1818" y="878"/>
                    </a:lnTo>
                    <a:lnTo>
                      <a:pt x="1824" y="878"/>
                    </a:lnTo>
                    <a:lnTo>
                      <a:pt x="1824" y="872"/>
                    </a:lnTo>
                    <a:lnTo>
                      <a:pt x="1830" y="872"/>
                    </a:lnTo>
                    <a:lnTo>
                      <a:pt x="1830" y="878"/>
                    </a:lnTo>
                    <a:lnTo>
                      <a:pt x="1824" y="878"/>
                    </a:lnTo>
                    <a:lnTo>
                      <a:pt x="1824" y="884"/>
                    </a:lnTo>
                    <a:lnTo>
                      <a:pt x="1818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14" y="884"/>
                    </a:lnTo>
                    <a:lnTo>
                      <a:pt x="1808" y="884"/>
                    </a:lnTo>
                    <a:lnTo>
                      <a:pt x="1808" y="888"/>
                    </a:lnTo>
                    <a:lnTo>
                      <a:pt x="1802" y="892"/>
                    </a:lnTo>
                    <a:lnTo>
                      <a:pt x="1802" y="898"/>
                    </a:lnTo>
                    <a:lnTo>
                      <a:pt x="1802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lnTo>
                      <a:pt x="1796" y="898"/>
                    </a:lnTo>
                    <a:close/>
                    <a:moveTo>
                      <a:pt x="1790" y="898"/>
                    </a:move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86" y="898"/>
                    </a:lnTo>
                    <a:lnTo>
                      <a:pt x="1786" y="904"/>
                    </a:lnTo>
                    <a:lnTo>
                      <a:pt x="1782" y="904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10"/>
                    </a:lnTo>
                    <a:lnTo>
                      <a:pt x="1782" y="904"/>
                    </a:lnTo>
                    <a:lnTo>
                      <a:pt x="1786" y="898"/>
                    </a:lnTo>
                    <a:lnTo>
                      <a:pt x="1786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lnTo>
                      <a:pt x="1790" y="898"/>
                    </a:lnTo>
                    <a:close/>
                    <a:moveTo>
                      <a:pt x="1796" y="910"/>
                    </a:moveTo>
                    <a:lnTo>
                      <a:pt x="1796" y="910"/>
                    </a:lnTo>
                    <a:lnTo>
                      <a:pt x="1790" y="910"/>
                    </a:lnTo>
                    <a:lnTo>
                      <a:pt x="1790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lnTo>
                      <a:pt x="1796" y="9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75" name="Freeform 14">
                <a:extLst>
                  <a:ext uri="{FF2B5EF4-FFF2-40B4-BE49-F238E27FC236}">
                    <a16:creationId xmlns:a16="http://schemas.microsoft.com/office/drawing/2014/main" id="{127A440B-2948-4879-B401-5F9BC686B08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21250" y="4241868"/>
                <a:ext cx="285750" cy="234950"/>
              </a:xfrm>
              <a:custGeom>
                <a:avLst/>
                <a:gdLst>
                  <a:gd name="T0" fmla="*/ 126 w 180"/>
                  <a:gd name="T1" fmla="*/ 30 h 148"/>
                  <a:gd name="T2" fmla="*/ 112 w 180"/>
                  <a:gd name="T3" fmla="*/ 44 h 148"/>
                  <a:gd name="T4" fmla="*/ 106 w 180"/>
                  <a:gd name="T5" fmla="*/ 38 h 148"/>
                  <a:gd name="T6" fmla="*/ 100 w 180"/>
                  <a:gd name="T7" fmla="*/ 36 h 148"/>
                  <a:gd name="T8" fmla="*/ 96 w 180"/>
                  <a:gd name="T9" fmla="*/ 34 h 148"/>
                  <a:gd name="T10" fmla="*/ 80 w 180"/>
                  <a:gd name="T11" fmla="*/ 52 h 148"/>
                  <a:gd name="T12" fmla="*/ 74 w 180"/>
                  <a:gd name="T13" fmla="*/ 50 h 148"/>
                  <a:gd name="T14" fmla="*/ 56 w 180"/>
                  <a:gd name="T15" fmla="*/ 46 h 148"/>
                  <a:gd name="T16" fmla="*/ 40 w 180"/>
                  <a:gd name="T17" fmla="*/ 40 h 148"/>
                  <a:gd name="T18" fmla="*/ 34 w 180"/>
                  <a:gd name="T19" fmla="*/ 28 h 148"/>
                  <a:gd name="T20" fmla="*/ 34 w 180"/>
                  <a:gd name="T21" fmla="*/ 30 h 148"/>
                  <a:gd name="T22" fmla="*/ 28 w 180"/>
                  <a:gd name="T23" fmla="*/ 30 h 148"/>
                  <a:gd name="T24" fmla="*/ 26 w 180"/>
                  <a:gd name="T25" fmla="*/ 32 h 148"/>
                  <a:gd name="T26" fmla="*/ 16 w 180"/>
                  <a:gd name="T27" fmla="*/ 42 h 148"/>
                  <a:gd name="T28" fmla="*/ 10 w 180"/>
                  <a:gd name="T29" fmla="*/ 42 h 148"/>
                  <a:gd name="T30" fmla="*/ 8 w 180"/>
                  <a:gd name="T31" fmla="*/ 48 h 148"/>
                  <a:gd name="T32" fmla="*/ 2 w 180"/>
                  <a:gd name="T33" fmla="*/ 38 h 148"/>
                  <a:gd name="T34" fmla="*/ 0 w 180"/>
                  <a:gd name="T35" fmla="*/ 54 h 148"/>
                  <a:gd name="T36" fmla="*/ 10 w 180"/>
                  <a:gd name="T37" fmla="*/ 58 h 148"/>
                  <a:gd name="T38" fmla="*/ 12 w 180"/>
                  <a:gd name="T39" fmla="*/ 62 h 148"/>
                  <a:gd name="T40" fmla="*/ 24 w 180"/>
                  <a:gd name="T41" fmla="*/ 68 h 148"/>
                  <a:gd name="T42" fmla="*/ 26 w 180"/>
                  <a:gd name="T43" fmla="*/ 76 h 148"/>
                  <a:gd name="T44" fmla="*/ 42 w 180"/>
                  <a:gd name="T45" fmla="*/ 90 h 148"/>
                  <a:gd name="T46" fmla="*/ 56 w 180"/>
                  <a:gd name="T47" fmla="*/ 110 h 148"/>
                  <a:gd name="T48" fmla="*/ 68 w 180"/>
                  <a:gd name="T49" fmla="*/ 130 h 148"/>
                  <a:gd name="T50" fmla="*/ 76 w 180"/>
                  <a:gd name="T51" fmla="*/ 130 h 148"/>
                  <a:gd name="T52" fmla="*/ 90 w 180"/>
                  <a:gd name="T53" fmla="*/ 130 h 148"/>
                  <a:gd name="T54" fmla="*/ 108 w 180"/>
                  <a:gd name="T55" fmla="*/ 146 h 148"/>
                  <a:gd name="T56" fmla="*/ 110 w 180"/>
                  <a:gd name="T57" fmla="*/ 144 h 148"/>
                  <a:gd name="T58" fmla="*/ 122 w 180"/>
                  <a:gd name="T59" fmla="*/ 144 h 148"/>
                  <a:gd name="T60" fmla="*/ 136 w 180"/>
                  <a:gd name="T61" fmla="*/ 142 h 148"/>
                  <a:gd name="T62" fmla="*/ 152 w 180"/>
                  <a:gd name="T63" fmla="*/ 138 h 148"/>
                  <a:gd name="T64" fmla="*/ 180 w 180"/>
                  <a:gd name="T65" fmla="*/ 130 h 148"/>
                  <a:gd name="T66" fmla="*/ 168 w 180"/>
                  <a:gd name="T67" fmla="*/ 112 h 148"/>
                  <a:gd name="T68" fmla="*/ 162 w 180"/>
                  <a:gd name="T69" fmla="*/ 94 h 148"/>
                  <a:gd name="T70" fmla="*/ 150 w 180"/>
                  <a:gd name="T71" fmla="*/ 78 h 148"/>
                  <a:gd name="T72" fmla="*/ 138 w 180"/>
                  <a:gd name="T73" fmla="*/ 70 h 148"/>
                  <a:gd name="T74" fmla="*/ 140 w 180"/>
                  <a:gd name="T75" fmla="*/ 62 h 148"/>
                  <a:gd name="T76" fmla="*/ 154 w 180"/>
                  <a:gd name="T77" fmla="*/ 58 h 148"/>
                  <a:gd name="T78" fmla="*/ 156 w 180"/>
                  <a:gd name="T79" fmla="*/ 26 h 148"/>
                  <a:gd name="T80" fmla="*/ 156 w 180"/>
                  <a:gd name="T81" fmla="*/ 26 h 148"/>
                  <a:gd name="T82" fmla="*/ 154 w 180"/>
                  <a:gd name="T83" fmla="*/ 28 h 148"/>
                  <a:gd name="T84" fmla="*/ 152 w 180"/>
                  <a:gd name="T85" fmla="*/ 28 h 148"/>
                  <a:gd name="T86" fmla="*/ 152 w 180"/>
                  <a:gd name="T87" fmla="*/ 32 h 148"/>
                  <a:gd name="T88" fmla="*/ 148 w 180"/>
                  <a:gd name="T89" fmla="*/ 28 h 148"/>
                  <a:gd name="T90" fmla="*/ 142 w 180"/>
                  <a:gd name="T91" fmla="*/ 24 h 148"/>
                  <a:gd name="T92" fmla="*/ 142 w 180"/>
                  <a:gd name="T93" fmla="*/ 0 h 148"/>
                  <a:gd name="T94" fmla="*/ 136 w 180"/>
                  <a:gd name="T95" fmla="*/ 6 h 148"/>
                  <a:gd name="T96" fmla="*/ 134 w 180"/>
                  <a:gd name="T97" fmla="*/ 14 h 148"/>
                  <a:gd name="T98" fmla="*/ 132 w 180"/>
                  <a:gd name="T99" fmla="*/ 20 h 148"/>
                  <a:gd name="T100" fmla="*/ 130 w 180"/>
                  <a:gd name="T101" fmla="*/ 22 h 148"/>
                  <a:gd name="T102" fmla="*/ 126 w 180"/>
                  <a:gd name="T103" fmla="*/ 3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180" h="148">
                    <a:moveTo>
                      <a:pt x="126" y="30"/>
                    </a:moveTo>
                    <a:lnTo>
                      <a:pt x="126" y="30"/>
                    </a:lnTo>
                    <a:lnTo>
                      <a:pt x="120" y="38"/>
                    </a:lnTo>
                    <a:lnTo>
                      <a:pt x="112" y="44"/>
                    </a:lnTo>
                    <a:lnTo>
                      <a:pt x="106" y="38"/>
                    </a:lnTo>
                    <a:lnTo>
                      <a:pt x="106" y="38"/>
                    </a:lnTo>
                    <a:lnTo>
                      <a:pt x="104" y="38"/>
                    </a:lnTo>
                    <a:lnTo>
                      <a:pt x="100" y="36"/>
                    </a:lnTo>
                    <a:lnTo>
                      <a:pt x="98" y="34"/>
                    </a:lnTo>
                    <a:lnTo>
                      <a:pt x="96" y="34"/>
                    </a:lnTo>
                    <a:lnTo>
                      <a:pt x="92" y="44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74" y="50"/>
                    </a:lnTo>
                    <a:lnTo>
                      <a:pt x="70" y="50"/>
                    </a:lnTo>
                    <a:lnTo>
                      <a:pt x="56" y="46"/>
                    </a:lnTo>
                    <a:lnTo>
                      <a:pt x="50" y="4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8" y="30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4" y="40"/>
                    </a:lnTo>
                    <a:lnTo>
                      <a:pt x="1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2" y="56"/>
                    </a:lnTo>
                    <a:lnTo>
                      <a:pt x="10" y="58"/>
                    </a:lnTo>
                    <a:lnTo>
                      <a:pt x="10" y="58"/>
                    </a:lnTo>
                    <a:lnTo>
                      <a:pt x="12" y="62"/>
                    </a:lnTo>
                    <a:lnTo>
                      <a:pt x="20" y="64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6" y="7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6" y="104"/>
                    </a:lnTo>
                    <a:lnTo>
                      <a:pt x="56" y="110"/>
                    </a:lnTo>
                    <a:lnTo>
                      <a:pt x="60" y="118"/>
                    </a:lnTo>
                    <a:lnTo>
                      <a:pt x="68" y="130"/>
                    </a:lnTo>
                    <a:lnTo>
                      <a:pt x="72" y="134"/>
                    </a:lnTo>
                    <a:lnTo>
                      <a:pt x="76" y="130"/>
                    </a:lnTo>
                    <a:lnTo>
                      <a:pt x="86" y="132"/>
                    </a:lnTo>
                    <a:lnTo>
                      <a:pt x="90" y="13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10" y="144"/>
                    </a:lnTo>
                    <a:lnTo>
                      <a:pt x="122" y="144"/>
                    </a:lnTo>
                    <a:lnTo>
                      <a:pt x="122" y="144"/>
                    </a:lnTo>
                    <a:lnTo>
                      <a:pt x="124" y="148"/>
                    </a:lnTo>
                    <a:lnTo>
                      <a:pt x="136" y="142"/>
                    </a:lnTo>
                    <a:lnTo>
                      <a:pt x="144" y="142"/>
                    </a:lnTo>
                    <a:lnTo>
                      <a:pt x="152" y="138"/>
                    </a:lnTo>
                    <a:lnTo>
                      <a:pt x="160" y="130"/>
                    </a:lnTo>
                    <a:lnTo>
                      <a:pt x="180" y="130"/>
                    </a:lnTo>
                    <a:lnTo>
                      <a:pt x="180" y="116"/>
                    </a:lnTo>
                    <a:lnTo>
                      <a:pt x="168" y="112"/>
                    </a:lnTo>
                    <a:lnTo>
                      <a:pt x="168" y="112"/>
                    </a:lnTo>
                    <a:lnTo>
                      <a:pt x="162" y="94"/>
                    </a:lnTo>
                    <a:lnTo>
                      <a:pt x="156" y="86"/>
                    </a:lnTo>
                    <a:lnTo>
                      <a:pt x="150" y="78"/>
                    </a:lnTo>
                    <a:lnTo>
                      <a:pt x="138" y="70"/>
                    </a:lnTo>
                    <a:lnTo>
                      <a:pt x="138" y="70"/>
                    </a:lnTo>
                    <a:lnTo>
                      <a:pt x="140" y="68"/>
                    </a:lnTo>
                    <a:lnTo>
                      <a:pt x="140" y="62"/>
                    </a:lnTo>
                    <a:lnTo>
                      <a:pt x="150" y="62"/>
                    </a:lnTo>
                    <a:lnTo>
                      <a:pt x="154" y="58"/>
                    </a:lnTo>
                    <a:lnTo>
                      <a:pt x="154" y="58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6" y="26"/>
                    </a:lnTo>
                    <a:lnTo>
                      <a:pt x="154" y="28"/>
                    </a:lnTo>
                    <a:lnTo>
                      <a:pt x="152" y="28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32"/>
                    </a:lnTo>
                    <a:lnTo>
                      <a:pt x="150" y="30"/>
                    </a:lnTo>
                    <a:lnTo>
                      <a:pt x="148" y="28"/>
                    </a:lnTo>
                    <a:lnTo>
                      <a:pt x="144" y="26"/>
                    </a:lnTo>
                    <a:lnTo>
                      <a:pt x="142" y="24"/>
                    </a:lnTo>
                    <a:lnTo>
                      <a:pt x="142" y="24"/>
                    </a:lnTo>
                    <a:lnTo>
                      <a:pt x="142" y="0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4" y="10"/>
                    </a:lnTo>
                    <a:lnTo>
                      <a:pt x="134" y="14"/>
                    </a:lnTo>
                    <a:lnTo>
                      <a:pt x="134" y="14"/>
                    </a:lnTo>
                    <a:lnTo>
                      <a:pt x="132" y="20"/>
                    </a:lnTo>
                    <a:lnTo>
                      <a:pt x="132" y="20"/>
                    </a:lnTo>
                    <a:lnTo>
                      <a:pt x="130" y="22"/>
                    </a:lnTo>
                    <a:lnTo>
                      <a:pt x="126" y="30"/>
                    </a:lnTo>
                    <a:lnTo>
                      <a:pt x="126" y="30"/>
                    </a:lnTo>
                    <a:lnTo>
                      <a:pt x="1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76" name="Freeform 15">
                <a:extLst>
                  <a:ext uri="{FF2B5EF4-FFF2-40B4-BE49-F238E27FC236}">
                    <a16:creationId xmlns:a16="http://schemas.microsoft.com/office/drawing/2014/main" id="{4C110134-7B22-41FA-BF79-54293C9849E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6325" y="3918018"/>
                <a:ext cx="377825" cy="406400"/>
              </a:xfrm>
              <a:custGeom>
                <a:avLst/>
                <a:gdLst>
                  <a:gd name="T0" fmla="*/ 30 w 238"/>
                  <a:gd name="T1" fmla="*/ 102 h 256"/>
                  <a:gd name="T2" fmla="*/ 16 w 238"/>
                  <a:gd name="T3" fmla="*/ 138 h 256"/>
                  <a:gd name="T4" fmla="*/ 6 w 238"/>
                  <a:gd name="T5" fmla="*/ 158 h 256"/>
                  <a:gd name="T6" fmla="*/ 2 w 238"/>
                  <a:gd name="T7" fmla="*/ 178 h 256"/>
                  <a:gd name="T8" fmla="*/ 6 w 238"/>
                  <a:gd name="T9" fmla="*/ 188 h 256"/>
                  <a:gd name="T10" fmla="*/ 14 w 238"/>
                  <a:gd name="T11" fmla="*/ 218 h 256"/>
                  <a:gd name="T12" fmla="*/ 22 w 238"/>
                  <a:gd name="T13" fmla="*/ 238 h 256"/>
                  <a:gd name="T14" fmla="*/ 24 w 238"/>
                  <a:gd name="T15" fmla="*/ 244 h 256"/>
                  <a:gd name="T16" fmla="*/ 28 w 238"/>
                  <a:gd name="T17" fmla="*/ 250 h 256"/>
                  <a:gd name="T18" fmla="*/ 30 w 238"/>
                  <a:gd name="T19" fmla="*/ 250 h 256"/>
                  <a:gd name="T20" fmla="*/ 36 w 238"/>
                  <a:gd name="T21" fmla="*/ 246 h 256"/>
                  <a:gd name="T22" fmla="*/ 46 w 238"/>
                  <a:gd name="T23" fmla="*/ 244 h 256"/>
                  <a:gd name="T24" fmla="*/ 48 w 238"/>
                  <a:gd name="T25" fmla="*/ 238 h 256"/>
                  <a:gd name="T26" fmla="*/ 58 w 238"/>
                  <a:gd name="T27" fmla="*/ 238 h 256"/>
                  <a:gd name="T28" fmla="*/ 62 w 238"/>
                  <a:gd name="T29" fmla="*/ 246 h 256"/>
                  <a:gd name="T30" fmla="*/ 74 w 238"/>
                  <a:gd name="T31" fmla="*/ 250 h 256"/>
                  <a:gd name="T32" fmla="*/ 90 w 238"/>
                  <a:gd name="T33" fmla="*/ 254 h 256"/>
                  <a:gd name="T34" fmla="*/ 100 w 238"/>
                  <a:gd name="T35" fmla="*/ 256 h 256"/>
                  <a:gd name="T36" fmla="*/ 112 w 238"/>
                  <a:gd name="T37" fmla="*/ 250 h 256"/>
                  <a:gd name="T38" fmla="*/ 118 w 238"/>
                  <a:gd name="T39" fmla="*/ 238 h 256"/>
                  <a:gd name="T40" fmla="*/ 128 w 238"/>
                  <a:gd name="T41" fmla="*/ 244 h 256"/>
                  <a:gd name="T42" fmla="*/ 130 w 238"/>
                  <a:gd name="T43" fmla="*/ 246 h 256"/>
                  <a:gd name="T44" fmla="*/ 142 w 238"/>
                  <a:gd name="T45" fmla="*/ 244 h 256"/>
                  <a:gd name="T46" fmla="*/ 150 w 238"/>
                  <a:gd name="T47" fmla="*/ 230 h 256"/>
                  <a:gd name="T48" fmla="*/ 156 w 238"/>
                  <a:gd name="T49" fmla="*/ 224 h 256"/>
                  <a:gd name="T50" fmla="*/ 156 w 238"/>
                  <a:gd name="T51" fmla="*/ 218 h 256"/>
                  <a:gd name="T52" fmla="*/ 158 w 238"/>
                  <a:gd name="T53" fmla="*/ 210 h 256"/>
                  <a:gd name="T54" fmla="*/ 164 w 238"/>
                  <a:gd name="T55" fmla="*/ 216 h 256"/>
                  <a:gd name="T56" fmla="*/ 166 w 238"/>
                  <a:gd name="T57" fmla="*/ 232 h 256"/>
                  <a:gd name="T58" fmla="*/ 174 w 238"/>
                  <a:gd name="T59" fmla="*/ 236 h 256"/>
                  <a:gd name="T60" fmla="*/ 176 w 238"/>
                  <a:gd name="T61" fmla="*/ 234 h 256"/>
                  <a:gd name="T62" fmla="*/ 178 w 238"/>
                  <a:gd name="T63" fmla="*/ 230 h 256"/>
                  <a:gd name="T64" fmla="*/ 186 w 238"/>
                  <a:gd name="T65" fmla="*/ 220 h 256"/>
                  <a:gd name="T66" fmla="*/ 206 w 238"/>
                  <a:gd name="T67" fmla="*/ 186 h 256"/>
                  <a:gd name="T68" fmla="*/ 210 w 238"/>
                  <a:gd name="T69" fmla="*/ 162 h 256"/>
                  <a:gd name="T70" fmla="*/ 222 w 238"/>
                  <a:gd name="T71" fmla="*/ 110 h 256"/>
                  <a:gd name="T72" fmla="*/ 236 w 238"/>
                  <a:gd name="T73" fmla="*/ 102 h 256"/>
                  <a:gd name="T74" fmla="*/ 238 w 238"/>
                  <a:gd name="T75" fmla="*/ 92 h 256"/>
                  <a:gd name="T76" fmla="*/ 232 w 238"/>
                  <a:gd name="T77" fmla="*/ 84 h 256"/>
                  <a:gd name="T78" fmla="*/ 222 w 238"/>
                  <a:gd name="T79" fmla="*/ 78 h 256"/>
                  <a:gd name="T80" fmla="*/ 220 w 238"/>
                  <a:gd name="T81" fmla="*/ 38 h 256"/>
                  <a:gd name="T82" fmla="*/ 214 w 238"/>
                  <a:gd name="T83" fmla="*/ 22 h 256"/>
                  <a:gd name="T84" fmla="*/ 196 w 238"/>
                  <a:gd name="T85" fmla="*/ 0 h 256"/>
                  <a:gd name="T86" fmla="*/ 184 w 238"/>
                  <a:gd name="T87" fmla="*/ 14 h 256"/>
                  <a:gd name="T88" fmla="*/ 174 w 238"/>
                  <a:gd name="T89" fmla="*/ 24 h 256"/>
                  <a:gd name="T90" fmla="*/ 150 w 238"/>
                  <a:gd name="T91" fmla="*/ 22 h 256"/>
                  <a:gd name="T92" fmla="*/ 138 w 238"/>
                  <a:gd name="T93" fmla="*/ 16 h 256"/>
                  <a:gd name="T94" fmla="*/ 136 w 238"/>
                  <a:gd name="T95" fmla="*/ 22 h 256"/>
                  <a:gd name="T96" fmla="*/ 100 w 238"/>
                  <a:gd name="T97" fmla="*/ 22 h 256"/>
                  <a:gd name="T98" fmla="*/ 66 w 238"/>
                  <a:gd name="T99" fmla="*/ 22 h 256"/>
                  <a:gd name="T100" fmla="*/ 44 w 238"/>
                  <a:gd name="T101" fmla="*/ 38 h 256"/>
                  <a:gd name="T102" fmla="*/ 30 w 238"/>
                  <a:gd name="T103" fmla="*/ 66 h 2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8" h="256">
                    <a:moveTo>
                      <a:pt x="30" y="66"/>
                    </a:moveTo>
                    <a:lnTo>
                      <a:pt x="30" y="84"/>
                    </a:lnTo>
                    <a:lnTo>
                      <a:pt x="30" y="102"/>
                    </a:lnTo>
                    <a:lnTo>
                      <a:pt x="30" y="118"/>
                    </a:lnTo>
                    <a:lnTo>
                      <a:pt x="30" y="134"/>
                    </a:lnTo>
                    <a:lnTo>
                      <a:pt x="16" y="138"/>
                    </a:lnTo>
                    <a:lnTo>
                      <a:pt x="16" y="138"/>
                    </a:lnTo>
                    <a:lnTo>
                      <a:pt x="12" y="146"/>
                    </a:lnTo>
                    <a:lnTo>
                      <a:pt x="6" y="158"/>
                    </a:lnTo>
                    <a:lnTo>
                      <a:pt x="6" y="168"/>
                    </a:lnTo>
                    <a:lnTo>
                      <a:pt x="2" y="170"/>
                    </a:lnTo>
                    <a:lnTo>
                      <a:pt x="2" y="178"/>
                    </a:lnTo>
                    <a:lnTo>
                      <a:pt x="0" y="184"/>
                    </a:lnTo>
                    <a:lnTo>
                      <a:pt x="0" y="190"/>
                    </a:lnTo>
                    <a:lnTo>
                      <a:pt x="6" y="188"/>
                    </a:lnTo>
                    <a:lnTo>
                      <a:pt x="6" y="188"/>
                    </a:lnTo>
                    <a:lnTo>
                      <a:pt x="6" y="198"/>
                    </a:lnTo>
                    <a:lnTo>
                      <a:pt x="14" y="218"/>
                    </a:lnTo>
                    <a:lnTo>
                      <a:pt x="14" y="218"/>
                    </a:lnTo>
                    <a:lnTo>
                      <a:pt x="12" y="220"/>
                    </a:lnTo>
                    <a:lnTo>
                      <a:pt x="22" y="238"/>
                    </a:lnTo>
                    <a:lnTo>
                      <a:pt x="22" y="238"/>
                    </a:lnTo>
                    <a:lnTo>
                      <a:pt x="24" y="244"/>
                    </a:lnTo>
                    <a:lnTo>
                      <a:pt x="24" y="244"/>
                    </a:lnTo>
                    <a:lnTo>
                      <a:pt x="24" y="246"/>
                    </a:lnTo>
                    <a:lnTo>
                      <a:pt x="26" y="248"/>
                    </a:lnTo>
                    <a:lnTo>
                      <a:pt x="28" y="250"/>
                    </a:lnTo>
                    <a:lnTo>
                      <a:pt x="28" y="252"/>
                    </a:lnTo>
                    <a:lnTo>
                      <a:pt x="28" y="252"/>
                    </a:lnTo>
                    <a:lnTo>
                      <a:pt x="30" y="250"/>
                    </a:lnTo>
                    <a:lnTo>
                      <a:pt x="32" y="248"/>
                    </a:lnTo>
                    <a:lnTo>
                      <a:pt x="32" y="248"/>
                    </a:lnTo>
                    <a:lnTo>
                      <a:pt x="36" y="246"/>
                    </a:lnTo>
                    <a:lnTo>
                      <a:pt x="38" y="246"/>
                    </a:lnTo>
                    <a:lnTo>
                      <a:pt x="40" y="246"/>
                    </a:lnTo>
                    <a:lnTo>
                      <a:pt x="46" y="244"/>
                    </a:lnTo>
                    <a:lnTo>
                      <a:pt x="46" y="244"/>
                    </a:lnTo>
                    <a:lnTo>
                      <a:pt x="48" y="240"/>
                    </a:lnTo>
                    <a:lnTo>
                      <a:pt x="48" y="238"/>
                    </a:lnTo>
                    <a:lnTo>
                      <a:pt x="56" y="234"/>
                    </a:lnTo>
                    <a:lnTo>
                      <a:pt x="56" y="234"/>
                    </a:lnTo>
                    <a:lnTo>
                      <a:pt x="58" y="238"/>
                    </a:lnTo>
                    <a:lnTo>
                      <a:pt x="60" y="240"/>
                    </a:lnTo>
                    <a:lnTo>
                      <a:pt x="62" y="246"/>
                    </a:lnTo>
                    <a:lnTo>
                      <a:pt x="62" y="246"/>
                    </a:lnTo>
                    <a:lnTo>
                      <a:pt x="70" y="250"/>
                    </a:lnTo>
                    <a:lnTo>
                      <a:pt x="70" y="250"/>
                    </a:lnTo>
                    <a:lnTo>
                      <a:pt x="74" y="250"/>
                    </a:lnTo>
                    <a:lnTo>
                      <a:pt x="76" y="250"/>
                    </a:lnTo>
                    <a:lnTo>
                      <a:pt x="90" y="254"/>
                    </a:lnTo>
                    <a:lnTo>
                      <a:pt x="90" y="254"/>
                    </a:lnTo>
                    <a:lnTo>
                      <a:pt x="94" y="256"/>
                    </a:lnTo>
                    <a:lnTo>
                      <a:pt x="100" y="256"/>
                    </a:lnTo>
                    <a:lnTo>
                      <a:pt x="100" y="256"/>
                    </a:lnTo>
                    <a:lnTo>
                      <a:pt x="106" y="254"/>
                    </a:lnTo>
                    <a:lnTo>
                      <a:pt x="112" y="250"/>
                    </a:lnTo>
                    <a:lnTo>
                      <a:pt x="112" y="250"/>
                    </a:lnTo>
                    <a:lnTo>
                      <a:pt x="116" y="244"/>
                    </a:lnTo>
                    <a:lnTo>
                      <a:pt x="118" y="238"/>
                    </a:lnTo>
                    <a:lnTo>
                      <a:pt x="118" y="238"/>
                    </a:lnTo>
                    <a:lnTo>
                      <a:pt x="122" y="240"/>
                    </a:lnTo>
                    <a:lnTo>
                      <a:pt x="124" y="240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28" y="244"/>
                    </a:lnTo>
                    <a:lnTo>
                      <a:pt x="130" y="246"/>
                    </a:lnTo>
                    <a:lnTo>
                      <a:pt x="132" y="250"/>
                    </a:lnTo>
                    <a:lnTo>
                      <a:pt x="138" y="246"/>
                    </a:lnTo>
                    <a:lnTo>
                      <a:pt x="142" y="244"/>
                    </a:lnTo>
                    <a:lnTo>
                      <a:pt x="146" y="238"/>
                    </a:lnTo>
                    <a:lnTo>
                      <a:pt x="150" y="230"/>
                    </a:lnTo>
                    <a:lnTo>
                      <a:pt x="150" y="230"/>
                    </a:lnTo>
                    <a:lnTo>
                      <a:pt x="152" y="226"/>
                    </a:lnTo>
                    <a:lnTo>
                      <a:pt x="156" y="224"/>
                    </a:lnTo>
                    <a:lnTo>
                      <a:pt x="156" y="224"/>
                    </a:lnTo>
                    <a:lnTo>
                      <a:pt x="156" y="220"/>
                    </a:lnTo>
                    <a:lnTo>
                      <a:pt x="156" y="220"/>
                    </a:lnTo>
                    <a:lnTo>
                      <a:pt x="156" y="218"/>
                    </a:lnTo>
                    <a:lnTo>
                      <a:pt x="156" y="214"/>
                    </a:lnTo>
                    <a:lnTo>
                      <a:pt x="156" y="214"/>
                    </a:lnTo>
                    <a:lnTo>
                      <a:pt x="158" y="210"/>
                    </a:lnTo>
                    <a:lnTo>
                      <a:pt x="164" y="204"/>
                    </a:lnTo>
                    <a:lnTo>
                      <a:pt x="164" y="204"/>
                    </a:lnTo>
                    <a:lnTo>
                      <a:pt x="164" y="216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6" y="232"/>
                    </a:lnTo>
                    <a:lnTo>
                      <a:pt x="170" y="234"/>
                    </a:lnTo>
                    <a:lnTo>
                      <a:pt x="174" y="236"/>
                    </a:lnTo>
                    <a:lnTo>
                      <a:pt x="174" y="236"/>
                    </a:lnTo>
                    <a:lnTo>
                      <a:pt x="176" y="232"/>
                    </a:lnTo>
                    <a:lnTo>
                      <a:pt x="176" y="234"/>
                    </a:lnTo>
                    <a:lnTo>
                      <a:pt x="176" y="234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78" y="230"/>
                    </a:lnTo>
                    <a:lnTo>
                      <a:pt x="182" y="224"/>
                    </a:lnTo>
                    <a:lnTo>
                      <a:pt x="186" y="220"/>
                    </a:lnTo>
                    <a:lnTo>
                      <a:pt x="186" y="220"/>
                    </a:lnTo>
                    <a:lnTo>
                      <a:pt x="190" y="208"/>
                    </a:lnTo>
                    <a:lnTo>
                      <a:pt x="198" y="194"/>
                    </a:lnTo>
                    <a:lnTo>
                      <a:pt x="206" y="186"/>
                    </a:lnTo>
                    <a:lnTo>
                      <a:pt x="210" y="168"/>
                    </a:lnTo>
                    <a:lnTo>
                      <a:pt x="210" y="162"/>
                    </a:lnTo>
                    <a:lnTo>
                      <a:pt x="210" y="162"/>
                    </a:lnTo>
                    <a:lnTo>
                      <a:pt x="210" y="152"/>
                    </a:lnTo>
                    <a:lnTo>
                      <a:pt x="218" y="110"/>
                    </a:lnTo>
                    <a:lnTo>
                      <a:pt x="222" y="110"/>
                    </a:lnTo>
                    <a:lnTo>
                      <a:pt x="222" y="110"/>
                    </a:lnTo>
                    <a:lnTo>
                      <a:pt x="226" y="108"/>
                    </a:lnTo>
                    <a:lnTo>
                      <a:pt x="236" y="102"/>
                    </a:lnTo>
                    <a:lnTo>
                      <a:pt x="236" y="102"/>
                    </a:lnTo>
                    <a:lnTo>
                      <a:pt x="238" y="92"/>
                    </a:lnTo>
                    <a:lnTo>
                      <a:pt x="238" y="92"/>
                    </a:lnTo>
                    <a:lnTo>
                      <a:pt x="238" y="90"/>
                    </a:lnTo>
                    <a:lnTo>
                      <a:pt x="234" y="90"/>
                    </a:lnTo>
                    <a:lnTo>
                      <a:pt x="232" y="84"/>
                    </a:lnTo>
                    <a:lnTo>
                      <a:pt x="226" y="82"/>
                    </a:lnTo>
                    <a:lnTo>
                      <a:pt x="226" y="82"/>
                    </a:lnTo>
                    <a:lnTo>
                      <a:pt x="222" y="78"/>
                    </a:lnTo>
                    <a:lnTo>
                      <a:pt x="222" y="78"/>
                    </a:lnTo>
                    <a:lnTo>
                      <a:pt x="220" y="62"/>
                    </a:lnTo>
                    <a:lnTo>
                      <a:pt x="220" y="38"/>
                    </a:lnTo>
                    <a:lnTo>
                      <a:pt x="216" y="30"/>
                    </a:lnTo>
                    <a:lnTo>
                      <a:pt x="216" y="30"/>
                    </a:lnTo>
                    <a:lnTo>
                      <a:pt x="214" y="22"/>
                    </a:lnTo>
                    <a:lnTo>
                      <a:pt x="208" y="10"/>
                    </a:lnTo>
                    <a:lnTo>
                      <a:pt x="200" y="6"/>
                    </a:lnTo>
                    <a:lnTo>
                      <a:pt x="196" y="0"/>
                    </a:lnTo>
                    <a:lnTo>
                      <a:pt x="190" y="6"/>
                    </a:lnTo>
                    <a:lnTo>
                      <a:pt x="186" y="4"/>
                    </a:lnTo>
                    <a:lnTo>
                      <a:pt x="184" y="14"/>
                    </a:lnTo>
                    <a:lnTo>
                      <a:pt x="176" y="16"/>
                    </a:lnTo>
                    <a:lnTo>
                      <a:pt x="176" y="16"/>
                    </a:lnTo>
                    <a:lnTo>
                      <a:pt x="174" y="24"/>
                    </a:lnTo>
                    <a:lnTo>
                      <a:pt x="168" y="24"/>
                    </a:lnTo>
                    <a:lnTo>
                      <a:pt x="162" y="22"/>
                    </a:lnTo>
                    <a:lnTo>
                      <a:pt x="150" y="22"/>
                    </a:lnTo>
                    <a:lnTo>
                      <a:pt x="138" y="22"/>
                    </a:lnTo>
                    <a:lnTo>
                      <a:pt x="138" y="22"/>
                    </a:lnTo>
                    <a:lnTo>
                      <a:pt x="138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22"/>
                    </a:lnTo>
                    <a:lnTo>
                      <a:pt x="124" y="22"/>
                    </a:lnTo>
                    <a:lnTo>
                      <a:pt x="112" y="22"/>
                    </a:lnTo>
                    <a:lnTo>
                      <a:pt x="100" y="22"/>
                    </a:lnTo>
                    <a:lnTo>
                      <a:pt x="90" y="22"/>
                    </a:lnTo>
                    <a:lnTo>
                      <a:pt x="78" y="22"/>
                    </a:lnTo>
                    <a:lnTo>
                      <a:pt x="66" y="22"/>
                    </a:lnTo>
                    <a:lnTo>
                      <a:pt x="56" y="22"/>
                    </a:lnTo>
                    <a:lnTo>
                      <a:pt x="44" y="22"/>
                    </a:lnTo>
                    <a:lnTo>
                      <a:pt x="44" y="38"/>
                    </a:lnTo>
                    <a:lnTo>
                      <a:pt x="44" y="58"/>
                    </a:lnTo>
                    <a:lnTo>
                      <a:pt x="30" y="58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77" name="Freeform 16">
                <a:extLst>
                  <a:ext uri="{FF2B5EF4-FFF2-40B4-BE49-F238E27FC236}">
                    <a16:creationId xmlns:a16="http://schemas.microsoft.com/office/drawing/2014/main" id="{A9D4574E-E9AD-4113-9421-3BD3C44175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3100" y="3473518"/>
                <a:ext cx="320675" cy="273050"/>
              </a:xfrm>
              <a:custGeom>
                <a:avLst/>
                <a:gdLst>
                  <a:gd name="T0" fmla="*/ 20 w 202"/>
                  <a:gd name="T1" fmla="*/ 60 h 172"/>
                  <a:gd name="T2" fmla="*/ 30 w 202"/>
                  <a:gd name="T3" fmla="*/ 64 h 172"/>
                  <a:gd name="T4" fmla="*/ 34 w 202"/>
                  <a:gd name="T5" fmla="*/ 56 h 172"/>
                  <a:gd name="T6" fmla="*/ 38 w 202"/>
                  <a:gd name="T7" fmla="*/ 52 h 172"/>
                  <a:gd name="T8" fmla="*/ 50 w 202"/>
                  <a:gd name="T9" fmla="*/ 44 h 172"/>
                  <a:gd name="T10" fmla="*/ 56 w 202"/>
                  <a:gd name="T11" fmla="*/ 38 h 172"/>
                  <a:gd name="T12" fmla="*/ 60 w 202"/>
                  <a:gd name="T13" fmla="*/ 26 h 172"/>
                  <a:gd name="T14" fmla="*/ 72 w 202"/>
                  <a:gd name="T15" fmla="*/ 22 h 172"/>
                  <a:gd name="T16" fmla="*/ 80 w 202"/>
                  <a:gd name="T17" fmla="*/ 22 h 172"/>
                  <a:gd name="T18" fmla="*/ 94 w 202"/>
                  <a:gd name="T19" fmla="*/ 22 h 172"/>
                  <a:gd name="T20" fmla="*/ 102 w 202"/>
                  <a:gd name="T21" fmla="*/ 26 h 172"/>
                  <a:gd name="T22" fmla="*/ 112 w 202"/>
                  <a:gd name="T23" fmla="*/ 26 h 172"/>
                  <a:gd name="T24" fmla="*/ 124 w 202"/>
                  <a:gd name="T25" fmla="*/ 26 h 172"/>
                  <a:gd name="T26" fmla="*/ 136 w 202"/>
                  <a:gd name="T27" fmla="*/ 18 h 172"/>
                  <a:gd name="T28" fmla="*/ 136 w 202"/>
                  <a:gd name="T29" fmla="*/ 10 h 172"/>
                  <a:gd name="T30" fmla="*/ 146 w 202"/>
                  <a:gd name="T31" fmla="*/ 0 h 172"/>
                  <a:gd name="T32" fmla="*/ 150 w 202"/>
                  <a:gd name="T33" fmla="*/ 10 h 172"/>
                  <a:gd name="T34" fmla="*/ 154 w 202"/>
                  <a:gd name="T35" fmla="*/ 14 h 172"/>
                  <a:gd name="T36" fmla="*/ 154 w 202"/>
                  <a:gd name="T37" fmla="*/ 30 h 172"/>
                  <a:gd name="T38" fmla="*/ 166 w 202"/>
                  <a:gd name="T39" fmla="*/ 30 h 172"/>
                  <a:gd name="T40" fmla="*/ 176 w 202"/>
                  <a:gd name="T41" fmla="*/ 26 h 172"/>
                  <a:gd name="T42" fmla="*/ 184 w 202"/>
                  <a:gd name="T43" fmla="*/ 22 h 172"/>
                  <a:gd name="T44" fmla="*/ 188 w 202"/>
                  <a:gd name="T45" fmla="*/ 26 h 172"/>
                  <a:gd name="T46" fmla="*/ 202 w 202"/>
                  <a:gd name="T47" fmla="*/ 22 h 172"/>
                  <a:gd name="T48" fmla="*/ 196 w 202"/>
                  <a:gd name="T49" fmla="*/ 26 h 172"/>
                  <a:gd name="T50" fmla="*/ 188 w 202"/>
                  <a:gd name="T51" fmla="*/ 30 h 172"/>
                  <a:gd name="T52" fmla="*/ 172 w 202"/>
                  <a:gd name="T53" fmla="*/ 34 h 172"/>
                  <a:gd name="T54" fmla="*/ 162 w 202"/>
                  <a:gd name="T55" fmla="*/ 38 h 172"/>
                  <a:gd name="T56" fmla="*/ 150 w 202"/>
                  <a:gd name="T57" fmla="*/ 48 h 172"/>
                  <a:gd name="T58" fmla="*/ 154 w 202"/>
                  <a:gd name="T59" fmla="*/ 56 h 172"/>
                  <a:gd name="T60" fmla="*/ 154 w 202"/>
                  <a:gd name="T61" fmla="*/ 66 h 172"/>
                  <a:gd name="T62" fmla="*/ 146 w 202"/>
                  <a:gd name="T63" fmla="*/ 74 h 172"/>
                  <a:gd name="T64" fmla="*/ 150 w 202"/>
                  <a:gd name="T65" fmla="*/ 86 h 172"/>
                  <a:gd name="T66" fmla="*/ 136 w 202"/>
                  <a:gd name="T67" fmla="*/ 86 h 172"/>
                  <a:gd name="T68" fmla="*/ 136 w 202"/>
                  <a:gd name="T69" fmla="*/ 94 h 172"/>
                  <a:gd name="T70" fmla="*/ 136 w 202"/>
                  <a:gd name="T71" fmla="*/ 100 h 172"/>
                  <a:gd name="T72" fmla="*/ 124 w 202"/>
                  <a:gd name="T73" fmla="*/ 108 h 172"/>
                  <a:gd name="T74" fmla="*/ 124 w 202"/>
                  <a:gd name="T75" fmla="*/ 116 h 172"/>
                  <a:gd name="T76" fmla="*/ 120 w 202"/>
                  <a:gd name="T77" fmla="*/ 126 h 172"/>
                  <a:gd name="T78" fmla="*/ 112 w 202"/>
                  <a:gd name="T79" fmla="*/ 126 h 172"/>
                  <a:gd name="T80" fmla="*/ 98 w 202"/>
                  <a:gd name="T81" fmla="*/ 130 h 172"/>
                  <a:gd name="T82" fmla="*/ 94 w 202"/>
                  <a:gd name="T83" fmla="*/ 138 h 172"/>
                  <a:gd name="T84" fmla="*/ 86 w 202"/>
                  <a:gd name="T85" fmla="*/ 138 h 172"/>
                  <a:gd name="T86" fmla="*/ 84 w 202"/>
                  <a:gd name="T87" fmla="*/ 152 h 172"/>
                  <a:gd name="T88" fmla="*/ 84 w 202"/>
                  <a:gd name="T89" fmla="*/ 160 h 172"/>
                  <a:gd name="T90" fmla="*/ 68 w 202"/>
                  <a:gd name="T91" fmla="*/ 168 h 172"/>
                  <a:gd name="T92" fmla="*/ 54 w 202"/>
                  <a:gd name="T93" fmla="*/ 168 h 172"/>
                  <a:gd name="T94" fmla="*/ 38 w 202"/>
                  <a:gd name="T95" fmla="*/ 168 h 172"/>
                  <a:gd name="T96" fmla="*/ 16 w 202"/>
                  <a:gd name="T97" fmla="*/ 168 h 172"/>
                  <a:gd name="T98" fmla="*/ 8 w 202"/>
                  <a:gd name="T99" fmla="*/ 160 h 172"/>
                  <a:gd name="T100" fmla="*/ 20 w 202"/>
                  <a:gd name="T101" fmla="*/ 142 h 172"/>
                  <a:gd name="T102" fmla="*/ 12 w 202"/>
                  <a:gd name="T103" fmla="*/ 134 h 172"/>
                  <a:gd name="T104" fmla="*/ 4 w 202"/>
                  <a:gd name="T105" fmla="*/ 122 h 172"/>
                  <a:gd name="T106" fmla="*/ 0 w 202"/>
                  <a:gd name="T107" fmla="*/ 108 h 172"/>
                  <a:gd name="T108" fmla="*/ 4 w 202"/>
                  <a:gd name="T109" fmla="*/ 96 h 172"/>
                  <a:gd name="T110" fmla="*/ 0 w 202"/>
                  <a:gd name="T111" fmla="*/ 86 h 172"/>
                  <a:gd name="T112" fmla="*/ 0 w 202"/>
                  <a:gd name="T113" fmla="*/ 74 h 172"/>
                  <a:gd name="T114" fmla="*/ 8 w 202"/>
                  <a:gd name="T115" fmla="*/ 64 h 172"/>
                  <a:gd name="T116" fmla="*/ 12 w 202"/>
                  <a:gd name="T117" fmla="*/ 56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02" h="172">
                    <a:moveTo>
                      <a:pt x="12" y="56"/>
                    </a:move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4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4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72" y="22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2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0" y="26"/>
                    </a:lnTo>
                    <a:lnTo>
                      <a:pt x="112" y="26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2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4" y="8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58" y="14"/>
                    </a:lnTo>
                    <a:lnTo>
                      <a:pt x="154" y="14"/>
                    </a:lnTo>
                    <a:lnTo>
                      <a:pt x="154" y="18"/>
                    </a:lnTo>
                    <a:lnTo>
                      <a:pt x="154" y="22"/>
                    </a:lnTo>
                    <a:lnTo>
                      <a:pt x="154" y="26"/>
                    </a:lnTo>
                    <a:lnTo>
                      <a:pt x="154" y="30"/>
                    </a:lnTo>
                    <a:lnTo>
                      <a:pt x="158" y="34"/>
                    </a:lnTo>
                    <a:lnTo>
                      <a:pt x="158" y="38"/>
                    </a:lnTo>
                    <a:lnTo>
                      <a:pt x="162" y="34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76" y="22"/>
                    </a:lnTo>
                    <a:lnTo>
                      <a:pt x="180" y="22"/>
                    </a:lnTo>
                    <a:lnTo>
                      <a:pt x="184" y="18"/>
                    </a:lnTo>
                    <a:lnTo>
                      <a:pt x="184" y="22"/>
                    </a:lnTo>
                    <a:lnTo>
                      <a:pt x="188" y="22"/>
                    </a:lnTo>
                    <a:lnTo>
                      <a:pt x="184" y="22"/>
                    </a:lnTo>
                    <a:lnTo>
                      <a:pt x="184" y="26"/>
                    </a:lnTo>
                    <a:lnTo>
                      <a:pt x="188" y="26"/>
                    </a:lnTo>
                    <a:lnTo>
                      <a:pt x="192" y="22"/>
                    </a:lnTo>
                    <a:lnTo>
                      <a:pt x="196" y="22"/>
                    </a:lnTo>
                    <a:lnTo>
                      <a:pt x="198" y="22"/>
                    </a:lnTo>
                    <a:lnTo>
                      <a:pt x="202" y="22"/>
                    </a:lnTo>
                    <a:lnTo>
                      <a:pt x="202" y="26"/>
                    </a:lnTo>
                    <a:lnTo>
                      <a:pt x="202" y="22"/>
                    </a:lnTo>
                    <a:lnTo>
                      <a:pt x="198" y="26"/>
                    </a:lnTo>
                    <a:lnTo>
                      <a:pt x="196" y="26"/>
                    </a:lnTo>
                    <a:lnTo>
                      <a:pt x="198" y="30"/>
                    </a:lnTo>
                    <a:lnTo>
                      <a:pt x="196" y="30"/>
                    </a:lnTo>
                    <a:lnTo>
                      <a:pt x="192" y="34"/>
                    </a:lnTo>
                    <a:lnTo>
                      <a:pt x="188" y="30"/>
                    </a:lnTo>
                    <a:lnTo>
                      <a:pt x="184" y="30"/>
                    </a:lnTo>
                    <a:lnTo>
                      <a:pt x="180" y="30"/>
                    </a:lnTo>
                    <a:lnTo>
                      <a:pt x="176" y="34"/>
                    </a:lnTo>
                    <a:lnTo>
                      <a:pt x="172" y="34"/>
                    </a:lnTo>
                    <a:lnTo>
                      <a:pt x="168" y="34"/>
                    </a:lnTo>
                    <a:lnTo>
                      <a:pt x="166" y="34"/>
                    </a:lnTo>
                    <a:lnTo>
                      <a:pt x="166" y="38"/>
                    </a:lnTo>
                    <a:lnTo>
                      <a:pt x="162" y="38"/>
                    </a:lnTo>
                    <a:lnTo>
                      <a:pt x="158" y="40"/>
                    </a:lnTo>
                    <a:lnTo>
                      <a:pt x="154" y="44"/>
                    </a:lnTo>
                    <a:lnTo>
                      <a:pt x="150" y="44"/>
                    </a:lnTo>
                    <a:lnTo>
                      <a:pt x="150" y="48"/>
                    </a:lnTo>
                    <a:lnTo>
                      <a:pt x="154" y="48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8" y="64"/>
                    </a:lnTo>
                    <a:lnTo>
                      <a:pt x="154" y="66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8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0" y="86"/>
                    </a:lnTo>
                    <a:lnTo>
                      <a:pt x="136" y="86"/>
                    </a:lnTo>
                    <a:lnTo>
                      <a:pt x="132" y="86"/>
                    </a:lnTo>
                    <a:lnTo>
                      <a:pt x="132" y="90"/>
                    </a:lnTo>
                    <a:lnTo>
                      <a:pt x="136" y="90"/>
                    </a:lnTo>
                    <a:lnTo>
                      <a:pt x="136" y="94"/>
                    </a:lnTo>
                    <a:lnTo>
                      <a:pt x="136" y="96"/>
                    </a:lnTo>
                    <a:lnTo>
                      <a:pt x="140" y="96"/>
                    </a:lnTo>
                    <a:lnTo>
                      <a:pt x="140" y="100"/>
                    </a:lnTo>
                    <a:lnTo>
                      <a:pt x="136" y="100"/>
                    </a:lnTo>
                    <a:lnTo>
                      <a:pt x="132" y="104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2"/>
                    </a:lnTo>
                    <a:lnTo>
                      <a:pt x="124" y="126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06" y="130"/>
                    </a:lnTo>
                    <a:lnTo>
                      <a:pt x="102" y="130"/>
                    </a:lnTo>
                    <a:lnTo>
                      <a:pt x="98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4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4" y="142"/>
                    </a:lnTo>
                    <a:lnTo>
                      <a:pt x="84" y="150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0" y="156"/>
                    </a:lnTo>
                    <a:lnTo>
                      <a:pt x="80" y="160"/>
                    </a:lnTo>
                    <a:lnTo>
                      <a:pt x="84" y="160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4" y="168"/>
                    </a:lnTo>
                    <a:lnTo>
                      <a:pt x="50" y="172"/>
                    </a:lnTo>
                    <a:lnTo>
                      <a:pt x="46" y="168"/>
                    </a:lnTo>
                    <a:lnTo>
                      <a:pt x="42" y="168"/>
                    </a:lnTo>
                    <a:lnTo>
                      <a:pt x="38" y="168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12" y="152"/>
                    </a:lnTo>
                    <a:lnTo>
                      <a:pt x="16" y="146"/>
                    </a:lnTo>
                    <a:lnTo>
                      <a:pt x="20" y="142"/>
                    </a:lnTo>
                    <a:lnTo>
                      <a:pt x="20" y="138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2" y="134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4" y="122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78" name="Freeform 17">
                <a:extLst>
                  <a:ext uri="{FF2B5EF4-FFF2-40B4-BE49-F238E27FC236}">
                    <a16:creationId xmlns:a16="http://schemas.microsoft.com/office/drawing/2014/main" id="{DF00A0F6-0B99-4192-B3BD-3159928806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72100" y="3390968"/>
                <a:ext cx="69850" cy="69850"/>
              </a:xfrm>
              <a:custGeom>
                <a:avLst/>
                <a:gdLst>
                  <a:gd name="T0" fmla="*/ 40 w 44"/>
                  <a:gd name="T1" fmla="*/ 44 h 44"/>
                  <a:gd name="T2" fmla="*/ 36 w 44"/>
                  <a:gd name="T3" fmla="*/ 44 h 44"/>
                  <a:gd name="T4" fmla="*/ 36 w 44"/>
                  <a:gd name="T5" fmla="*/ 44 h 44"/>
                  <a:gd name="T6" fmla="*/ 36 w 44"/>
                  <a:gd name="T7" fmla="*/ 36 h 44"/>
                  <a:gd name="T8" fmla="*/ 32 w 44"/>
                  <a:gd name="T9" fmla="*/ 32 h 44"/>
                  <a:gd name="T10" fmla="*/ 28 w 44"/>
                  <a:gd name="T11" fmla="*/ 32 h 44"/>
                  <a:gd name="T12" fmla="*/ 28 w 44"/>
                  <a:gd name="T13" fmla="*/ 32 h 44"/>
                  <a:gd name="T14" fmla="*/ 22 w 44"/>
                  <a:gd name="T15" fmla="*/ 30 h 44"/>
                  <a:gd name="T16" fmla="*/ 18 w 44"/>
                  <a:gd name="T17" fmla="*/ 30 h 44"/>
                  <a:gd name="T18" fmla="*/ 18 w 44"/>
                  <a:gd name="T19" fmla="*/ 30 h 44"/>
                  <a:gd name="T20" fmla="*/ 14 w 44"/>
                  <a:gd name="T21" fmla="*/ 26 h 44"/>
                  <a:gd name="T22" fmla="*/ 10 w 44"/>
                  <a:gd name="T23" fmla="*/ 22 h 44"/>
                  <a:gd name="T24" fmla="*/ 6 w 44"/>
                  <a:gd name="T25" fmla="*/ 22 h 44"/>
                  <a:gd name="T26" fmla="*/ 2 w 44"/>
                  <a:gd name="T27" fmla="*/ 22 h 44"/>
                  <a:gd name="T28" fmla="*/ 0 w 44"/>
                  <a:gd name="T29" fmla="*/ 14 h 44"/>
                  <a:gd name="T30" fmla="*/ 2 w 44"/>
                  <a:gd name="T31" fmla="*/ 10 h 44"/>
                  <a:gd name="T32" fmla="*/ 0 w 44"/>
                  <a:gd name="T33" fmla="*/ 4 h 44"/>
                  <a:gd name="T34" fmla="*/ 0 w 44"/>
                  <a:gd name="T35" fmla="*/ 4 h 44"/>
                  <a:gd name="T36" fmla="*/ 2 w 44"/>
                  <a:gd name="T37" fmla="*/ 4 h 44"/>
                  <a:gd name="T38" fmla="*/ 2 w 44"/>
                  <a:gd name="T39" fmla="*/ 0 h 44"/>
                  <a:gd name="T40" fmla="*/ 6 w 44"/>
                  <a:gd name="T41" fmla="*/ 0 h 44"/>
                  <a:gd name="T42" fmla="*/ 10 w 44"/>
                  <a:gd name="T43" fmla="*/ 0 h 44"/>
                  <a:gd name="T44" fmla="*/ 18 w 44"/>
                  <a:gd name="T45" fmla="*/ 0 h 44"/>
                  <a:gd name="T46" fmla="*/ 22 w 44"/>
                  <a:gd name="T47" fmla="*/ 0 h 44"/>
                  <a:gd name="T48" fmla="*/ 24 w 44"/>
                  <a:gd name="T49" fmla="*/ 0 h 44"/>
                  <a:gd name="T50" fmla="*/ 22 w 44"/>
                  <a:gd name="T51" fmla="*/ 4 h 44"/>
                  <a:gd name="T52" fmla="*/ 22 w 44"/>
                  <a:gd name="T53" fmla="*/ 4 h 44"/>
                  <a:gd name="T54" fmla="*/ 28 w 44"/>
                  <a:gd name="T55" fmla="*/ 8 h 44"/>
                  <a:gd name="T56" fmla="*/ 24 w 44"/>
                  <a:gd name="T57" fmla="*/ 10 h 44"/>
                  <a:gd name="T58" fmla="*/ 28 w 44"/>
                  <a:gd name="T59" fmla="*/ 14 h 44"/>
                  <a:gd name="T60" fmla="*/ 32 w 44"/>
                  <a:gd name="T61" fmla="*/ 18 h 44"/>
                  <a:gd name="T62" fmla="*/ 32 w 44"/>
                  <a:gd name="T63" fmla="*/ 22 h 44"/>
                  <a:gd name="T64" fmla="*/ 32 w 44"/>
                  <a:gd name="T65" fmla="*/ 22 h 44"/>
                  <a:gd name="T66" fmla="*/ 28 w 44"/>
                  <a:gd name="T67" fmla="*/ 22 h 44"/>
                  <a:gd name="T68" fmla="*/ 32 w 44"/>
                  <a:gd name="T69" fmla="*/ 26 h 44"/>
                  <a:gd name="T70" fmla="*/ 32 w 44"/>
                  <a:gd name="T71" fmla="*/ 26 h 44"/>
                  <a:gd name="T72" fmla="*/ 32 w 44"/>
                  <a:gd name="T73" fmla="*/ 30 h 44"/>
                  <a:gd name="T74" fmla="*/ 36 w 44"/>
                  <a:gd name="T75" fmla="*/ 30 h 44"/>
                  <a:gd name="T76" fmla="*/ 36 w 44"/>
                  <a:gd name="T77" fmla="*/ 32 h 44"/>
                  <a:gd name="T78" fmla="*/ 40 w 44"/>
                  <a:gd name="T79" fmla="*/ 30 h 44"/>
                  <a:gd name="T80" fmla="*/ 40 w 44"/>
                  <a:gd name="T81" fmla="*/ 32 h 44"/>
                  <a:gd name="T82" fmla="*/ 40 w 44"/>
                  <a:gd name="T83" fmla="*/ 36 h 44"/>
                  <a:gd name="T84" fmla="*/ 44 w 44"/>
                  <a:gd name="T85" fmla="*/ 36 h 44"/>
                  <a:gd name="T86" fmla="*/ 40 w 44"/>
                  <a:gd name="T87" fmla="*/ 40 h 44"/>
                  <a:gd name="T88" fmla="*/ 40 w 44"/>
                  <a:gd name="T89" fmla="*/ 40 h 44"/>
                  <a:gd name="T90" fmla="*/ 40 w 44"/>
                  <a:gd name="T91" fmla="*/ 44 h 44"/>
                  <a:gd name="T92" fmla="*/ 44 w 44"/>
                  <a:gd name="T93" fmla="*/ 44 h 44"/>
                  <a:gd name="T94" fmla="*/ 22 w 44"/>
                  <a:gd name="T95" fmla="*/ 4 h 44"/>
                  <a:gd name="T96" fmla="*/ 22 w 44"/>
                  <a:gd name="T97" fmla="*/ 4 h 44"/>
                  <a:gd name="T98" fmla="*/ 24 w 44"/>
                  <a:gd name="T99" fmla="*/ 4 h 44"/>
                  <a:gd name="T100" fmla="*/ 24 w 44"/>
                  <a:gd name="T101" fmla="*/ 4 h 44"/>
                  <a:gd name="T102" fmla="*/ 28 w 44"/>
                  <a:gd name="T103" fmla="*/ 10 h 44"/>
                  <a:gd name="T104" fmla="*/ 28 w 44"/>
                  <a:gd name="T105" fmla="*/ 10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44" h="44">
                    <a:moveTo>
                      <a:pt x="44" y="44"/>
                    </a:moveTo>
                    <a:lnTo>
                      <a:pt x="44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6" y="18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close/>
                    <a:moveTo>
                      <a:pt x="22" y="4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10"/>
                    </a:move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79" name="Freeform 18">
                <a:extLst>
                  <a:ext uri="{FF2B5EF4-FFF2-40B4-BE49-F238E27FC236}">
                    <a16:creationId xmlns:a16="http://schemas.microsoft.com/office/drawing/2014/main" id="{C749698A-BAC6-491B-86FD-6A1E487C7D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00675" y="3343343"/>
                <a:ext cx="152400" cy="136525"/>
              </a:xfrm>
              <a:custGeom>
                <a:avLst/>
                <a:gdLst>
                  <a:gd name="T0" fmla="*/ 78 w 96"/>
                  <a:gd name="T1" fmla="*/ 86 h 86"/>
                  <a:gd name="T2" fmla="*/ 56 w 96"/>
                  <a:gd name="T3" fmla="*/ 86 h 86"/>
                  <a:gd name="T4" fmla="*/ 48 w 96"/>
                  <a:gd name="T5" fmla="*/ 82 h 86"/>
                  <a:gd name="T6" fmla="*/ 44 w 96"/>
                  <a:gd name="T7" fmla="*/ 74 h 86"/>
                  <a:gd name="T8" fmla="*/ 48 w 96"/>
                  <a:gd name="T9" fmla="*/ 74 h 86"/>
                  <a:gd name="T10" fmla="*/ 48 w 96"/>
                  <a:gd name="T11" fmla="*/ 70 h 86"/>
                  <a:gd name="T12" fmla="*/ 48 w 96"/>
                  <a:gd name="T13" fmla="*/ 66 h 86"/>
                  <a:gd name="T14" fmla="*/ 48 w 96"/>
                  <a:gd name="T15" fmla="*/ 62 h 86"/>
                  <a:gd name="T16" fmla="*/ 40 w 96"/>
                  <a:gd name="T17" fmla="*/ 60 h 86"/>
                  <a:gd name="T18" fmla="*/ 32 w 96"/>
                  <a:gd name="T19" fmla="*/ 66 h 86"/>
                  <a:gd name="T20" fmla="*/ 30 w 96"/>
                  <a:gd name="T21" fmla="*/ 70 h 86"/>
                  <a:gd name="T22" fmla="*/ 26 w 96"/>
                  <a:gd name="T23" fmla="*/ 74 h 86"/>
                  <a:gd name="T24" fmla="*/ 22 w 96"/>
                  <a:gd name="T25" fmla="*/ 70 h 86"/>
                  <a:gd name="T26" fmla="*/ 26 w 96"/>
                  <a:gd name="T27" fmla="*/ 66 h 86"/>
                  <a:gd name="T28" fmla="*/ 22 w 96"/>
                  <a:gd name="T29" fmla="*/ 62 h 86"/>
                  <a:gd name="T30" fmla="*/ 22 w 96"/>
                  <a:gd name="T31" fmla="*/ 60 h 86"/>
                  <a:gd name="T32" fmla="*/ 18 w 96"/>
                  <a:gd name="T33" fmla="*/ 60 h 86"/>
                  <a:gd name="T34" fmla="*/ 14 w 96"/>
                  <a:gd name="T35" fmla="*/ 56 h 86"/>
                  <a:gd name="T36" fmla="*/ 10 w 96"/>
                  <a:gd name="T37" fmla="*/ 52 h 86"/>
                  <a:gd name="T38" fmla="*/ 14 w 96"/>
                  <a:gd name="T39" fmla="*/ 52 h 86"/>
                  <a:gd name="T40" fmla="*/ 14 w 96"/>
                  <a:gd name="T41" fmla="*/ 48 h 86"/>
                  <a:gd name="T42" fmla="*/ 6 w 96"/>
                  <a:gd name="T43" fmla="*/ 40 h 86"/>
                  <a:gd name="T44" fmla="*/ 6 w 96"/>
                  <a:gd name="T45" fmla="*/ 32 h 86"/>
                  <a:gd name="T46" fmla="*/ 6 w 96"/>
                  <a:gd name="T47" fmla="*/ 32 h 86"/>
                  <a:gd name="T48" fmla="*/ 4 w 96"/>
                  <a:gd name="T49" fmla="*/ 26 h 86"/>
                  <a:gd name="T50" fmla="*/ 10 w 96"/>
                  <a:gd name="T51" fmla="*/ 26 h 86"/>
                  <a:gd name="T52" fmla="*/ 14 w 96"/>
                  <a:gd name="T53" fmla="*/ 30 h 86"/>
                  <a:gd name="T54" fmla="*/ 18 w 96"/>
                  <a:gd name="T55" fmla="*/ 30 h 86"/>
                  <a:gd name="T56" fmla="*/ 22 w 96"/>
                  <a:gd name="T57" fmla="*/ 32 h 86"/>
                  <a:gd name="T58" fmla="*/ 26 w 96"/>
                  <a:gd name="T59" fmla="*/ 26 h 86"/>
                  <a:gd name="T60" fmla="*/ 18 w 96"/>
                  <a:gd name="T61" fmla="*/ 22 h 86"/>
                  <a:gd name="T62" fmla="*/ 22 w 96"/>
                  <a:gd name="T63" fmla="*/ 18 h 86"/>
                  <a:gd name="T64" fmla="*/ 26 w 96"/>
                  <a:gd name="T65" fmla="*/ 18 h 86"/>
                  <a:gd name="T66" fmla="*/ 30 w 96"/>
                  <a:gd name="T67" fmla="*/ 22 h 86"/>
                  <a:gd name="T68" fmla="*/ 36 w 96"/>
                  <a:gd name="T69" fmla="*/ 30 h 86"/>
                  <a:gd name="T70" fmla="*/ 40 w 96"/>
                  <a:gd name="T71" fmla="*/ 30 h 86"/>
                  <a:gd name="T72" fmla="*/ 48 w 96"/>
                  <a:gd name="T73" fmla="*/ 26 h 86"/>
                  <a:gd name="T74" fmla="*/ 52 w 96"/>
                  <a:gd name="T75" fmla="*/ 22 h 86"/>
                  <a:gd name="T76" fmla="*/ 70 w 96"/>
                  <a:gd name="T77" fmla="*/ 0 h 86"/>
                  <a:gd name="T78" fmla="*/ 88 w 96"/>
                  <a:gd name="T79" fmla="*/ 30 h 86"/>
                  <a:gd name="T80" fmla="*/ 96 w 96"/>
                  <a:gd name="T81" fmla="*/ 56 h 86"/>
                  <a:gd name="T82" fmla="*/ 92 w 96"/>
                  <a:gd name="T83" fmla="*/ 74 h 86"/>
                  <a:gd name="T84" fmla="*/ 10 w 96"/>
                  <a:gd name="T85" fmla="*/ 40 h 86"/>
                  <a:gd name="T86" fmla="*/ 4 w 96"/>
                  <a:gd name="T87" fmla="*/ 32 h 86"/>
                  <a:gd name="T88" fmla="*/ 4 w 96"/>
                  <a:gd name="T89" fmla="*/ 32 h 86"/>
                  <a:gd name="T90" fmla="*/ 6 w 96"/>
                  <a:gd name="T91" fmla="*/ 32 h 86"/>
                  <a:gd name="T92" fmla="*/ 0 w 96"/>
                  <a:gd name="T93" fmla="*/ 60 h 86"/>
                  <a:gd name="T94" fmla="*/ 4 w 96"/>
                  <a:gd name="T95" fmla="*/ 60 h 86"/>
                  <a:gd name="T96" fmla="*/ 10 w 96"/>
                  <a:gd name="T97" fmla="*/ 62 h 86"/>
                  <a:gd name="T98" fmla="*/ 14 w 96"/>
                  <a:gd name="T99" fmla="*/ 66 h 86"/>
                  <a:gd name="T100" fmla="*/ 18 w 96"/>
                  <a:gd name="T101" fmla="*/ 74 h 86"/>
                  <a:gd name="T102" fmla="*/ 10 w 96"/>
                  <a:gd name="T103" fmla="*/ 74 h 86"/>
                  <a:gd name="T104" fmla="*/ 6 w 96"/>
                  <a:gd name="T105" fmla="*/ 70 h 86"/>
                  <a:gd name="T106" fmla="*/ 4 w 96"/>
                  <a:gd name="T107" fmla="*/ 62 h 86"/>
                  <a:gd name="T108" fmla="*/ 0 w 96"/>
                  <a:gd name="T109" fmla="*/ 6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96" h="86">
                    <a:moveTo>
                      <a:pt x="92" y="78"/>
                    </a:moveTo>
                    <a:lnTo>
                      <a:pt x="88" y="82"/>
                    </a:lnTo>
                    <a:lnTo>
                      <a:pt x="86" y="82"/>
                    </a:lnTo>
                    <a:lnTo>
                      <a:pt x="82" y="82"/>
                    </a:lnTo>
                    <a:lnTo>
                      <a:pt x="82" y="82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0" y="86"/>
                    </a:lnTo>
                    <a:lnTo>
                      <a:pt x="58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52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4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2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18" y="62"/>
                    </a:lnTo>
                    <a:lnTo>
                      <a:pt x="18" y="62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4"/>
                    </a:lnTo>
                    <a:lnTo>
                      <a:pt x="58" y="10"/>
                    </a:lnTo>
                    <a:lnTo>
                      <a:pt x="62" y="6"/>
                    </a:lnTo>
                    <a:lnTo>
                      <a:pt x="70" y="0"/>
                    </a:lnTo>
                    <a:lnTo>
                      <a:pt x="74" y="6"/>
                    </a:lnTo>
                    <a:lnTo>
                      <a:pt x="78" y="10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6" y="22"/>
                    </a:lnTo>
                    <a:lnTo>
                      <a:pt x="88" y="26"/>
                    </a:lnTo>
                    <a:lnTo>
                      <a:pt x="88" y="30"/>
                    </a:lnTo>
                    <a:lnTo>
                      <a:pt x="92" y="32"/>
                    </a:lnTo>
                    <a:lnTo>
                      <a:pt x="96" y="36"/>
                    </a:lnTo>
                    <a:lnTo>
                      <a:pt x="96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2"/>
                    </a:lnTo>
                    <a:lnTo>
                      <a:pt x="96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78"/>
                    </a:lnTo>
                    <a:lnTo>
                      <a:pt x="92" y="78"/>
                    </a:lnTo>
                    <a:close/>
                    <a:moveTo>
                      <a:pt x="10" y="40"/>
                    </a:move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close/>
                    <a:moveTo>
                      <a:pt x="4" y="32"/>
                    </a:move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close/>
                    <a:moveTo>
                      <a:pt x="6" y="32"/>
                    </a:move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lnTo>
                      <a:pt x="6" y="32"/>
                    </a:lnTo>
                    <a:close/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0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14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10" y="74"/>
                    </a:lnTo>
                    <a:lnTo>
                      <a:pt x="6" y="74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6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0" name="Freeform 19">
                <a:extLst>
                  <a:ext uri="{FF2B5EF4-FFF2-40B4-BE49-F238E27FC236}">
                    <a16:creationId xmlns:a16="http://schemas.microsoft.com/office/drawing/2014/main" id="{93B9BBA5-ADBF-49C5-BB69-53EEED6D58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24500" y="3835468"/>
                <a:ext cx="12700" cy="15875"/>
              </a:xfrm>
              <a:custGeom>
                <a:avLst/>
                <a:gdLst>
                  <a:gd name="T0" fmla="*/ 4 w 8"/>
                  <a:gd name="T1" fmla="*/ 0 h 10"/>
                  <a:gd name="T2" fmla="*/ 4 w 8"/>
                  <a:gd name="T3" fmla="*/ 0 h 10"/>
                  <a:gd name="T4" fmla="*/ 4 w 8"/>
                  <a:gd name="T5" fmla="*/ 0 h 10"/>
                  <a:gd name="T6" fmla="*/ 4 w 8"/>
                  <a:gd name="T7" fmla="*/ 0 h 10"/>
                  <a:gd name="T8" fmla="*/ 4 w 8"/>
                  <a:gd name="T9" fmla="*/ 0 h 10"/>
                  <a:gd name="T10" fmla="*/ 4 w 8"/>
                  <a:gd name="T11" fmla="*/ 4 h 10"/>
                  <a:gd name="T12" fmla="*/ 4 w 8"/>
                  <a:gd name="T13" fmla="*/ 4 h 10"/>
                  <a:gd name="T14" fmla="*/ 4 w 8"/>
                  <a:gd name="T15" fmla="*/ 4 h 10"/>
                  <a:gd name="T16" fmla="*/ 4 w 8"/>
                  <a:gd name="T17" fmla="*/ 4 h 10"/>
                  <a:gd name="T18" fmla="*/ 4 w 8"/>
                  <a:gd name="T19" fmla="*/ 4 h 10"/>
                  <a:gd name="T20" fmla="*/ 4 w 8"/>
                  <a:gd name="T21" fmla="*/ 8 h 10"/>
                  <a:gd name="T22" fmla="*/ 4 w 8"/>
                  <a:gd name="T23" fmla="*/ 8 h 10"/>
                  <a:gd name="T24" fmla="*/ 4 w 8"/>
                  <a:gd name="T25" fmla="*/ 8 h 10"/>
                  <a:gd name="T26" fmla="*/ 4 w 8"/>
                  <a:gd name="T27" fmla="*/ 8 h 10"/>
                  <a:gd name="T28" fmla="*/ 4 w 8"/>
                  <a:gd name="T29" fmla="*/ 4 h 10"/>
                  <a:gd name="T30" fmla="*/ 4 w 8"/>
                  <a:gd name="T31" fmla="*/ 4 h 10"/>
                  <a:gd name="T32" fmla="*/ 4 w 8"/>
                  <a:gd name="T33" fmla="*/ 4 h 10"/>
                  <a:gd name="T34" fmla="*/ 4 w 8"/>
                  <a:gd name="T35" fmla="*/ 4 h 10"/>
                  <a:gd name="T36" fmla="*/ 4 w 8"/>
                  <a:gd name="T37" fmla="*/ 4 h 10"/>
                  <a:gd name="T38" fmla="*/ 0 w 8"/>
                  <a:gd name="T39" fmla="*/ 0 h 10"/>
                  <a:gd name="T40" fmla="*/ 4 w 8"/>
                  <a:gd name="T41" fmla="*/ 0 h 10"/>
                  <a:gd name="T42" fmla="*/ 4 w 8"/>
                  <a:gd name="T43" fmla="*/ 0 h 10"/>
                  <a:gd name="T44" fmla="*/ 4 w 8"/>
                  <a:gd name="T45" fmla="*/ 0 h 10"/>
                  <a:gd name="T46" fmla="*/ 4 w 8"/>
                  <a:gd name="T47" fmla="*/ 0 h 10"/>
                  <a:gd name="T48" fmla="*/ 4 w 8"/>
                  <a:gd name="T49" fmla="*/ 0 h 10"/>
                  <a:gd name="T50" fmla="*/ 4 w 8"/>
                  <a:gd name="T51" fmla="*/ 0 h 10"/>
                  <a:gd name="T52" fmla="*/ 4 w 8"/>
                  <a:gd name="T53" fmla="*/ 4 h 10"/>
                  <a:gd name="T54" fmla="*/ 4 w 8"/>
                  <a:gd name="T55" fmla="*/ 4 h 10"/>
                  <a:gd name="T56" fmla="*/ 8 w 8"/>
                  <a:gd name="T57" fmla="*/ 10 h 10"/>
                  <a:gd name="T58" fmla="*/ 8 w 8"/>
                  <a:gd name="T59" fmla="*/ 10 h 10"/>
                  <a:gd name="T60" fmla="*/ 8 w 8"/>
                  <a:gd name="T61" fmla="*/ 10 h 10"/>
                  <a:gd name="T62" fmla="*/ 8 w 8"/>
                  <a:gd name="T63" fmla="*/ 10 h 10"/>
                  <a:gd name="T64" fmla="*/ 8 w 8"/>
                  <a:gd name="T65" fmla="*/ 10 h 10"/>
                  <a:gd name="T66" fmla="*/ 8 w 8"/>
                  <a:gd name="T67" fmla="*/ 10 h 10"/>
                  <a:gd name="T68" fmla="*/ 8 w 8"/>
                  <a:gd name="T69" fmla="*/ 10 h 10"/>
                  <a:gd name="T70" fmla="*/ 8 w 8"/>
                  <a:gd name="T71" fmla="*/ 10 h 10"/>
                  <a:gd name="T72" fmla="*/ 8 w 8"/>
                  <a:gd name="T73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8" h="10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8" y="10"/>
                    </a:move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1" name="Freeform 20">
                <a:extLst>
                  <a:ext uri="{FF2B5EF4-FFF2-40B4-BE49-F238E27FC236}">
                    <a16:creationId xmlns:a16="http://schemas.microsoft.com/office/drawing/2014/main" id="{6FEE90F5-A468-459C-98A0-549B3253110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369050" y="3822768"/>
                <a:ext cx="107950" cy="168275"/>
              </a:xfrm>
              <a:custGeom>
                <a:avLst/>
                <a:gdLst>
                  <a:gd name="T0" fmla="*/ 38 w 68"/>
                  <a:gd name="T1" fmla="*/ 76 h 106"/>
                  <a:gd name="T2" fmla="*/ 34 w 68"/>
                  <a:gd name="T3" fmla="*/ 78 h 106"/>
                  <a:gd name="T4" fmla="*/ 30 w 68"/>
                  <a:gd name="T5" fmla="*/ 82 h 106"/>
                  <a:gd name="T6" fmla="*/ 26 w 68"/>
                  <a:gd name="T7" fmla="*/ 86 h 106"/>
                  <a:gd name="T8" fmla="*/ 30 w 68"/>
                  <a:gd name="T9" fmla="*/ 76 h 106"/>
                  <a:gd name="T10" fmla="*/ 26 w 68"/>
                  <a:gd name="T11" fmla="*/ 86 h 106"/>
                  <a:gd name="T12" fmla="*/ 22 w 68"/>
                  <a:gd name="T13" fmla="*/ 82 h 106"/>
                  <a:gd name="T14" fmla="*/ 22 w 68"/>
                  <a:gd name="T15" fmla="*/ 82 h 106"/>
                  <a:gd name="T16" fmla="*/ 22 w 68"/>
                  <a:gd name="T17" fmla="*/ 86 h 106"/>
                  <a:gd name="T18" fmla="*/ 18 w 68"/>
                  <a:gd name="T19" fmla="*/ 90 h 106"/>
                  <a:gd name="T20" fmla="*/ 12 w 68"/>
                  <a:gd name="T21" fmla="*/ 68 h 106"/>
                  <a:gd name="T22" fmla="*/ 12 w 68"/>
                  <a:gd name="T23" fmla="*/ 60 h 106"/>
                  <a:gd name="T24" fmla="*/ 12 w 68"/>
                  <a:gd name="T25" fmla="*/ 50 h 106"/>
                  <a:gd name="T26" fmla="*/ 8 w 68"/>
                  <a:gd name="T27" fmla="*/ 46 h 106"/>
                  <a:gd name="T28" fmla="*/ 0 w 68"/>
                  <a:gd name="T29" fmla="*/ 34 h 106"/>
                  <a:gd name="T30" fmla="*/ 4 w 68"/>
                  <a:gd name="T31" fmla="*/ 34 h 106"/>
                  <a:gd name="T32" fmla="*/ 12 w 68"/>
                  <a:gd name="T33" fmla="*/ 26 h 106"/>
                  <a:gd name="T34" fmla="*/ 8 w 68"/>
                  <a:gd name="T35" fmla="*/ 22 h 106"/>
                  <a:gd name="T36" fmla="*/ 4 w 68"/>
                  <a:gd name="T37" fmla="*/ 12 h 106"/>
                  <a:gd name="T38" fmla="*/ 4 w 68"/>
                  <a:gd name="T39" fmla="*/ 4 h 106"/>
                  <a:gd name="T40" fmla="*/ 12 w 68"/>
                  <a:gd name="T41" fmla="*/ 8 h 106"/>
                  <a:gd name="T42" fmla="*/ 14 w 68"/>
                  <a:gd name="T43" fmla="*/ 4 h 106"/>
                  <a:gd name="T44" fmla="*/ 22 w 68"/>
                  <a:gd name="T45" fmla="*/ 12 h 106"/>
                  <a:gd name="T46" fmla="*/ 26 w 68"/>
                  <a:gd name="T47" fmla="*/ 16 h 106"/>
                  <a:gd name="T48" fmla="*/ 30 w 68"/>
                  <a:gd name="T49" fmla="*/ 26 h 106"/>
                  <a:gd name="T50" fmla="*/ 44 w 68"/>
                  <a:gd name="T51" fmla="*/ 26 h 106"/>
                  <a:gd name="T52" fmla="*/ 60 w 68"/>
                  <a:gd name="T53" fmla="*/ 26 h 106"/>
                  <a:gd name="T54" fmla="*/ 60 w 68"/>
                  <a:gd name="T55" fmla="*/ 34 h 106"/>
                  <a:gd name="T56" fmla="*/ 56 w 68"/>
                  <a:gd name="T57" fmla="*/ 46 h 106"/>
                  <a:gd name="T58" fmla="*/ 48 w 68"/>
                  <a:gd name="T59" fmla="*/ 46 h 106"/>
                  <a:gd name="T60" fmla="*/ 44 w 68"/>
                  <a:gd name="T61" fmla="*/ 60 h 106"/>
                  <a:gd name="T62" fmla="*/ 48 w 68"/>
                  <a:gd name="T63" fmla="*/ 68 h 106"/>
                  <a:gd name="T64" fmla="*/ 56 w 68"/>
                  <a:gd name="T65" fmla="*/ 60 h 106"/>
                  <a:gd name="T66" fmla="*/ 60 w 68"/>
                  <a:gd name="T67" fmla="*/ 52 h 106"/>
                  <a:gd name="T68" fmla="*/ 64 w 68"/>
                  <a:gd name="T69" fmla="*/ 64 h 106"/>
                  <a:gd name="T70" fmla="*/ 64 w 68"/>
                  <a:gd name="T71" fmla="*/ 76 h 106"/>
                  <a:gd name="T72" fmla="*/ 64 w 68"/>
                  <a:gd name="T73" fmla="*/ 90 h 106"/>
                  <a:gd name="T74" fmla="*/ 64 w 68"/>
                  <a:gd name="T75" fmla="*/ 98 h 106"/>
                  <a:gd name="T76" fmla="*/ 60 w 68"/>
                  <a:gd name="T77" fmla="*/ 102 h 106"/>
                  <a:gd name="T78" fmla="*/ 56 w 68"/>
                  <a:gd name="T79" fmla="*/ 98 h 106"/>
                  <a:gd name="T80" fmla="*/ 56 w 68"/>
                  <a:gd name="T81" fmla="*/ 90 h 106"/>
                  <a:gd name="T82" fmla="*/ 52 w 68"/>
                  <a:gd name="T83" fmla="*/ 78 h 106"/>
                  <a:gd name="T84" fmla="*/ 44 w 68"/>
                  <a:gd name="T85" fmla="*/ 76 h 106"/>
                  <a:gd name="T86" fmla="*/ 38 w 68"/>
                  <a:gd name="T87" fmla="*/ 68 h 106"/>
                  <a:gd name="T88" fmla="*/ 34 w 68"/>
                  <a:gd name="T89" fmla="*/ 56 h 106"/>
                  <a:gd name="T90" fmla="*/ 38 w 68"/>
                  <a:gd name="T91" fmla="*/ 60 h 106"/>
                  <a:gd name="T92" fmla="*/ 34 w 68"/>
                  <a:gd name="T93" fmla="*/ 64 h 106"/>
                  <a:gd name="T94" fmla="*/ 38 w 68"/>
                  <a:gd name="T95" fmla="*/ 68 h 106"/>
                  <a:gd name="T96" fmla="*/ 38 w 68"/>
                  <a:gd name="T97" fmla="*/ 86 h 106"/>
                  <a:gd name="T98" fmla="*/ 38 w 68"/>
                  <a:gd name="T99" fmla="*/ 86 h 106"/>
                  <a:gd name="T100" fmla="*/ 38 w 68"/>
                  <a:gd name="T101" fmla="*/ 82 h 106"/>
                  <a:gd name="T102" fmla="*/ 40 w 68"/>
                  <a:gd name="T103" fmla="*/ 76 h 106"/>
                  <a:gd name="T104" fmla="*/ 38 w 68"/>
                  <a:gd name="T105" fmla="*/ 86 h 106"/>
                  <a:gd name="T106" fmla="*/ 48 w 68"/>
                  <a:gd name="T107" fmla="*/ 76 h 106"/>
                  <a:gd name="T108" fmla="*/ 40 w 68"/>
                  <a:gd name="T109" fmla="*/ 82 h 106"/>
                  <a:gd name="T110" fmla="*/ 44 w 68"/>
                  <a:gd name="T111" fmla="*/ 78 h 106"/>
                  <a:gd name="T112" fmla="*/ 40 w 68"/>
                  <a:gd name="T113" fmla="*/ 82 h 106"/>
                  <a:gd name="T114" fmla="*/ 56 w 68"/>
                  <a:gd name="T115" fmla="*/ 94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8" h="106">
                    <a:moveTo>
                      <a:pt x="34" y="64"/>
                    </a:moveTo>
                    <a:lnTo>
                      <a:pt x="34" y="68"/>
                    </a:lnTo>
                    <a:lnTo>
                      <a:pt x="34" y="72"/>
                    </a:lnTo>
                    <a:lnTo>
                      <a:pt x="38" y="76"/>
                    </a:lnTo>
                    <a:lnTo>
                      <a:pt x="38" y="78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22" y="82"/>
                    </a:lnTo>
                    <a:lnTo>
                      <a:pt x="22" y="86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4" y="7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4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44" y="50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8" y="94"/>
                    </a:lnTo>
                    <a:lnTo>
                      <a:pt x="68" y="98"/>
                    </a:lnTo>
                    <a:lnTo>
                      <a:pt x="64" y="98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0" y="106"/>
                    </a:lnTo>
                    <a:lnTo>
                      <a:pt x="60" y="102"/>
                    </a:lnTo>
                    <a:lnTo>
                      <a:pt x="56" y="102"/>
                    </a:lnTo>
                    <a:lnTo>
                      <a:pt x="56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2" y="82"/>
                    </a:lnTo>
                    <a:lnTo>
                      <a:pt x="52" y="78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38" y="72"/>
                    </a:moveTo>
                    <a:lnTo>
                      <a:pt x="34" y="72"/>
                    </a:lnTo>
                    <a:lnTo>
                      <a:pt x="34" y="68"/>
                    </a:ln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38" y="86"/>
                    </a:moveTo>
                    <a:lnTo>
                      <a:pt x="34" y="86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38" y="86"/>
                    </a:moveTo>
                    <a:lnTo>
                      <a:pt x="38" y="82"/>
                    </a:lnTo>
                    <a:lnTo>
                      <a:pt x="38" y="78"/>
                    </a:lnTo>
                    <a:lnTo>
                      <a:pt x="38" y="76"/>
                    </a:lnTo>
                    <a:lnTo>
                      <a:pt x="38" y="72"/>
                    </a:lnTo>
                    <a:lnTo>
                      <a:pt x="40" y="76"/>
                    </a:lnTo>
                    <a:lnTo>
                      <a:pt x="40" y="78"/>
                    </a:lnTo>
                    <a:lnTo>
                      <a:pt x="40" y="82"/>
                    </a:lnTo>
                    <a:lnTo>
                      <a:pt x="38" y="82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close/>
                    <a:moveTo>
                      <a:pt x="48" y="78"/>
                    </a:moveTo>
                    <a:lnTo>
                      <a:pt x="48" y="76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close/>
                    <a:moveTo>
                      <a:pt x="40" y="82"/>
                    </a:moveTo>
                    <a:lnTo>
                      <a:pt x="44" y="82"/>
                    </a:lnTo>
                    <a:lnTo>
                      <a:pt x="44" y="78"/>
                    </a:lnTo>
                    <a:lnTo>
                      <a:pt x="44" y="76"/>
                    </a:lnTo>
                    <a:lnTo>
                      <a:pt x="44" y="78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close/>
                    <a:moveTo>
                      <a:pt x="56" y="94"/>
                    </a:moveTo>
                    <a:lnTo>
                      <a:pt x="56" y="90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2" name="Freeform 21">
                <a:extLst>
                  <a:ext uri="{FF2B5EF4-FFF2-40B4-BE49-F238E27FC236}">
                    <a16:creationId xmlns:a16="http://schemas.microsoft.com/office/drawing/2014/main" id="{7BA21D8F-8FD7-4953-8BCA-502851E3DD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88100" y="3775143"/>
                <a:ext cx="76200" cy="47625"/>
              </a:xfrm>
              <a:custGeom>
                <a:avLst/>
                <a:gdLst>
                  <a:gd name="T0" fmla="*/ 44 w 48"/>
                  <a:gd name="T1" fmla="*/ 26 h 30"/>
                  <a:gd name="T2" fmla="*/ 38 w 48"/>
                  <a:gd name="T3" fmla="*/ 26 h 30"/>
                  <a:gd name="T4" fmla="*/ 38 w 48"/>
                  <a:gd name="T5" fmla="*/ 26 h 30"/>
                  <a:gd name="T6" fmla="*/ 38 w 48"/>
                  <a:gd name="T7" fmla="*/ 30 h 30"/>
                  <a:gd name="T8" fmla="*/ 34 w 48"/>
                  <a:gd name="T9" fmla="*/ 26 h 30"/>
                  <a:gd name="T10" fmla="*/ 30 w 48"/>
                  <a:gd name="T11" fmla="*/ 30 h 30"/>
                  <a:gd name="T12" fmla="*/ 26 w 48"/>
                  <a:gd name="T13" fmla="*/ 30 h 30"/>
                  <a:gd name="T14" fmla="*/ 22 w 48"/>
                  <a:gd name="T15" fmla="*/ 26 h 30"/>
                  <a:gd name="T16" fmla="*/ 18 w 48"/>
                  <a:gd name="T17" fmla="*/ 26 h 30"/>
                  <a:gd name="T18" fmla="*/ 18 w 48"/>
                  <a:gd name="T19" fmla="*/ 30 h 30"/>
                  <a:gd name="T20" fmla="*/ 14 w 48"/>
                  <a:gd name="T21" fmla="*/ 30 h 30"/>
                  <a:gd name="T22" fmla="*/ 10 w 48"/>
                  <a:gd name="T23" fmla="*/ 30 h 30"/>
                  <a:gd name="T24" fmla="*/ 10 w 48"/>
                  <a:gd name="T25" fmla="*/ 26 h 30"/>
                  <a:gd name="T26" fmla="*/ 6 w 48"/>
                  <a:gd name="T27" fmla="*/ 26 h 30"/>
                  <a:gd name="T28" fmla="*/ 6 w 48"/>
                  <a:gd name="T29" fmla="*/ 26 h 30"/>
                  <a:gd name="T30" fmla="*/ 4 w 48"/>
                  <a:gd name="T31" fmla="*/ 26 h 30"/>
                  <a:gd name="T32" fmla="*/ 0 w 48"/>
                  <a:gd name="T33" fmla="*/ 26 h 30"/>
                  <a:gd name="T34" fmla="*/ 0 w 48"/>
                  <a:gd name="T35" fmla="*/ 24 h 30"/>
                  <a:gd name="T36" fmla="*/ 0 w 48"/>
                  <a:gd name="T37" fmla="*/ 20 h 30"/>
                  <a:gd name="T38" fmla="*/ 0 w 48"/>
                  <a:gd name="T39" fmla="*/ 20 h 30"/>
                  <a:gd name="T40" fmla="*/ 4 w 48"/>
                  <a:gd name="T41" fmla="*/ 20 h 30"/>
                  <a:gd name="T42" fmla="*/ 4 w 48"/>
                  <a:gd name="T43" fmla="*/ 16 h 30"/>
                  <a:gd name="T44" fmla="*/ 4 w 48"/>
                  <a:gd name="T45" fmla="*/ 16 h 30"/>
                  <a:gd name="T46" fmla="*/ 6 w 48"/>
                  <a:gd name="T47" fmla="*/ 12 h 30"/>
                  <a:gd name="T48" fmla="*/ 6 w 48"/>
                  <a:gd name="T49" fmla="*/ 8 h 30"/>
                  <a:gd name="T50" fmla="*/ 6 w 48"/>
                  <a:gd name="T51" fmla="*/ 8 h 30"/>
                  <a:gd name="T52" fmla="*/ 10 w 48"/>
                  <a:gd name="T53" fmla="*/ 4 h 30"/>
                  <a:gd name="T54" fmla="*/ 14 w 48"/>
                  <a:gd name="T55" fmla="*/ 4 h 30"/>
                  <a:gd name="T56" fmla="*/ 18 w 48"/>
                  <a:gd name="T57" fmla="*/ 0 h 30"/>
                  <a:gd name="T58" fmla="*/ 18 w 48"/>
                  <a:gd name="T59" fmla="*/ 0 h 30"/>
                  <a:gd name="T60" fmla="*/ 22 w 48"/>
                  <a:gd name="T61" fmla="*/ 0 h 30"/>
                  <a:gd name="T62" fmla="*/ 22 w 48"/>
                  <a:gd name="T63" fmla="*/ 4 h 30"/>
                  <a:gd name="T64" fmla="*/ 22 w 48"/>
                  <a:gd name="T65" fmla="*/ 4 h 30"/>
                  <a:gd name="T66" fmla="*/ 26 w 48"/>
                  <a:gd name="T67" fmla="*/ 4 h 30"/>
                  <a:gd name="T68" fmla="*/ 30 w 48"/>
                  <a:gd name="T69" fmla="*/ 4 h 30"/>
                  <a:gd name="T70" fmla="*/ 30 w 48"/>
                  <a:gd name="T71" fmla="*/ 8 h 30"/>
                  <a:gd name="T72" fmla="*/ 34 w 48"/>
                  <a:gd name="T73" fmla="*/ 8 h 30"/>
                  <a:gd name="T74" fmla="*/ 38 w 48"/>
                  <a:gd name="T75" fmla="*/ 4 h 30"/>
                  <a:gd name="T76" fmla="*/ 38 w 48"/>
                  <a:gd name="T77" fmla="*/ 8 h 30"/>
                  <a:gd name="T78" fmla="*/ 40 w 48"/>
                  <a:gd name="T79" fmla="*/ 8 h 30"/>
                  <a:gd name="T80" fmla="*/ 40 w 48"/>
                  <a:gd name="T81" fmla="*/ 8 h 30"/>
                  <a:gd name="T82" fmla="*/ 40 w 48"/>
                  <a:gd name="T83" fmla="*/ 12 h 30"/>
                  <a:gd name="T84" fmla="*/ 40 w 48"/>
                  <a:gd name="T85" fmla="*/ 12 h 30"/>
                  <a:gd name="T86" fmla="*/ 40 w 48"/>
                  <a:gd name="T87" fmla="*/ 16 h 30"/>
                  <a:gd name="T88" fmla="*/ 44 w 48"/>
                  <a:gd name="T89" fmla="*/ 16 h 30"/>
                  <a:gd name="T90" fmla="*/ 48 w 48"/>
                  <a:gd name="T91" fmla="*/ 20 h 30"/>
                  <a:gd name="T92" fmla="*/ 44 w 48"/>
                  <a:gd name="T93" fmla="*/ 24 h 30"/>
                  <a:gd name="T94" fmla="*/ 48 w 48"/>
                  <a:gd name="T95" fmla="*/ 26 h 30"/>
                  <a:gd name="T96" fmla="*/ 44 w 48"/>
                  <a:gd name="T97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48" h="30">
                    <a:moveTo>
                      <a:pt x="44" y="26"/>
                    </a:move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3" name="Freeform 22">
                <a:extLst>
                  <a:ext uri="{FF2B5EF4-FFF2-40B4-BE49-F238E27FC236}">
                    <a16:creationId xmlns:a16="http://schemas.microsoft.com/office/drawing/2014/main" id="{82C80924-F80C-40E2-BA7E-1C1CADDDAC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56425" y="4419668"/>
                <a:ext cx="28575" cy="31750"/>
              </a:xfrm>
              <a:custGeom>
                <a:avLst/>
                <a:gdLst>
                  <a:gd name="T0" fmla="*/ 10 w 18"/>
                  <a:gd name="T1" fmla="*/ 4 h 20"/>
                  <a:gd name="T2" fmla="*/ 10 w 18"/>
                  <a:gd name="T3" fmla="*/ 4 h 20"/>
                  <a:gd name="T4" fmla="*/ 10 w 18"/>
                  <a:gd name="T5" fmla="*/ 4 h 20"/>
                  <a:gd name="T6" fmla="*/ 10 w 18"/>
                  <a:gd name="T7" fmla="*/ 4 h 20"/>
                  <a:gd name="T8" fmla="*/ 10 w 18"/>
                  <a:gd name="T9" fmla="*/ 4 h 20"/>
                  <a:gd name="T10" fmla="*/ 10 w 18"/>
                  <a:gd name="T11" fmla="*/ 8 h 20"/>
                  <a:gd name="T12" fmla="*/ 10 w 18"/>
                  <a:gd name="T13" fmla="*/ 8 h 20"/>
                  <a:gd name="T14" fmla="*/ 10 w 18"/>
                  <a:gd name="T15" fmla="*/ 12 h 20"/>
                  <a:gd name="T16" fmla="*/ 10 w 18"/>
                  <a:gd name="T17" fmla="*/ 12 h 20"/>
                  <a:gd name="T18" fmla="*/ 10 w 18"/>
                  <a:gd name="T19" fmla="*/ 12 h 20"/>
                  <a:gd name="T20" fmla="*/ 10 w 18"/>
                  <a:gd name="T21" fmla="*/ 16 h 20"/>
                  <a:gd name="T22" fmla="*/ 10 w 18"/>
                  <a:gd name="T23" fmla="*/ 20 h 20"/>
                  <a:gd name="T24" fmla="*/ 6 w 18"/>
                  <a:gd name="T25" fmla="*/ 20 h 20"/>
                  <a:gd name="T26" fmla="*/ 6 w 18"/>
                  <a:gd name="T27" fmla="*/ 20 h 20"/>
                  <a:gd name="T28" fmla="*/ 6 w 18"/>
                  <a:gd name="T29" fmla="*/ 20 h 20"/>
                  <a:gd name="T30" fmla="*/ 4 w 18"/>
                  <a:gd name="T31" fmla="*/ 16 h 20"/>
                  <a:gd name="T32" fmla="*/ 4 w 18"/>
                  <a:gd name="T33" fmla="*/ 16 h 20"/>
                  <a:gd name="T34" fmla="*/ 4 w 18"/>
                  <a:gd name="T35" fmla="*/ 12 h 20"/>
                  <a:gd name="T36" fmla="*/ 4 w 18"/>
                  <a:gd name="T37" fmla="*/ 12 h 20"/>
                  <a:gd name="T38" fmla="*/ 0 w 18"/>
                  <a:gd name="T39" fmla="*/ 12 h 20"/>
                  <a:gd name="T40" fmla="*/ 0 w 18"/>
                  <a:gd name="T41" fmla="*/ 12 h 20"/>
                  <a:gd name="T42" fmla="*/ 0 w 18"/>
                  <a:gd name="T43" fmla="*/ 8 h 20"/>
                  <a:gd name="T44" fmla="*/ 0 w 18"/>
                  <a:gd name="T45" fmla="*/ 8 h 20"/>
                  <a:gd name="T46" fmla="*/ 0 w 18"/>
                  <a:gd name="T47" fmla="*/ 8 h 20"/>
                  <a:gd name="T48" fmla="*/ 0 w 18"/>
                  <a:gd name="T49" fmla="*/ 12 h 20"/>
                  <a:gd name="T50" fmla="*/ 4 w 18"/>
                  <a:gd name="T51" fmla="*/ 8 h 20"/>
                  <a:gd name="T52" fmla="*/ 6 w 18"/>
                  <a:gd name="T53" fmla="*/ 8 h 20"/>
                  <a:gd name="T54" fmla="*/ 6 w 18"/>
                  <a:gd name="T55" fmla="*/ 8 h 20"/>
                  <a:gd name="T56" fmla="*/ 6 w 18"/>
                  <a:gd name="T57" fmla="*/ 8 h 20"/>
                  <a:gd name="T58" fmla="*/ 6 w 18"/>
                  <a:gd name="T59" fmla="*/ 4 h 20"/>
                  <a:gd name="T60" fmla="*/ 6 w 18"/>
                  <a:gd name="T61" fmla="*/ 4 h 20"/>
                  <a:gd name="T62" fmla="*/ 6 w 18"/>
                  <a:gd name="T63" fmla="*/ 4 h 20"/>
                  <a:gd name="T64" fmla="*/ 10 w 18"/>
                  <a:gd name="T65" fmla="*/ 4 h 20"/>
                  <a:gd name="T66" fmla="*/ 10 w 18"/>
                  <a:gd name="T67" fmla="*/ 4 h 20"/>
                  <a:gd name="T68" fmla="*/ 10 w 18"/>
                  <a:gd name="T69" fmla="*/ 0 h 20"/>
                  <a:gd name="T70" fmla="*/ 14 w 18"/>
                  <a:gd name="T71" fmla="*/ 0 h 20"/>
                  <a:gd name="T72" fmla="*/ 14 w 18"/>
                  <a:gd name="T73" fmla="*/ 0 h 20"/>
                  <a:gd name="T74" fmla="*/ 14 w 18"/>
                  <a:gd name="T75" fmla="*/ 0 h 20"/>
                  <a:gd name="T76" fmla="*/ 10 w 18"/>
                  <a:gd name="T77" fmla="*/ 4 h 20"/>
                  <a:gd name="T78" fmla="*/ 10 w 18"/>
                  <a:gd name="T79" fmla="*/ 4 h 20"/>
                  <a:gd name="T80" fmla="*/ 10 w 18"/>
                  <a:gd name="T81" fmla="*/ 4 h 20"/>
                  <a:gd name="T82" fmla="*/ 14 w 18"/>
                  <a:gd name="T83" fmla="*/ 4 h 20"/>
                  <a:gd name="T84" fmla="*/ 14 w 18"/>
                  <a:gd name="T85" fmla="*/ 4 h 20"/>
                  <a:gd name="T86" fmla="*/ 14 w 18"/>
                  <a:gd name="T87" fmla="*/ 4 h 20"/>
                  <a:gd name="T88" fmla="*/ 14 w 18"/>
                  <a:gd name="T89" fmla="*/ 4 h 20"/>
                  <a:gd name="T90" fmla="*/ 14 w 18"/>
                  <a:gd name="T91" fmla="*/ 8 h 20"/>
                  <a:gd name="T92" fmla="*/ 14 w 18"/>
                  <a:gd name="T93" fmla="*/ 8 h 20"/>
                  <a:gd name="T94" fmla="*/ 14 w 18"/>
                  <a:gd name="T95" fmla="*/ 12 h 20"/>
                  <a:gd name="T96" fmla="*/ 14 w 18"/>
                  <a:gd name="T97" fmla="*/ 12 h 20"/>
                  <a:gd name="T98" fmla="*/ 14 w 18"/>
                  <a:gd name="T99" fmla="*/ 12 h 20"/>
                  <a:gd name="T100" fmla="*/ 18 w 18"/>
                  <a:gd name="T101" fmla="*/ 12 h 20"/>
                  <a:gd name="T102" fmla="*/ 18 w 18"/>
                  <a:gd name="T103" fmla="*/ 12 h 20"/>
                  <a:gd name="T104" fmla="*/ 18 w 18"/>
                  <a:gd name="T105" fmla="*/ 16 h 20"/>
                  <a:gd name="T106" fmla="*/ 18 w 18"/>
                  <a:gd name="T107" fmla="*/ 16 h 20"/>
                  <a:gd name="T108" fmla="*/ 18 w 18"/>
                  <a:gd name="T109" fmla="*/ 16 h 20"/>
                  <a:gd name="T110" fmla="*/ 14 w 18"/>
                  <a:gd name="T111" fmla="*/ 12 h 20"/>
                  <a:gd name="T112" fmla="*/ 14 w 18"/>
                  <a:gd name="T113" fmla="*/ 12 h 20"/>
                  <a:gd name="T114" fmla="*/ 14 w 18"/>
                  <a:gd name="T115" fmla="*/ 8 h 20"/>
                  <a:gd name="T116" fmla="*/ 10 w 18"/>
                  <a:gd name="T117" fmla="*/ 8 h 20"/>
                  <a:gd name="T118" fmla="*/ 14 w 18"/>
                  <a:gd name="T119" fmla="*/ 4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20"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4" y="4"/>
                    </a:move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4" name="Freeform 23">
                <a:extLst>
                  <a:ext uri="{FF2B5EF4-FFF2-40B4-BE49-F238E27FC236}">
                    <a16:creationId xmlns:a16="http://schemas.microsoft.com/office/drawing/2014/main" id="{DCD532A0-5501-4C42-BA7A-3A90A6EEEF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89725" y="4159318"/>
                <a:ext cx="117475" cy="117475"/>
              </a:xfrm>
              <a:custGeom>
                <a:avLst/>
                <a:gdLst>
                  <a:gd name="T0" fmla="*/ 40 w 74"/>
                  <a:gd name="T1" fmla="*/ 68 h 74"/>
                  <a:gd name="T2" fmla="*/ 36 w 74"/>
                  <a:gd name="T3" fmla="*/ 70 h 74"/>
                  <a:gd name="T4" fmla="*/ 36 w 74"/>
                  <a:gd name="T5" fmla="*/ 70 h 74"/>
                  <a:gd name="T6" fmla="*/ 32 w 74"/>
                  <a:gd name="T7" fmla="*/ 70 h 74"/>
                  <a:gd name="T8" fmla="*/ 30 w 74"/>
                  <a:gd name="T9" fmla="*/ 70 h 74"/>
                  <a:gd name="T10" fmla="*/ 26 w 74"/>
                  <a:gd name="T11" fmla="*/ 70 h 74"/>
                  <a:gd name="T12" fmla="*/ 22 w 74"/>
                  <a:gd name="T13" fmla="*/ 70 h 74"/>
                  <a:gd name="T14" fmla="*/ 18 w 74"/>
                  <a:gd name="T15" fmla="*/ 68 h 74"/>
                  <a:gd name="T16" fmla="*/ 22 w 74"/>
                  <a:gd name="T17" fmla="*/ 64 h 74"/>
                  <a:gd name="T18" fmla="*/ 18 w 74"/>
                  <a:gd name="T19" fmla="*/ 64 h 74"/>
                  <a:gd name="T20" fmla="*/ 10 w 74"/>
                  <a:gd name="T21" fmla="*/ 64 h 74"/>
                  <a:gd name="T22" fmla="*/ 10 w 74"/>
                  <a:gd name="T23" fmla="*/ 56 h 74"/>
                  <a:gd name="T24" fmla="*/ 10 w 74"/>
                  <a:gd name="T25" fmla="*/ 52 h 74"/>
                  <a:gd name="T26" fmla="*/ 10 w 74"/>
                  <a:gd name="T27" fmla="*/ 52 h 74"/>
                  <a:gd name="T28" fmla="*/ 10 w 74"/>
                  <a:gd name="T29" fmla="*/ 52 h 74"/>
                  <a:gd name="T30" fmla="*/ 10 w 74"/>
                  <a:gd name="T31" fmla="*/ 48 h 74"/>
                  <a:gd name="T32" fmla="*/ 10 w 74"/>
                  <a:gd name="T33" fmla="*/ 52 h 74"/>
                  <a:gd name="T34" fmla="*/ 6 w 74"/>
                  <a:gd name="T35" fmla="*/ 48 h 74"/>
                  <a:gd name="T36" fmla="*/ 6 w 74"/>
                  <a:gd name="T37" fmla="*/ 38 h 74"/>
                  <a:gd name="T38" fmla="*/ 4 w 74"/>
                  <a:gd name="T39" fmla="*/ 34 h 74"/>
                  <a:gd name="T40" fmla="*/ 4 w 74"/>
                  <a:gd name="T41" fmla="*/ 26 h 74"/>
                  <a:gd name="T42" fmla="*/ 4 w 74"/>
                  <a:gd name="T43" fmla="*/ 20 h 74"/>
                  <a:gd name="T44" fmla="*/ 4 w 74"/>
                  <a:gd name="T45" fmla="*/ 20 h 74"/>
                  <a:gd name="T46" fmla="*/ 6 w 74"/>
                  <a:gd name="T47" fmla="*/ 16 h 74"/>
                  <a:gd name="T48" fmla="*/ 10 w 74"/>
                  <a:gd name="T49" fmla="*/ 8 h 74"/>
                  <a:gd name="T50" fmla="*/ 10 w 74"/>
                  <a:gd name="T51" fmla="*/ 8 h 74"/>
                  <a:gd name="T52" fmla="*/ 14 w 74"/>
                  <a:gd name="T53" fmla="*/ 4 h 74"/>
                  <a:gd name="T54" fmla="*/ 18 w 74"/>
                  <a:gd name="T55" fmla="*/ 4 h 74"/>
                  <a:gd name="T56" fmla="*/ 26 w 74"/>
                  <a:gd name="T57" fmla="*/ 4 h 74"/>
                  <a:gd name="T58" fmla="*/ 32 w 74"/>
                  <a:gd name="T59" fmla="*/ 4 h 74"/>
                  <a:gd name="T60" fmla="*/ 36 w 74"/>
                  <a:gd name="T61" fmla="*/ 4 h 74"/>
                  <a:gd name="T62" fmla="*/ 40 w 74"/>
                  <a:gd name="T63" fmla="*/ 8 h 74"/>
                  <a:gd name="T64" fmla="*/ 40 w 74"/>
                  <a:gd name="T65" fmla="*/ 4 h 74"/>
                  <a:gd name="T66" fmla="*/ 48 w 74"/>
                  <a:gd name="T67" fmla="*/ 8 h 74"/>
                  <a:gd name="T68" fmla="*/ 52 w 74"/>
                  <a:gd name="T69" fmla="*/ 12 h 74"/>
                  <a:gd name="T70" fmla="*/ 54 w 74"/>
                  <a:gd name="T71" fmla="*/ 8 h 74"/>
                  <a:gd name="T72" fmla="*/ 54 w 74"/>
                  <a:gd name="T73" fmla="*/ 4 h 74"/>
                  <a:gd name="T74" fmla="*/ 54 w 74"/>
                  <a:gd name="T75" fmla="*/ 4 h 74"/>
                  <a:gd name="T76" fmla="*/ 58 w 74"/>
                  <a:gd name="T77" fmla="*/ 0 h 74"/>
                  <a:gd name="T78" fmla="*/ 62 w 74"/>
                  <a:gd name="T79" fmla="*/ 4 h 74"/>
                  <a:gd name="T80" fmla="*/ 70 w 74"/>
                  <a:gd name="T81" fmla="*/ 0 h 74"/>
                  <a:gd name="T82" fmla="*/ 74 w 74"/>
                  <a:gd name="T83" fmla="*/ 4 h 74"/>
                  <a:gd name="T84" fmla="*/ 74 w 74"/>
                  <a:gd name="T85" fmla="*/ 8 h 74"/>
                  <a:gd name="T86" fmla="*/ 74 w 74"/>
                  <a:gd name="T87" fmla="*/ 12 h 74"/>
                  <a:gd name="T88" fmla="*/ 74 w 74"/>
                  <a:gd name="T89" fmla="*/ 22 h 74"/>
                  <a:gd name="T90" fmla="*/ 74 w 74"/>
                  <a:gd name="T91" fmla="*/ 38 h 74"/>
                  <a:gd name="T92" fmla="*/ 74 w 74"/>
                  <a:gd name="T93" fmla="*/ 42 h 74"/>
                  <a:gd name="T94" fmla="*/ 70 w 74"/>
                  <a:gd name="T95" fmla="*/ 42 h 74"/>
                  <a:gd name="T96" fmla="*/ 66 w 74"/>
                  <a:gd name="T97" fmla="*/ 44 h 74"/>
                  <a:gd name="T98" fmla="*/ 62 w 74"/>
                  <a:gd name="T99" fmla="*/ 44 h 74"/>
                  <a:gd name="T100" fmla="*/ 58 w 74"/>
                  <a:gd name="T101" fmla="*/ 48 h 74"/>
                  <a:gd name="T102" fmla="*/ 54 w 74"/>
                  <a:gd name="T103" fmla="*/ 48 h 74"/>
                  <a:gd name="T104" fmla="*/ 52 w 74"/>
                  <a:gd name="T105" fmla="*/ 52 h 74"/>
                  <a:gd name="T106" fmla="*/ 52 w 74"/>
                  <a:gd name="T107" fmla="*/ 56 h 74"/>
                  <a:gd name="T108" fmla="*/ 54 w 74"/>
                  <a:gd name="T109" fmla="*/ 64 h 74"/>
                  <a:gd name="T110" fmla="*/ 54 w 74"/>
                  <a:gd name="T111" fmla="*/ 64 h 74"/>
                  <a:gd name="T112" fmla="*/ 48 w 74"/>
                  <a:gd name="T113" fmla="*/ 64 h 74"/>
                  <a:gd name="T114" fmla="*/ 48 w 74"/>
                  <a:gd name="T115" fmla="*/ 64 h 74"/>
                  <a:gd name="T116" fmla="*/ 44 w 74"/>
                  <a:gd name="T117" fmla="*/ 6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74" h="74">
                    <a:moveTo>
                      <a:pt x="40" y="64"/>
                    </a:move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0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4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8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4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5" name="Freeform 24">
                <a:extLst>
                  <a:ext uri="{FF2B5EF4-FFF2-40B4-BE49-F238E27FC236}">
                    <a16:creationId xmlns:a16="http://schemas.microsoft.com/office/drawing/2014/main" id="{08826E0F-7629-44EC-B5C5-3F904A81E8B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45200" y="2994093"/>
                <a:ext cx="1371600" cy="1069975"/>
              </a:xfrm>
              <a:custGeom>
                <a:avLst/>
                <a:gdLst>
                  <a:gd name="T0" fmla="*/ 356 w 864"/>
                  <a:gd name="T1" fmla="*/ 518 h 674"/>
                  <a:gd name="T2" fmla="*/ 328 w 864"/>
                  <a:gd name="T3" fmla="*/ 484 h 674"/>
                  <a:gd name="T4" fmla="*/ 282 w 864"/>
                  <a:gd name="T5" fmla="*/ 484 h 674"/>
                  <a:gd name="T6" fmla="*/ 226 w 864"/>
                  <a:gd name="T7" fmla="*/ 496 h 674"/>
                  <a:gd name="T8" fmla="*/ 182 w 864"/>
                  <a:gd name="T9" fmla="*/ 500 h 674"/>
                  <a:gd name="T10" fmla="*/ 136 w 864"/>
                  <a:gd name="T11" fmla="*/ 470 h 674"/>
                  <a:gd name="T12" fmla="*/ 84 w 864"/>
                  <a:gd name="T13" fmla="*/ 444 h 674"/>
                  <a:gd name="T14" fmla="*/ 76 w 864"/>
                  <a:gd name="T15" fmla="*/ 402 h 674"/>
                  <a:gd name="T16" fmla="*/ 44 w 864"/>
                  <a:gd name="T17" fmla="*/ 354 h 674"/>
                  <a:gd name="T18" fmla="*/ 20 w 864"/>
                  <a:gd name="T19" fmla="*/ 316 h 674"/>
                  <a:gd name="T20" fmla="*/ 18 w 864"/>
                  <a:gd name="T21" fmla="*/ 268 h 674"/>
                  <a:gd name="T22" fmla="*/ 74 w 864"/>
                  <a:gd name="T23" fmla="*/ 242 h 674"/>
                  <a:gd name="T24" fmla="*/ 96 w 864"/>
                  <a:gd name="T25" fmla="*/ 194 h 674"/>
                  <a:gd name="T26" fmla="*/ 122 w 864"/>
                  <a:gd name="T27" fmla="*/ 164 h 674"/>
                  <a:gd name="T28" fmla="*/ 170 w 864"/>
                  <a:gd name="T29" fmla="*/ 120 h 674"/>
                  <a:gd name="T30" fmla="*/ 218 w 864"/>
                  <a:gd name="T31" fmla="*/ 112 h 674"/>
                  <a:gd name="T32" fmla="*/ 242 w 864"/>
                  <a:gd name="T33" fmla="*/ 168 h 674"/>
                  <a:gd name="T34" fmla="*/ 312 w 864"/>
                  <a:gd name="T35" fmla="*/ 198 h 674"/>
                  <a:gd name="T36" fmla="*/ 386 w 864"/>
                  <a:gd name="T37" fmla="*/ 220 h 674"/>
                  <a:gd name="T38" fmla="*/ 476 w 864"/>
                  <a:gd name="T39" fmla="*/ 228 h 674"/>
                  <a:gd name="T40" fmla="*/ 542 w 864"/>
                  <a:gd name="T41" fmla="*/ 198 h 674"/>
                  <a:gd name="T42" fmla="*/ 600 w 864"/>
                  <a:gd name="T43" fmla="*/ 164 h 674"/>
                  <a:gd name="T44" fmla="*/ 656 w 864"/>
                  <a:gd name="T45" fmla="*/ 138 h 674"/>
                  <a:gd name="T46" fmla="*/ 600 w 864"/>
                  <a:gd name="T47" fmla="*/ 108 h 674"/>
                  <a:gd name="T48" fmla="*/ 648 w 864"/>
                  <a:gd name="T49" fmla="*/ 64 h 674"/>
                  <a:gd name="T50" fmla="*/ 676 w 864"/>
                  <a:gd name="T51" fmla="*/ 4 h 674"/>
                  <a:gd name="T52" fmla="*/ 744 w 864"/>
                  <a:gd name="T53" fmla="*/ 18 h 674"/>
                  <a:gd name="T54" fmla="*/ 762 w 864"/>
                  <a:gd name="T55" fmla="*/ 78 h 674"/>
                  <a:gd name="T56" fmla="*/ 814 w 864"/>
                  <a:gd name="T57" fmla="*/ 120 h 674"/>
                  <a:gd name="T58" fmla="*/ 856 w 864"/>
                  <a:gd name="T59" fmla="*/ 138 h 674"/>
                  <a:gd name="T60" fmla="*/ 814 w 864"/>
                  <a:gd name="T61" fmla="*/ 180 h 674"/>
                  <a:gd name="T62" fmla="*/ 796 w 864"/>
                  <a:gd name="T63" fmla="*/ 220 h 674"/>
                  <a:gd name="T64" fmla="*/ 748 w 864"/>
                  <a:gd name="T65" fmla="*/ 242 h 674"/>
                  <a:gd name="T66" fmla="*/ 696 w 864"/>
                  <a:gd name="T67" fmla="*/ 284 h 674"/>
                  <a:gd name="T68" fmla="*/ 688 w 864"/>
                  <a:gd name="T69" fmla="*/ 268 h 674"/>
                  <a:gd name="T70" fmla="*/ 628 w 864"/>
                  <a:gd name="T71" fmla="*/ 286 h 674"/>
                  <a:gd name="T72" fmla="*/ 662 w 864"/>
                  <a:gd name="T73" fmla="*/ 320 h 674"/>
                  <a:gd name="T74" fmla="*/ 666 w 864"/>
                  <a:gd name="T75" fmla="*/ 340 h 674"/>
                  <a:gd name="T76" fmla="*/ 662 w 864"/>
                  <a:gd name="T77" fmla="*/ 384 h 674"/>
                  <a:gd name="T78" fmla="*/ 662 w 864"/>
                  <a:gd name="T79" fmla="*/ 424 h 674"/>
                  <a:gd name="T80" fmla="*/ 676 w 864"/>
                  <a:gd name="T81" fmla="*/ 448 h 674"/>
                  <a:gd name="T82" fmla="*/ 680 w 864"/>
                  <a:gd name="T83" fmla="*/ 470 h 674"/>
                  <a:gd name="T84" fmla="*/ 670 w 864"/>
                  <a:gd name="T85" fmla="*/ 496 h 674"/>
                  <a:gd name="T86" fmla="*/ 658 w 864"/>
                  <a:gd name="T87" fmla="*/ 522 h 674"/>
                  <a:gd name="T88" fmla="*/ 648 w 864"/>
                  <a:gd name="T89" fmla="*/ 540 h 674"/>
                  <a:gd name="T90" fmla="*/ 626 w 864"/>
                  <a:gd name="T91" fmla="*/ 564 h 674"/>
                  <a:gd name="T92" fmla="*/ 588 w 864"/>
                  <a:gd name="T93" fmla="*/ 592 h 674"/>
                  <a:gd name="T94" fmla="*/ 562 w 864"/>
                  <a:gd name="T95" fmla="*/ 592 h 674"/>
                  <a:gd name="T96" fmla="*/ 536 w 864"/>
                  <a:gd name="T97" fmla="*/ 616 h 674"/>
                  <a:gd name="T98" fmla="*/ 514 w 864"/>
                  <a:gd name="T99" fmla="*/ 620 h 674"/>
                  <a:gd name="T100" fmla="*/ 486 w 864"/>
                  <a:gd name="T101" fmla="*/ 616 h 674"/>
                  <a:gd name="T102" fmla="*/ 430 w 864"/>
                  <a:gd name="T103" fmla="*/ 592 h 674"/>
                  <a:gd name="T104" fmla="*/ 402 w 864"/>
                  <a:gd name="T105" fmla="*/ 620 h 674"/>
                  <a:gd name="T106" fmla="*/ 364 w 864"/>
                  <a:gd name="T107" fmla="*/ 586 h 674"/>
                  <a:gd name="T108" fmla="*/ 670 w 864"/>
                  <a:gd name="T109" fmla="*/ 556 h 674"/>
                  <a:gd name="T110" fmla="*/ 670 w 864"/>
                  <a:gd name="T111" fmla="*/ 600 h 674"/>
                  <a:gd name="T112" fmla="*/ 498 w 864"/>
                  <a:gd name="T113" fmla="*/ 662 h 674"/>
                  <a:gd name="T114" fmla="*/ 524 w 864"/>
                  <a:gd name="T115" fmla="*/ 656 h 674"/>
                  <a:gd name="T116" fmla="*/ 684 w 864"/>
                  <a:gd name="T117" fmla="*/ 458 h 674"/>
                  <a:gd name="T118" fmla="*/ 520 w 864"/>
                  <a:gd name="T119" fmla="*/ 622 h 674"/>
                  <a:gd name="T120" fmla="*/ 566 w 864"/>
                  <a:gd name="T121" fmla="*/ 590 h 674"/>
                  <a:gd name="T122" fmla="*/ 628 w 864"/>
                  <a:gd name="T123" fmla="*/ 564 h 674"/>
                  <a:gd name="T124" fmla="*/ 576 w 864"/>
                  <a:gd name="T125" fmla="*/ 604 h 6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4" h="674">
                    <a:moveTo>
                      <a:pt x="342" y="574"/>
                    </a:moveTo>
                    <a:lnTo>
                      <a:pt x="342" y="570"/>
                    </a:lnTo>
                    <a:lnTo>
                      <a:pt x="338" y="570"/>
                    </a:lnTo>
                    <a:lnTo>
                      <a:pt x="342" y="570"/>
                    </a:lnTo>
                    <a:lnTo>
                      <a:pt x="342" y="566"/>
                    </a:lnTo>
                    <a:lnTo>
                      <a:pt x="342" y="564"/>
                    </a:lnTo>
                    <a:lnTo>
                      <a:pt x="338" y="564"/>
                    </a:lnTo>
                    <a:lnTo>
                      <a:pt x="338" y="560"/>
                    </a:lnTo>
                    <a:lnTo>
                      <a:pt x="338" y="556"/>
                    </a:lnTo>
                    <a:lnTo>
                      <a:pt x="342" y="556"/>
                    </a:lnTo>
                    <a:lnTo>
                      <a:pt x="342" y="552"/>
                    </a:lnTo>
                    <a:lnTo>
                      <a:pt x="342" y="548"/>
                    </a:lnTo>
                    <a:lnTo>
                      <a:pt x="346" y="548"/>
                    </a:lnTo>
                    <a:lnTo>
                      <a:pt x="346" y="544"/>
                    </a:lnTo>
                    <a:lnTo>
                      <a:pt x="348" y="540"/>
                    </a:lnTo>
                    <a:lnTo>
                      <a:pt x="352" y="540"/>
                    </a:lnTo>
                    <a:lnTo>
                      <a:pt x="352" y="536"/>
                    </a:lnTo>
                    <a:lnTo>
                      <a:pt x="356" y="536"/>
                    </a:lnTo>
                    <a:lnTo>
                      <a:pt x="352" y="536"/>
                    </a:lnTo>
                    <a:lnTo>
                      <a:pt x="352" y="534"/>
                    </a:lnTo>
                    <a:lnTo>
                      <a:pt x="356" y="534"/>
                    </a:lnTo>
                    <a:lnTo>
                      <a:pt x="356" y="530"/>
                    </a:lnTo>
                    <a:lnTo>
                      <a:pt x="356" y="526"/>
                    </a:lnTo>
                    <a:lnTo>
                      <a:pt x="356" y="522"/>
                    </a:lnTo>
                    <a:lnTo>
                      <a:pt x="356" y="518"/>
                    </a:lnTo>
                    <a:lnTo>
                      <a:pt x="356" y="514"/>
                    </a:lnTo>
                    <a:lnTo>
                      <a:pt x="356" y="510"/>
                    </a:lnTo>
                    <a:lnTo>
                      <a:pt x="356" y="508"/>
                    </a:lnTo>
                    <a:lnTo>
                      <a:pt x="352" y="508"/>
                    </a:lnTo>
                    <a:lnTo>
                      <a:pt x="352" y="504"/>
                    </a:lnTo>
                    <a:lnTo>
                      <a:pt x="352" y="508"/>
                    </a:lnTo>
                    <a:lnTo>
                      <a:pt x="348" y="508"/>
                    </a:lnTo>
                    <a:lnTo>
                      <a:pt x="348" y="504"/>
                    </a:lnTo>
                    <a:lnTo>
                      <a:pt x="348" y="500"/>
                    </a:lnTo>
                    <a:lnTo>
                      <a:pt x="346" y="500"/>
                    </a:lnTo>
                    <a:lnTo>
                      <a:pt x="346" y="496"/>
                    </a:lnTo>
                    <a:lnTo>
                      <a:pt x="346" y="492"/>
                    </a:lnTo>
                    <a:lnTo>
                      <a:pt x="342" y="492"/>
                    </a:lnTo>
                    <a:lnTo>
                      <a:pt x="342" y="488"/>
                    </a:lnTo>
                    <a:lnTo>
                      <a:pt x="338" y="488"/>
                    </a:lnTo>
                    <a:lnTo>
                      <a:pt x="338" y="492"/>
                    </a:lnTo>
                    <a:lnTo>
                      <a:pt x="334" y="492"/>
                    </a:lnTo>
                    <a:lnTo>
                      <a:pt x="334" y="496"/>
                    </a:lnTo>
                    <a:lnTo>
                      <a:pt x="334" y="492"/>
                    </a:lnTo>
                    <a:lnTo>
                      <a:pt x="330" y="492"/>
                    </a:lnTo>
                    <a:lnTo>
                      <a:pt x="328" y="492"/>
                    </a:lnTo>
                    <a:lnTo>
                      <a:pt x="328" y="488"/>
                    </a:lnTo>
                    <a:lnTo>
                      <a:pt x="324" y="492"/>
                    </a:lnTo>
                    <a:lnTo>
                      <a:pt x="324" y="488"/>
                    </a:lnTo>
                    <a:lnTo>
                      <a:pt x="328" y="484"/>
                    </a:lnTo>
                    <a:lnTo>
                      <a:pt x="324" y="480"/>
                    </a:lnTo>
                    <a:lnTo>
                      <a:pt x="324" y="478"/>
                    </a:lnTo>
                    <a:lnTo>
                      <a:pt x="324" y="480"/>
                    </a:lnTo>
                    <a:lnTo>
                      <a:pt x="320" y="480"/>
                    </a:lnTo>
                    <a:lnTo>
                      <a:pt x="320" y="478"/>
                    </a:lnTo>
                    <a:lnTo>
                      <a:pt x="324" y="478"/>
                    </a:lnTo>
                    <a:lnTo>
                      <a:pt x="324" y="474"/>
                    </a:lnTo>
                    <a:lnTo>
                      <a:pt x="320" y="478"/>
                    </a:lnTo>
                    <a:lnTo>
                      <a:pt x="320" y="474"/>
                    </a:lnTo>
                    <a:lnTo>
                      <a:pt x="320" y="470"/>
                    </a:lnTo>
                    <a:lnTo>
                      <a:pt x="316" y="474"/>
                    </a:lnTo>
                    <a:lnTo>
                      <a:pt x="312" y="474"/>
                    </a:lnTo>
                    <a:lnTo>
                      <a:pt x="312" y="478"/>
                    </a:lnTo>
                    <a:lnTo>
                      <a:pt x="308" y="478"/>
                    </a:lnTo>
                    <a:lnTo>
                      <a:pt x="308" y="480"/>
                    </a:lnTo>
                    <a:lnTo>
                      <a:pt x="304" y="478"/>
                    </a:lnTo>
                    <a:lnTo>
                      <a:pt x="302" y="478"/>
                    </a:lnTo>
                    <a:lnTo>
                      <a:pt x="302" y="474"/>
                    </a:lnTo>
                    <a:lnTo>
                      <a:pt x="298" y="474"/>
                    </a:lnTo>
                    <a:lnTo>
                      <a:pt x="298" y="478"/>
                    </a:lnTo>
                    <a:lnTo>
                      <a:pt x="294" y="478"/>
                    </a:lnTo>
                    <a:lnTo>
                      <a:pt x="290" y="480"/>
                    </a:lnTo>
                    <a:lnTo>
                      <a:pt x="290" y="484"/>
                    </a:lnTo>
                    <a:lnTo>
                      <a:pt x="286" y="484"/>
                    </a:lnTo>
                    <a:lnTo>
                      <a:pt x="282" y="484"/>
                    </a:lnTo>
                    <a:lnTo>
                      <a:pt x="278" y="488"/>
                    </a:lnTo>
                    <a:lnTo>
                      <a:pt x="278" y="492"/>
                    </a:lnTo>
                    <a:lnTo>
                      <a:pt x="274" y="492"/>
                    </a:lnTo>
                    <a:lnTo>
                      <a:pt x="272" y="496"/>
                    </a:lnTo>
                    <a:lnTo>
                      <a:pt x="272" y="500"/>
                    </a:lnTo>
                    <a:lnTo>
                      <a:pt x="268" y="500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4" y="504"/>
                    </a:lnTo>
                    <a:lnTo>
                      <a:pt x="260" y="504"/>
                    </a:lnTo>
                    <a:lnTo>
                      <a:pt x="256" y="504"/>
                    </a:lnTo>
                    <a:lnTo>
                      <a:pt x="256" y="500"/>
                    </a:lnTo>
                    <a:lnTo>
                      <a:pt x="252" y="500"/>
                    </a:lnTo>
                    <a:lnTo>
                      <a:pt x="252" y="496"/>
                    </a:lnTo>
                    <a:lnTo>
                      <a:pt x="248" y="496"/>
                    </a:lnTo>
                    <a:lnTo>
                      <a:pt x="248" y="500"/>
                    </a:lnTo>
                    <a:lnTo>
                      <a:pt x="246" y="500"/>
                    </a:lnTo>
                    <a:lnTo>
                      <a:pt x="246" y="496"/>
                    </a:lnTo>
                    <a:lnTo>
                      <a:pt x="242" y="496"/>
                    </a:lnTo>
                    <a:lnTo>
                      <a:pt x="238" y="496"/>
                    </a:lnTo>
                    <a:lnTo>
                      <a:pt x="238" y="492"/>
                    </a:lnTo>
                    <a:lnTo>
                      <a:pt x="234" y="492"/>
                    </a:lnTo>
                    <a:lnTo>
                      <a:pt x="230" y="492"/>
                    </a:lnTo>
                    <a:lnTo>
                      <a:pt x="230" y="496"/>
                    </a:lnTo>
                    <a:lnTo>
                      <a:pt x="226" y="496"/>
                    </a:lnTo>
                    <a:lnTo>
                      <a:pt x="222" y="500"/>
                    </a:lnTo>
                    <a:lnTo>
                      <a:pt x="222" y="504"/>
                    </a:lnTo>
                    <a:lnTo>
                      <a:pt x="218" y="504"/>
                    </a:lnTo>
                    <a:lnTo>
                      <a:pt x="218" y="508"/>
                    </a:lnTo>
                    <a:lnTo>
                      <a:pt x="218" y="510"/>
                    </a:lnTo>
                    <a:lnTo>
                      <a:pt x="216" y="510"/>
                    </a:lnTo>
                    <a:lnTo>
                      <a:pt x="216" y="508"/>
                    </a:lnTo>
                    <a:lnTo>
                      <a:pt x="216" y="504"/>
                    </a:lnTo>
                    <a:lnTo>
                      <a:pt x="216" y="500"/>
                    </a:lnTo>
                    <a:lnTo>
                      <a:pt x="216" y="496"/>
                    </a:lnTo>
                    <a:lnTo>
                      <a:pt x="212" y="496"/>
                    </a:lnTo>
                    <a:lnTo>
                      <a:pt x="208" y="500"/>
                    </a:lnTo>
                    <a:lnTo>
                      <a:pt x="204" y="500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200" y="500"/>
                    </a:lnTo>
                    <a:lnTo>
                      <a:pt x="200" y="504"/>
                    </a:lnTo>
                    <a:lnTo>
                      <a:pt x="196" y="504"/>
                    </a:lnTo>
                    <a:lnTo>
                      <a:pt x="196" y="500"/>
                    </a:lnTo>
                    <a:lnTo>
                      <a:pt x="192" y="500"/>
                    </a:lnTo>
                    <a:lnTo>
                      <a:pt x="192" y="504"/>
                    </a:lnTo>
                    <a:lnTo>
                      <a:pt x="192" y="500"/>
                    </a:lnTo>
                    <a:lnTo>
                      <a:pt x="188" y="500"/>
                    </a:lnTo>
                    <a:lnTo>
                      <a:pt x="186" y="496"/>
                    </a:lnTo>
                    <a:lnTo>
                      <a:pt x="182" y="500"/>
                    </a:lnTo>
                    <a:lnTo>
                      <a:pt x="178" y="500"/>
                    </a:lnTo>
                    <a:lnTo>
                      <a:pt x="178" y="496"/>
                    </a:lnTo>
                    <a:lnTo>
                      <a:pt x="178" y="500"/>
                    </a:lnTo>
                    <a:lnTo>
                      <a:pt x="174" y="500"/>
                    </a:lnTo>
                    <a:lnTo>
                      <a:pt x="174" y="496"/>
                    </a:lnTo>
                    <a:lnTo>
                      <a:pt x="170" y="492"/>
                    </a:lnTo>
                    <a:lnTo>
                      <a:pt x="166" y="492"/>
                    </a:lnTo>
                    <a:lnTo>
                      <a:pt x="162" y="492"/>
                    </a:lnTo>
                    <a:lnTo>
                      <a:pt x="162" y="488"/>
                    </a:lnTo>
                    <a:lnTo>
                      <a:pt x="162" y="484"/>
                    </a:lnTo>
                    <a:lnTo>
                      <a:pt x="162" y="488"/>
                    </a:lnTo>
                    <a:lnTo>
                      <a:pt x="160" y="488"/>
                    </a:lnTo>
                    <a:lnTo>
                      <a:pt x="156" y="488"/>
                    </a:lnTo>
                    <a:lnTo>
                      <a:pt x="156" y="484"/>
                    </a:lnTo>
                    <a:lnTo>
                      <a:pt x="152" y="484"/>
                    </a:lnTo>
                    <a:lnTo>
                      <a:pt x="152" y="480"/>
                    </a:lnTo>
                    <a:lnTo>
                      <a:pt x="152" y="478"/>
                    </a:lnTo>
                    <a:lnTo>
                      <a:pt x="148" y="478"/>
                    </a:lnTo>
                    <a:lnTo>
                      <a:pt x="148" y="474"/>
                    </a:lnTo>
                    <a:lnTo>
                      <a:pt x="144" y="474"/>
                    </a:lnTo>
                    <a:lnTo>
                      <a:pt x="144" y="478"/>
                    </a:lnTo>
                    <a:lnTo>
                      <a:pt x="140" y="478"/>
                    </a:lnTo>
                    <a:lnTo>
                      <a:pt x="140" y="474"/>
                    </a:lnTo>
                    <a:lnTo>
                      <a:pt x="136" y="474"/>
                    </a:lnTo>
                    <a:lnTo>
                      <a:pt x="136" y="470"/>
                    </a:lnTo>
                    <a:lnTo>
                      <a:pt x="132" y="470"/>
                    </a:lnTo>
                    <a:lnTo>
                      <a:pt x="132" y="466"/>
                    </a:lnTo>
                    <a:lnTo>
                      <a:pt x="130" y="466"/>
                    </a:lnTo>
                    <a:lnTo>
                      <a:pt x="126" y="462"/>
                    </a:lnTo>
                    <a:lnTo>
                      <a:pt x="122" y="458"/>
                    </a:lnTo>
                    <a:lnTo>
                      <a:pt x="122" y="462"/>
                    </a:lnTo>
                    <a:lnTo>
                      <a:pt x="122" y="458"/>
                    </a:lnTo>
                    <a:lnTo>
                      <a:pt x="122" y="454"/>
                    </a:lnTo>
                    <a:lnTo>
                      <a:pt x="118" y="454"/>
                    </a:lnTo>
                    <a:lnTo>
                      <a:pt x="114" y="454"/>
                    </a:lnTo>
                    <a:lnTo>
                      <a:pt x="110" y="454"/>
                    </a:lnTo>
                    <a:lnTo>
                      <a:pt x="110" y="458"/>
                    </a:lnTo>
                    <a:lnTo>
                      <a:pt x="106" y="462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6" y="458"/>
                    </a:lnTo>
                    <a:lnTo>
                      <a:pt x="104" y="458"/>
                    </a:lnTo>
                    <a:lnTo>
                      <a:pt x="104" y="454"/>
                    </a:lnTo>
                    <a:lnTo>
                      <a:pt x="100" y="454"/>
                    </a:lnTo>
                    <a:lnTo>
                      <a:pt x="96" y="452"/>
                    </a:lnTo>
                    <a:lnTo>
                      <a:pt x="92" y="452"/>
                    </a:lnTo>
                    <a:lnTo>
                      <a:pt x="96" y="448"/>
                    </a:lnTo>
                    <a:lnTo>
                      <a:pt x="92" y="448"/>
                    </a:lnTo>
                    <a:lnTo>
                      <a:pt x="88" y="444"/>
                    </a:lnTo>
                    <a:lnTo>
                      <a:pt x="84" y="444"/>
                    </a:lnTo>
                    <a:lnTo>
                      <a:pt x="80" y="444"/>
                    </a:lnTo>
                    <a:lnTo>
                      <a:pt x="80" y="440"/>
                    </a:lnTo>
                    <a:lnTo>
                      <a:pt x="80" y="436"/>
                    </a:lnTo>
                    <a:lnTo>
                      <a:pt x="76" y="436"/>
                    </a:lnTo>
                    <a:lnTo>
                      <a:pt x="74" y="436"/>
                    </a:lnTo>
                    <a:lnTo>
                      <a:pt x="74" y="440"/>
                    </a:lnTo>
                    <a:lnTo>
                      <a:pt x="74" y="436"/>
                    </a:lnTo>
                    <a:lnTo>
                      <a:pt x="74" y="432"/>
                    </a:lnTo>
                    <a:lnTo>
                      <a:pt x="74" y="428"/>
                    </a:lnTo>
                    <a:lnTo>
                      <a:pt x="74" y="424"/>
                    </a:lnTo>
                    <a:lnTo>
                      <a:pt x="70" y="424"/>
                    </a:lnTo>
                    <a:lnTo>
                      <a:pt x="70" y="422"/>
                    </a:lnTo>
                    <a:lnTo>
                      <a:pt x="70" y="418"/>
                    </a:lnTo>
                    <a:lnTo>
                      <a:pt x="70" y="414"/>
                    </a:lnTo>
                    <a:lnTo>
                      <a:pt x="74" y="414"/>
                    </a:lnTo>
                    <a:lnTo>
                      <a:pt x="74" y="418"/>
                    </a:lnTo>
                    <a:lnTo>
                      <a:pt x="76" y="418"/>
                    </a:lnTo>
                    <a:lnTo>
                      <a:pt x="80" y="414"/>
                    </a:lnTo>
                    <a:lnTo>
                      <a:pt x="80" y="418"/>
                    </a:lnTo>
                    <a:lnTo>
                      <a:pt x="84" y="414"/>
                    </a:lnTo>
                    <a:lnTo>
                      <a:pt x="84" y="410"/>
                    </a:lnTo>
                    <a:lnTo>
                      <a:pt x="80" y="410"/>
                    </a:lnTo>
                    <a:lnTo>
                      <a:pt x="80" y="406"/>
                    </a:lnTo>
                    <a:lnTo>
                      <a:pt x="80" y="402"/>
                    </a:lnTo>
                    <a:lnTo>
                      <a:pt x="76" y="402"/>
                    </a:lnTo>
                    <a:lnTo>
                      <a:pt x="76" y="398"/>
                    </a:lnTo>
                    <a:lnTo>
                      <a:pt x="74" y="398"/>
                    </a:lnTo>
                    <a:lnTo>
                      <a:pt x="74" y="396"/>
                    </a:lnTo>
                    <a:lnTo>
                      <a:pt x="74" y="392"/>
                    </a:lnTo>
                    <a:lnTo>
                      <a:pt x="74" y="388"/>
                    </a:lnTo>
                    <a:lnTo>
                      <a:pt x="74" y="384"/>
                    </a:lnTo>
                    <a:lnTo>
                      <a:pt x="76" y="384"/>
                    </a:lnTo>
                    <a:lnTo>
                      <a:pt x="76" y="380"/>
                    </a:lnTo>
                    <a:lnTo>
                      <a:pt x="74" y="376"/>
                    </a:lnTo>
                    <a:lnTo>
                      <a:pt x="70" y="376"/>
                    </a:lnTo>
                    <a:lnTo>
                      <a:pt x="66" y="376"/>
                    </a:lnTo>
                    <a:lnTo>
                      <a:pt x="66" y="372"/>
                    </a:lnTo>
                    <a:lnTo>
                      <a:pt x="66" y="368"/>
                    </a:lnTo>
                    <a:lnTo>
                      <a:pt x="62" y="366"/>
                    </a:lnTo>
                    <a:lnTo>
                      <a:pt x="58" y="368"/>
                    </a:lnTo>
                    <a:lnTo>
                      <a:pt x="60" y="368"/>
                    </a:lnTo>
                    <a:lnTo>
                      <a:pt x="58" y="368"/>
                    </a:lnTo>
                    <a:lnTo>
                      <a:pt x="56" y="366"/>
                    </a:lnTo>
                    <a:lnTo>
                      <a:pt x="58" y="366"/>
                    </a:lnTo>
                    <a:lnTo>
                      <a:pt x="52" y="364"/>
                    </a:lnTo>
                    <a:lnTo>
                      <a:pt x="52" y="362"/>
                    </a:lnTo>
                    <a:lnTo>
                      <a:pt x="50" y="358"/>
                    </a:lnTo>
                    <a:lnTo>
                      <a:pt x="48" y="358"/>
                    </a:lnTo>
                    <a:lnTo>
                      <a:pt x="44" y="358"/>
                    </a:lnTo>
                    <a:lnTo>
                      <a:pt x="44" y="354"/>
                    </a:lnTo>
                    <a:lnTo>
                      <a:pt x="42" y="354"/>
                    </a:lnTo>
                    <a:lnTo>
                      <a:pt x="40" y="354"/>
                    </a:lnTo>
                    <a:lnTo>
                      <a:pt x="36" y="354"/>
                    </a:lnTo>
                    <a:lnTo>
                      <a:pt x="36" y="350"/>
                    </a:lnTo>
                    <a:lnTo>
                      <a:pt x="32" y="350"/>
                    </a:lnTo>
                    <a:lnTo>
                      <a:pt x="32" y="346"/>
                    </a:lnTo>
                    <a:lnTo>
                      <a:pt x="36" y="346"/>
                    </a:lnTo>
                    <a:lnTo>
                      <a:pt x="32" y="342"/>
                    </a:lnTo>
                    <a:lnTo>
                      <a:pt x="32" y="342"/>
                    </a:lnTo>
                    <a:lnTo>
                      <a:pt x="30" y="340"/>
                    </a:lnTo>
                    <a:lnTo>
                      <a:pt x="26" y="338"/>
                    </a:lnTo>
                    <a:lnTo>
                      <a:pt x="24" y="336"/>
                    </a:lnTo>
                    <a:lnTo>
                      <a:pt x="24" y="336"/>
                    </a:lnTo>
                    <a:lnTo>
                      <a:pt x="20" y="332"/>
                    </a:lnTo>
                    <a:lnTo>
                      <a:pt x="18" y="332"/>
                    </a:lnTo>
                    <a:lnTo>
                      <a:pt x="14" y="332"/>
                    </a:lnTo>
                    <a:lnTo>
                      <a:pt x="10" y="328"/>
                    </a:lnTo>
                    <a:lnTo>
                      <a:pt x="14" y="328"/>
                    </a:lnTo>
                    <a:lnTo>
                      <a:pt x="18" y="324"/>
                    </a:lnTo>
                    <a:lnTo>
                      <a:pt x="18" y="328"/>
                    </a:lnTo>
                    <a:lnTo>
                      <a:pt x="20" y="324"/>
                    </a:lnTo>
                    <a:lnTo>
                      <a:pt x="20" y="320"/>
                    </a:lnTo>
                    <a:lnTo>
                      <a:pt x="18" y="320"/>
                    </a:lnTo>
                    <a:lnTo>
                      <a:pt x="18" y="316"/>
                    </a:lnTo>
                    <a:lnTo>
                      <a:pt x="20" y="316"/>
                    </a:lnTo>
                    <a:lnTo>
                      <a:pt x="18" y="316"/>
                    </a:lnTo>
                    <a:lnTo>
                      <a:pt x="18" y="312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4" y="302"/>
                    </a:lnTo>
                    <a:lnTo>
                      <a:pt x="10" y="298"/>
                    </a:lnTo>
                    <a:lnTo>
                      <a:pt x="6" y="298"/>
                    </a:lnTo>
                    <a:lnTo>
                      <a:pt x="6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294"/>
                    </a:lnTo>
                    <a:lnTo>
                      <a:pt x="4" y="290"/>
                    </a:lnTo>
                    <a:lnTo>
                      <a:pt x="0" y="286"/>
                    </a:lnTo>
                    <a:lnTo>
                      <a:pt x="4" y="286"/>
                    </a:lnTo>
                    <a:lnTo>
                      <a:pt x="4" y="284"/>
                    </a:lnTo>
                    <a:lnTo>
                      <a:pt x="6" y="284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76"/>
                    </a:lnTo>
                    <a:lnTo>
                      <a:pt x="6" y="272"/>
                    </a:lnTo>
                    <a:lnTo>
                      <a:pt x="10" y="272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0" y="264"/>
                    </a:lnTo>
                    <a:lnTo>
                      <a:pt x="24" y="264"/>
                    </a:lnTo>
                    <a:lnTo>
                      <a:pt x="24" y="260"/>
                    </a:lnTo>
                    <a:lnTo>
                      <a:pt x="28" y="260"/>
                    </a:lnTo>
                    <a:lnTo>
                      <a:pt x="28" y="264"/>
                    </a:lnTo>
                    <a:lnTo>
                      <a:pt x="28" y="268"/>
                    </a:lnTo>
                    <a:lnTo>
                      <a:pt x="32" y="268"/>
                    </a:lnTo>
                    <a:lnTo>
                      <a:pt x="36" y="264"/>
                    </a:lnTo>
                    <a:lnTo>
                      <a:pt x="40" y="264"/>
                    </a:lnTo>
                    <a:lnTo>
                      <a:pt x="40" y="268"/>
                    </a:lnTo>
                    <a:lnTo>
                      <a:pt x="40" y="264"/>
                    </a:lnTo>
                    <a:lnTo>
                      <a:pt x="44" y="264"/>
                    </a:lnTo>
                    <a:lnTo>
                      <a:pt x="44" y="260"/>
                    </a:lnTo>
                    <a:lnTo>
                      <a:pt x="44" y="254"/>
                    </a:lnTo>
                    <a:lnTo>
                      <a:pt x="48" y="254"/>
                    </a:lnTo>
                    <a:lnTo>
                      <a:pt x="50" y="254"/>
                    </a:lnTo>
                    <a:lnTo>
                      <a:pt x="54" y="254"/>
                    </a:lnTo>
                    <a:lnTo>
                      <a:pt x="58" y="254"/>
                    </a:lnTo>
                    <a:lnTo>
                      <a:pt x="62" y="254"/>
                    </a:lnTo>
                    <a:lnTo>
                      <a:pt x="66" y="254"/>
                    </a:lnTo>
                    <a:lnTo>
                      <a:pt x="66" y="250"/>
                    </a:lnTo>
                    <a:lnTo>
                      <a:pt x="66" y="246"/>
                    </a:lnTo>
                    <a:lnTo>
                      <a:pt x="70" y="246"/>
                    </a:lnTo>
                    <a:lnTo>
                      <a:pt x="74" y="242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80" y="238"/>
                    </a:lnTo>
                    <a:lnTo>
                      <a:pt x="84" y="238"/>
                    </a:lnTo>
                    <a:lnTo>
                      <a:pt x="88" y="238"/>
                    </a:lnTo>
                    <a:lnTo>
                      <a:pt x="88" y="234"/>
                    </a:lnTo>
                    <a:lnTo>
                      <a:pt x="92" y="234"/>
                    </a:lnTo>
                    <a:lnTo>
                      <a:pt x="96" y="234"/>
                    </a:lnTo>
                    <a:lnTo>
                      <a:pt x="96" y="230"/>
                    </a:lnTo>
                    <a:lnTo>
                      <a:pt x="92" y="230"/>
                    </a:lnTo>
                    <a:lnTo>
                      <a:pt x="96" y="230"/>
                    </a:lnTo>
                    <a:lnTo>
                      <a:pt x="96" y="228"/>
                    </a:lnTo>
                    <a:lnTo>
                      <a:pt x="92" y="228"/>
                    </a:lnTo>
                    <a:lnTo>
                      <a:pt x="92" y="224"/>
                    </a:lnTo>
                    <a:lnTo>
                      <a:pt x="96" y="220"/>
                    </a:lnTo>
                    <a:lnTo>
                      <a:pt x="100" y="216"/>
                    </a:lnTo>
                    <a:lnTo>
                      <a:pt x="96" y="216"/>
                    </a:lnTo>
                    <a:lnTo>
                      <a:pt x="100" y="214"/>
                    </a:lnTo>
                    <a:lnTo>
                      <a:pt x="104" y="214"/>
                    </a:lnTo>
                    <a:lnTo>
                      <a:pt x="104" y="210"/>
                    </a:lnTo>
                    <a:lnTo>
                      <a:pt x="100" y="206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6" y="194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6" y="184"/>
                    </a:lnTo>
                    <a:lnTo>
                      <a:pt x="100" y="184"/>
                    </a:lnTo>
                    <a:lnTo>
                      <a:pt x="100" y="180"/>
                    </a:lnTo>
                    <a:lnTo>
                      <a:pt x="96" y="180"/>
                    </a:lnTo>
                    <a:lnTo>
                      <a:pt x="92" y="180"/>
                    </a:lnTo>
                    <a:lnTo>
                      <a:pt x="88" y="180"/>
                    </a:lnTo>
                    <a:lnTo>
                      <a:pt x="92" y="176"/>
                    </a:lnTo>
                    <a:lnTo>
                      <a:pt x="96" y="176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6" y="172"/>
                    </a:lnTo>
                    <a:lnTo>
                      <a:pt x="110" y="172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8" y="172"/>
                    </a:lnTo>
                    <a:lnTo>
                      <a:pt x="122" y="172"/>
                    </a:lnTo>
                    <a:lnTo>
                      <a:pt x="126" y="172"/>
                    </a:lnTo>
                    <a:lnTo>
                      <a:pt x="130" y="172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64"/>
                    </a:lnTo>
                    <a:lnTo>
                      <a:pt x="122" y="164"/>
                    </a:lnTo>
                    <a:lnTo>
                      <a:pt x="126" y="160"/>
                    </a:lnTo>
                    <a:lnTo>
                      <a:pt x="126" y="158"/>
                    </a:lnTo>
                    <a:lnTo>
                      <a:pt x="126" y="154"/>
                    </a:lnTo>
                    <a:lnTo>
                      <a:pt x="126" y="150"/>
                    </a:lnTo>
                    <a:lnTo>
                      <a:pt x="130" y="150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2" y="138"/>
                    </a:lnTo>
                    <a:lnTo>
                      <a:pt x="132" y="134"/>
                    </a:lnTo>
                    <a:lnTo>
                      <a:pt x="132" y="130"/>
                    </a:lnTo>
                    <a:lnTo>
                      <a:pt x="136" y="130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6" y="134"/>
                    </a:lnTo>
                    <a:lnTo>
                      <a:pt x="160" y="138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0"/>
                    </a:lnTo>
                    <a:lnTo>
                      <a:pt x="170" y="128"/>
                    </a:lnTo>
                    <a:lnTo>
                      <a:pt x="170" y="124"/>
                    </a:lnTo>
                    <a:lnTo>
                      <a:pt x="170" y="120"/>
                    </a:lnTo>
                    <a:lnTo>
                      <a:pt x="170" y="116"/>
                    </a:lnTo>
                    <a:lnTo>
                      <a:pt x="170" y="112"/>
                    </a:lnTo>
                    <a:lnTo>
                      <a:pt x="170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8" y="104"/>
                    </a:lnTo>
                    <a:lnTo>
                      <a:pt x="182" y="104"/>
                    </a:lnTo>
                    <a:lnTo>
                      <a:pt x="186" y="104"/>
                    </a:lnTo>
                    <a:lnTo>
                      <a:pt x="186" y="102"/>
                    </a:lnTo>
                    <a:lnTo>
                      <a:pt x="186" y="98"/>
                    </a:lnTo>
                    <a:lnTo>
                      <a:pt x="186" y="94"/>
                    </a:lnTo>
                    <a:lnTo>
                      <a:pt x="188" y="94"/>
                    </a:lnTo>
                    <a:lnTo>
                      <a:pt x="192" y="94"/>
                    </a:lnTo>
                    <a:lnTo>
                      <a:pt x="196" y="94"/>
                    </a:lnTo>
                    <a:lnTo>
                      <a:pt x="200" y="90"/>
                    </a:lnTo>
                    <a:lnTo>
                      <a:pt x="200" y="94"/>
                    </a:lnTo>
                    <a:lnTo>
                      <a:pt x="204" y="94"/>
                    </a:lnTo>
                    <a:lnTo>
                      <a:pt x="200" y="98"/>
                    </a:lnTo>
                    <a:lnTo>
                      <a:pt x="204" y="102"/>
                    </a:lnTo>
                    <a:lnTo>
                      <a:pt x="204" y="104"/>
                    </a:lnTo>
                    <a:lnTo>
                      <a:pt x="208" y="104"/>
                    </a:lnTo>
                    <a:lnTo>
                      <a:pt x="212" y="108"/>
                    </a:lnTo>
                    <a:lnTo>
                      <a:pt x="212" y="112"/>
                    </a:lnTo>
                    <a:lnTo>
                      <a:pt x="216" y="112"/>
                    </a:lnTo>
                    <a:lnTo>
                      <a:pt x="218" y="112"/>
                    </a:lnTo>
                    <a:lnTo>
                      <a:pt x="218" y="116"/>
                    </a:lnTo>
                    <a:lnTo>
                      <a:pt x="222" y="116"/>
                    </a:lnTo>
                    <a:lnTo>
                      <a:pt x="226" y="116"/>
                    </a:lnTo>
                    <a:lnTo>
                      <a:pt x="230" y="120"/>
                    </a:lnTo>
                    <a:lnTo>
                      <a:pt x="230" y="116"/>
                    </a:lnTo>
                    <a:lnTo>
                      <a:pt x="234" y="116"/>
                    </a:lnTo>
                    <a:lnTo>
                      <a:pt x="234" y="120"/>
                    </a:lnTo>
                    <a:lnTo>
                      <a:pt x="238" y="120"/>
                    </a:lnTo>
                    <a:lnTo>
                      <a:pt x="238" y="124"/>
                    </a:lnTo>
                    <a:lnTo>
                      <a:pt x="238" y="128"/>
                    </a:lnTo>
                    <a:lnTo>
                      <a:pt x="238" y="130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46" y="134"/>
                    </a:lnTo>
                    <a:lnTo>
                      <a:pt x="246" y="138"/>
                    </a:lnTo>
                    <a:lnTo>
                      <a:pt x="246" y="142"/>
                    </a:lnTo>
                    <a:lnTo>
                      <a:pt x="248" y="142"/>
                    </a:lnTo>
                    <a:lnTo>
                      <a:pt x="246" y="142"/>
                    </a:lnTo>
                    <a:lnTo>
                      <a:pt x="248" y="146"/>
                    </a:lnTo>
                    <a:lnTo>
                      <a:pt x="246" y="150"/>
                    </a:lnTo>
                    <a:lnTo>
                      <a:pt x="246" y="154"/>
                    </a:lnTo>
                    <a:lnTo>
                      <a:pt x="246" y="158"/>
                    </a:lnTo>
                    <a:lnTo>
                      <a:pt x="242" y="160"/>
                    </a:lnTo>
                    <a:lnTo>
                      <a:pt x="242" y="164"/>
                    </a:lnTo>
                    <a:lnTo>
                      <a:pt x="242" y="168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8" y="172"/>
                    </a:lnTo>
                    <a:lnTo>
                      <a:pt x="252" y="172"/>
                    </a:lnTo>
                    <a:lnTo>
                      <a:pt x="252" y="176"/>
                    </a:lnTo>
                    <a:lnTo>
                      <a:pt x="260" y="176"/>
                    </a:lnTo>
                    <a:lnTo>
                      <a:pt x="264" y="176"/>
                    </a:lnTo>
                    <a:lnTo>
                      <a:pt x="268" y="176"/>
                    </a:lnTo>
                    <a:lnTo>
                      <a:pt x="272" y="176"/>
                    </a:lnTo>
                    <a:lnTo>
                      <a:pt x="274" y="176"/>
                    </a:lnTo>
                    <a:lnTo>
                      <a:pt x="278" y="176"/>
                    </a:lnTo>
                    <a:lnTo>
                      <a:pt x="282" y="176"/>
                    </a:lnTo>
                    <a:lnTo>
                      <a:pt x="282" y="180"/>
                    </a:lnTo>
                    <a:lnTo>
                      <a:pt x="286" y="180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4" y="184"/>
                    </a:lnTo>
                    <a:lnTo>
                      <a:pt x="294" y="186"/>
                    </a:lnTo>
                    <a:lnTo>
                      <a:pt x="298" y="186"/>
                    </a:lnTo>
                    <a:lnTo>
                      <a:pt x="298" y="190"/>
                    </a:lnTo>
                    <a:lnTo>
                      <a:pt x="304" y="190"/>
                    </a:lnTo>
                    <a:lnTo>
                      <a:pt x="308" y="190"/>
                    </a:lnTo>
                    <a:lnTo>
                      <a:pt x="308" y="194"/>
                    </a:lnTo>
                    <a:lnTo>
                      <a:pt x="312" y="194"/>
                    </a:lnTo>
                    <a:lnTo>
                      <a:pt x="312" y="198"/>
                    </a:lnTo>
                    <a:lnTo>
                      <a:pt x="312" y="202"/>
                    </a:lnTo>
                    <a:lnTo>
                      <a:pt x="312" y="206"/>
                    </a:lnTo>
                    <a:lnTo>
                      <a:pt x="316" y="206"/>
                    </a:lnTo>
                    <a:lnTo>
                      <a:pt x="316" y="210"/>
                    </a:lnTo>
                    <a:lnTo>
                      <a:pt x="316" y="214"/>
                    </a:lnTo>
                    <a:lnTo>
                      <a:pt x="320" y="214"/>
                    </a:lnTo>
                    <a:lnTo>
                      <a:pt x="324" y="216"/>
                    </a:lnTo>
                    <a:lnTo>
                      <a:pt x="324" y="220"/>
                    </a:lnTo>
                    <a:lnTo>
                      <a:pt x="328" y="220"/>
                    </a:lnTo>
                    <a:lnTo>
                      <a:pt x="330" y="220"/>
                    </a:lnTo>
                    <a:lnTo>
                      <a:pt x="334" y="220"/>
                    </a:lnTo>
                    <a:lnTo>
                      <a:pt x="338" y="220"/>
                    </a:lnTo>
                    <a:lnTo>
                      <a:pt x="342" y="220"/>
                    </a:lnTo>
                    <a:lnTo>
                      <a:pt x="346" y="220"/>
                    </a:lnTo>
                    <a:lnTo>
                      <a:pt x="348" y="224"/>
                    </a:lnTo>
                    <a:lnTo>
                      <a:pt x="352" y="224"/>
                    </a:lnTo>
                    <a:lnTo>
                      <a:pt x="356" y="224"/>
                    </a:lnTo>
                    <a:lnTo>
                      <a:pt x="360" y="224"/>
                    </a:lnTo>
                    <a:lnTo>
                      <a:pt x="364" y="224"/>
                    </a:lnTo>
                    <a:lnTo>
                      <a:pt x="368" y="224"/>
                    </a:lnTo>
                    <a:lnTo>
                      <a:pt x="372" y="224"/>
                    </a:lnTo>
                    <a:lnTo>
                      <a:pt x="374" y="224"/>
                    </a:lnTo>
                    <a:lnTo>
                      <a:pt x="378" y="220"/>
                    </a:lnTo>
                    <a:lnTo>
                      <a:pt x="382" y="220"/>
                    </a:lnTo>
                    <a:lnTo>
                      <a:pt x="386" y="220"/>
                    </a:lnTo>
                    <a:lnTo>
                      <a:pt x="386" y="224"/>
                    </a:lnTo>
                    <a:lnTo>
                      <a:pt x="390" y="224"/>
                    </a:lnTo>
                    <a:lnTo>
                      <a:pt x="394" y="224"/>
                    </a:lnTo>
                    <a:lnTo>
                      <a:pt x="398" y="224"/>
                    </a:lnTo>
                    <a:lnTo>
                      <a:pt x="402" y="228"/>
                    </a:lnTo>
                    <a:lnTo>
                      <a:pt x="402" y="230"/>
                    </a:lnTo>
                    <a:lnTo>
                      <a:pt x="408" y="230"/>
                    </a:lnTo>
                    <a:lnTo>
                      <a:pt x="412" y="230"/>
                    </a:lnTo>
                    <a:lnTo>
                      <a:pt x="416" y="234"/>
                    </a:lnTo>
                    <a:lnTo>
                      <a:pt x="420" y="234"/>
                    </a:lnTo>
                    <a:lnTo>
                      <a:pt x="420" y="238"/>
                    </a:lnTo>
                    <a:lnTo>
                      <a:pt x="428" y="238"/>
                    </a:lnTo>
                    <a:lnTo>
                      <a:pt x="430" y="238"/>
                    </a:lnTo>
                    <a:lnTo>
                      <a:pt x="438" y="238"/>
                    </a:lnTo>
                    <a:lnTo>
                      <a:pt x="438" y="242"/>
                    </a:lnTo>
                    <a:lnTo>
                      <a:pt x="442" y="242"/>
                    </a:lnTo>
                    <a:lnTo>
                      <a:pt x="446" y="238"/>
                    </a:lnTo>
                    <a:lnTo>
                      <a:pt x="450" y="238"/>
                    </a:lnTo>
                    <a:lnTo>
                      <a:pt x="454" y="238"/>
                    </a:lnTo>
                    <a:lnTo>
                      <a:pt x="458" y="234"/>
                    </a:lnTo>
                    <a:lnTo>
                      <a:pt x="460" y="234"/>
                    </a:lnTo>
                    <a:lnTo>
                      <a:pt x="464" y="230"/>
                    </a:lnTo>
                    <a:lnTo>
                      <a:pt x="468" y="228"/>
                    </a:lnTo>
                    <a:lnTo>
                      <a:pt x="472" y="228"/>
                    </a:lnTo>
                    <a:lnTo>
                      <a:pt x="476" y="228"/>
                    </a:lnTo>
                    <a:lnTo>
                      <a:pt x="480" y="228"/>
                    </a:lnTo>
                    <a:lnTo>
                      <a:pt x="484" y="228"/>
                    </a:lnTo>
                    <a:lnTo>
                      <a:pt x="490" y="228"/>
                    </a:lnTo>
                    <a:lnTo>
                      <a:pt x="494" y="228"/>
                    </a:lnTo>
                    <a:lnTo>
                      <a:pt x="498" y="228"/>
                    </a:lnTo>
                    <a:lnTo>
                      <a:pt x="502" y="228"/>
                    </a:lnTo>
                    <a:lnTo>
                      <a:pt x="506" y="228"/>
                    </a:lnTo>
                    <a:lnTo>
                      <a:pt x="510" y="228"/>
                    </a:lnTo>
                    <a:lnTo>
                      <a:pt x="510" y="224"/>
                    </a:lnTo>
                    <a:lnTo>
                      <a:pt x="514" y="224"/>
                    </a:lnTo>
                    <a:lnTo>
                      <a:pt x="516" y="224"/>
                    </a:lnTo>
                    <a:lnTo>
                      <a:pt x="516" y="220"/>
                    </a:lnTo>
                    <a:lnTo>
                      <a:pt x="520" y="220"/>
                    </a:lnTo>
                    <a:lnTo>
                      <a:pt x="520" y="216"/>
                    </a:lnTo>
                    <a:lnTo>
                      <a:pt x="524" y="216"/>
                    </a:lnTo>
                    <a:lnTo>
                      <a:pt x="524" y="214"/>
                    </a:lnTo>
                    <a:lnTo>
                      <a:pt x="528" y="214"/>
                    </a:lnTo>
                    <a:lnTo>
                      <a:pt x="528" y="210"/>
                    </a:lnTo>
                    <a:lnTo>
                      <a:pt x="532" y="210"/>
                    </a:lnTo>
                    <a:lnTo>
                      <a:pt x="532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0" y="202"/>
                    </a:lnTo>
                    <a:lnTo>
                      <a:pt x="542" y="202"/>
                    </a:lnTo>
                    <a:lnTo>
                      <a:pt x="542" y="198"/>
                    </a:lnTo>
                    <a:lnTo>
                      <a:pt x="540" y="194"/>
                    </a:lnTo>
                    <a:lnTo>
                      <a:pt x="536" y="190"/>
                    </a:lnTo>
                    <a:lnTo>
                      <a:pt x="536" y="186"/>
                    </a:lnTo>
                    <a:lnTo>
                      <a:pt x="536" y="184"/>
                    </a:lnTo>
                    <a:lnTo>
                      <a:pt x="540" y="180"/>
                    </a:lnTo>
                    <a:lnTo>
                      <a:pt x="540" y="176"/>
                    </a:lnTo>
                    <a:lnTo>
                      <a:pt x="542" y="176"/>
                    </a:lnTo>
                    <a:lnTo>
                      <a:pt x="546" y="176"/>
                    </a:lnTo>
                    <a:lnTo>
                      <a:pt x="550" y="176"/>
                    </a:lnTo>
                    <a:lnTo>
                      <a:pt x="554" y="180"/>
                    </a:lnTo>
                    <a:lnTo>
                      <a:pt x="558" y="180"/>
                    </a:lnTo>
                    <a:lnTo>
                      <a:pt x="562" y="180"/>
                    </a:lnTo>
                    <a:lnTo>
                      <a:pt x="566" y="180"/>
                    </a:lnTo>
                    <a:lnTo>
                      <a:pt x="570" y="180"/>
                    </a:lnTo>
                    <a:lnTo>
                      <a:pt x="570" y="176"/>
                    </a:lnTo>
                    <a:lnTo>
                      <a:pt x="572" y="176"/>
                    </a:lnTo>
                    <a:lnTo>
                      <a:pt x="576" y="176"/>
                    </a:lnTo>
                    <a:lnTo>
                      <a:pt x="576" y="172"/>
                    </a:lnTo>
                    <a:lnTo>
                      <a:pt x="580" y="168"/>
                    </a:lnTo>
                    <a:lnTo>
                      <a:pt x="584" y="168"/>
                    </a:lnTo>
                    <a:lnTo>
                      <a:pt x="588" y="168"/>
                    </a:lnTo>
                    <a:lnTo>
                      <a:pt x="592" y="168"/>
                    </a:lnTo>
                    <a:lnTo>
                      <a:pt x="596" y="168"/>
                    </a:lnTo>
                    <a:lnTo>
                      <a:pt x="596" y="164"/>
                    </a:lnTo>
                    <a:lnTo>
                      <a:pt x="600" y="164"/>
                    </a:lnTo>
                    <a:lnTo>
                      <a:pt x="600" y="160"/>
                    </a:lnTo>
                    <a:lnTo>
                      <a:pt x="602" y="160"/>
                    </a:lnTo>
                    <a:lnTo>
                      <a:pt x="602" y="158"/>
                    </a:lnTo>
                    <a:lnTo>
                      <a:pt x="606" y="154"/>
                    </a:lnTo>
                    <a:lnTo>
                      <a:pt x="606" y="150"/>
                    </a:lnTo>
                    <a:lnTo>
                      <a:pt x="610" y="150"/>
                    </a:lnTo>
                    <a:lnTo>
                      <a:pt x="614" y="150"/>
                    </a:lnTo>
                    <a:lnTo>
                      <a:pt x="618" y="150"/>
                    </a:lnTo>
                    <a:lnTo>
                      <a:pt x="618" y="146"/>
                    </a:lnTo>
                    <a:lnTo>
                      <a:pt x="622" y="146"/>
                    </a:lnTo>
                    <a:lnTo>
                      <a:pt x="622" y="142"/>
                    </a:lnTo>
                    <a:lnTo>
                      <a:pt x="622" y="146"/>
                    </a:lnTo>
                    <a:lnTo>
                      <a:pt x="626" y="146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40" y="142"/>
                    </a:lnTo>
                    <a:lnTo>
                      <a:pt x="640" y="138"/>
                    </a:lnTo>
                    <a:lnTo>
                      <a:pt x="640" y="142"/>
                    </a:lnTo>
                    <a:lnTo>
                      <a:pt x="644" y="142"/>
                    </a:lnTo>
                    <a:lnTo>
                      <a:pt x="648" y="142"/>
                    </a:lnTo>
                    <a:lnTo>
                      <a:pt x="652" y="142"/>
                    </a:lnTo>
                    <a:lnTo>
                      <a:pt x="656" y="142"/>
                    </a:lnTo>
                    <a:lnTo>
                      <a:pt x="656" y="138"/>
                    </a:lnTo>
                    <a:lnTo>
                      <a:pt x="656" y="134"/>
                    </a:lnTo>
                    <a:lnTo>
                      <a:pt x="652" y="130"/>
                    </a:lnTo>
                    <a:lnTo>
                      <a:pt x="648" y="130"/>
                    </a:lnTo>
                    <a:lnTo>
                      <a:pt x="648" y="128"/>
                    </a:lnTo>
                    <a:lnTo>
                      <a:pt x="648" y="124"/>
                    </a:lnTo>
                    <a:lnTo>
                      <a:pt x="644" y="124"/>
                    </a:lnTo>
                    <a:lnTo>
                      <a:pt x="640" y="120"/>
                    </a:lnTo>
                    <a:lnTo>
                      <a:pt x="636" y="116"/>
                    </a:lnTo>
                    <a:lnTo>
                      <a:pt x="632" y="116"/>
                    </a:lnTo>
                    <a:lnTo>
                      <a:pt x="628" y="116"/>
                    </a:lnTo>
                    <a:lnTo>
                      <a:pt x="626" y="116"/>
                    </a:lnTo>
                    <a:lnTo>
                      <a:pt x="622" y="116"/>
                    </a:lnTo>
                    <a:lnTo>
                      <a:pt x="622" y="120"/>
                    </a:lnTo>
                    <a:lnTo>
                      <a:pt x="618" y="124"/>
                    </a:lnTo>
                    <a:lnTo>
                      <a:pt x="614" y="120"/>
                    </a:lnTo>
                    <a:lnTo>
                      <a:pt x="614" y="116"/>
                    </a:lnTo>
                    <a:lnTo>
                      <a:pt x="610" y="116"/>
                    </a:lnTo>
                    <a:lnTo>
                      <a:pt x="606" y="120"/>
                    </a:lnTo>
                    <a:lnTo>
                      <a:pt x="602" y="116"/>
                    </a:lnTo>
                    <a:lnTo>
                      <a:pt x="602" y="120"/>
                    </a:lnTo>
                    <a:lnTo>
                      <a:pt x="600" y="120"/>
                    </a:lnTo>
                    <a:lnTo>
                      <a:pt x="596" y="116"/>
                    </a:lnTo>
                    <a:lnTo>
                      <a:pt x="592" y="112"/>
                    </a:lnTo>
                    <a:lnTo>
                      <a:pt x="596" y="112"/>
                    </a:lnTo>
                    <a:lnTo>
                      <a:pt x="600" y="108"/>
                    </a:lnTo>
                    <a:lnTo>
                      <a:pt x="596" y="104"/>
                    </a:lnTo>
                    <a:lnTo>
                      <a:pt x="600" y="102"/>
                    </a:lnTo>
                    <a:lnTo>
                      <a:pt x="602" y="98"/>
                    </a:lnTo>
                    <a:lnTo>
                      <a:pt x="600" y="98"/>
                    </a:lnTo>
                    <a:lnTo>
                      <a:pt x="602" y="94"/>
                    </a:lnTo>
                    <a:lnTo>
                      <a:pt x="602" y="90"/>
                    </a:lnTo>
                    <a:lnTo>
                      <a:pt x="606" y="90"/>
                    </a:lnTo>
                    <a:lnTo>
                      <a:pt x="606" y="86"/>
                    </a:lnTo>
                    <a:lnTo>
                      <a:pt x="606" y="82"/>
                    </a:lnTo>
                    <a:lnTo>
                      <a:pt x="610" y="78"/>
                    </a:lnTo>
                    <a:lnTo>
                      <a:pt x="614" y="78"/>
                    </a:lnTo>
                    <a:lnTo>
                      <a:pt x="618" y="82"/>
                    </a:lnTo>
                    <a:lnTo>
                      <a:pt x="622" y="82"/>
                    </a:lnTo>
                    <a:lnTo>
                      <a:pt x="626" y="82"/>
                    </a:lnTo>
                    <a:lnTo>
                      <a:pt x="628" y="82"/>
                    </a:lnTo>
                    <a:lnTo>
                      <a:pt x="632" y="78"/>
                    </a:lnTo>
                    <a:lnTo>
                      <a:pt x="636" y="78"/>
                    </a:lnTo>
                    <a:lnTo>
                      <a:pt x="636" y="74"/>
                    </a:lnTo>
                    <a:lnTo>
                      <a:pt x="640" y="74"/>
                    </a:lnTo>
                    <a:lnTo>
                      <a:pt x="644" y="74"/>
                    </a:lnTo>
                    <a:lnTo>
                      <a:pt x="648" y="72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4" y="64"/>
                    </a:lnTo>
                    <a:lnTo>
                      <a:pt x="648" y="64"/>
                    </a:lnTo>
                    <a:lnTo>
                      <a:pt x="648" y="60"/>
                    </a:lnTo>
                    <a:lnTo>
                      <a:pt x="652" y="60"/>
                    </a:lnTo>
                    <a:lnTo>
                      <a:pt x="652" y="56"/>
                    </a:lnTo>
                    <a:lnTo>
                      <a:pt x="652" y="52"/>
                    </a:lnTo>
                    <a:lnTo>
                      <a:pt x="656" y="48"/>
                    </a:lnTo>
                    <a:lnTo>
                      <a:pt x="656" y="46"/>
                    </a:lnTo>
                    <a:lnTo>
                      <a:pt x="656" y="42"/>
                    </a:lnTo>
                    <a:lnTo>
                      <a:pt x="658" y="42"/>
                    </a:lnTo>
                    <a:lnTo>
                      <a:pt x="658" y="38"/>
                    </a:lnTo>
                    <a:lnTo>
                      <a:pt x="662" y="38"/>
                    </a:lnTo>
                    <a:lnTo>
                      <a:pt x="662" y="34"/>
                    </a:lnTo>
                    <a:lnTo>
                      <a:pt x="666" y="34"/>
                    </a:lnTo>
                    <a:lnTo>
                      <a:pt x="666" y="30"/>
                    </a:lnTo>
                    <a:lnTo>
                      <a:pt x="666" y="26"/>
                    </a:lnTo>
                    <a:lnTo>
                      <a:pt x="666" y="22"/>
                    </a:lnTo>
                    <a:lnTo>
                      <a:pt x="666" y="18"/>
                    </a:lnTo>
                    <a:lnTo>
                      <a:pt x="662" y="18"/>
                    </a:lnTo>
                    <a:lnTo>
                      <a:pt x="658" y="18"/>
                    </a:lnTo>
                    <a:lnTo>
                      <a:pt x="656" y="18"/>
                    </a:lnTo>
                    <a:lnTo>
                      <a:pt x="658" y="16"/>
                    </a:lnTo>
                    <a:lnTo>
                      <a:pt x="662" y="12"/>
                    </a:lnTo>
                    <a:lnTo>
                      <a:pt x="666" y="8"/>
                    </a:lnTo>
                    <a:lnTo>
                      <a:pt x="670" y="4"/>
                    </a:lnTo>
                    <a:lnTo>
                      <a:pt x="674" y="4"/>
                    </a:lnTo>
                    <a:lnTo>
                      <a:pt x="676" y="4"/>
                    </a:lnTo>
                    <a:lnTo>
                      <a:pt x="680" y="4"/>
                    </a:lnTo>
                    <a:lnTo>
                      <a:pt x="680" y="0"/>
                    </a:lnTo>
                    <a:lnTo>
                      <a:pt x="684" y="0"/>
                    </a:lnTo>
                    <a:lnTo>
                      <a:pt x="688" y="0"/>
                    </a:lnTo>
                    <a:lnTo>
                      <a:pt x="692" y="0"/>
                    </a:lnTo>
                    <a:lnTo>
                      <a:pt x="696" y="0"/>
                    </a:lnTo>
                    <a:lnTo>
                      <a:pt x="698" y="0"/>
                    </a:lnTo>
                    <a:lnTo>
                      <a:pt x="702" y="0"/>
                    </a:lnTo>
                    <a:lnTo>
                      <a:pt x="706" y="0"/>
                    </a:lnTo>
                    <a:lnTo>
                      <a:pt x="710" y="0"/>
                    </a:lnTo>
                    <a:lnTo>
                      <a:pt x="714" y="0"/>
                    </a:lnTo>
                    <a:lnTo>
                      <a:pt x="714" y="4"/>
                    </a:lnTo>
                    <a:lnTo>
                      <a:pt x="718" y="4"/>
                    </a:lnTo>
                    <a:lnTo>
                      <a:pt x="718" y="8"/>
                    </a:lnTo>
                    <a:lnTo>
                      <a:pt x="722" y="8"/>
                    </a:lnTo>
                    <a:lnTo>
                      <a:pt x="726" y="8"/>
                    </a:lnTo>
                    <a:lnTo>
                      <a:pt x="728" y="8"/>
                    </a:lnTo>
                    <a:lnTo>
                      <a:pt x="732" y="8"/>
                    </a:lnTo>
                    <a:lnTo>
                      <a:pt x="736" y="8"/>
                    </a:lnTo>
                    <a:lnTo>
                      <a:pt x="736" y="12"/>
                    </a:lnTo>
                    <a:lnTo>
                      <a:pt x="740" y="16"/>
                    </a:lnTo>
                    <a:lnTo>
                      <a:pt x="744" y="16"/>
                    </a:lnTo>
                    <a:lnTo>
                      <a:pt x="740" y="16"/>
                    </a:lnTo>
                    <a:lnTo>
                      <a:pt x="740" y="18"/>
                    </a:lnTo>
                    <a:lnTo>
                      <a:pt x="744" y="18"/>
                    </a:lnTo>
                    <a:lnTo>
                      <a:pt x="744" y="22"/>
                    </a:lnTo>
                    <a:lnTo>
                      <a:pt x="744" y="26"/>
                    </a:lnTo>
                    <a:lnTo>
                      <a:pt x="748" y="26"/>
                    </a:lnTo>
                    <a:lnTo>
                      <a:pt x="748" y="30"/>
                    </a:lnTo>
                    <a:lnTo>
                      <a:pt x="748" y="34"/>
                    </a:lnTo>
                    <a:lnTo>
                      <a:pt x="748" y="38"/>
                    </a:lnTo>
                    <a:lnTo>
                      <a:pt x="752" y="38"/>
                    </a:lnTo>
                    <a:lnTo>
                      <a:pt x="752" y="42"/>
                    </a:lnTo>
                    <a:lnTo>
                      <a:pt x="752" y="46"/>
                    </a:lnTo>
                    <a:lnTo>
                      <a:pt x="756" y="46"/>
                    </a:lnTo>
                    <a:lnTo>
                      <a:pt x="752" y="46"/>
                    </a:lnTo>
                    <a:lnTo>
                      <a:pt x="752" y="48"/>
                    </a:lnTo>
                    <a:lnTo>
                      <a:pt x="756" y="48"/>
                    </a:lnTo>
                    <a:lnTo>
                      <a:pt x="756" y="46"/>
                    </a:lnTo>
                    <a:lnTo>
                      <a:pt x="756" y="48"/>
                    </a:lnTo>
                    <a:lnTo>
                      <a:pt x="756" y="52"/>
                    </a:lnTo>
                    <a:lnTo>
                      <a:pt x="756" y="56"/>
                    </a:lnTo>
                    <a:lnTo>
                      <a:pt x="758" y="56"/>
                    </a:lnTo>
                    <a:lnTo>
                      <a:pt x="758" y="60"/>
                    </a:lnTo>
                    <a:lnTo>
                      <a:pt x="758" y="64"/>
                    </a:lnTo>
                    <a:lnTo>
                      <a:pt x="758" y="68"/>
                    </a:lnTo>
                    <a:lnTo>
                      <a:pt x="762" y="68"/>
                    </a:lnTo>
                    <a:lnTo>
                      <a:pt x="762" y="72"/>
                    </a:lnTo>
                    <a:lnTo>
                      <a:pt x="762" y="74"/>
                    </a:lnTo>
                    <a:lnTo>
                      <a:pt x="762" y="78"/>
                    </a:lnTo>
                    <a:lnTo>
                      <a:pt x="766" y="78"/>
                    </a:lnTo>
                    <a:lnTo>
                      <a:pt x="766" y="82"/>
                    </a:lnTo>
                    <a:lnTo>
                      <a:pt x="770" y="82"/>
                    </a:lnTo>
                    <a:lnTo>
                      <a:pt x="774" y="82"/>
                    </a:lnTo>
                    <a:lnTo>
                      <a:pt x="778" y="82"/>
                    </a:lnTo>
                    <a:lnTo>
                      <a:pt x="782" y="82"/>
                    </a:lnTo>
                    <a:lnTo>
                      <a:pt x="782" y="86"/>
                    </a:lnTo>
                    <a:lnTo>
                      <a:pt x="784" y="86"/>
                    </a:lnTo>
                    <a:lnTo>
                      <a:pt x="788" y="86"/>
                    </a:lnTo>
                    <a:lnTo>
                      <a:pt x="792" y="86"/>
                    </a:lnTo>
                    <a:lnTo>
                      <a:pt x="792" y="90"/>
                    </a:lnTo>
                    <a:lnTo>
                      <a:pt x="796" y="94"/>
                    </a:lnTo>
                    <a:lnTo>
                      <a:pt x="800" y="98"/>
                    </a:lnTo>
                    <a:lnTo>
                      <a:pt x="804" y="98"/>
                    </a:lnTo>
                    <a:lnTo>
                      <a:pt x="808" y="98"/>
                    </a:lnTo>
                    <a:lnTo>
                      <a:pt x="808" y="102"/>
                    </a:lnTo>
                    <a:lnTo>
                      <a:pt x="804" y="102"/>
                    </a:lnTo>
                    <a:lnTo>
                      <a:pt x="808" y="104"/>
                    </a:lnTo>
                    <a:lnTo>
                      <a:pt x="808" y="108"/>
                    </a:lnTo>
                    <a:lnTo>
                      <a:pt x="808" y="112"/>
                    </a:lnTo>
                    <a:lnTo>
                      <a:pt x="808" y="116"/>
                    </a:lnTo>
                    <a:lnTo>
                      <a:pt x="812" y="116"/>
                    </a:lnTo>
                    <a:lnTo>
                      <a:pt x="812" y="120"/>
                    </a:lnTo>
                    <a:lnTo>
                      <a:pt x="812" y="124"/>
                    </a:lnTo>
                    <a:lnTo>
                      <a:pt x="814" y="120"/>
                    </a:lnTo>
                    <a:lnTo>
                      <a:pt x="818" y="120"/>
                    </a:lnTo>
                    <a:lnTo>
                      <a:pt x="818" y="124"/>
                    </a:lnTo>
                    <a:lnTo>
                      <a:pt x="822" y="124"/>
                    </a:lnTo>
                    <a:lnTo>
                      <a:pt x="826" y="124"/>
                    </a:lnTo>
                    <a:lnTo>
                      <a:pt x="826" y="120"/>
                    </a:lnTo>
                    <a:lnTo>
                      <a:pt x="830" y="120"/>
                    </a:lnTo>
                    <a:lnTo>
                      <a:pt x="834" y="120"/>
                    </a:lnTo>
                    <a:lnTo>
                      <a:pt x="834" y="116"/>
                    </a:lnTo>
                    <a:lnTo>
                      <a:pt x="838" y="116"/>
                    </a:lnTo>
                    <a:lnTo>
                      <a:pt x="840" y="112"/>
                    </a:lnTo>
                    <a:lnTo>
                      <a:pt x="844" y="112"/>
                    </a:lnTo>
                    <a:lnTo>
                      <a:pt x="848" y="112"/>
                    </a:lnTo>
                    <a:lnTo>
                      <a:pt x="852" y="108"/>
                    </a:lnTo>
                    <a:lnTo>
                      <a:pt x="856" y="108"/>
                    </a:lnTo>
                    <a:lnTo>
                      <a:pt x="860" y="108"/>
                    </a:lnTo>
                    <a:lnTo>
                      <a:pt x="864" y="108"/>
                    </a:lnTo>
                    <a:lnTo>
                      <a:pt x="864" y="112"/>
                    </a:lnTo>
                    <a:lnTo>
                      <a:pt x="864" y="116"/>
                    </a:lnTo>
                    <a:lnTo>
                      <a:pt x="864" y="120"/>
                    </a:lnTo>
                    <a:lnTo>
                      <a:pt x="864" y="128"/>
                    </a:lnTo>
                    <a:lnTo>
                      <a:pt x="860" y="128"/>
                    </a:lnTo>
                    <a:lnTo>
                      <a:pt x="856" y="128"/>
                    </a:lnTo>
                    <a:lnTo>
                      <a:pt x="856" y="130"/>
                    </a:lnTo>
                    <a:lnTo>
                      <a:pt x="856" y="134"/>
                    </a:lnTo>
                    <a:lnTo>
                      <a:pt x="856" y="138"/>
                    </a:lnTo>
                    <a:lnTo>
                      <a:pt x="856" y="142"/>
                    </a:lnTo>
                    <a:lnTo>
                      <a:pt x="852" y="142"/>
                    </a:lnTo>
                    <a:lnTo>
                      <a:pt x="852" y="146"/>
                    </a:lnTo>
                    <a:lnTo>
                      <a:pt x="852" y="150"/>
                    </a:lnTo>
                    <a:lnTo>
                      <a:pt x="852" y="154"/>
                    </a:lnTo>
                    <a:lnTo>
                      <a:pt x="848" y="154"/>
                    </a:lnTo>
                    <a:lnTo>
                      <a:pt x="848" y="158"/>
                    </a:lnTo>
                    <a:lnTo>
                      <a:pt x="848" y="160"/>
                    </a:lnTo>
                    <a:lnTo>
                      <a:pt x="848" y="164"/>
                    </a:lnTo>
                    <a:lnTo>
                      <a:pt x="844" y="164"/>
                    </a:lnTo>
                    <a:lnTo>
                      <a:pt x="840" y="164"/>
                    </a:lnTo>
                    <a:lnTo>
                      <a:pt x="840" y="168"/>
                    </a:lnTo>
                    <a:lnTo>
                      <a:pt x="840" y="172"/>
                    </a:lnTo>
                    <a:lnTo>
                      <a:pt x="840" y="176"/>
                    </a:lnTo>
                    <a:lnTo>
                      <a:pt x="838" y="176"/>
                    </a:lnTo>
                    <a:lnTo>
                      <a:pt x="834" y="172"/>
                    </a:lnTo>
                    <a:lnTo>
                      <a:pt x="830" y="172"/>
                    </a:lnTo>
                    <a:lnTo>
                      <a:pt x="826" y="172"/>
                    </a:lnTo>
                    <a:lnTo>
                      <a:pt x="826" y="168"/>
                    </a:lnTo>
                    <a:lnTo>
                      <a:pt x="822" y="168"/>
                    </a:lnTo>
                    <a:lnTo>
                      <a:pt x="822" y="172"/>
                    </a:lnTo>
                    <a:lnTo>
                      <a:pt x="822" y="176"/>
                    </a:lnTo>
                    <a:lnTo>
                      <a:pt x="818" y="176"/>
                    </a:lnTo>
                    <a:lnTo>
                      <a:pt x="814" y="176"/>
                    </a:lnTo>
                    <a:lnTo>
                      <a:pt x="814" y="180"/>
                    </a:lnTo>
                    <a:lnTo>
                      <a:pt x="814" y="176"/>
                    </a:lnTo>
                    <a:lnTo>
                      <a:pt x="812" y="180"/>
                    </a:lnTo>
                    <a:lnTo>
                      <a:pt x="812" y="184"/>
                    </a:lnTo>
                    <a:lnTo>
                      <a:pt x="814" y="184"/>
                    </a:lnTo>
                    <a:lnTo>
                      <a:pt x="814" y="190"/>
                    </a:lnTo>
                    <a:lnTo>
                      <a:pt x="814" y="194"/>
                    </a:lnTo>
                    <a:lnTo>
                      <a:pt x="814" y="198"/>
                    </a:lnTo>
                    <a:lnTo>
                      <a:pt x="814" y="206"/>
                    </a:lnTo>
                    <a:lnTo>
                      <a:pt x="814" y="210"/>
                    </a:lnTo>
                    <a:lnTo>
                      <a:pt x="814" y="214"/>
                    </a:lnTo>
                    <a:lnTo>
                      <a:pt x="814" y="216"/>
                    </a:lnTo>
                    <a:lnTo>
                      <a:pt x="812" y="216"/>
                    </a:lnTo>
                    <a:lnTo>
                      <a:pt x="812" y="220"/>
                    </a:lnTo>
                    <a:lnTo>
                      <a:pt x="812" y="216"/>
                    </a:lnTo>
                    <a:lnTo>
                      <a:pt x="808" y="216"/>
                    </a:lnTo>
                    <a:lnTo>
                      <a:pt x="808" y="220"/>
                    </a:lnTo>
                    <a:lnTo>
                      <a:pt x="804" y="220"/>
                    </a:lnTo>
                    <a:lnTo>
                      <a:pt x="808" y="224"/>
                    </a:lnTo>
                    <a:lnTo>
                      <a:pt x="808" y="228"/>
                    </a:lnTo>
                    <a:lnTo>
                      <a:pt x="804" y="228"/>
                    </a:lnTo>
                    <a:lnTo>
                      <a:pt x="804" y="224"/>
                    </a:lnTo>
                    <a:lnTo>
                      <a:pt x="800" y="220"/>
                    </a:lnTo>
                    <a:lnTo>
                      <a:pt x="800" y="216"/>
                    </a:lnTo>
                    <a:lnTo>
                      <a:pt x="796" y="216"/>
                    </a:lnTo>
                    <a:lnTo>
                      <a:pt x="796" y="220"/>
                    </a:lnTo>
                    <a:lnTo>
                      <a:pt x="792" y="220"/>
                    </a:lnTo>
                    <a:lnTo>
                      <a:pt x="792" y="224"/>
                    </a:lnTo>
                    <a:lnTo>
                      <a:pt x="792" y="228"/>
                    </a:lnTo>
                    <a:lnTo>
                      <a:pt x="788" y="228"/>
                    </a:lnTo>
                    <a:lnTo>
                      <a:pt x="784" y="228"/>
                    </a:lnTo>
                    <a:lnTo>
                      <a:pt x="784" y="230"/>
                    </a:lnTo>
                    <a:lnTo>
                      <a:pt x="784" y="234"/>
                    </a:lnTo>
                    <a:lnTo>
                      <a:pt x="782" y="234"/>
                    </a:lnTo>
                    <a:lnTo>
                      <a:pt x="778" y="234"/>
                    </a:lnTo>
                    <a:lnTo>
                      <a:pt x="774" y="234"/>
                    </a:lnTo>
                    <a:lnTo>
                      <a:pt x="770" y="234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46"/>
                    </a:lnTo>
                    <a:lnTo>
                      <a:pt x="770" y="246"/>
                    </a:lnTo>
                    <a:lnTo>
                      <a:pt x="766" y="246"/>
                    </a:lnTo>
                    <a:lnTo>
                      <a:pt x="762" y="246"/>
                    </a:lnTo>
                    <a:lnTo>
                      <a:pt x="758" y="246"/>
                    </a:lnTo>
                    <a:lnTo>
                      <a:pt x="758" y="242"/>
                    </a:lnTo>
                    <a:lnTo>
                      <a:pt x="756" y="242"/>
                    </a:lnTo>
                    <a:lnTo>
                      <a:pt x="756" y="238"/>
                    </a:lnTo>
                    <a:lnTo>
                      <a:pt x="752" y="238"/>
                    </a:lnTo>
                    <a:lnTo>
                      <a:pt x="752" y="242"/>
                    </a:lnTo>
                    <a:lnTo>
                      <a:pt x="748" y="242"/>
                    </a:lnTo>
                    <a:lnTo>
                      <a:pt x="748" y="246"/>
                    </a:lnTo>
                    <a:lnTo>
                      <a:pt x="748" y="250"/>
                    </a:lnTo>
                    <a:lnTo>
                      <a:pt x="744" y="250"/>
                    </a:lnTo>
                    <a:lnTo>
                      <a:pt x="744" y="254"/>
                    </a:lnTo>
                    <a:lnTo>
                      <a:pt x="740" y="256"/>
                    </a:lnTo>
                    <a:lnTo>
                      <a:pt x="736" y="256"/>
                    </a:lnTo>
                    <a:lnTo>
                      <a:pt x="736" y="260"/>
                    </a:lnTo>
                    <a:lnTo>
                      <a:pt x="732" y="260"/>
                    </a:lnTo>
                    <a:lnTo>
                      <a:pt x="728" y="260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8" y="264"/>
                    </a:lnTo>
                    <a:lnTo>
                      <a:pt x="726" y="264"/>
                    </a:lnTo>
                    <a:lnTo>
                      <a:pt x="722" y="268"/>
                    </a:lnTo>
                    <a:lnTo>
                      <a:pt x="718" y="272"/>
                    </a:lnTo>
                    <a:lnTo>
                      <a:pt x="718" y="276"/>
                    </a:lnTo>
                    <a:lnTo>
                      <a:pt x="714" y="276"/>
                    </a:lnTo>
                    <a:lnTo>
                      <a:pt x="710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2" y="280"/>
                    </a:lnTo>
                    <a:lnTo>
                      <a:pt x="702" y="276"/>
                    </a:lnTo>
                    <a:lnTo>
                      <a:pt x="702" y="280"/>
                    </a:lnTo>
                    <a:lnTo>
                      <a:pt x="698" y="280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6"/>
                    </a:lnTo>
                    <a:lnTo>
                      <a:pt x="688" y="284"/>
                    </a:lnTo>
                    <a:lnTo>
                      <a:pt x="688" y="286"/>
                    </a:lnTo>
                    <a:lnTo>
                      <a:pt x="684" y="290"/>
                    </a:lnTo>
                    <a:lnTo>
                      <a:pt x="680" y="290"/>
                    </a:lnTo>
                    <a:lnTo>
                      <a:pt x="680" y="294"/>
                    </a:lnTo>
                    <a:lnTo>
                      <a:pt x="676" y="298"/>
                    </a:lnTo>
                    <a:lnTo>
                      <a:pt x="674" y="298"/>
                    </a:lnTo>
                    <a:lnTo>
                      <a:pt x="674" y="294"/>
                    </a:lnTo>
                    <a:lnTo>
                      <a:pt x="676" y="294"/>
                    </a:lnTo>
                    <a:lnTo>
                      <a:pt x="676" y="290"/>
                    </a:lnTo>
                    <a:lnTo>
                      <a:pt x="680" y="290"/>
                    </a:lnTo>
                    <a:lnTo>
                      <a:pt x="676" y="290"/>
                    </a:lnTo>
                    <a:lnTo>
                      <a:pt x="676" y="286"/>
                    </a:lnTo>
                    <a:lnTo>
                      <a:pt x="680" y="286"/>
                    </a:lnTo>
                    <a:lnTo>
                      <a:pt x="676" y="286"/>
                    </a:lnTo>
                    <a:lnTo>
                      <a:pt x="676" y="284"/>
                    </a:lnTo>
                    <a:lnTo>
                      <a:pt x="674" y="284"/>
                    </a:lnTo>
                    <a:lnTo>
                      <a:pt x="676" y="280"/>
                    </a:lnTo>
                    <a:lnTo>
                      <a:pt x="676" y="276"/>
                    </a:lnTo>
                    <a:lnTo>
                      <a:pt x="680" y="276"/>
                    </a:lnTo>
                    <a:lnTo>
                      <a:pt x="684" y="272"/>
                    </a:lnTo>
                    <a:lnTo>
                      <a:pt x="684" y="268"/>
                    </a:lnTo>
                    <a:lnTo>
                      <a:pt x="688" y="268"/>
                    </a:lnTo>
                    <a:lnTo>
                      <a:pt x="688" y="264"/>
                    </a:lnTo>
                    <a:lnTo>
                      <a:pt x="684" y="260"/>
                    </a:lnTo>
                    <a:lnTo>
                      <a:pt x="684" y="256"/>
                    </a:lnTo>
                    <a:lnTo>
                      <a:pt x="680" y="256"/>
                    </a:lnTo>
                    <a:lnTo>
                      <a:pt x="676" y="256"/>
                    </a:lnTo>
                    <a:lnTo>
                      <a:pt x="674" y="256"/>
                    </a:lnTo>
                    <a:lnTo>
                      <a:pt x="670" y="256"/>
                    </a:lnTo>
                    <a:lnTo>
                      <a:pt x="670" y="260"/>
                    </a:lnTo>
                    <a:lnTo>
                      <a:pt x="666" y="264"/>
                    </a:lnTo>
                    <a:lnTo>
                      <a:pt x="662" y="264"/>
                    </a:lnTo>
                    <a:lnTo>
                      <a:pt x="662" y="268"/>
                    </a:lnTo>
                    <a:lnTo>
                      <a:pt x="658" y="272"/>
                    </a:lnTo>
                    <a:lnTo>
                      <a:pt x="656" y="272"/>
                    </a:lnTo>
                    <a:lnTo>
                      <a:pt x="656" y="276"/>
                    </a:lnTo>
                    <a:lnTo>
                      <a:pt x="652" y="276"/>
                    </a:lnTo>
                    <a:lnTo>
                      <a:pt x="648" y="280"/>
                    </a:lnTo>
                    <a:lnTo>
                      <a:pt x="648" y="284"/>
                    </a:lnTo>
                    <a:lnTo>
                      <a:pt x="648" y="286"/>
                    </a:lnTo>
                    <a:lnTo>
                      <a:pt x="644" y="286"/>
                    </a:lnTo>
                    <a:lnTo>
                      <a:pt x="644" y="290"/>
                    </a:lnTo>
                    <a:lnTo>
                      <a:pt x="640" y="290"/>
                    </a:lnTo>
                    <a:lnTo>
                      <a:pt x="636" y="290"/>
                    </a:lnTo>
                    <a:lnTo>
                      <a:pt x="632" y="290"/>
                    </a:lnTo>
                    <a:lnTo>
                      <a:pt x="628" y="290"/>
                    </a:lnTo>
                    <a:lnTo>
                      <a:pt x="628" y="286"/>
                    </a:lnTo>
                    <a:lnTo>
                      <a:pt x="626" y="290"/>
                    </a:lnTo>
                    <a:lnTo>
                      <a:pt x="622" y="294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8" y="310"/>
                    </a:lnTo>
                    <a:lnTo>
                      <a:pt x="632" y="310"/>
                    </a:lnTo>
                    <a:lnTo>
                      <a:pt x="636" y="310"/>
                    </a:lnTo>
                    <a:lnTo>
                      <a:pt x="640" y="310"/>
                    </a:lnTo>
                    <a:lnTo>
                      <a:pt x="640" y="312"/>
                    </a:lnTo>
                    <a:lnTo>
                      <a:pt x="644" y="312"/>
                    </a:lnTo>
                    <a:lnTo>
                      <a:pt x="644" y="316"/>
                    </a:lnTo>
                    <a:lnTo>
                      <a:pt x="644" y="320"/>
                    </a:lnTo>
                    <a:lnTo>
                      <a:pt x="640" y="320"/>
                    </a:lnTo>
                    <a:lnTo>
                      <a:pt x="640" y="324"/>
                    </a:lnTo>
                    <a:lnTo>
                      <a:pt x="644" y="328"/>
                    </a:lnTo>
                    <a:lnTo>
                      <a:pt x="648" y="328"/>
                    </a:lnTo>
                    <a:lnTo>
                      <a:pt x="652" y="328"/>
                    </a:lnTo>
                    <a:lnTo>
                      <a:pt x="656" y="328"/>
                    </a:lnTo>
                    <a:lnTo>
                      <a:pt x="656" y="324"/>
                    </a:lnTo>
                    <a:lnTo>
                      <a:pt x="658" y="324"/>
                    </a:lnTo>
                    <a:lnTo>
                      <a:pt x="658" y="320"/>
                    </a:lnTo>
                    <a:lnTo>
                      <a:pt x="662" y="320"/>
                    </a:lnTo>
                    <a:lnTo>
                      <a:pt x="662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20"/>
                    </a:lnTo>
                    <a:lnTo>
                      <a:pt x="676" y="320"/>
                    </a:lnTo>
                    <a:lnTo>
                      <a:pt x="676" y="324"/>
                    </a:lnTo>
                    <a:lnTo>
                      <a:pt x="680" y="324"/>
                    </a:lnTo>
                    <a:lnTo>
                      <a:pt x="684" y="324"/>
                    </a:lnTo>
                    <a:lnTo>
                      <a:pt x="684" y="320"/>
                    </a:lnTo>
                    <a:lnTo>
                      <a:pt x="688" y="320"/>
                    </a:lnTo>
                    <a:lnTo>
                      <a:pt x="684" y="320"/>
                    </a:lnTo>
                    <a:lnTo>
                      <a:pt x="688" y="324"/>
                    </a:lnTo>
                    <a:lnTo>
                      <a:pt x="692" y="324"/>
                    </a:lnTo>
                    <a:lnTo>
                      <a:pt x="692" y="328"/>
                    </a:lnTo>
                    <a:lnTo>
                      <a:pt x="688" y="332"/>
                    </a:lnTo>
                    <a:lnTo>
                      <a:pt x="692" y="332"/>
                    </a:lnTo>
                    <a:lnTo>
                      <a:pt x="688" y="336"/>
                    </a:lnTo>
                    <a:lnTo>
                      <a:pt x="688" y="332"/>
                    </a:lnTo>
                    <a:lnTo>
                      <a:pt x="684" y="332"/>
                    </a:lnTo>
                    <a:lnTo>
                      <a:pt x="680" y="336"/>
                    </a:lnTo>
                    <a:lnTo>
                      <a:pt x="676" y="336"/>
                    </a:lnTo>
                    <a:lnTo>
                      <a:pt x="674" y="336"/>
                    </a:lnTo>
                    <a:lnTo>
                      <a:pt x="674" y="340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70" y="340"/>
                    </a:lnTo>
                    <a:lnTo>
                      <a:pt x="670" y="342"/>
                    </a:lnTo>
                    <a:lnTo>
                      <a:pt x="666" y="342"/>
                    </a:lnTo>
                    <a:lnTo>
                      <a:pt x="666" y="346"/>
                    </a:lnTo>
                    <a:lnTo>
                      <a:pt x="662" y="350"/>
                    </a:lnTo>
                    <a:lnTo>
                      <a:pt x="658" y="350"/>
                    </a:lnTo>
                    <a:lnTo>
                      <a:pt x="662" y="346"/>
                    </a:lnTo>
                    <a:lnTo>
                      <a:pt x="658" y="346"/>
                    </a:lnTo>
                    <a:lnTo>
                      <a:pt x="658" y="350"/>
                    </a:lnTo>
                    <a:lnTo>
                      <a:pt x="658" y="354"/>
                    </a:lnTo>
                    <a:lnTo>
                      <a:pt x="656" y="354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48" y="362"/>
                    </a:lnTo>
                    <a:lnTo>
                      <a:pt x="648" y="366"/>
                    </a:lnTo>
                    <a:lnTo>
                      <a:pt x="648" y="368"/>
                    </a:lnTo>
                    <a:lnTo>
                      <a:pt x="644" y="368"/>
                    </a:lnTo>
                    <a:lnTo>
                      <a:pt x="644" y="372"/>
                    </a:lnTo>
                    <a:lnTo>
                      <a:pt x="648" y="372"/>
                    </a:lnTo>
                    <a:lnTo>
                      <a:pt x="648" y="376"/>
                    </a:lnTo>
                    <a:lnTo>
                      <a:pt x="652" y="376"/>
                    </a:lnTo>
                    <a:lnTo>
                      <a:pt x="656" y="380"/>
                    </a:lnTo>
                    <a:lnTo>
                      <a:pt x="658" y="380"/>
                    </a:lnTo>
                    <a:lnTo>
                      <a:pt x="662" y="384"/>
                    </a:lnTo>
                    <a:lnTo>
                      <a:pt x="662" y="388"/>
                    </a:lnTo>
                    <a:lnTo>
                      <a:pt x="662" y="392"/>
                    </a:lnTo>
                    <a:lnTo>
                      <a:pt x="662" y="396"/>
                    </a:lnTo>
                    <a:lnTo>
                      <a:pt x="666" y="398"/>
                    </a:lnTo>
                    <a:lnTo>
                      <a:pt x="666" y="402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70" y="414"/>
                    </a:lnTo>
                    <a:lnTo>
                      <a:pt x="674" y="414"/>
                    </a:lnTo>
                    <a:lnTo>
                      <a:pt x="674" y="418"/>
                    </a:lnTo>
                    <a:lnTo>
                      <a:pt x="676" y="418"/>
                    </a:lnTo>
                    <a:lnTo>
                      <a:pt x="676" y="422"/>
                    </a:lnTo>
                    <a:lnTo>
                      <a:pt x="680" y="424"/>
                    </a:lnTo>
                    <a:lnTo>
                      <a:pt x="680" y="428"/>
                    </a:lnTo>
                    <a:lnTo>
                      <a:pt x="684" y="428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28"/>
                    </a:lnTo>
                    <a:lnTo>
                      <a:pt x="676" y="428"/>
                    </a:lnTo>
                    <a:lnTo>
                      <a:pt x="674" y="428"/>
                    </a:lnTo>
                    <a:lnTo>
                      <a:pt x="670" y="428"/>
                    </a:lnTo>
                    <a:lnTo>
                      <a:pt x="670" y="424"/>
                    </a:lnTo>
                    <a:lnTo>
                      <a:pt x="666" y="424"/>
                    </a:lnTo>
                    <a:lnTo>
                      <a:pt x="662" y="422"/>
                    </a:lnTo>
                    <a:lnTo>
                      <a:pt x="662" y="424"/>
                    </a:lnTo>
                    <a:lnTo>
                      <a:pt x="658" y="424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6" y="418"/>
                    </a:lnTo>
                    <a:lnTo>
                      <a:pt x="652" y="418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6" y="422"/>
                    </a:lnTo>
                    <a:lnTo>
                      <a:pt x="656" y="424"/>
                    </a:lnTo>
                    <a:lnTo>
                      <a:pt x="658" y="424"/>
                    </a:lnTo>
                    <a:lnTo>
                      <a:pt x="662" y="424"/>
                    </a:lnTo>
                    <a:lnTo>
                      <a:pt x="666" y="424"/>
                    </a:lnTo>
                    <a:lnTo>
                      <a:pt x="666" y="428"/>
                    </a:lnTo>
                    <a:lnTo>
                      <a:pt x="670" y="428"/>
                    </a:lnTo>
                    <a:lnTo>
                      <a:pt x="674" y="428"/>
                    </a:lnTo>
                    <a:lnTo>
                      <a:pt x="674" y="432"/>
                    </a:lnTo>
                    <a:lnTo>
                      <a:pt x="676" y="436"/>
                    </a:lnTo>
                    <a:lnTo>
                      <a:pt x="680" y="436"/>
                    </a:lnTo>
                    <a:lnTo>
                      <a:pt x="680" y="440"/>
                    </a:lnTo>
                    <a:lnTo>
                      <a:pt x="680" y="444"/>
                    </a:lnTo>
                    <a:lnTo>
                      <a:pt x="684" y="444"/>
                    </a:lnTo>
                    <a:lnTo>
                      <a:pt x="684" y="448"/>
                    </a:lnTo>
                    <a:lnTo>
                      <a:pt x="680" y="448"/>
                    </a:lnTo>
                    <a:lnTo>
                      <a:pt x="676" y="448"/>
                    </a:lnTo>
                    <a:lnTo>
                      <a:pt x="674" y="448"/>
                    </a:lnTo>
                    <a:lnTo>
                      <a:pt x="674" y="452"/>
                    </a:lnTo>
                    <a:lnTo>
                      <a:pt x="670" y="452"/>
                    </a:lnTo>
                    <a:lnTo>
                      <a:pt x="670" y="454"/>
                    </a:lnTo>
                    <a:lnTo>
                      <a:pt x="666" y="454"/>
                    </a:lnTo>
                    <a:lnTo>
                      <a:pt x="662" y="454"/>
                    </a:lnTo>
                    <a:lnTo>
                      <a:pt x="658" y="458"/>
                    </a:lnTo>
                    <a:lnTo>
                      <a:pt x="662" y="458"/>
                    </a:lnTo>
                    <a:lnTo>
                      <a:pt x="662" y="454"/>
                    </a:lnTo>
                    <a:lnTo>
                      <a:pt x="666" y="458"/>
                    </a:lnTo>
                    <a:lnTo>
                      <a:pt x="666" y="462"/>
                    </a:lnTo>
                    <a:lnTo>
                      <a:pt x="666" y="458"/>
                    </a:lnTo>
                    <a:lnTo>
                      <a:pt x="670" y="458"/>
                    </a:lnTo>
                    <a:lnTo>
                      <a:pt x="674" y="454"/>
                    </a:lnTo>
                    <a:lnTo>
                      <a:pt x="676" y="454"/>
                    </a:lnTo>
                    <a:lnTo>
                      <a:pt x="676" y="458"/>
                    </a:lnTo>
                    <a:lnTo>
                      <a:pt x="680" y="462"/>
                    </a:lnTo>
                    <a:lnTo>
                      <a:pt x="684" y="462"/>
                    </a:lnTo>
                    <a:lnTo>
                      <a:pt x="684" y="466"/>
                    </a:lnTo>
                    <a:lnTo>
                      <a:pt x="680" y="466"/>
                    </a:lnTo>
                    <a:lnTo>
                      <a:pt x="680" y="470"/>
                    </a:lnTo>
                    <a:lnTo>
                      <a:pt x="676" y="470"/>
                    </a:lnTo>
                    <a:lnTo>
                      <a:pt x="676" y="474"/>
                    </a:lnTo>
                    <a:lnTo>
                      <a:pt x="676" y="470"/>
                    </a:lnTo>
                    <a:lnTo>
                      <a:pt x="680" y="470"/>
                    </a:lnTo>
                    <a:lnTo>
                      <a:pt x="684" y="470"/>
                    </a:lnTo>
                    <a:lnTo>
                      <a:pt x="684" y="474"/>
                    </a:lnTo>
                    <a:lnTo>
                      <a:pt x="684" y="478"/>
                    </a:lnTo>
                    <a:lnTo>
                      <a:pt x="680" y="478"/>
                    </a:lnTo>
                    <a:lnTo>
                      <a:pt x="680" y="474"/>
                    </a:lnTo>
                    <a:lnTo>
                      <a:pt x="680" y="478"/>
                    </a:lnTo>
                    <a:lnTo>
                      <a:pt x="676" y="478"/>
                    </a:lnTo>
                    <a:lnTo>
                      <a:pt x="676" y="474"/>
                    </a:lnTo>
                    <a:lnTo>
                      <a:pt x="676" y="478"/>
                    </a:lnTo>
                    <a:lnTo>
                      <a:pt x="680" y="478"/>
                    </a:lnTo>
                    <a:lnTo>
                      <a:pt x="680" y="480"/>
                    </a:lnTo>
                    <a:lnTo>
                      <a:pt x="676" y="480"/>
                    </a:lnTo>
                    <a:lnTo>
                      <a:pt x="680" y="484"/>
                    </a:lnTo>
                    <a:lnTo>
                      <a:pt x="676" y="484"/>
                    </a:lnTo>
                    <a:lnTo>
                      <a:pt x="674" y="484"/>
                    </a:lnTo>
                    <a:lnTo>
                      <a:pt x="676" y="484"/>
                    </a:lnTo>
                    <a:lnTo>
                      <a:pt x="676" y="488"/>
                    </a:lnTo>
                    <a:lnTo>
                      <a:pt x="676" y="492"/>
                    </a:lnTo>
                    <a:lnTo>
                      <a:pt x="680" y="492"/>
                    </a:lnTo>
                    <a:lnTo>
                      <a:pt x="676" y="492"/>
                    </a:lnTo>
                    <a:lnTo>
                      <a:pt x="676" y="496"/>
                    </a:lnTo>
                    <a:lnTo>
                      <a:pt x="674" y="496"/>
                    </a:lnTo>
                    <a:lnTo>
                      <a:pt x="674" y="492"/>
                    </a:lnTo>
                    <a:lnTo>
                      <a:pt x="674" y="496"/>
                    </a:lnTo>
                    <a:lnTo>
                      <a:pt x="670" y="496"/>
                    </a:lnTo>
                    <a:lnTo>
                      <a:pt x="670" y="500"/>
                    </a:lnTo>
                    <a:lnTo>
                      <a:pt x="666" y="496"/>
                    </a:lnTo>
                    <a:lnTo>
                      <a:pt x="666" y="500"/>
                    </a:lnTo>
                    <a:lnTo>
                      <a:pt x="670" y="500"/>
                    </a:lnTo>
                    <a:lnTo>
                      <a:pt x="666" y="500"/>
                    </a:lnTo>
                    <a:lnTo>
                      <a:pt x="666" y="504"/>
                    </a:lnTo>
                    <a:lnTo>
                      <a:pt x="666" y="508"/>
                    </a:lnTo>
                    <a:lnTo>
                      <a:pt x="666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62" y="510"/>
                    </a:lnTo>
                    <a:lnTo>
                      <a:pt x="658" y="510"/>
                    </a:lnTo>
                    <a:lnTo>
                      <a:pt x="662" y="510"/>
                    </a:lnTo>
                    <a:lnTo>
                      <a:pt x="662" y="514"/>
                    </a:lnTo>
                    <a:lnTo>
                      <a:pt x="658" y="514"/>
                    </a:lnTo>
                    <a:lnTo>
                      <a:pt x="658" y="518"/>
                    </a:lnTo>
                    <a:lnTo>
                      <a:pt x="656" y="518"/>
                    </a:lnTo>
                    <a:lnTo>
                      <a:pt x="658" y="518"/>
                    </a:lnTo>
                    <a:lnTo>
                      <a:pt x="658" y="522"/>
                    </a:lnTo>
                    <a:lnTo>
                      <a:pt x="656" y="522"/>
                    </a:lnTo>
                    <a:lnTo>
                      <a:pt x="656" y="526"/>
                    </a:lnTo>
                    <a:lnTo>
                      <a:pt x="656" y="522"/>
                    </a:lnTo>
                    <a:lnTo>
                      <a:pt x="658" y="522"/>
                    </a:lnTo>
                    <a:lnTo>
                      <a:pt x="656" y="518"/>
                    </a:lnTo>
                    <a:lnTo>
                      <a:pt x="656" y="522"/>
                    </a:lnTo>
                    <a:lnTo>
                      <a:pt x="656" y="518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18"/>
                    </a:lnTo>
                    <a:lnTo>
                      <a:pt x="652" y="522"/>
                    </a:lnTo>
                    <a:lnTo>
                      <a:pt x="652" y="526"/>
                    </a:lnTo>
                    <a:lnTo>
                      <a:pt x="652" y="522"/>
                    </a:lnTo>
                    <a:lnTo>
                      <a:pt x="656" y="526"/>
                    </a:lnTo>
                    <a:lnTo>
                      <a:pt x="652" y="526"/>
                    </a:lnTo>
                    <a:lnTo>
                      <a:pt x="652" y="530"/>
                    </a:lnTo>
                    <a:lnTo>
                      <a:pt x="656" y="526"/>
                    </a:lnTo>
                    <a:lnTo>
                      <a:pt x="656" y="530"/>
                    </a:lnTo>
                    <a:lnTo>
                      <a:pt x="652" y="530"/>
                    </a:lnTo>
                    <a:lnTo>
                      <a:pt x="652" y="534"/>
                    </a:lnTo>
                    <a:lnTo>
                      <a:pt x="648" y="534"/>
                    </a:lnTo>
                    <a:lnTo>
                      <a:pt x="644" y="534"/>
                    </a:lnTo>
                    <a:lnTo>
                      <a:pt x="648" y="534"/>
                    </a:lnTo>
                    <a:lnTo>
                      <a:pt x="648" y="536"/>
                    </a:lnTo>
                    <a:lnTo>
                      <a:pt x="648" y="534"/>
                    </a:lnTo>
                    <a:lnTo>
                      <a:pt x="652" y="534"/>
                    </a:lnTo>
                    <a:lnTo>
                      <a:pt x="652" y="536"/>
                    </a:lnTo>
                    <a:lnTo>
                      <a:pt x="652" y="540"/>
                    </a:lnTo>
                    <a:lnTo>
                      <a:pt x="648" y="540"/>
                    </a:lnTo>
                    <a:lnTo>
                      <a:pt x="652" y="540"/>
                    </a:lnTo>
                    <a:lnTo>
                      <a:pt x="652" y="544"/>
                    </a:lnTo>
                    <a:lnTo>
                      <a:pt x="652" y="548"/>
                    </a:lnTo>
                    <a:lnTo>
                      <a:pt x="652" y="544"/>
                    </a:lnTo>
                    <a:lnTo>
                      <a:pt x="648" y="544"/>
                    </a:lnTo>
                    <a:lnTo>
                      <a:pt x="648" y="540"/>
                    </a:lnTo>
                    <a:lnTo>
                      <a:pt x="648" y="544"/>
                    </a:lnTo>
                    <a:lnTo>
                      <a:pt x="644" y="544"/>
                    </a:lnTo>
                    <a:lnTo>
                      <a:pt x="648" y="548"/>
                    </a:lnTo>
                    <a:lnTo>
                      <a:pt x="644" y="552"/>
                    </a:lnTo>
                    <a:lnTo>
                      <a:pt x="644" y="548"/>
                    </a:lnTo>
                    <a:lnTo>
                      <a:pt x="640" y="548"/>
                    </a:lnTo>
                    <a:lnTo>
                      <a:pt x="640" y="552"/>
                    </a:lnTo>
                    <a:lnTo>
                      <a:pt x="644" y="552"/>
                    </a:lnTo>
                    <a:lnTo>
                      <a:pt x="640" y="556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52"/>
                    </a:lnTo>
                    <a:lnTo>
                      <a:pt x="636" y="556"/>
                    </a:lnTo>
                    <a:lnTo>
                      <a:pt x="640" y="556"/>
                    </a:lnTo>
                    <a:lnTo>
                      <a:pt x="636" y="560"/>
                    </a:lnTo>
                    <a:lnTo>
                      <a:pt x="632" y="560"/>
                    </a:lnTo>
                    <a:lnTo>
                      <a:pt x="628" y="560"/>
                    </a:lnTo>
                    <a:lnTo>
                      <a:pt x="628" y="564"/>
                    </a:lnTo>
                    <a:lnTo>
                      <a:pt x="626" y="564"/>
                    </a:lnTo>
                    <a:lnTo>
                      <a:pt x="628" y="564"/>
                    </a:lnTo>
                    <a:lnTo>
                      <a:pt x="628" y="566"/>
                    </a:lnTo>
                    <a:lnTo>
                      <a:pt x="626" y="570"/>
                    </a:lnTo>
                    <a:lnTo>
                      <a:pt x="622" y="570"/>
                    </a:lnTo>
                    <a:lnTo>
                      <a:pt x="622" y="574"/>
                    </a:lnTo>
                    <a:lnTo>
                      <a:pt x="618" y="574"/>
                    </a:lnTo>
                    <a:lnTo>
                      <a:pt x="618" y="578"/>
                    </a:lnTo>
                    <a:lnTo>
                      <a:pt x="614" y="578"/>
                    </a:lnTo>
                    <a:lnTo>
                      <a:pt x="610" y="578"/>
                    </a:lnTo>
                    <a:lnTo>
                      <a:pt x="610" y="582"/>
                    </a:lnTo>
                    <a:lnTo>
                      <a:pt x="606" y="582"/>
                    </a:lnTo>
                    <a:lnTo>
                      <a:pt x="610" y="582"/>
                    </a:lnTo>
                    <a:lnTo>
                      <a:pt x="610" y="586"/>
                    </a:lnTo>
                    <a:lnTo>
                      <a:pt x="606" y="586"/>
                    </a:lnTo>
                    <a:lnTo>
                      <a:pt x="606" y="590"/>
                    </a:lnTo>
                    <a:lnTo>
                      <a:pt x="602" y="590"/>
                    </a:lnTo>
                    <a:lnTo>
                      <a:pt x="602" y="592"/>
                    </a:lnTo>
                    <a:lnTo>
                      <a:pt x="600" y="590"/>
                    </a:lnTo>
                    <a:lnTo>
                      <a:pt x="600" y="592"/>
                    </a:lnTo>
                    <a:lnTo>
                      <a:pt x="596" y="592"/>
                    </a:lnTo>
                    <a:lnTo>
                      <a:pt x="596" y="590"/>
                    </a:lnTo>
                    <a:lnTo>
                      <a:pt x="592" y="592"/>
                    </a:lnTo>
                    <a:lnTo>
                      <a:pt x="596" y="592"/>
                    </a:lnTo>
                    <a:lnTo>
                      <a:pt x="592" y="592"/>
                    </a:lnTo>
                    <a:lnTo>
                      <a:pt x="588" y="592"/>
                    </a:lnTo>
                    <a:lnTo>
                      <a:pt x="584" y="592"/>
                    </a:lnTo>
                    <a:lnTo>
                      <a:pt x="584" y="596"/>
                    </a:lnTo>
                    <a:lnTo>
                      <a:pt x="580" y="596"/>
                    </a:lnTo>
                    <a:lnTo>
                      <a:pt x="580" y="592"/>
                    </a:lnTo>
                    <a:lnTo>
                      <a:pt x="584" y="592"/>
                    </a:lnTo>
                    <a:lnTo>
                      <a:pt x="580" y="592"/>
                    </a:lnTo>
                    <a:lnTo>
                      <a:pt x="580" y="596"/>
                    </a:lnTo>
                    <a:lnTo>
                      <a:pt x="576" y="596"/>
                    </a:lnTo>
                    <a:lnTo>
                      <a:pt x="572" y="596"/>
                    </a:lnTo>
                    <a:lnTo>
                      <a:pt x="576" y="596"/>
                    </a:lnTo>
                    <a:lnTo>
                      <a:pt x="576" y="600"/>
                    </a:lnTo>
                    <a:lnTo>
                      <a:pt x="572" y="600"/>
                    </a:lnTo>
                    <a:lnTo>
                      <a:pt x="570" y="600"/>
                    </a:lnTo>
                    <a:lnTo>
                      <a:pt x="570" y="596"/>
                    </a:lnTo>
                    <a:lnTo>
                      <a:pt x="572" y="596"/>
                    </a:lnTo>
                    <a:lnTo>
                      <a:pt x="570" y="596"/>
                    </a:lnTo>
                    <a:lnTo>
                      <a:pt x="570" y="592"/>
                    </a:lnTo>
                    <a:lnTo>
                      <a:pt x="566" y="590"/>
                    </a:lnTo>
                    <a:lnTo>
                      <a:pt x="566" y="586"/>
                    </a:lnTo>
                    <a:lnTo>
                      <a:pt x="570" y="586"/>
                    </a:lnTo>
                    <a:lnTo>
                      <a:pt x="566" y="586"/>
                    </a:lnTo>
                    <a:lnTo>
                      <a:pt x="566" y="590"/>
                    </a:lnTo>
                    <a:lnTo>
                      <a:pt x="562" y="590"/>
                    </a:lnTo>
                    <a:lnTo>
                      <a:pt x="566" y="592"/>
                    </a:lnTo>
                    <a:lnTo>
                      <a:pt x="562" y="592"/>
                    </a:lnTo>
                    <a:lnTo>
                      <a:pt x="566" y="592"/>
                    </a:lnTo>
                    <a:lnTo>
                      <a:pt x="566" y="596"/>
                    </a:lnTo>
                    <a:lnTo>
                      <a:pt x="566" y="600"/>
                    </a:lnTo>
                    <a:lnTo>
                      <a:pt x="566" y="604"/>
                    </a:lnTo>
                    <a:lnTo>
                      <a:pt x="562" y="604"/>
                    </a:lnTo>
                    <a:lnTo>
                      <a:pt x="562" y="600"/>
                    </a:lnTo>
                    <a:lnTo>
                      <a:pt x="562" y="596"/>
                    </a:lnTo>
                    <a:lnTo>
                      <a:pt x="558" y="596"/>
                    </a:lnTo>
                    <a:lnTo>
                      <a:pt x="562" y="596"/>
                    </a:lnTo>
                    <a:lnTo>
                      <a:pt x="562" y="600"/>
                    </a:lnTo>
                    <a:lnTo>
                      <a:pt x="562" y="604"/>
                    </a:lnTo>
                    <a:lnTo>
                      <a:pt x="558" y="604"/>
                    </a:lnTo>
                    <a:lnTo>
                      <a:pt x="558" y="600"/>
                    </a:lnTo>
                    <a:lnTo>
                      <a:pt x="558" y="604"/>
                    </a:lnTo>
                    <a:lnTo>
                      <a:pt x="558" y="608"/>
                    </a:lnTo>
                    <a:lnTo>
                      <a:pt x="554" y="608"/>
                    </a:lnTo>
                    <a:lnTo>
                      <a:pt x="550" y="608"/>
                    </a:lnTo>
                    <a:lnTo>
                      <a:pt x="550" y="612"/>
                    </a:lnTo>
                    <a:lnTo>
                      <a:pt x="550" y="608"/>
                    </a:lnTo>
                    <a:lnTo>
                      <a:pt x="546" y="612"/>
                    </a:lnTo>
                    <a:lnTo>
                      <a:pt x="542" y="608"/>
                    </a:lnTo>
                    <a:lnTo>
                      <a:pt x="542" y="612"/>
                    </a:lnTo>
                    <a:lnTo>
                      <a:pt x="540" y="612"/>
                    </a:lnTo>
                    <a:lnTo>
                      <a:pt x="540" y="616"/>
                    </a:lnTo>
                    <a:lnTo>
                      <a:pt x="536" y="616"/>
                    </a:lnTo>
                    <a:lnTo>
                      <a:pt x="532" y="616"/>
                    </a:lnTo>
                    <a:lnTo>
                      <a:pt x="528" y="616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4" y="616"/>
                    </a:lnTo>
                    <a:lnTo>
                      <a:pt x="524" y="620"/>
                    </a:lnTo>
                    <a:lnTo>
                      <a:pt x="520" y="620"/>
                    </a:lnTo>
                    <a:lnTo>
                      <a:pt x="520" y="616"/>
                    </a:lnTo>
                    <a:lnTo>
                      <a:pt x="520" y="620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16" y="626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26"/>
                    </a:lnTo>
                    <a:lnTo>
                      <a:pt x="520" y="630"/>
                    </a:lnTo>
                    <a:lnTo>
                      <a:pt x="520" y="634"/>
                    </a:lnTo>
                    <a:lnTo>
                      <a:pt x="520" y="636"/>
                    </a:lnTo>
                    <a:lnTo>
                      <a:pt x="516" y="636"/>
                    </a:lnTo>
                    <a:lnTo>
                      <a:pt x="514" y="636"/>
                    </a:lnTo>
                    <a:lnTo>
                      <a:pt x="514" y="634"/>
                    </a:lnTo>
                    <a:lnTo>
                      <a:pt x="510" y="630"/>
                    </a:lnTo>
                    <a:lnTo>
                      <a:pt x="510" y="626"/>
                    </a:lnTo>
                    <a:lnTo>
                      <a:pt x="510" y="622"/>
                    </a:lnTo>
                    <a:lnTo>
                      <a:pt x="514" y="620"/>
                    </a:lnTo>
                    <a:lnTo>
                      <a:pt x="514" y="616"/>
                    </a:lnTo>
                    <a:lnTo>
                      <a:pt x="514" y="612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4" y="616"/>
                    </a:lnTo>
                    <a:lnTo>
                      <a:pt x="510" y="616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06" y="616"/>
                    </a:lnTo>
                    <a:lnTo>
                      <a:pt x="502" y="616"/>
                    </a:lnTo>
                    <a:lnTo>
                      <a:pt x="502" y="612"/>
                    </a:lnTo>
                    <a:lnTo>
                      <a:pt x="498" y="612"/>
                    </a:lnTo>
                    <a:lnTo>
                      <a:pt x="498" y="608"/>
                    </a:lnTo>
                    <a:lnTo>
                      <a:pt x="498" y="612"/>
                    </a:lnTo>
                    <a:lnTo>
                      <a:pt x="494" y="612"/>
                    </a:lnTo>
                    <a:lnTo>
                      <a:pt x="494" y="608"/>
                    </a:lnTo>
                    <a:lnTo>
                      <a:pt x="494" y="612"/>
                    </a:lnTo>
                    <a:lnTo>
                      <a:pt x="494" y="616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94" y="612"/>
                    </a:lnTo>
                    <a:lnTo>
                      <a:pt x="490" y="612"/>
                    </a:lnTo>
                    <a:lnTo>
                      <a:pt x="490" y="616"/>
                    </a:lnTo>
                    <a:lnTo>
                      <a:pt x="490" y="612"/>
                    </a:lnTo>
                    <a:lnTo>
                      <a:pt x="486" y="616"/>
                    </a:lnTo>
                    <a:lnTo>
                      <a:pt x="486" y="612"/>
                    </a:lnTo>
                    <a:lnTo>
                      <a:pt x="484" y="612"/>
                    </a:lnTo>
                    <a:lnTo>
                      <a:pt x="480" y="612"/>
                    </a:lnTo>
                    <a:lnTo>
                      <a:pt x="476" y="612"/>
                    </a:lnTo>
                    <a:lnTo>
                      <a:pt x="472" y="608"/>
                    </a:lnTo>
                    <a:lnTo>
                      <a:pt x="468" y="604"/>
                    </a:lnTo>
                    <a:lnTo>
                      <a:pt x="468" y="600"/>
                    </a:lnTo>
                    <a:lnTo>
                      <a:pt x="464" y="600"/>
                    </a:lnTo>
                    <a:lnTo>
                      <a:pt x="464" y="596"/>
                    </a:lnTo>
                    <a:lnTo>
                      <a:pt x="468" y="596"/>
                    </a:lnTo>
                    <a:lnTo>
                      <a:pt x="468" y="592"/>
                    </a:lnTo>
                    <a:lnTo>
                      <a:pt x="468" y="590"/>
                    </a:lnTo>
                    <a:lnTo>
                      <a:pt x="464" y="590"/>
                    </a:lnTo>
                    <a:lnTo>
                      <a:pt x="460" y="590"/>
                    </a:lnTo>
                    <a:lnTo>
                      <a:pt x="458" y="590"/>
                    </a:lnTo>
                    <a:lnTo>
                      <a:pt x="454" y="590"/>
                    </a:lnTo>
                    <a:lnTo>
                      <a:pt x="454" y="586"/>
                    </a:lnTo>
                    <a:lnTo>
                      <a:pt x="450" y="586"/>
                    </a:lnTo>
                    <a:lnTo>
                      <a:pt x="450" y="582"/>
                    </a:lnTo>
                    <a:lnTo>
                      <a:pt x="446" y="582"/>
                    </a:lnTo>
                    <a:lnTo>
                      <a:pt x="442" y="586"/>
                    </a:lnTo>
                    <a:lnTo>
                      <a:pt x="442" y="590"/>
                    </a:lnTo>
                    <a:lnTo>
                      <a:pt x="438" y="592"/>
                    </a:lnTo>
                    <a:lnTo>
                      <a:pt x="434" y="592"/>
                    </a:lnTo>
                    <a:lnTo>
                      <a:pt x="430" y="592"/>
                    </a:lnTo>
                    <a:lnTo>
                      <a:pt x="430" y="596"/>
                    </a:lnTo>
                    <a:lnTo>
                      <a:pt x="428" y="596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4" y="596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0" y="596"/>
                    </a:lnTo>
                    <a:lnTo>
                      <a:pt x="416" y="596"/>
                    </a:lnTo>
                    <a:lnTo>
                      <a:pt x="412" y="596"/>
                    </a:lnTo>
                    <a:lnTo>
                      <a:pt x="412" y="592"/>
                    </a:lnTo>
                    <a:lnTo>
                      <a:pt x="408" y="592"/>
                    </a:lnTo>
                    <a:lnTo>
                      <a:pt x="408" y="596"/>
                    </a:lnTo>
                    <a:lnTo>
                      <a:pt x="404" y="596"/>
                    </a:lnTo>
                    <a:lnTo>
                      <a:pt x="404" y="600"/>
                    </a:lnTo>
                    <a:lnTo>
                      <a:pt x="404" y="596"/>
                    </a:lnTo>
                    <a:lnTo>
                      <a:pt x="402" y="596"/>
                    </a:lnTo>
                    <a:lnTo>
                      <a:pt x="398" y="596"/>
                    </a:lnTo>
                    <a:lnTo>
                      <a:pt x="398" y="600"/>
                    </a:lnTo>
                    <a:lnTo>
                      <a:pt x="394" y="600"/>
                    </a:lnTo>
                    <a:lnTo>
                      <a:pt x="398" y="608"/>
                    </a:lnTo>
                    <a:lnTo>
                      <a:pt x="398" y="612"/>
                    </a:lnTo>
                    <a:lnTo>
                      <a:pt x="398" y="616"/>
                    </a:lnTo>
                    <a:lnTo>
                      <a:pt x="398" y="620"/>
                    </a:lnTo>
                    <a:lnTo>
                      <a:pt x="402" y="620"/>
                    </a:lnTo>
                    <a:lnTo>
                      <a:pt x="398" y="620"/>
                    </a:lnTo>
                    <a:lnTo>
                      <a:pt x="398" y="622"/>
                    </a:lnTo>
                    <a:lnTo>
                      <a:pt x="398" y="620"/>
                    </a:lnTo>
                    <a:lnTo>
                      <a:pt x="394" y="620"/>
                    </a:lnTo>
                    <a:lnTo>
                      <a:pt x="390" y="620"/>
                    </a:lnTo>
                    <a:lnTo>
                      <a:pt x="390" y="616"/>
                    </a:lnTo>
                    <a:lnTo>
                      <a:pt x="390" y="612"/>
                    </a:lnTo>
                    <a:lnTo>
                      <a:pt x="386" y="612"/>
                    </a:lnTo>
                    <a:lnTo>
                      <a:pt x="382" y="616"/>
                    </a:lnTo>
                    <a:lnTo>
                      <a:pt x="378" y="616"/>
                    </a:lnTo>
                    <a:lnTo>
                      <a:pt x="374" y="616"/>
                    </a:lnTo>
                    <a:lnTo>
                      <a:pt x="374" y="612"/>
                    </a:lnTo>
                    <a:lnTo>
                      <a:pt x="372" y="612"/>
                    </a:lnTo>
                    <a:lnTo>
                      <a:pt x="372" y="608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64" y="604"/>
                    </a:lnTo>
                    <a:lnTo>
                      <a:pt x="360" y="604"/>
                    </a:lnTo>
                    <a:lnTo>
                      <a:pt x="364" y="600"/>
                    </a:lnTo>
                    <a:lnTo>
                      <a:pt x="364" y="596"/>
                    </a:lnTo>
                    <a:lnTo>
                      <a:pt x="364" y="592"/>
                    </a:lnTo>
                    <a:lnTo>
                      <a:pt x="364" y="590"/>
                    </a:lnTo>
                    <a:lnTo>
                      <a:pt x="368" y="590"/>
                    </a:lnTo>
                    <a:lnTo>
                      <a:pt x="368" y="586"/>
                    </a:lnTo>
                    <a:lnTo>
                      <a:pt x="364" y="586"/>
                    </a:lnTo>
                    <a:lnTo>
                      <a:pt x="360" y="586"/>
                    </a:lnTo>
                    <a:lnTo>
                      <a:pt x="356" y="586"/>
                    </a:lnTo>
                    <a:lnTo>
                      <a:pt x="356" y="582"/>
                    </a:lnTo>
                    <a:lnTo>
                      <a:pt x="356" y="578"/>
                    </a:lnTo>
                    <a:lnTo>
                      <a:pt x="356" y="574"/>
                    </a:lnTo>
                    <a:lnTo>
                      <a:pt x="352" y="570"/>
                    </a:lnTo>
                    <a:lnTo>
                      <a:pt x="356" y="570"/>
                    </a:lnTo>
                    <a:lnTo>
                      <a:pt x="356" y="566"/>
                    </a:lnTo>
                    <a:lnTo>
                      <a:pt x="352" y="566"/>
                    </a:lnTo>
                    <a:lnTo>
                      <a:pt x="348" y="566"/>
                    </a:lnTo>
                    <a:lnTo>
                      <a:pt x="346" y="566"/>
                    </a:lnTo>
                    <a:lnTo>
                      <a:pt x="346" y="570"/>
                    </a:lnTo>
                    <a:lnTo>
                      <a:pt x="342" y="570"/>
                    </a:lnTo>
                    <a:lnTo>
                      <a:pt x="342" y="574"/>
                    </a:lnTo>
                    <a:lnTo>
                      <a:pt x="342" y="574"/>
                    </a:lnTo>
                    <a:lnTo>
                      <a:pt x="342" y="574"/>
                    </a:lnTo>
                    <a:close/>
                    <a:moveTo>
                      <a:pt x="658" y="578"/>
                    </a:moveTo>
                    <a:lnTo>
                      <a:pt x="658" y="574"/>
                    </a:lnTo>
                    <a:lnTo>
                      <a:pt x="658" y="570"/>
                    </a:lnTo>
                    <a:lnTo>
                      <a:pt x="662" y="570"/>
                    </a:lnTo>
                    <a:lnTo>
                      <a:pt x="662" y="566"/>
                    </a:lnTo>
                    <a:lnTo>
                      <a:pt x="662" y="564"/>
                    </a:lnTo>
                    <a:lnTo>
                      <a:pt x="666" y="564"/>
                    </a:lnTo>
                    <a:lnTo>
                      <a:pt x="666" y="560"/>
                    </a:lnTo>
                    <a:lnTo>
                      <a:pt x="670" y="556"/>
                    </a:lnTo>
                    <a:lnTo>
                      <a:pt x="670" y="552"/>
                    </a:lnTo>
                    <a:lnTo>
                      <a:pt x="674" y="552"/>
                    </a:lnTo>
                    <a:lnTo>
                      <a:pt x="674" y="548"/>
                    </a:lnTo>
                    <a:lnTo>
                      <a:pt x="676" y="548"/>
                    </a:lnTo>
                    <a:lnTo>
                      <a:pt x="676" y="552"/>
                    </a:lnTo>
                    <a:lnTo>
                      <a:pt x="676" y="548"/>
                    </a:lnTo>
                    <a:lnTo>
                      <a:pt x="680" y="548"/>
                    </a:lnTo>
                    <a:lnTo>
                      <a:pt x="680" y="552"/>
                    </a:lnTo>
                    <a:lnTo>
                      <a:pt x="684" y="552"/>
                    </a:lnTo>
                    <a:lnTo>
                      <a:pt x="680" y="556"/>
                    </a:lnTo>
                    <a:lnTo>
                      <a:pt x="680" y="560"/>
                    </a:lnTo>
                    <a:lnTo>
                      <a:pt x="680" y="564"/>
                    </a:lnTo>
                    <a:lnTo>
                      <a:pt x="680" y="566"/>
                    </a:lnTo>
                    <a:lnTo>
                      <a:pt x="676" y="570"/>
                    </a:lnTo>
                    <a:lnTo>
                      <a:pt x="680" y="570"/>
                    </a:lnTo>
                    <a:lnTo>
                      <a:pt x="676" y="570"/>
                    </a:lnTo>
                    <a:lnTo>
                      <a:pt x="676" y="574"/>
                    </a:lnTo>
                    <a:lnTo>
                      <a:pt x="676" y="578"/>
                    </a:lnTo>
                    <a:lnTo>
                      <a:pt x="676" y="582"/>
                    </a:lnTo>
                    <a:lnTo>
                      <a:pt x="676" y="586"/>
                    </a:lnTo>
                    <a:lnTo>
                      <a:pt x="674" y="590"/>
                    </a:lnTo>
                    <a:lnTo>
                      <a:pt x="674" y="592"/>
                    </a:lnTo>
                    <a:lnTo>
                      <a:pt x="670" y="592"/>
                    </a:lnTo>
                    <a:lnTo>
                      <a:pt x="670" y="596"/>
                    </a:lnTo>
                    <a:lnTo>
                      <a:pt x="670" y="600"/>
                    </a:lnTo>
                    <a:lnTo>
                      <a:pt x="670" y="604"/>
                    </a:lnTo>
                    <a:lnTo>
                      <a:pt x="670" y="608"/>
                    </a:lnTo>
                    <a:lnTo>
                      <a:pt x="666" y="608"/>
                    </a:lnTo>
                    <a:lnTo>
                      <a:pt x="666" y="604"/>
                    </a:lnTo>
                    <a:lnTo>
                      <a:pt x="666" y="600"/>
                    </a:lnTo>
                    <a:lnTo>
                      <a:pt x="662" y="600"/>
                    </a:lnTo>
                    <a:lnTo>
                      <a:pt x="662" y="596"/>
                    </a:lnTo>
                    <a:lnTo>
                      <a:pt x="658" y="596"/>
                    </a:lnTo>
                    <a:lnTo>
                      <a:pt x="658" y="592"/>
                    </a:lnTo>
                    <a:lnTo>
                      <a:pt x="658" y="590"/>
                    </a:lnTo>
                    <a:lnTo>
                      <a:pt x="658" y="586"/>
                    </a:lnTo>
                    <a:lnTo>
                      <a:pt x="658" y="582"/>
                    </a:lnTo>
                    <a:lnTo>
                      <a:pt x="658" y="578"/>
                    </a:lnTo>
                    <a:lnTo>
                      <a:pt x="658" y="578"/>
                    </a:lnTo>
                    <a:lnTo>
                      <a:pt x="658" y="578"/>
                    </a:lnTo>
                    <a:close/>
                    <a:moveTo>
                      <a:pt x="510" y="670"/>
                    </a:moveTo>
                    <a:lnTo>
                      <a:pt x="510" y="674"/>
                    </a:lnTo>
                    <a:lnTo>
                      <a:pt x="510" y="670"/>
                    </a:lnTo>
                    <a:lnTo>
                      <a:pt x="506" y="670"/>
                    </a:lnTo>
                    <a:lnTo>
                      <a:pt x="502" y="670"/>
                    </a:lnTo>
                    <a:lnTo>
                      <a:pt x="498" y="670"/>
                    </a:lnTo>
                    <a:lnTo>
                      <a:pt x="498" y="666"/>
                    </a:lnTo>
                    <a:lnTo>
                      <a:pt x="494" y="666"/>
                    </a:lnTo>
                    <a:lnTo>
                      <a:pt x="494" y="662"/>
                    </a:lnTo>
                    <a:lnTo>
                      <a:pt x="498" y="662"/>
                    </a:lnTo>
                    <a:lnTo>
                      <a:pt x="494" y="662"/>
                    </a:lnTo>
                    <a:lnTo>
                      <a:pt x="494" y="660"/>
                    </a:lnTo>
                    <a:lnTo>
                      <a:pt x="494" y="656"/>
                    </a:lnTo>
                    <a:lnTo>
                      <a:pt x="494" y="652"/>
                    </a:lnTo>
                    <a:lnTo>
                      <a:pt x="498" y="652"/>
                    </a:lnTo>
                    <a:lnTo>
                      <a:pt x="498" y="648"/>
                    </a:lnTo>
                    <a:lnTo>
                      <a:pt x="502" y="648"/>
                    </a:lnTo>
                    <a:lnTo>
                      <a:pt x="506" y="644"/>
                    </a:lnTo>
                    <a:lnTo>
                      <a:pt x="502" y="644"/>
                    </a:lnTo>
                    <a:lnTo>
                      <a:pt x="506" y="640"/>
                    </a:lnTo>
                    <a:lnTo>
                      <a:pt x="506" y="644"/>
                    </a:lnTo>
                    <a:lnTo>
                      <a:pt x="510" y="644"/>
                    </a:lnTo>
                    <a:lnTo>
                      <a:pt x="510" y="640"/>
                    </a:lnTo>
                    <a:lnTo>
                      <a:pt x="514" y="640"/>
                    </a:lnTo>
                    <a:lnTo>
                      <a:pt x="516" y="640"/>
                    </a:lnTo>
                    <a:lnTo>
                      <a:pt x="520" y="640"/>
                    </a:lnTo>
                    <a:lnTo>
                      <a:pt x="524" y="640"/>
                    </a:lnTo>
                    <a:lnTo>
                      <a:pt x="524" y="636"/>
                    </a:lnTo>
                    <a:lnTo>
                      <a:pt x="524" y="640"/>
                    </a:lnTo>
                    <a:lnTo>
                      <a:pt x="528" y="640"/>
                    </a:lnTo>
                    <a:lnTo>
                      <a:pt x="528" y="648"/>
                    </a:lnTo>
                    <a:lnTo>
                      <a:pt x="524" y="652"/>
                    </a:lnTo>
                    <a:lnTo>
                      <a:pt x="524" y="656"/>
                    </a:lnTo>
                    <a:lnTo>
                      <a:pt x="520" y="656"/>
                    </a:lnTo>
                    <a:lnTo>
                      <a:pt x="524" y="656"/>
                    </a:lnTo>
                    <a:lnTo>
                      <a:pt x="520" y="660"/>
                    </a:lnTo>
                    <a:lnTo>
                      <a:pt x="520" y="662"/>
                    </a:lnTo>
                    <a:lnTo>
                      <a:pt x="516" y="662"/>
                    </a:lnTo>
                    <a:lnTo>
                      <a:pt x="516" y="666"/>
                    </a:lnTo>
                    <a:lnTo>
                      <a:pt x="516" y="670"/>
                    </a:lnTo>
                    <a:lnTo>
                      <a:pt x="514" y="670"/>
                    </a:lnTo>
                    <a:lnTo>
                      <a:pt x="514" y="666"/>
                    </a:lnTo>
                    <a:lnTo>
                      <a:pt x="514" y="670"/>
                    </a:lnTo>
                    <a:lnTo>
                      <a:pt x="510" y="670"/>
                    </a:lnTo>
                    <a:lnTo>
                      <a:pt x="510" y="670"/>
                    </a:lnTo>
                    <a:lnTo>
                      <a:pt x="510" y="670"/>
                    </a:lnTo>
                    <a:close/>
                    <a:moveTo>
                      <a:pt x="674" y="428"/>
                    </a:moveTo>
                    <a:lnTo>
                      <a:pt x="676" y="428"/>
                    </a:lnTo>
                    <a:lnTo>
                      <a:pt x="676" y="432"/>
                    </a:lnTo>
                    <a:lnTo>
                      <a:pt x="680" y="432"/>
                    </a:lnTo>
                    <a:lnTo>
                      <a:pt x="684" y="432"/>
                    </a:lnTo>
                    <a:lnTo>
                      <a:pt x="680" y="432"/>
                    </a:lnTo>
                    <a:lnTo>
                      <a:pt x="680" y="436"/>
                    </a:lnTo>
                    <a:lnTo>
                      <a:pt x="676" y="432"/>
                    </a:lnTo>
                    <a:lnTo>
                      <a:pt x="674" y="432"/>
                    </a:lnTo>
                    <a:lnTo>
                      <a:pt x="674" y="428"/>
                    </a:lnTo>
                    <a:lnTo>
                      <a:pt x="674" y="428"/>
                    </a:lnTo>
                    <a:lnTo>
                      <a:pt x="674" y="428"/>
                    </a:lnTo>
                    <a:close/>
                    <a:moveTo>
                      <a:pt x="684" y="462"/>
                    </a:moveTo>
                    <a:lnTo>
                      <a:pt x="684" y="458"/>
                    </a:lnTo>
                    <a:lnTo>
                      <a:pt x="688" y="458"/>
                    </a:lnTo>
                    <a:lnTo>
                      <a:pt x="688" y="462"/>
                    </a:lnTo>
                    <a:lnTo>
                      <a:pt x="684" y="462"/>
                    </a:lnTo>
                    <a:lnTo>
                      <a:pt x="684" y="462"/>
                    </a:lnTo>
                    <a:lnTo>
                      <a:pt x="684" y="462"/>
                    </a:lnTo>
                    <a:close/>
                    <a:moveTo>
                      <a:pt x="652" y="544"/>
                    </a:moveTo>
                    <a:lnTo>
                      <a:pt x="652" y="540"/>
                    </a:lnTo>
                    <a:lnTo>
                      <a:pt x="656" y="540"/>
                    </a:lnTo>
                    <a:lnTo>
                      <a:pt x="656" y="544"/>
                    </a:lnTo>
                    <a:lnTo>
                      <a:pt x="652" y="544"/>
                    </a:lnTo>
                    <a:lnTo>
                      <a:pt x="652" y="544"/>
                    </a:lnTo>
                    <a:lnTo>
                      <a:pt x="652" y="544"/>
                    </a:lnTo>
                    <a:close/>
                    <a:moveTo>
                      <a:pt x="622" y="574"/>
                    </a:moveTo>
                    <a:lnTo>
                      <a:pt x="622" y="578"/>
                    </a:lnTo>
                    <a:lnTo>
                      <a:pt x="618" y="578"/>
                    </a:lnTo>
                    <a:lnTo>
                      <a:pt x="618" y="574"/>
                    </a:lnTo>
                    <a:lnTo>
                      <a:pt x="622" y="574"/>
                    </a:lnTo>
                    <a:lnTo>
                      <a:pt x="622" y="574"/>
                    </a:lnTo>
                    <a:lnTo>
                      <a:pt x="622" y="574"/>
                    </a:lnTo>
                    <a:close/>
                    <a:moveTo>
                      <a:pt x="520" y="622"/>
                    </a:moveTo>
                    <a:lnTo>
                      <a:pt x="524" y="622"/>
                    </a:lnTo>
                    <a:lnTo>
                      <a:pt x="520" y="622"/>
                    </a:lnTo>
                    <a:lnTo>
                      <a:pt x="516" y="622"/>
                    </a:lnTo>
                    <a:lnTo>
                      <a:pt x="520" y="622"/>
                    </a:lnTo>
                    <a:lnTo>
                      <a:pt x="520" y="622"/>
                    </a:lnTo>
                    <a:lnTo>
                      <a:pt x="520" y="622"/>
                    </a:lnTo>
                    <a:close/>
                    <a:moveTo>
                      <a:pt x="676" y="286"/>
                    </a:moveTo>
                    <a:lnTo>
                      <a:pt x="674" y="286"/>
                    </a:lnTo>
                    <a:lnTo>
                      <a:pt x="674" y="284"/>
                    </a:lnTo>
                    <a:lnTo>
                      <a:pt x="676" y="284"/>
                    </a:lnTo>
                    <a:lnTo>
                      <a:pt x="676" y="286"/>
                    </a:lnTo>
                    <a:lnTo>
                      <a:pt x="676" y="286"/>
                    </a:lnTo>
                    <a:lnTo>
                      <a:pt x="676" y="286"/>
                    </a:lnTo>
                    <a:close/>
                    <a:moveTo>
                      <a:pt x="572" y="600"/>
                    </a:moveTo>
                    <a:lnTo>
                      <a:pt x="570" y="600"/>
                    </a:lnTo>
                    <a:lnTo>
                      <a:pt x="570" y="604"/>
                    </a:lnTo>
                    <a:lnTo>
                      <a:pt x="570" y="600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  <a:moveTo>
                      <a:pt x="652" y="422"/>
                    </a:moveTo>
                    <a:lnTo>
                      <a:pt x="656" y="422"/>
                    </a:lnTo>
                    <a:lnTo>
                      <a:pt x="656" y="424"/>
                    </a:lnTo>
                    <a:lnTo>
                      <a:pt x="656" y="422"/>
                    </a:lnTo>
                    <a:lnTo>
                      <a:pt x="652" y="422"/>
                    </a:lnTo>
                    <a:lnTo>
                      <a:pt x="652" y="422"/>
                    </a:lnTo>
                    <a:lnTo>
                      <a:pt x="652" y="422"/>
                    </a:lnTo>
                    <a:close/>
                    <a:moveTo>
                      <a:pt x="566" y="592"/>
                    </a:moveTo>
                    <a:lnTo>
                      <a:pt x="562" y="590"/>
                    </a:lnTo>
                    <a:lnTo>
                      <a:pt x="566" y="590"/>
                    </a:lnTo>
                    <a:lnTo>
                      <a:pt x="566" y="592"/>
                    </a:lnTo>
                    <a:lnTo>
                      <a:pt x="566" y="592"/>
                    </a:lnTo>
                    <a:lnTo>
                      <a:pt x="566" y="592"/>
                    </a:lnTo>
                    <a:close/>
                    <a:moveTo>
                      <a:pt x="632" y="564"/>
                    </a:moveTo>
                    <a:lnTo>
                      <a:pt x="632" y="560"/>
                    </a:lnTo>
                    <a:lnTo>
                      <a:pt x="632" y="564"/>
                    </a:lnTo>
                    <a:lnTo>
                      <a:pt x="636" y="564"/>
                    </a:lnTo>
                    <a:lnTo>
                      <a:pt x="632" y="564"/>
                    </a:lnTo>
                    <a:lnTo>
                      <a:pt x="632" y="564"/>
                    </a:lnTo>
                    <a:lnTo>
                      <a:pt x="632" y="564"/>
                    </a:lnTo>
                    <a:close/>
                    <a:moveTo>
                      <a:pt x="614" y="578"/>
                    </a:moveTo>
                    <a:lnTo>
                      <a:pt x="614" y="582"/>
                    </a:lnTo>
                    <a:lnTo>
                      <a:pt x="614" y="578"/>
                    </a:lnTo>
                    <a:lnTo>
                      <a:pt x="614" y="578"/>
                    </a:lnTo>
                    <a:lnTo>
                      <a:pt x="614" y="578"/>
                    </a:lnTo>
                    <a:close/>
                    <a:moveTo>
                      <a:pt x="540" y="616"/>
                    </a:moveTo>
                    <a:lnTo>
                      <a:pt x="540" y="612"/>
                    </a:lnTo>
                    <a:lnTo>
                      <a:pt x="542" y="612"/>
                    </a:lnTo>
                    <a:lnTo>
                      <a:pt x="540" y="616"/>
                    </a:lnTo>
                    <a:lnTo>
                      <a:pt x="540" y="616"/>
                    </a:lnTo>
                    <a:lnTo>
                      <a:pt x="540" y="616"/>
                    </a:lnTo>
                    <a:close/>
                    <a:moveTo>
                      <a:pt x="628" y="564"/>
                    </a:moveTo>
                    <a:lnTo>
                      <a:pt x="628" y="560"/>
                    </a:lnTo>
                    <a:lnTo>
                      <a:pt x="632" y="564"/>
                    </a:lnTo>
                    <a:lnTo>
                      <a:pt x="628" y="564"/>
                    </a:lnTo>
                    <a:lnTo>
                      <a:pt x="628" y="564"/>
                    </a:lnTo>
                    <a:lnTo>
                      <a:pt x="628" y="564"/>
                    </a:lnTo>
                    <a:close/>
                    <a:moveTo>
                      <a:pt x="520" y="620"/>
                    </a:moveTo>
                    <a:lnTo>
                      <a:pt x="524" y="620"/>
                    </a:lnTo>
                    <a:lnTo>
                      <a:pt x="524" y="622"/>
                    </a:lnTo>
                    <a:lnTo>
                      <a:pt x="520" y="622"/>
                    </a:lnTo>
                    <a:lnTo>
                      <a:pt x="520" y="620"/>
                    </a:lnTo>
                    <a:lnTo>
                      <a:pt x="520" y="620"/>
                    </a:lnTo>
                    <a:lnTo>
                      <a:pt x="520" y="620"/>
                    </a:lnTo>
                    <a:close/>
                    <a:moveTo>
                      <a:pt x="684" y="454"/>
                    </a:moveTo>
                    <a:lnTo>
                      <a:pt x="688" y="454"/>
                    </a:lnTo>
                    <a:lnTo>
                      <a:pt x="688" y="458"/>
                    </a:lnTo>
                    <a:lnTo>
                      <a:pt x="684" y="458"/>
                    </a:lnTo>
                    <a:lnTo>
                      <a:pt x="684" y="454"/>
                    </a:lnTo>
                    <a:lnTo>
                      <a:pt x="684" y="454"/>
                    </a:lnTo>
                    <a:lnTo>
                      <a:pt x="684" y="454"/>
                    </a:lnTo>
                    <a:close/>
                    <a:moveTo>
                      <a:pt x="684" y="466"/>
                    </a:moveTo>
                    <a:lnTo>
                      <a:pt x="688" y="466"/>
                    </a:lnTo>
                    <a:lnTo>
                      <a:pt x="688" y="470"/>
                    </a:lnTo>
                    <a:lnTo>
                      <a:pt x="684" y="466"/>
                    </a:lnTo>
                    <a:lnTo>
                      <a:pt x="684" y="466"/>
                    </a:lnTo>
                    <a:lnTo>
                      <a:pt x="684" y="466"/>
                    </a:lnTo>
                    <a:close/>
                    <a:moveTo>
                      <a:pt x="572" y="600"/>
                    </a:moveTo>
                    <a:lnTo>
                      <a:pt x="576" y="600"/>
                    </a:lnTo>
                    <a:lnTo>
                      <a:pt x="576" y="604"/>
                    </a:lnTo>
                    <a:lnTo>
                      <a:pt x="572" y="600"/>
                    </a:lnTo>
                    <a:lnTo>
                      <a:pt x="572" y="604"/>
                    </a:lnTo>
                    <a:lnTo>
                      <a:pt x="572" y="600"/>
                    </a:lnTo>
                    <a:lnTo>
                      <a:pt x="572" y="600"/>
                    </a:lnTo>
                    <a:lnTo>
                      <a:pt x="572" y="6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6" name="Freeform 25">
                <a:extLst>
                  <a:ext uri="{FF2B5EF4-FFF2-40B4-BE49-F238E27FC236}">
                    <a16:creationId xmlns:a16="http://schemas.microsoft.com/office/drawing/2014/main" id="{ED6E15CD-BC9E-461A-A9B3-73E3037E03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14925" y="3562418"/>
                <a:ext cx="53975" cy="28575"/>
              </a:xfrm>
              <a:custGeom>
                <a:avLst/>
                <a:gdLst>
                  <a:gd name="T0" fmla="*/ 14 w 34"/>
                  <a:gd name="T1" fmla="*/ 14 h 18"/>
                  <a:gd name="T2" fmla="*/ 14 w 34"/>
                  <a:gd name="T3" fmla="*/ 18 h 18"/>
                  <a:gd name="T4" fmla="*/ 10 w 34"/>
                  <a:gd name="T5" fmla="*/ 18 h 18"/>
                  <a:gd name="T6" fmla="*/ 8 w 34"/>
                  <a:gd name="T7" fmla="*/ 18 h 18"/>
                  <a:gd name="T8" fmla="*/ 8 w 34"/>
                  <a:gd name="T9" fmla="*/ 18 h 18"/>
                  <a:gd name="T10" fmla="*/ 4 w 34"/>
                  <a:gd name="T11" fmla="*/ 14 h 18"/>
                  <a:gd name="T12" fmla="*/ 4 w 34"/>
                  <a:gd name="T13" fmla="*/ 14 h 18"/>
                  <a:gd name="T14" fmla="*/ 0 w 34"/>
                  <a:gd name="T15" fmla="*/ 10 h 18"/>
                  <a:gd name="T16" fmla="*/ 4 w 34"/>
                  <a:gd name="T17" fmla="*/ 10 h 18"/>
                  <a:gd name="T18" fmla="*/ 4 w 34"/>
                  <a:gd name="T19" fmla="*/ 10 h 18"/>
                  <a:gd name="T20" fmla="*/ 4 w 34"/>
                  <a:gd name="T21" fmla="*/ 10 h 18"/>
                  <a:gd name="T22" fmla="*/ 4 w 34"/>
                  <a:gd name="T23" fmla="*/ 10 h 18"/>
                  <a:gd name="T24" fmla="*/ 4 w 34"/>
                  <a:gd name="T25" fmla="*/ 8 h 18"/>
                  <a:gd name="T26" fmla="*/ 8 w 34"/>
                  <a:gd name="T27" fmla="*/ 8 h 18"/>
                  <a:gd name="T28" fmla="*/ 8 w 34"/>
                  <a:gd name="T29" fmla="*/ 8 h 18"/>
                  <a:gd name="T30" fmla="*/ 10 w 34"/>
                  <a:gd name="T31" fmla="*/ 8 h 18"/>
                  <a:gd name="T32" fmla="*/ 10 w 34"/>
                  <a:gd name="T33" fmla="*/ 8 h 18"/>
                  <a:gd name="T34" fmla="*/ 10 w 34"/>
                  <a:gd name="T35" fmla="*/ 8 h 18"/>
                  <a:gd name="T36" fmla="*/ 10 w 34"/>
                  <a:gd name="T37" fmla="*/ 8 h 18"/>
                  <a:gd name="T38" fmla="*/ 14 w 34"/>
                  <a:gd name="T39" fmla="*/ 4 h 18"/>
                  <a:gd name="T40" fmla="*/ 18 w 34"/>
                  <a:gd name="T41" fmla="*/ 4 h 18"/>
                  <a:gd name="T42" fmla="*/ 22 w 34"/>
                  <a:gd name="T43" fmla="*/ 4 h 18"/>
                  <a:gd name="T44" fmla="*/ 22 w 34"/>
                  <a:gd name="T45" fmla="*/ 4 h 18"/>
                  <a:gd name="T46" fmla="*/ 22 w 34"/>
                  <a:gd name="T47" fmla="*/ 4 h 18"/>
                  <a:gd name="T48" fmla="*/ 30 w 34"/>
                  <a:gd name="T49" fmla="*/ 0 h 18"/>
                  <a:gd name="T50" fmla="*/ 30 w 34"/>
                  <a:gd name="T51" fmla="*/ 0 h 18"/>
                  <a:gd name="T52" fmla="*/ 34 w 34"/>
                  <a:gd name="T53" fmla="*/ 0 h 18"/>
                  <a:gd name="T54" fmla="*/ 34 w 34"/>
                  <a:gd name="T55" fmla="*/ 0 h 18"/>
                  <a:gd name="T56" fmla="*/ 30 w 34"/>
                  <a:gd name="T57" fmla="*/ 4 h 18"/>
                  <a:gd name="T58" fmla="*/ 26 w 34"/>
                  <a:gd name="T59" fmla="*/ 4 h 18"/>
                  <a:gd name="T60" fmla="*/ 26 w 34"/>
                  <a:gd name="T61" fmla="*/ 8 h 18"/>
                  <a:gd name="T62" fmla="*/ 26 w 34"/>
                  <a:gd name="T63" fmla="*/ 8 h 18"/>
                  <a:gd name="T64" fmla="*/ 26 w 34"/>
                  <a:gd name="T65" fmla="*/ 10 h 18"/>
                  <a:gd name="T66" fmla="*/ 26 w 34"/>
                  <a:gd name="T67" fmla="*/ 10 h 18"/>
                  <a:gd name="T68" fmla="*/ 26 w 34"/>
                  <a:gd name="T69" fmla="*/ 10 h 18"/>
                  <a:gd name="T70" fmla="*/ 26 w 34"/>
                  <a:gd name="T71" fmla="*/ 10 h 18"/>
                  <a:gd name="T72" fmla="*/ 26 w 34"/>
                  <a:gd name="T73" fmla="*/ 10 h 18"/>
                  <a:gd name="T74" fmla="*/ 26 w 34"/>
                  <a:gd name="T75" fmla="*/ 10 h 18"/>
                  <a:gd name="T76" fmla="*/ 22 w 34"/>
                  <a:gd name="T77" fmla="*/ 10 h 18"/>
                  <a:gd name="T78" fmla="*/ 22 w 34"/>
                  <a:gd name="T79" fmla="*/ 10 h 18"/>
                  <a:gd name="T80" fmla="*/ 22 w 34"/>
                  <a:gd name="T81" fmla="*/ 10 h 18"/>
                  <a:gd name="T82" fmla="*/ 22 w 34"/>
                  <a:gd name="T83" fmla="*/ 10 h 18"/>
                  <a:gd name="T84" fmla="*/ 22 w 34"/>
                  <a:gd name="T85" fmla="*/ 14 h 18"/>
                  <a:gd name="T86" fmla="*/ 18 w 34"/>
                  <a:gd name="T87" fmla="*/ 14 h 18"/>
                  <a:gd name="T88" fmla="*/ 14 w 34"/>
                  <a:gd name="T89" fmla="*/ 14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4" h="18">
                    <a:moveTo>
                      <a:pt x="14" y="14"/>
                    </a:moveTo>
                    <a:lnTo>
                      <a:pt x="14" y="18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7" name="Freeform 26">
                <a:extLst>
                  <a:ext uri="{FF2B5EF4-FFF2-40B4-BE49-F238E27FC236}">
                    <a16:creationId xmlns:a16="http://schemas.microsoft.com/office/drawing/2014/main" id="{147CC893-25A9-4D20-8E3A-27A96675CC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62550" y="3679893"/>
                <a:ext cx="6350" cy="12700"/>
              </a:xfrm>
              <a:custGeom>
                <a:avLst/>
                <a:gdLst>
                  <a:gd name="T0" fmla="*/ 4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4 w 4"/>
                  <a:gd name="T7" fmla="*/ 0 h 8"/>
                  <a:gd name="T8" fmla="*/ 4 w 4"/>
                  <a:gd name="T9" fmla="*/ 4 h 8"/>
                  <a:gd name="T10" fmla="*/ 4 w 4"/>
                  <a:gd name="T11" fmla="*/ 4 h 8"/>
                  <a:gd name="T12" fmla="*/ 0 w 4"/>
                  <a:gd name="T13" fmla="*/ 4 h 8"/>
                  <a:gd name="T14" fmla="*/ 0 w 4"/>
                  <a:gd name="T15" fmla="*/ 4 h 8"/>
                  <a:gd name="T16" fmla="*/ 0 w 4"/>
                  <a:gd name="T17" fmla="*/ 8 h 8"/>
                  <a:gd name="T18" fmla="*/ 0 w 4"/>
                  <a:gd name="T19" fmla="*/ 8 h 8"/>
                  <a:gd name="T20" fmla="*/ 0 w 4"/>
                  <a:gd name="T21" fmla="*/ 4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4 w 4"/>
                  <a:gd name="T29" fmla="*/ 4 h 8"/>
                  <a:gd name="T30" fmla="*/ 4 w 4"/>
                  <a:gd name="T31" fmla="*/ 0 h 8"/>
                  <a:gd name="T32" fmla="*/ 4 w 4"/>
                  <a:gd name="T33" fmla="*/ 0 h 8"/>
                  <a:gd name="T34" fmla="*/ 4 w 4"/>
                  <a:gd name="T35" fmla="*/ 0 h 8"/>
                  <a:gd name="T36" fmla="*/ 4 w 4"/>
                  <a:gd name="T37" fmla="*/ 0 h 8"/>
                  <a:gd name="T38" fmla="*/ 4 w 4"/>
                  <a:gd name="T39" fmla="*/ 0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8" name="Freeform 27">
                <a:extLst>
                  <a:ext uri="{FF2B5EF4-FFF2-40B4-BE49-F238E27FC236}">
                    <a16:creationId xmlns:a16="http://schemas.microsoft.com/office/drawing/2014/main" id="{750BC2D1-0058-4681-92BE-1AB984AF308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92725" y="3321118"/>
                <a:ext cx="149225" cy="73025"/>
              </a:xfrm>
              <a:custGeom>
                <a:avLst/>
                <a:gdLst>
                  <a:gd name="T0" fmla="*/ 34 w 94"/>
                  <a:gd name="T1" fmla="*/ 40 h 46"/>
                  <a:gd name="T2" fmla="*/ 30 w 94"/>
                  <a:gd name="T3" fmla="*/ 40 h 46"/>
                  <a:gd name="T4" fmla="*/ 26 w 94"/>
                  <a:gd name="T5" fmla="*/ 40 h 46"/>
                  <a:gd name="T6" fmla="*/ 22 w 94"/>
                  <a:gd name="T7" fmla="*/ 36 h 46"/>
                  <a:gd name="T8" fmla="*/ 26 w 94"/>
                  <a:gd name="T9" fmla="*/ 32 h 46"/>
                  <a:gd name="T10" fmla="*/ 22 w 94"/>
                  <a:gd name="T11" fmla="*/ 24 h 46"/>
                  <a:gd name="T12" fmla="*/ 22 w 94"/>
                  <a:gd name="T13" fmla="*/ 20 h 46"/>
                  <a:gd name="T14" fmla="*/ 18 w 94"/>
                  <a:gd name="T15" fmla="*/ 14 h 46"/>
                  <a:gd name="T16" fmla="*/ 18 w 94"/>
                  <a:gd name="T17" fmla="*/ 14 h 46"/>
                  <a:gd name="T18" fmla="*/ 14 w 94"/>
                  <a:gd name="T19" fmla="*/ 10 h 46"/>
                  <a:gd name="T20" fmla="*/ 12 w 94"/>
                  <a:gd name="T21" fmla="*/ 10 h 46"/>
                  <a:gd name="T22" fmla="*/ 12 w 94"/>
                  <a:gd name="T23" fmla="*/ 8 h 46"/>
                  <a:gd name="T24" fmla="*/ 4 w 94"/>
                  <a:gd name="T25" fmla="*/ 4 h 46"/>
                  <a:gd name="T26" fmla="*/ 0 w 94"/>
                  <a:gd name="T27" fmla="*/ 4 h 46"/>
                  <a:gd name="T28" fmla="*/ 0 w 94"/>
                  <a:gd name="T29" fmla="*/ 0 h 46"/>
                  <a:gd name="T30" fmla="*/ 4 w 94"/>
                  <a:gd name="T31" fmla="*/ 0 h 46"/>
                  <a:gd name="T32" fmla="*/ 8 w 94"/>
                  <a:gd name="T33" fmla="*/ 0 h 46"/>
                  <a:gd name="T34" fmla="*/ 12 w 94"/>
                  <a:gd name="T35" fmla="*/ 0 h 46"/>
                  <a:gd name="T36" fmla="*/ 12 w 94"/>
                  <a:gd name="T37" fmla="*/ 0 h 46"/>
                  <a:gd name="T38" fmla="*/ 14 w 94"/>
                  <a:gd name="T39" fmla="*/ 4 h 46"/>
                  <a:gd name="T40" fmla="*/ 22 w 94"/>
                  <a:gd name="T41" fmla="*/ 8 h 46"/>
                  <a:gd name="T42" fmla="*/ 30 w 94"/>
                  <a:gd name="T43" fmla="*/ 4 h 46"/>
                  <a:gd name="T44" fmla="*/ 34 w 94"/>
                  <a:gd name="T45" fmla="*/ 8 h 46"/>
                  <a:gd name="T46" fmla="*/ 38 w 94"/>
                  <a:gd name="T47" fmla="*/ 8 h 46"/>
                  <a:gd name="T48" fmla="*/ 44 w 94"/>
                  <a:gd name="T49" fmla="*/ 10 h 46"/>
                  <a:gd name="T50" fmla="*/ 48 w 94"/>
                  <a:gd name="T51" fmla="*/ 10 h 46"/>
                  <a:gd name="T52" fmla="*/ 52 w 94"/>
                  <a:gd name="T53" fmla="*/ 14 h 46"/>
                  <a:gd name="T54" fmla="*/ 52 w 94"/>
                  <a:gd name="T55" fmla="*/ 14 h 46"/>
                  <a:gd name="T56" fmla="*/ 56 w 94"/>
                  <a:gd name="T57" fmla="*/ 18 h 46"/>
                  <a:gd name="T58" fmla="*/ 64 w 94"/>
                  <a:gd name="T59" fmla="*/ 14 h 46"/>
                  <a:gd name="T60" fmla="*/ 64 w 94"/>
                  <a:gd name="T61" fmla="*/ 14 h 46"/>
                  <a:gd name="T62" fmla="*/ 68 w 94"/>
                  <a:gd name="T63" fmla="*/ 14 h 46"/>
                  <a:gd name="T64" fmla="*/ 70 w 94"/>
                  <a:gd name="T65" fmla="*/ 14 h 46"/>
                  <a:gd name="T66" fmla="*/ 70 w 94"/>
                  <a:gd name="T67" fmla="*/ 14 h 46"/>
                  <a:gd name="T68" fmla="*/ 74 w 94"/>
                  <a:gd name="T69" fmla="*/ 18 h 46"/>
                  <a:gd name="T70" fmla="*/ 74 w 94"/>
                  <a:gd name="T71" fmla="*/ 18 h 46"/>
                  <a:gd name="T72" fmla="*/ 78 w 94"/>
                  <a:gd name="T73" fmla="*/ 18 h 46"/>
                  <a:gd name="T74" fmla="*/ 78 w 94"/>
                  <a:gd name="T75" fmla="*/ 20 h 46"/>
                  <a:gd name="T76" fmla="*/ 86 w 94"/>
                  <a:gd name="T77" fmla="*/ 28 h 46"/>
                  <a:gd name="T78" fmla="*/ 90 w 94"/>
                  <a:gd name="T79" fmla="*/ 32 h 46"/>
                  <a:gd name="T80" fmla="*/ 90 w 94"/>
                  <a:gd name="T81" fmla="*/ 32 h 46"/>
                  <a:gd name="T82" fmla="*/ 86 w 94"/>
                  <a:gd name="T83" fmla="*/ 32 h 46"/>
                  <a:gd name="T84" fmla="*/ 90 w 94"/>
                  <a:gd name="T85" fmla="*/ 40 h 46"/>
                  <a:gd name="T86" fmla="*/ 94 w 94"/>
                  <a:gd name="T87" fmla="*/ 44 h 46"/>
                  <a:gd name="T88" fmla="*/ 94 w 94"/>
                  <a:gd name="T89" fmla="*/ 46 h 46"/>
                  <a:gd name="T90" fmla="*/ 90 w 94"/>
                  <a:gd name="T91" fmla="*/ 44 h 46"/>
                  <a:gd name="T92" fmla="*/ 86 w 94"/>
                  <a:gd name="T93" fmla="*/ 44 h 46"/>
                  <a:gd name="T94" fmla="*/ 82 w 94"/>
                  <a:gd name="T95" fmla="*/ 44 h 46"/>
                  <a:gd name="T96" fmla="*/ 78 w 94"/>
                  <a:gd name="T97" fmla="*/ 44 h 46"/>
                  <a:gd name="T98" fmla="*/ 74 w 94"/>
                  <a:gd name="T99" fmla="*/ 40 h 46"/>
                  <a:gd name="T100" fmla="*/ 70 w 94"/>
                  <a:gd name="T101" fmla="*/ 44 h 46"/>
                  <a:gd name="T102" fmla="*/ 68 w 94"/>
                  <a:gd name="T103" fmla="*/ 44 h 46"/>
                  <a:gd name="T104" fmla="*/ 60 w 94"/>
                  <a:gd name="T105" fmla="*/ 44 h 46"/>
                  <a:gd name="T106" fmla="*/ 56 w 94"/>
                  <a:gd name="T107" fmla="*/ 44 h 46"/>
                  <a:gd name="T108" fmla="*/ 52 w 94"/>
                  <a:gd name="T109" fmla="*/ 46 h 46"/>
                  <a:gd name="T110" fmla="*/ 48 w 94"/>
                  <a:gd name="T111" fmla="*/ 46 h 46"/>
                  <a:gd name="T112" fmla="*/ 48 w 94"/>
                  <a:gd name="T113" fmla="*/ 44 h 46"/>
                  <a:gd name="T114" fmla="*/ 42 w 94"/>
                  <a:gd name="T115" fmla="*/ 40 h 46"/>
                  <a:gd name="T116" fmla="*/ 38 w 94"/>
                  <a:gd name="T117" fmla="*/ 36 h 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4" h="46">
                    <a:moveTo>
                      <a:pt x="38" y="36"/>
                    </a:move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4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78" y="24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0" y="28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90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2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0"/>
                    </a:lnTo>
                    <a:lnTo>
                      <a:pt x="90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4"/>
                    </a:lnTo>
                    <a:lnTo>
                      <a:pt x="94" y="46"/>
                    </a:lnTo>
                    <a:lnTo>
                      <a:pt x="94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4"/>
                    </a:lnTo>
                    <a:lnTo>
                      <a:pt x="78" y="44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0" y="40"/>
                    </a:lnTo>
                    <a:lnTo>
                      <a:pt x="70" y="40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70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89" name="Freeform 28">
                <a:extLst>
                  <a:ext uri="{FF2B5EF4-FFF2-40B4-BE49-F238E27FC236}">
                    <a16:creationId xmlns:a16="http://schemas.microsoft.com/office/drawing/2014/main" id="{360AC644-8B05-41EA-AC49-A6A32642AA8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30975" y="4397443"/>
                <a:ext cx="1028700" cy="460375"/>
              </a:xfrm>
              <a:custGeom>
                <a:avLst/>
                <a:gdLst>
                  <a:gd name="T0" fmla="*/ 316 w 648"/>
                  <a:gd name="T1" fmla="*/ 34 h 290"/>
                  <a:gd name="T2" fmla="*/ 122 w 648"/>
                  <a:gd name="T3" fmla="*/ 108 h 290"/>
                  <a:gd name="T4" fmla="*/ 434 w 648"/>
                  <a:gd name="T5" fmla="*/ 138 h 290"/>
                  <a:gd name="T6" fmla="*/ 550 w 648"/>
                  <a:gd name="T7" fmla="*/ 204 h 290"/>
                  <a:gd name="T8" fmla="*/ 520 w 648"/>
                  <a:gd name="T9" fmla="*/ 222 h 290"/>
                  <a:gd name="T10" fmla="*/ 398 w 648"/>
                  <a:gd name="T11" fmla="*/ 276 h 290"/>
                  <a:gd name="T12" fmla="*/ 152 w 648"/>
                  <a:gd name="T13" fmla="*/ 156 h 290"/>
                  <a:gd name="T14" fmla="*/ 106 w 648"/>
                  <a:gd name="T15" fmla="*/ 178 h 290"/>
                  <a:gd name="T16" fmla="*/ 50 w 648"/>
                  <a:gd name="T17" fmla="*/ 78 h 290"/>
                  <a:gd name="T18" fmla="*/ 22 w 648"/>
                  <a:gd name="T19" fmla="*/ 10 h 290"/>
                  <a:gd name="T20" fmla="*/ 84 w 648"/>
                  <a:gd name="T21" fmla="*/ 64 h 290"/>
                  <a:gd name="T22" fmla="*/ 118 w 648"/>
                  <a:gd name="T23" fmla="*/ 108 h 290"/>
                  <a:gd name="T24" fmla="*/ 276 w 648"/>
                  <a:gd name="T25" fmla="*/ 70 h 290"/>
                  <a:gd name="T26" fmla="*/ 312 w 648"/>
                  <a:gd name="T27" fmla="*/ 48 h 290"/>
                  <a:gd name="T28" fmla="*/ 316 w 648"/>
                  <a:gd name="T29" fmla="*/ 116 h 290"/>
                  <a:gd name="T30" fmla="*/ 278 w 648"/>
                  <a:gd name="T31" fmla="*/ 170 h 290"/>
                  <a:gd name="T32" fmla="*/ 212 w 648"/>
                  <a:gd name="T33" fmla="*/ 150 h 290"/>
                  <a:gd name="T34" fmla="*/ 200 w 648"/>
                  <a:gd name="T35" fmla="*/ 70 h 290"/>
                  <a:gd name="T36" fmla="*/ 18 w 648"/>
                  <a:gd name="T37" fmla="*/ 64 h 290"/>
                  <a:gd name="T38" fmla="*/ 464 w 648"/>
                  <a:gd name="T39" fmla="*/ 66 h 290"/>
                  <a:gd name="T40" fmla="*/ 468 w 648"/>
                  <a:gd name="T41" fmla="*/ 116 h 290"/>
                  <a:gd name="T42" fmla="*/ 386 w 648"/>
                  <a:gd name="T43" fmla="*/ 156 h 290"/>
                  <a:gd name="T44" fmla="*/ 358 w 648"/>
                  <a:gd name="T45" fmla="*/ 160 h 290"/>
                  <a:gd name="T46" fmla="*/ 334 w 648"/>
                  <a:gd name="T47" fmla="*/ 152 h 290"/>
                  <a:gd name="T48" fmla="*/ 358 w 648"/>
                  <a:gd name="T49" fmla="*/ 90 h 290"/>
                  <a:gd name="T50" fmla="*/ 412 w 648"/>
                  <a:gd name="T51" fmla="*/ 92 h 290"/>
                  <a:gd name="T52" fmla="*/ 368 w 648"/>
                  <a:gd name="T53" fmla="*/ 122 h 290"/>
                  <a:gd name="T54" fmla="*/ 36 w 648"/>
                  <a:gd name="T55" fmla="*/ 82 h 290"/>
                  <a:gd name="T56" fmla="*/ 114 w 648"/>
                  <a:gd name="T57" fmla="*/ 90 h 290"/>
                  <a:gd name="T58" fmla="*/ 134 w 648"/>
                  <a:gd name="T59" fmla="*/ 100 h 290"/>
                  <a:gd name="T60" fmla="*/ 498 w 648"/>
                  <a:gd name="T61" fmla="*/ 104 h 290"/>
                  <a:gd name="T62" fmla="*/ 130 w 648"/>
                  <a:gd name="T63" fmla="*/ 112 h 290"/>
                  <a:gd name="T64" fmla="*/ 576 w 648"/>
                  <a:gd name="T65" fmla="*/ 182 h 290"/>
                  <a:gd name="T66" fmla="*/ 528 w 648"/>
                  <a:gd name="T67" fmla="*/ 156 h 290"/>
                  <a:gd name="T68" fmla="*/ 516 w 648"/>
                  <a:gd name="T69" fmla="*/ 116 h 290"/>
                  <a:gd name="T70" fmla="*/ 572 w 648"/>
                  <a:gd name="T71" fmla="*/ 156 h 290"/>
                  <a:gd name="T72" fmla="*/ 648 w 648"/>
                  <a:gd name="T73" fmla="*/ 212 h 290"/>
                  <a:gd name="T74" fmla="*/ 502 w 648"/>
                  <a:gd name="T75" fmla="*/ 108 h 290"/>
                  <a:gd name="T76" fmla="*/ 58 w 648"/>
                  <a:gd name="T77" fmla="*/ 130 h 290"/>
                  <a:gd name="T78" fmla="*/ 394 w 648"/>
                  <a:gd name="T79" fmla="*/ 122 h 290"/>
                  <a:gd name="T80" fmla="*/ 156 w 648"/>
                  <a:gd name="T81" fmla="*/ 146 h 290"/>
                  <a:gd name="T82" fmla="*/ 420 w 648"/>
                  <a:gd name="T83" fmla="*/ 134 h 290"/>
                  <a:gd name="T84" fmla="*/ 70 w 648"/>
                  <a:gd name="T85" fmla="*/ 150 h 290"/>
                  <a:gd name="T86" fmla="*/ 484 w 648"/>
                  <a:gd name="T87" fmla="*/ 160 h 290"/>
                  <a:gd name="T88" fmla="*/ 164 w 648"/>
                  <a:gd name="T89" fmla="*/ 152 h 290"/>
                  <a:gd name="T90" fmla="*/ 458 w 648"/>
                  <a:gd name="T91" fmla="*/ 156 h 290"/>
                  <a:gd name="T92" fmla="*/ 386 w 648"/>
                  <a:gd name="T93" fmla="*/ 196 h 290"/>
                  <a:gd name="T94" fmla="*/ 104 w 648"/>
                  <a:gd name="T95" fmla="*/ 196 h 290"/>
                  <a:gd name="T96" fmla="*/ 182 w 648"/>
                  <a:gd name="T97" fmla="*/ 234 h 290"/>
                  <a:gd name="T98" fmla="*/ 186 w 648"/>
                  <a:gd name="T99" fmla="*/ 212 h 290"/>
                  <a:gd name="T100" fmla="*/ 268 w 648"/>
                  <a:gd name="T101" fmla="*/ 234 h 290"/>
                  <a:gd name="T102" fmla="*/ 558 w 648"/>
                  <a:gd name="T103" fmla="*/ 212 h 290"/>
                  <a:gd name="T104" fmla="*/ 260 w 648"/>
                  <a:gd name="T105" fmla="*/ 226 h 290"/>
                  <a:gd name="T106" fmla="*/ 602 w 648"/>
                  <a:gd name="T107" fmla="*/ 238 h 290"/>
                  <a:gd name="T108" fmla="*/ 378 w 648"/>
                  <a:gd name="T109" fmla="*/ 252 h 290"/>
                  <a:gd name="T110" fmla="*/ 334 w 648"/>
                  <a:gd name="T111" fmla="*/ 252 h 290"/>
                  <a:gd name="T112" fmla="*/ 334 w 648"/>
                  <a:gd name="T113" fmla="*/ 246 h 290"/>
                  <a:gd name="T114" fmla="*/ 298 w 648"/>
                  <a:gd name="T115" fmla="*/ 250 h 290"/>
                  <a:gd name="T116" fmla="*/ 342 w 648"/>
                  <a:gd name="T117" fmla="*/ 264 h 290"/>
                  <a:gd name="T118" fmla="*/ 398 w 648"/>
                  <a:gd name="T119" fmla="*/ 280 h 290"/>
                  <a:gd name="T120" fmla="*/ 412 w 648"/>
                  <a:gd name="T121" fmla="*/ 242 h 290"/>
                  <a:gd name="T122" fmla="*/ 402 w 648"/>
                  <a:gd name="T123" fmla="*/ 268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48" h="290">
                    <a:moveTo>
                      <a:pt x="114" y="92"/>
                    </a:moveTo>
                    <a:lnTo>
                      <a:pt x="110" y="92"/>
                    </a:lnTo>
                    <a:lnTo>
                      <a:pt x="110" y="90"/>
                    </a:lnTo>
                    <a:lnTo>
                      <a:pt x="114" y="90"/>
                    </a:lnTo>
                    <a:lnTo>
                      <a:pt x="114" y="92"/>
                    </a:lnTo>
                    <a:lnTo>
                      <a:pt x="114" y="92"/>
                    </a:lnTo>
                    <a:lnTo>
                      <a:pt x="114" y="92"/>
                    </a:lnTo>
                    <a:close/>
                    <a:moveTo>
                      <a:pt x="460" y="156"/>
                    </a:moveTo>
                    <a:lnTo>
                      <a:pt x="458" y="156"/>
                    </a:lnTo>
                    <a:lnTo>
                      <a:pt x="460" y="156"/>
                    </a:lnTo>
                    <a:lnTo>
                      <a:pt x="460" y="156"/>
                    </a:lnTo>
                    <a:lnTo>
                      <a:pt x="460" y="156"/>
                    </a:lnTo>
                    <a:close/>
                    <a:moveTo>
                      <a:pt x="302" y="160"/>
                    </a:moveTo>
                    <a:lnTo>
                      <a:pt x="302" y="164"/>
                    </a:lnTo>
                    <a:lnTo>
                      <a:pt x="298" y="164"/>
                    </a:lnTo>
                    <a:lnTo>
                      <a:pt x="302" y="160"/>
                    </a:lnTo>
                    <a:lnTo>
                      <a:pt x="302" y="160"/>
                    </a:lnTo>
                    <a:lnTo>
                      <a:pt x="302" y="160"/>
                    </a:lnTo>
                    <a:close/>
                    <a:moveTo>
                      <a:pt x="446" y="34"/>
                    </a:moveTo>
                    <a:lnTo>
                      <a:pt x="446" y="30"/>
                    </a:lnTo>
                    <a:lnTo>
                      <a:pt x="446" y="26"/>
                    </a:lnTo>
                    <a:lnTo>
                      <a:pt x="450" y="30"/>
                    </a:lnTo>
                    <a:lnTo>
                      <a:pt x="446" y="30"/>
                    </a:lnTo>
                    <a:lnTo>
                      <a:pt x="446" y="34"/>
                    </a:lnTo>
                    <a:lnTo>
                      <a:pt x="446" y="34"/>
                    </a:lnTo>
                    <a:lnTo>
                      <a:pt x="446" y="34"/>
                    </a:lnTo>
                    <a:close/>
                    <a:moveTo>
                      <a:pt x="320" y="30"/>
                    </a:move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30"/>
                    </a:lnTo>
                    <a:lnTo>
                      <a:pt x="320" y="30"/>
                    </a:lnTo>
                    <a:close/>
                    <a:moveTo>
                      <a:pt x="316" y="34"/>
                    </a:moveTo>
                    <a:lnTo>
                      <a:pt x="320" y="34"/>
                    </a:lnTo>
                    <a:lnTo>
                      <a:pt x="316" y="34"/>
                    </a:lnTo>
                    <a:lnTo>
                      <a:pt x="316" y="34"/>
                    </a:lnTo>
                    <a:lnTo>
                      <a:pt x="316" y="34"/>
                    </a:lnTo>
                    <a:close/>
                    <a:moveTo>
                      <a:pt x="446" y="36"/>
                    </a:moveTo>
                    <a:lnTo>
                      <a:pt x="442" y="34"/>
                    </a:lnTo>
                    <a:lnTo>
                      <a:pt x="446" y="34"/>
                    </a:lnTo>
                    <a:lnTo>
                      <a:pt x="446" y="36"/>
                    </a:lnTo>
                    <a:lnTo>
                      <a:pt x="446" y="36"/>
                    </a:lnTo>
                    <a:lnTo>
                      <a:pt x="446" y="36"/>
                    </a:lnTo>
                    <a:close/>
                    <a:moveTo>
                      <a:pt x="434" y="44"/>
                    </a:moveTo>
                    <a:lnTo>
                      <a:pt x="430" y="44"/>
                    </a:lnTo>
                    <a:lnTo>
                      <a:pt x="430" y="40"/>
                    </a:lnTo>
                    <a:lnTo>
                      <a:pt x="430" y="36"/>
                    </a:lnTo>
                    <a:lnTo>
                      <a:pt x="430" y="40"/>
                    </a:lnTo>
                    <a:lnTo>
                      <a:pt x="434" y="44"/>
                    </a:lnTo>
                    <a:lnTo>
                      <a:pt x="434" y="44"/>
                    </a:lnTo>
                    <a:lnTo>
                      <a:pt x="434" y="44"/>
                    </a:lnTo>
                    <a:close/>
                    <a:moveTo>
                      <a:pt x="312" y="40"/>
                    </a:move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0"/>
                    </a:lnTo>
                    <a:lnTo>
                      <a:pt x="312" y="40"/>
                    </a:lnTo>
                    <a:lnTo>
                      <a:pt x="312" y="40"/>
                    </a:lnTo>
                    <a:close/>
                    <a:moveTo>
                      <a:pt x="316" y="44"/>
                    </a:moveTo>
                    <a:lnTo>
                      <a:pt x="320" y="44"/>
                    </a:lnTo>
                    <a:lnTo>
                      <a:pt x="316" y="48"/>
                    </a:lnTo>
                    <a:lnTo>
                      <a:pt x="316" y="44"/>
                    </a:lnTo>
                    <a:lnTo>
                      <a:pt x="316" y="44"/>
                    </a:lnTo>
                    <a:lnTo>
                      <a:pt x="316" y="44"/>
                    </a:lnTo>
                    <a:close/>
                    <a:moveTo>
                      <a:pt x="488" y="108"/>
                    </a:moveTo>
                    <a:lnTo>
                      <a:pt x="484" y="104"/>
                    </a:lnTo>
                    <a:lnTo>
                      <a:pt x="484" y="100"/>
                    </a:lnTo>
                    <a:lnTo>
                      <a:pt x="488" y="104"/>
                    </a:lnTo>
                    <a:lnTo>
                      <a:pt x="488" y="108"/>
                    </a:lnTo>
                    <a:lnTo>
                      <a:pt x="488" y="108"/>
                    </a:lnTo>
                    <a:lnTo>
                      <a:pt x="488" y="108"/>
                    </a:lnTo>
                    <a:close/>
                    <a:moveTo>
                      <a:pt x="122" y="108"/>
                    </a:moveTo>
                    <a:lnTo>
                      <a:pt x="118" y="108"/>
                    </a:lnTo>
                    <a:lnTo>
                      <a:pt x="122" y="108"/>
                    </a:lnTo>
                    <a:lnTo>
                      <a:pt x="122" y="108"/>
                    </a:lnTo>
                    <a:lnTo>
                      <a:pt x="122" y="108"/>
                    </a:lnTo>
                    <a:close/>
                    <a:moveTo>
                      <a:pt x="454" y="108"/>
                    </a:moveTo>
                    <a:lnTo>
                      <a:pt x="454" y="112"/>
                    </a:lnTo>
                    <a:lnTo>
                      <a:pt x="450" y="112"/>
                    </a:lnTo>
                    <a:lnTo>
                      <a:pt x="450" y="108"/>
                    </a:lnTo>
                    <a:lnTo>
                      <a:pt x="454" y="108"/>
                    </a:lnTo>
                    <a:lnTo>
                      <a:pt x="454" y="108"/>
                    </a:lnTo>
                    <a:lnTo>
                      <a:pt x="454" y="108"/>
                    </a:lnTo>
                    <a:close/>
                    <a:moveTo>
                      <a:pt x="378" y="108"/>
                    </a:move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08"/>
                    </a:lnTo>
                    <a:lnTo>
                      <a:pt x="378" y="108"/>
                    </a:lnTo>
                    <a:close/>
                    <a:moveTo>
                      <a:pt x="378" y="112"/>
                    </a:moveTo>
                    <a:lnTo>
                      <a:pt x="374" y="112"/>
                    </a:lnTo>
                    <a:lnTo>
                      <a:pt x="374" y="108"/>
                    </a:lnTo>
                    <a:lnTo>
                      <a:pt x="378" y="108"/>
                    </a:lnTo>
                    <a:lnTo>
                      <a:pt x="378" y="112"/>
                    </a:lnTo>
                    <a:lnTo>
                      <a:pt x="378" y="112"/>
                    </a:lnTo>
                    <a:lnTo>
                      <a:pt x="378" y="112"/>
                    </a:lnTo>
                    <a:close/>
                    <a:moveTo>
                      <a:pt x="454" y="112"/>
                    </a:moveTo>
                    <a:lnTo>
                      <a:pt x="454" y="116"/>
                    </a:lnTo>
                    <a:lnTo>
                      <a:pt x="454" y="112"/>
                    </a:lnTo>
                    <a:lnTo>
                      <a:pt x="454" y="112"/>
                    </a:lnTo>
                    <a:lnTo>
                      <a:pt x="454" y="112"/>
                    </a:lnTo>
                    <a:close/>
                    <a:moveTo>
                      <a:pt x="562" y="120"/>
                    </a:moveTo>
                    <a:lnTo>
                      <a:pt x="562" y="122"/>
                    </a:lnTo>
                    <a:lnTo>
                      <a:pt x="562" y="120"/>
                    </a:lnTo>
                    <a:lnTo>
                      <a:pt x="562" y="120"/>
                    </a:lnTo>
                    <a:lnTo>
                      <a:pt x="562" y="120"/>
                    </a:lnTo>
                    <a:close/>
                    <a:moveTo>
                      <a:pt x="434" y="138"/>
                    </a:moveTo>
                    <a:lnTo>
                      <a:pt x="434" y="142"/>
                    </a:lnTo>
                    <a:lnTo>
                      <a:pt x="434" y="146"/>
                    </a:lnTo>
                    <a:lnTo>
                      <a:pt x="434" y="142"/>
                    </a:lnTo>
                    <a:lnTo>
                      <a:pt x="434" y="138"/>
                    </a:lnTo>
                    <a:lnTo>
                      <a:pt x="434" y="138"/>
                    </a:lnTo>
                    <a:lnTo>
                      <a:pt x="434" y="138"/>
                    </a:lnTo>
                    <a:close/>
                    <a:moveTo>
                      <a:pt x="472" y="164"/>
                    </a:moveTo>
                    <a:lnTo>
                      <a:pt x="476" y="164"/>
                    </a:lnTo>
                    <a:lnTo>
                      <a:pt x="472" y="164"/>
                    </a:lnTo>
                    <a:lnTo>
                      <a:pt x="472" y="164"/>
                    </a:lnTo>
                    <a:lnTo>
                      <a:pt x="472" y="164"/>
                    </a:lnTo>
                    <a:close/>
                    <a:moveTo>
                      <a:pt x="540" y="170"/>
                    </a:moveTo>
                    <a:lnTo>
                      <a:pt x="540" y="174"/>
                    </a:lnTo>
                    <a:lnTo>
                      <a:pt x="544" y="174"/>
                    </a:lnTo>
                    <a:lnTo>
                      <a:pt x="540" y="174"/>
                    </a:lnTo>
                    <a:lnTo>
                      <a:pt x="540" y="170"/>
                    </a:lnTo>
                    <a:lnTo>
                      <a:pt x="540" y="170"/>
                    </a:lnTo>
                    <a:lnTo>
                      <a:pt x="540" y="170"/>
                    </a:lnTo>
                    <a:close/>
                    <a:moveTo>
                      <a:pt x="536" y="194"/>
                    </a:moveTo>
                    <a:lnTo>
                      <a:pt x="536" y="196"/>
                    </a:lnTo>
                    <a:lnTo>
                      <a:pt x="536" y="200"/>
                    </a:lnTo>
                    <a:lnTo>
                      <a:pt x="532" y="204"/>
                    </a:lnTo>
                    <a:lnTo>
                      <a:pt x="532" y="200"/>
                    </a:lnTo>
                    <a:lnTo>
                      <a:pt x="536" y="196"/>
                    </a:lnTo>
                    <a:lnTo>
                      <a:pt x="536" y="194"/>
                    </a:lnTo>
                    <a:lnTo>
                      <a:pt x="536" y="194"/>
                    </a:lnTo>
                    <a:lnTo>
                      <a:pt x="536" y="194"/>
                    </a:lnTo>
                    <a:close/>
                    <a:moveTo>
                      <a:pt x="532" y="200"/>
                    </a:moveTo>
                    <a:lnTo>
                      <a:pt x="532" y="204"/>
                    </a:lnTo>
                    <a:lnTo>
                      <a:pt x="528" y="204"/>
                    </a:lnTo>
                    <a:lnTo>
                      <a:pt x="528" y="200"/>
                    </a:lnTo>
                    <a:lnTo>
                      <a:pt x="528" y="196"/>
                    </a:lnTo>
                    <a:lnTo>
                      <a:pt x="532" y="196"/>
                    </a:lnTo>
                    <a:lnTo>
                      <a:pt x="532" y="200"/>
                    </a:lnTo>
                    <a:lnTo>
                      <a:pt x="532" y="200"/>
                    </a:lnTo>
                    <a:lnTo>
                      <a:pt x="532" y="200"/>
                    </a:lnTo>
                    <a:close/>
                    <a:moveTo>
                      <a:pt x="550" y="204"/>
                    </a:moveTo>
                    <a:lnTo>
                      <a:pt x="550" y="208"/>
                    </a:lnTo>
                    <a:lnTo>
                      <a:pt x="554" y="208"/>
                    </a:lnTo>
                    <a:lnTo>
                      <a:pt x="554" y="212"/>
                    </a:lnTo>
                    <a:lnTo>
                      <a:pt x="550" y="208"/>
                    </a:lnTo>
                    <a:lnTo>
                      <a:pt x="550" y="204"/>
                    </a:lnTo>
                    <a:lnTo>
                      <a:pt x="550" y="204"/>
                    </a:lnTo>
                    <a:lnTo>
                      <a:pt x="550" y="204"/>
                    </a:lnTo>
                    <a:close/>
                    <a:moveTo>
                      <a:pt x="554" y="208"/>
                    </a:moveTo>
                    <a:lnTo>
                      <a:pt x="558" y="212"/>
                    </a:lnTo>
                    <a:lnTo>
                      <a:pt x="554" y="212"/>
                    </a:lnTo>
                    <a:lnTo>
                      <a:pt x="554" y="208"/>
                    </a:lnTo>
                    <a:lnTo>
                      <a:pt x="554" y="208"/>
                    </a:lnTo>
                    <a:lnTo>
                      <a:pt x="554" y="208"/>
                    </a:lnTo>
                    <a:close/>
                    <a:moveTo>
                      <a:pt x="562" y="208"/>
                    </a:moveTo>
                    <a:lnTo>
                      <a:pt x="562" y="212"/>
                    </a:lnTo>
                    <a:lnTo>
                      <a:pt x="562" y="208"/>
                    </a:lnTo>
                    <a:lnTo>
                      <a:pt x="562" y="208"/>
                    </a:lnTo>
                    <a:lnTo>
                      <a:pt x="562" y="208"/>
                    </a:lnTo>
                    <a:close/>
                    <a:moveTo>
                      <a:pt x="558" y="216"/>
                    </a:moveTo>
                    <a:lnTo>
                      <a:pt x="558" y="220"/>
                    </a:lnTo>
                    <a:lnTo>
                      <a:pt x="558" y="216"/>
                    </a:lnTo>
                    <a:lnTo>
                      <a:pt x="558" y="216"/>
                    </a:lnTo>
                    <a:lnTo>
                      <a:pt x="558" y="216"/>
                    </a:lnTo>
                    <a:close/>
                    <a:moveTo>
                      <a:pt x="614" y="216"/>
                    </a:moveTo>
                    <a:lnTo>
                      <a:pt x="614" y="220"/>
                    </a:lnTo>
                    <a:lnTo>
                      <a:pt x="618" y="220"/>
                    </a:lnTo>
                    <a:lnTo>
                      <a:pt x="614" y="220"/>
                    </a:lnTo>
                    <a:lnTo>
                      <a:pt x="614" y="216"/>
                    </a:lnTo>
                    <a:lnTo>
                      <a:pt x="614" y="216"/>
                    </a:lnTo>
                    <a:lnTo>
                      <a:pt x="614" y="216"/>
                    </a:lnTo>
                    <a:close/>
                    <a:moveTo>
                      <a:pt x="472" y="222"/>
                    </a:moveTo>
                    <a:lnTo>
                      <a:pt x="472" y="226"/>
                    </a:lnTo>
                    <a:lnTo>
                      <a:pt x="472" y="222"/>
                    </a:lnTo>
                    <a:lnTo>
                      <a:pt x="472" y="222"/>
                    </a:lnTo>
                    <a:lnTo>
                      <a:pt x="472" y="222"/>
                    </a:lnTo>
                    <a:close/>
                    <a:moveTo>
                      <a:pt x="520" y="222"/>
                    </a:moveTo>
                    <a:lnTo>
                      <a:pt x="520" y="226"/>
                    </a:lnTo>
                    <a:lnTo>
                      <a:pt x="520" y="222"/>
                    </a:lnTo>
                    <a:lnTo>
                      <a:pt x="516" y="222"/>
                    </a:lnTo>
                    <a:lnTo>
                      <a:pt x="520" y="222"/>
                    </a:lnTo>
                    <a:lnTo>
                      <a:pt x="520" y="222"/>
                    </a:lnTo>
                    <a:lnTo>
                      <a:pt x="520" y="222"/>
                    </a:lnTo>
                    <a:close/>
                    <a:moveTo>
                      <a:pt x="364" y="226"/>
                    </a:moveTo>
                    <a:lnTo>
                      <a:pt x="360" y="226"/>
                    </a:lnTo>
                    <a:lnTo>
                      <a:pt x="364" y="226"/>
                    </a:lnTo>
                    <a:lnTo>
                      <a:pt x="364" y="226"/>
                    </a:lnTo>
                    <a:lnTo>
                      <a:pt x="364" y="226"/>
                    </a:lnTo>
                    <a:close/>
                    <a:moveTo>
                      <a:pt x="506" y="230"/>
                    </a:moveTo>
                    <a:lnTo>
                      <a:pt x="510" y="226"/>
                    </a:lnTo>
                    <a:lnTo>
                      <a:pt x="510" y="230"/>
                    </a:lnTo>
                    <a:lnTo>
                      <a:pt x="506" y="230"/>
                    </a:lnTo>
                    <a:lnTo>
                      <a:pt x="506" y="230"/>
                    </a:lnTo>
                    <a:lnTo>
                      <a:pt x="506" y="230"/>
                    </a:lnTo>
                    <a:close/>
                    <a:moveTo>
                      <a:pt x="458" y="230"/>
                    </a:moveTo>
                    <a:lnTo>
                      <a:pt x="454" y="234"/>
                    </a:lnTo>
                    <a:lnTo>
                      <a:pt x="454" y="230"/>
                    </a:lnTo>
                    <a:lnTo>
                      <a:pt x="458" y="230"/>
                    </a:lnTo>
                    <a:lnTo>
                      <a:pt x="458" y="230"/>
                    </a:lnTo>
                    <a:lnTo>
                      <a:pt x="458" y="230"/>
                    </a:lnTo>
                    <a:close/>
                    <a:moveTo>
                      <a:pt x="502" y="246"/>
                    </a:moveTo>
                    <a:lnTo>
                      <a:pt x="506" y="242"/>
                    </a:lnTo>
                    <a:lnTo>
                      <a:pt x="510" y="242"/>
                    </a:lnTo>
                    <a:lnTo>
                      <a:pt x="506" y="242"/>
                    </a:lnTo>
                    <a:lnTo>
                      <a:pt x="506" y="246"/>
                    </a:lnTo>
                    <a:lnTo>
                      <a:pt x="502" y="246"/>
                    </a:lnTo>
                    <a:lnTo>
                      <a:pt x="502" y="246"/>
                    </a:lnTo>
                    <a:lnTo>
                      <a:pt x="502" y="246"/>
                    </a:lnTo>
                    <a:close/>
                    <a:moveTo>
                      <a:pt x="290" y="252"/>
                    </a:moveTo>
                    <a:lnTo>
                      <a:pt x="286" y="252"/>
                    </a:lnTo>
                    <a:lnTo>
                      <a:pt x="286" y="250"/>
                    </a:lnTo>
                    <a:lnTo>
                      <a:pt x="290" y="250"/>
                    </a:lnTo>
                    <a:lnTo>
                      <a:pt x="290" y="252"/>
                    </a:lnTo>
                    <a:lnTo>
                      <a:pt x="290" y="252"/>
                    </a:lnTo>
                    <a:lnTo>
                      <a:pt x="290" y="252"/>
                    </a:lnTo>
                    <a:close/>
                    <a:moveTo>
                      <a:pt x="398" y="276"/>
                    </a:moveTo>
                    <a:lnTo>
                      <a:pt x="402" y="276"/>
                    </a:lnTo>
                    <a:lnTo>
                      <a:pt x="398" y="280"/>
                    </a:lnTo>
                    <a:lnTo>
                      <a:pt x="398" y="276"/>
                    </a:lnTo>
                    <a:lnTo>
                      <a:pt x="398" y="276"/>
                    </a:lnTo>
                    <a:lnTo>
                      <a:pt x="398" y="276"/>
                    </a:lnTo>
                    <a:close/>
                    <a:moveTo>
                      <a:pt x="4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18" y="116"/>
                    </a:moveTo>
                    <a:lnTo>
                      <a:pt x="118" y="120"/>
                    </a:lnTo>
                    <a:lnTo>
                      <a:pt x="122" y="120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2"/>
                    </a:lnTo>
                    <a:lnTo>
                      <a:pt x="130" y="126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4"/>
                    </a:lnTo>
                    <a:lnTo>
                      <a:pt x="130" y="134"/>
                    </a:lnTo>
                    <a:lnTo>
                      <a:pt x="134" y="134"/>
                    </a:lnTo>
                    <a:lnTo>
                      <a:pt x="136" y="138"/>
                    </a:lnTo>
                    <a:lnTo>
                      <a:pt x="136" y="142"/>
                    </a:lnTo>
                    <a:lnTo>
                      <a:pt x="134" y="142"/>
                    </a:lnTo>
                    <a:lnTo>
                      <a:pt x="134" y="146"/>
                    </a:lnTo>
                    <a:lnTo>
                      <a:pt x="134" y="150"/>
                    </a:lnTo>
                    <a:lnTo>
                      <a:pt x="134" y="146"/>
                    </a:lnTo>
                    <a:lnTo>
                      <a:pt x="136" y="146"/>
                    </a:lnTo>
                    <a:lnTo>
                      <a:pt x="136" y="142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8" y="142"/>
                    </a:lnTo>
                    <a:lnTo>
                      <a:pt x="148" y="146"/>
                    </a:lnTo>
                    <a:lnTo>
                      <a:pt x="148" y="150"/>
                    </a:lnTo>
                    <a:lnTo>
                      <a:pt x="148" y="152"/>
                    </a:lnTo>
                    <a:lnTo>
                      <a:pt x="152" y="152"/>
                    </a:lnTo>
                    <a:lnTo>
                      <a:pt x="156" y="156"/>
                    </a:lnTo>
                    <a:lnTo>
                      <a:pt x="152" y="156"/>
                    </a:lnTo>
                    <a:lnTo>
                      <a:pt x="152" y="160"/>
                    </a:lnTo>
                    <a:lnTo>
                      <a:pt x="152" y="164"/>
                    </a:lnTo>
                    <a:lnTo>
                      <a:pt x="152" y="166"/>
                    </a:lnTo>
                    <a:lnTo>
                      <a:pt x="152" y="170"/>
                    </a:lnTo>
                    <a:lnTo>
                      <a:pt x="152" y="174"/>
                    </a:lnTo>
                    <a:lnTo>
                      <a:pt x="152" y="178"/>
                    </a:lnTo>
                    <a:lnTo>
                      <a:pt x="152" y="182"/>
                    </a:lnTo>
                    <a:lnTo>
                      <a:pt x="152" y="186"/>
                    </a:lnTo>
                    <a:lnTo>
                      <a:pt x="152" y="190"/>
                    </a:lnTo>
                    <a:lnTo>
                      <a:pt x="152" y="196"/>
                    </a:lnTo>
                    <a:lnTo>
                      <a:pt x="152" y="200"/>
                    </a:lnTo>
                    <a:lnTo>
                      <a:pt x="148" y="200"/>
                    </a:lnTo>
                    <a:lnTo>
                      <a:pt x="148" y="204"/>
                    </a:lnTo>
                    <a:lnTo>
                      <a:pt x="148" y="200"/>
                    </a:lnTo>
                    <a:lnTo>
                      <a:pt x="144" y="196"/>
                    </a:lnTo>
                    <a:lnTo>
                      <a:pt x="144" y="194"/>
                    </a:lnTo>
                    <a:lnTo>
                      <a:pt x="140" y="194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6" y="196"/>
                    </a:lnTo>
                    <a:lnTo>
                      <a:pt x="134" y="196"/>
                    </a:lnTo>
                    <a:lnTo>
                      <a:pt x="134" y="200"/>
                    </a:lnTo>
                    <a:lnTo>
                      <a:pt x="134" y="204"/>
                    </a:lnTo>
                    <a:lnTo>
                      <a:pt x="134" y="200"/>
                    </a:lnTo>
                    <a:lnTo>
                      <a:pt x="130" y="200"/>
                    </a:lnTo>
                    <a:lnTo>
                      <a:pt x="130" y="196"/>
                    </a:lnTo>
                    <a:lnTo>
                      <a:pt x="126" y="196"/>
                    </a:lnTo>
                    <a:lnTo>
                      <a:pt x="126" y="194"/>
                    </a:lnTo>
                    <a:lnTo>
                      <a:pt x="122" y="190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4" y="186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06" y="178"/>
                    </a:lnTo>
                    <a:lnTo>
                      <a:pt x="106" y="174"/>
                    </a:lnTo>
                    <a:lnTo>
                      <a:pt x="104" y="174"/>
                    </a:lnTo>
                    <a:lnTo>
                      <a:pt x="104" y="170"/>
                    </a:lnTo>
                    <a:lnTo>
                      <a:pt x="100" y="170"/>
                    </a:lnTo>
                    <a:lnTo>
                      <a:pt x="100" y="166"/>
                    </a:lnTo>
                    <a:lnTo>
                      <a:pt x="100" y="164"/>
                    </a:lnTo>
                    <a:lnTo>
                      <a:pt x="96" y="164"/>
                    </a:lnTo>
                    <a:lnTo>
                      <a:pt x="96" y="160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2"/>
                    </a:lnTo>
                    <a:lnTo>
                      <a:pt x="80" y="138"/>
                    </a:lnTo>
                    <a:lnTo>
                      <a:pt x="80" y="134"/>
                    </a:lnTo>
                    <a:lnTo>
                      <a:pt x="78" y="130"/>
                    </a:lnTo>
                    <a:lnTo>
                      <a:pt x="78" y="126"/>
                    </a:lnTo>
                    <a:lnTo>
                      <a:pt x="74" y="122"/>
                    </a:lnTo>
                    <a:lnTo>
                      <a:pt x="74" y="120"/>
                    </a:lnTo>
                    <a:lnTo>
                      <a:pt x="74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66" y="112"/>
                    </a:lnTo>
                    <a:lnTo>
                      <a:pt x="66" y="108"/>
                    </a:lnTo>
                    <a:lnTo>
                      <a:pt x="66" y="104"/>
                    </a:lnTo>
                    <a:lnTo>
                      <a:pt x="62" y="100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4" y="96"/>
                    </a:lnTo>
                    <a:lnTo>
                      <a:pt x="54" y="92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50" y="70"/>
                    </a:lnTo>
                    <a:lnTo>
                      <a:pt x="48" y="70"/>
                    </a:ln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18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4" y="40"/>
                    </a:lnTo>
                    <a:lnTo>
                      <a:pt x="58" y="40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66" y="56"/>
                    </a:lnTo>
                    <a:lnTo>
                      <a:pt x="70" y="56"/>
                    </a:lnTo>
                    <a:lnTo>
                      <a:pt x="70" y="60"/>
                    </a:lnTo>
                    <a:lnTo>
                      <a:pt x="70" y="56"/>
                    </a:lnTo>
                    <a:lnTo>
                      <a:pt x="74" y="60"/>
                    </a:lnTo>
                    <a:lnTo>
                      <a:pt x="74" y="64"/>
                    </a:lnTo>
                    <a:lnTo>
                      <a:pt x="78" y="66"/>
                    </a:lnTo>
                    <a:lnTo>
                      <a:pt x="80" y="66"/>
                    </a:lnTo>
                    <a:lnTo>
                      <a:pt x="80" y="70"/>
                    </a:lnTo>
                    <a:lnTo>
                      <a:pt x="80" y="66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0" y="64"/>
                    </a:lnTo>
                    <a:lnTo>
                      <a:pt x="84" y="64"/>
                    </a:lnTo>
                    <a:lnTo>
                      <a:pt x="84" y="66"/>
                    </a:lnTo>
                    <a:lnTo>
                      <a:pt x="88" y="66"/>
                    </a:lnTo>
                    <a:lnTo>
                      <a:pt x="88" y="70"/>
                    </a:lnTo>
                    <a:lnTo>
                      <a:pt x="88" y="74"/>
                    </a:lnTo>
                    <a:lnTo>
                      <a:pt x="92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92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4" y="100"/>
                    </a:lnTo>
                    <a:lnTo>
                      <a:pt x="104" y="96"/>
                    </a:lnTo>
                    <a:lnTo>
                      <a:pt x="104" y="100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4" y="96"/>
                    </a:lnTo>
                    <a:lnTo>
                      <a:pt x="114" y="92"/>
                    </a:lnTo>
                    <a:lnTo>
                      <a:pt x="118" y="92"/>
                    </a:lnTo>
                    <a:lnTo>
                      <a:pt x="122" y="96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8" y="108"/>
                    </a:lnTo>
                    <a:lnTo>
                      <a:pt x="118" y="112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8" y="116"/>
                    </a:lnTo>
                    <a:lnTo>
                      <a:pt x="118" y="116"/>
                    </a:lnTo>
                    <a:lnTo>
                      <a:pt x="118" y="116"/>
                    </a:lnTo>
                    <a:close/>
                    <a:moveTo>
                      <a:pt x="204" y="66"/>
                    </a:moveTo>
                    <a:lnTo>
                      <a:pt x="204" y="70"/>
                    </a:lnTo>
                    <a:lnTo>
                      <a:pt x="204" y="74"/>
                    </a:lnTo>
                    <a:lnTo>
                      <a:pt x="208" y="78"/>
                    </a:lnTo>
                    <a:lnTo>
                      <a:pt x="208" y="82"/>
                    </a:lnTo>
                    <a:lnTo>
                      <a:pt x="212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22" y="86"/>
                    </a:lnTo>
                    <a:lnTo>
                      <a:pt x="226" y="86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8" y="86"/>
                    </a:lnTo>
                    <a:lnTo>
                      <a:pt x="238" y="82"/>
                    </a:lnTo>
                    <a:lnTo>
                      <a:pt x="242" y="82"/>
                    </a:lnTo>
                    <a:lnTo>
                      <a:pt x="242" y="78"/>
                    </a:lnTo>
                    <a:lnTo>
                      <a:pt x="246" y="74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6" y="78"/>
                    </a:lnTo>
                    <a:lnTo>
                      <a:pt x="260" y="82"/>
                    </a:lnTo>
                    <a:lnTo>
                      <a:pt x="264" y="82"/>
                    </a:lnTo>
                    <a:lnTo>
                      <a:pt x="264" y="78"/>
                    </a:lnTo>
                    <a:lnTo>
                      <a:pt x="268" y="78"/>
                    </a:lnTo>
                    <a:lnTo>
                      <a:pt x="272" y="78"/>
                    </a:lnTo>
                    <a:lnTo>
                      <a:pt x="276" y="78"/>
                    </a:lnTo>
                    <a:lnTo>
                      <a:pt x="276" y="74"/>
                    </a:lnTo>
                    <a:lnTo>
                      <a:pt x="276" y="70"/>
                    </a:lnTo>
                    <a:lnTo>
                      <a:pt x="278" y="70"/>
                    </a:lnTo>
                    <a:lnTo>
                      <a:pt x="278" y="66"/>
                    </a:lnTo>
                    <a:lnTo>
                      <a:pt x="278" y="64"/>
                    </a:lnTo>
                    <a:lnTo>
                      <a:pt x="282" y="60"/>
                    </a:lnTo>
                    <a:lnTo>
                      <a:pt x="282" y="52"/>
                    </a:lnTo>
                    <a:lnTo>
                      <a:pt x="286" y="52"/>
                    </a:lnTo>
                    <a:lnTo>
                      <a:pt x="286" y="48"/>
                    </a:lnTo>
                    <a:lnTo>
                      <a:pt x="286" y="44"/>
                    </a:lnTo>
                    <a:lnTo>
                      <a:pt x="290" y="44"/>
                    </a:lnTo>
                    <a:lnTo>
                      <a:pt x="290" y="40"/>
                    </a:lnTo>
                    <a:lnTo>
                      <a:pt x="290" y="36"/>
                    </a:lnTo>
                    <a:lnTo>
                      <a:pt x="290" y="34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4" y="26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4" y="30"/>
                    </a:lnTo>
                    <a:lnTo>
                      <a:pt x="308" y="30"/>
                    </a:lnTo>
                    <a:lnTo>
                      <a:pt x="312" y="30"/>
                    </a:lnTo>
                    <a:lnTo>
                      <a:pt x="316" y="30"/>
                    </a:lnTo>
                    <a:lnTo>
                      <a:pt x="316" y="34"/>
                    </a:lnTo>
                    <a:lnTo>
                      <a:pt x="316" y="30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16" y="36"/>
                    </a:lnTo>
                    <a:lnTo>
                      <a:pt x="320" y="36"/>
                    </a:lnTo>
                    <a:lnTo>
                      <a:pt x="320" y="40"/>
                    </a:lnTo>
                    <a:lnTo>
                      <a:pt x="316" y="40"/>
                    </a:lnTo>
                    <a:lnTo>
                      <a:pt x="312" y="40"/>
                    </a:lnTo>
                    <a:lnTo>
                      <a:pt x="308" y="40"/>
                    </a:lnTo>
                    <a:lnTo>
                      <a:pt x="312" y="40"/>
                    </a:lnTo>
                    <a:lnTo>
                      <a:pt x="312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8"/>
                    </a:lnTo>
                    <a:lnTo>
                      <a:pt x="316" y="48"/>
                    </a:lnTo>
                    <a:lnTo>
                      <a:pt x="320" y="52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4" y="64"/>
                    </a:lnTo>
                    <a:lnTo>
                      <a:pt x="324" y="66"/>
                    </a:lnTo>
                    <a:lnTo>
                      <a:pt x="320" y="66"/>
                    </a:lnTo>
                    <a:lnTo>
                      <a:pt x="320" y="70"/>
                    </a:lnTo>
                    <a:lnTo>
                      <a:pt x="324" y="74"/>
                    </a:lnTo>
                    <a:lnTo>
                      <a:pt x="328" y="74"/>
                    </a:lnTo>
                    <a:lnTo>
                      <a:pt x="328" y="78"/>
                    </a:lnTo>
                    <a:lnTo>
                      <a:pt x="332" y="78"/>
                    </a:lnTo>
                    <a:lnTo>
                      <a:pt x="334" y="82"/>
                    </a:lnTo>
                    <a:lnTo>
                      <a:pt x="334" y="86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2" y="90"/>
                    </a:lnTo>
                    <a:lnTo>
                      <a:pt x="328" y="90"/>
                    </a:lnTo>
                    <a:lnTo>
                      <a:pt x="324" y="86"/>
                    </a:lnTo>
                    <a:lnTo>
                      <a:pt x="324" y="82"/>
                    </a:lnTo>
                    <a:lnTo>
                      <a:pt x="320" y="82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4" y="90"/>
                    </a:lnTo>
                    <a:lnTo>
                      <a:pt x="320" y="90"/>
                    </a:lnTo>
                    <a:lnTo>
                      <a:pt x="320" y="92"/>
                    </a:lnTo>
                    <a:lnTo>
                      <a:pt x="316" y="92"/>
                    </a:lnTo>
                    <a:lnTo>
                      <a:pt x="316" y="96"/>
                    </a:lnTo>
                    <a:lnTo>
                      <a:pt x="316" y="100"/>
                    </a:lnTo>
                    <a:lnTo>
                      <a:pt x="316" y="104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08"/>
                    </a:lnTo>
                    <a:lnTo>
                      <a:pt x="316" y="112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2"/>
                    </a:lnTo>
                    <a:lnTo>
                      <a:pt x="304" y="122"/>
                    </a:lnTo>
                    <a:lnTo>
                      <a:pt x="304" y="120"/>
                    </a:lnTo>
                    <a:lnTo>
                      <a:pt x="304" y="122"/>
                    </a:lnTo>
                    <a:lnTo>
                      <a:pt x="304" y="126"/>
                    </a:lnTo>
                    <a:lnTo>
                      <a:pt x="302" y="126"/>
                    </a:lnTo>
                    <a:lnTo>
                      <a:pt x="302" y="130"/>
                    </a:lnTo>
                    <a:lnTo>
                      <a:pt x="298" y="130"/>
                    </a:lnTo>
                    <a:lnTo>
                      <a:pt x="298" y="134"/>
                    </a:lnTo>
                    <a:lnTo>
                      <a:pt x="302" y="134"/>
                    </a:lnTo>
                    <a:lnTo>
                      <a:pt x="302" y="138"/>
                    </a:lnTo>
                    <a:lnTo>
                      <a:pt x="298" y="138"/>
                    </a:lnTo>
                    <a:lnTo>
                      <a:pt x="302" y="142"/>
                    </a:lnTo>
                    <a:lnTo>
                      <a:pt x="302" y="138"/>
                    </a:lnTo>
                    <a:lnTo>
                      <a:pt x="302" y="142"/>
                    </a:lnTo>
                    <a:lnTo>
                      <a:pt x="304" y="142"/>
                    </a:lnTo>
                    <a:lnTo>
                      <a:pt x="302" y="142"/>
                    </a:lnTo>
                    <a:lnTo>
                      <a:pt x="302" y="146"/>
                    </a:lnTo>
                    <a:lnTo>
                      <a:pt x="298" y="146"/>
                    </a:lnTo>
                    <a:lnTo>
                      <a:pt x="302" y="150"/>
                    </a:lnTo>
                    <a:lnTo>
                      <a:pt x="302" y="152"/>
                    </a:lnTo>
                    <a:lnTo>
                      <a:pt x="298" y="152"/>
                    </a:lnTo>
                    <a:lnTo>
                      <a:pt x="298" y="150"/>
                    </a:lnTo>
                    <a:lnTo>
                      <a:pt x="298" y="152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4" y="160"/>
                    </a:lnTo>
                    <a:lnTo>
                      <a:pt x="294" y="164"/>
                    </a:lnTo>
                    <a:lnTo>
                      <a:pt x="290" y="164"/>
                    </a:lnTo>
                    <a:lnTo>
                      <a:pt x="290" y="166"/>
                    </a:lnTo>
                    <a:lnTo>
                      <a:pt x="286" y="166"/>
                    </a:lnTo>
                    <a:lnTo>
                      <a:pt x="282" y="166"/>
                    </a:lnTo>
                    <a:lnTo>
                      <a:pt x="282" y="170"/>
                    </a:lnTo>
                    <a:lnTo>
                      <a:pt x="278" y="170"/>
                    </a:lnTo>
                    <a:lnTo>
                      <a:pt x="276" y="174"/>
                    </a:lnTo>
                    <a:lnTo>
                      <a:pt x="276" y="170"/>
                    </a:lnTo>
                    <a:lnTo>
                      <a:pt x="276" y="166"/>
                    </a:lnTo>
                    <a:lnTo>
                      <a:pt x="276" y="164"/>
                    </a:lnTo>
                    <a:lnTo>
                      <a:pt x="272" y="164"/>
                    </a:lnTo>
                    <a:lnTo>
                      <a:pt x="272" y="160"/>
                    </a:lnTo>
                    <a:lnTo>
                      <a:pt x="268" y="160"/>
                    </a:lnTo>
                    <a:lnTo>
                      <a:pt x="264" y="160"/>
                    </a:lnTo>
                    <a:lnTo>
                      <a:pt x="260" y="160"/>
                    </a:lnTo>
                    <a:lnTo>
                      <a:pt x="260" y="156"/>
                    </a:lnTo>
                    <a:lnTo>
                      <a:pt x="256" y="156"/>
                    </a:lnTo>
                    <a:lnTo>
                      <a:pt x="252" y="156"/>
                    </a:lnTo>
                    <a:lnTo>
                      <a:pt x="252" y="152"/>
                    </a:lnTo>
                    <a:lnTo>
                      <a:pt x="252" y="156"/>
                    </a:lnTo>
                    <a:lnTo>
                      <a:pt x="248" y="160"/>
                    </a:lnTo>
                    <a:lnTo>
                      <a:pt x="246" y="160"/>
                    </a:lnTo>
                    <a:lnTo>
                      <a:pt x="242" y="160"/>
                    </a:lnTo>
                    <a:lnTo>
                      <a:pt x="238" y="160"/>
                    </a:lnTo>
                    <a:lnTo>
                      <a:pt x="238" y="164"/>
                    </a:lnTo>
                    <a:lnTo>
                      <a:pt x="234" y="164"/>
                    </a:lnTo>
                    <a:lnTo>
                      <a:pt x="234" y="160"/>
                    </a:lnTo>
                    <a:lnTo>
                      <a:pt x="234" y="156"/>
                    </a:lnTo>
                    <a:lnTo>
                      <a:pt x="234" y="152"/>
                    </a:lnTo>
                    <a:lnTo>
                      <a:pt x="234" y="150"/>
                    </a:lnTo>
                    <a:lnTo>
                      <a:pt x="234" y="152"/>
                    </a:lnTo>
                    <a:lnTo>
                      <a:pt x="230" y="152"/>
                    </a:lnTo>
                    <a:lnTo>
                      <a:pt x="226" y="152"/>
                    </a:lnTo>
                    <a:lnTo>
                      <a:pt x="226" y="156"/>
                    </a:lnTo>
                    <a:lnTo>
                      <a:pt x="222" y="156"/>
                    </a:lnTo>
                    <a:lnTo>
                      <a:pt x="220" y="152"/>
                    </a:lnTo>
                    <a:lnTo>
                      <a:pt x="222" y="152"/>
                    </a:lnTo>
                    <a:lnTo>
                      <a:pt x="220" y="152"/>
                    </a:lnTo>
                    <a:lnTo>
                      <a:pt x="220" y="156"/>
                    </a:lnTo>
                    <a:lnTo>
                      <a:pt x="220" y="152"/>
                    </a:lnTo>
                    <a:lnTo>
                      <a:pt x="216" y="152"/>
                    </a:lnTo>
                    <a:lnTo>
                      <a:pt x="212" y="152"/>
                    </a:lnTo>
                    <a:lnTo>
                      <a:pt x="212" y="150"/>
                    </a:lnTo>
                    <a:lnTo>
                      <a:pt x="212" y="146"/>
                    </a:lnTo>
                    <a:lnTo>
                      <a:pt x="212" y="142"/>
                    </a:lnTo>
                    <a:lnTo>
                      <a:pt x="212" y="138"/>
                    </a:lnTo>
                    <a:lnTo>
                      <a:pt x="212" y="134"/>
                    </a:lnTo>
                    <a:lnTo>
                      <a:pt x="208" y="134"/>
                    </a:lnTo>
                    <a:lnTo>
                      <a:pt x="208" y="130"/>
                    </a:lnTo>
                    <a:lnTo>
                      <a:pt x="212" y="130"/>
                    </a:lnTo>
                    <a:lnTo>
                      <a:pt x="212" y="126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0" y="116"/>
                    </a:lnTo>
                    <a:lnTo>
                      <a:pt x="200" y="120"/>
                    </a:lnTo>
                    <a:lnTo>
                      <a:pt x="200" y="116"/>
                    </a:lnTo>
                    <a:lnTo>
                      <a:pt x="204" y="116"/>
                    </a:lnTo>
                    <a:lnTo>
                      <a:pt x="200" y="112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6" y="104"/>
                    </a:lnTo>
                    <a:lnTo>
                      <a:pt x="196" y="100"/>
                    </a:lnTo>
                    <a:lnTo>
                      <a:pt x="196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92" y="90"/>
                    </a:lnTo>
                    <a:lnTo>
                      <a:pt x="192" y="86"/>
                    </a:lnTo>
                    <a:lnTo>
                      <a:pt x="196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200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6" y="78"/>
                    </a:lnTo>
                    <a:lnTo>
                      <a:pt x="196" y="74"/>
                    </a:lnTo>
                    <a:lnTo>
                      <a:pt x="200" y="74"/>
                    </a:lnTo>
                    <a:lnTo>
                      <a:pt x="200" y="70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6"/>
                    </a:lnTo>
                    <a:close/>
                    <a:moveTo>
                      <a:pt x="182" y="36"/>
                    </a:moveTo>
                    <a:lnTo>
                      <a:pt x="182" y="34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86" y="36"/>
                    </a:lnTo>
                    <a:lnTo>
                      <a:pt x="186" y="40"/>
                    </a:lnTo>
                    <a:lnTo>
                      <a:pt x="182" y="40"/>
                    </a:lnTo>
                    <a:lnTo>
                      <a:pt x="182" y="36"/>
                    </a:lnTo>
                    <a:lnTo>
                      <a:pt x="186" y="36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82" y="36"/>
                    </a:lnTo>
                    <a:close/>
                    <a:moveTo>
                      <a:pt x="148" y="52"/>
                    </a:moveTo>
                    <a:lnTo>
                      <a:pt x="148" y="48"/>
                    </a:lnTo>
                    <a:lnTo>
                      <a:pt x="152" y="52"/>
                    </a:lnTo>
                    <a:lnTo>
                      <a:pt x="148" y="52"/>
                    </a:lnTo>
                    <a:lnTo>
                      <a:pt x="148" y="56"/>
                    </a:lnTo>
                    <a:lnTo>
                      <a:pt x="148" y="52"/>
                    </a:lnTo>
                    <a:lnTo>
                      <a:pt x="148" y="52"/>
                    </a:lnTo>
                    <a:lnTo>
                      <a:pt x="148" y="52"/>
                    </a:lnTo>
                    <a:close/>
                    <a:moveTo>
                      <a:pt x="18" y="64"/>
                    </a:moveTo>
                    <a:lnTo>
                      <a:pt x="14" y="64"/>
                    </a:lnTo>
                    <a:lnTo>
                      <a:pt x="14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8" y="56"/>
                    </a:lnTo>
                    <a:lnTo>
                      <a:pt x="10" y="52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18" y="64"/>
                    </a:lnTo>
                    <a:close/>
                    <a:moveTo>
                      <a:pt x="468" y="66"/>
                    </a:moveTo>
                    <a:lnTo>
                      <a:pt x="468" y="64"/>
                    </a:lnTo>
                    <a:lnTo>
                      <a:pt x="468" y="60"/>
                    </a:lnTo>
                    <a:lnTo>
                      <a:pt x="472" y="56"/>
                    </a:lnTo>
                    <a:lnTo>
                      <a:pt x="472" y="60"/>
                    </a:lnTo>
                    <a:lnTo>
                      <a:pt x="472" y="64"/>
                    </a:lnTo>
                    <a:lnTo>
                      <a:pt x="472" y="66"/>
                    </a:lnTo>
                    <a:lnTo>
                      <a:pt x="468" y="66"/>
                    </a:lnTo>
                    <a:lnTo>
                      <a:pt x="468" y="66"/>
                    </a:lnTo>
                    <a:lnTo>
                      <a:pt x="468" y="66"/>
                    </a:lnTo>
                    <a:close/>
                    <a:moveTo>
                      <a:pt x="30" y="66"/>
                    </a:moveTo>
                    <a:lnTo>
                      <a:pt x="30" y="64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6"/>
                    </a:lnTo>
                    <a:lnTo>
                      <a:pt x="30" y="66"/>
                    </a:lnTo>
                    <a:lnTo>
                      <a:pt x="30" y="66"/>
                    </a:lnTo>
                    <a:close/>
                    <a:moveTo>
                      <a:pt x="460" y="112"/>
                    </a:moveTo>
                    <a:lnTo>
                      <a:pt x="460" y="108"/>
                    </a:lnTo>
                    <a:lnTo>
                      <a:pt x="458" y="104"/>
                    </a:lnTo>
                    <a:lnTo>
                      <a:pt x="460" y="104"/>
                    </a:lnTo>
                    <a:lnTo>
                      <a:pt x="460" y="100"/>
                    </a:lnTo>
                    <a:lnTo>
                      <a:pt x="458" y="96"/>
                    </a:lnTo>
                    <a:lnTo>
                      <a:pt x="458" y="92"/>
                    </a:lnTo>
                    <a:lnTo>
                      <a:pt x="458" y="90"/>
                    </a:lnTo>
                    <a:lnTo>
                      <a:pt x="458" y="86"/>
                    </a:lnTo>
                    <a:lnTo>
                      <a:pt x="454" y="86"/>
                    </a:lnTo>
                    <a:lnTo>
                      <a:pt x="454" y="82"/>
                    </a:lnTo>
                    <a:lnTo>
                      <a:pt x="458" y="82"/>
                    </a:lnTo>
                    <a:lnTo>
                      <a:pt x="458" y="78"/>
                    </a:lnTo>
                    <a:lnTo>
                      <a:pt x="458" y="74"/>
                    </a:lnTo>
                    <a:lnTo>
                      <a:pt x="458" y="70"/>
                    </a:lnTo>
                    <a:lnTo>
                      <a:pt x="460" y="70"/>
                    </a:lnTo>
                    <a:lnTo>
                      <a:pt x="460" y="66"/>
                    </a:lnTo>
                    <a:lnTo>
                      <a:pt x="464" y="64"/>
                    </a:lnTo>
                    <a:lnTo>
                      <a:pt x="464" y="66"/>
                    </a:lnTo>
                    <a:lnTo>
                      <a:pt x="460" y="70"/>
                    </a:lnTo>
                    <a:lnTo>
                      <a:pt x="464" y="70"/>
                    </a:lnTo>
                    <a:lnTo>
                      <a:pt x="464" y="74"/>
                    </a:lnTo>
                    <a:lnTo>
                      <a:pt x="464" y="78"/>
                    </a:lnTo>
                    <a:lnTo>
                      <a:pt x="460" y="82"/>
                    </a:lnTo>
                    <a:lnTo>
                      <a:pt x="458" y="86"/>
                    </a:lnTo>
                    <a:lnTo>
                      <a:pt x="460" y="90"/>
                    </a:lnTo>
                    <a:lnTo>
                      <a:pt x="460" y="86"/>
                    </a:lnTo>
                    <a:lnTo>
                      <a:pt x="464" y="86"/>
                    </a:lnTo>
                    <a:lnTo>
                      <a:pt x="464" y="82"/>
                    </a:lnTo>
                    <a:lnTo>
                      <a:pt x="464" y="78"/>
                    </a:lnTo>
                    <a:lnTo>
                      <a:pt x="468" y="78"/>
                    </a:lnTo>
                    <a:lnTo>
                      <a:pt x="468" y="74"/>
                    </a:lnTo>
                    <a:lnTo>
                      <a:pt x="472" y="74"/>
                    </a:lnTo>
                    <a:lnTo>
                      <a:pt x="472" y="82"/>
                    </a:lnTo>
                    <a:lnTo>
                      <a:pt x="472" y="86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68" y="92"/>
                    </a:lnTo>
                    <a:lnTo>
                      <a:pt x="472" y="92"/>
                    </a:lnTo>
                    <a:lnTo>
                      <a:pt x="472" y="96"/>
                    </a:lnTo>
                    <a:lnTo>
                      <a:pt x="476" y="96"/>
                    </a:lnTo>
                    <a:lnTo>
                      <a:pt x="476" y="100"/>
                    </a:lnTo>
                    <a:lnTo>
                      <a:pt x="476" y="96"/>
                    </a:lnTo>
                    <a:lnTo>
                      <a:pt x="472" y="96"/>
                    </a:lnTo>
                    <a:lnTo>
                      <a:pt x="468" y="96"/>
                    </a:lnTo>
                    <a:lnTo>
                      <a:pt x="464" y="96"/>
                    </a:lnTo>
                    <a:lnTo>
                      <a:pt x="464" y="92"/>
                    </a:lnTo>
                    <a:lnTo>
                      <a:pt x="460" y="92"/>
                    </a:lnTo>
                    <a:lnTo>
                      <a:pt x="460" y="96"/>
                    </a:lnTo>
                    <a:lnTo>
                      <a:pt x="460" y="100"/>
                    </a:lnTo>
                    <a:lnTo>
                      <a:pt x="460" y="104"/>
                    </a:lnTo>
                    <a:lnTo>
                      <a:pt x="464" y="108"/>
                    </a:lnTo>
                    <a:lnTo>
                      <a:pt x="464" y="112"/>
                    </a:lnTo>
                    <a:lnTo>
                      <a:pt x="468" y="116"/>
                    </a:lnTo>
                    <a:lnTo>
                      <a:pt x="468" y="120"/>
                    </a:lnTo>
                    <a:lnTo>
                      <a:pt x="468" y="116"/>
                    </a:lnTo>
                    <a:lnTo>
                      <a:pt x="464" y="116"/>
                    </a:lnTo>
                    <a:lnTo>
                      <a:pt x="464" y="112"/>
                    </a:lnTo>
                    <a:lnTo>
                      <a:pt x="460" y="112"/>
                    </a:lnTo>
                    <a:lnTo>
                      <a:pt x="460" y="112"/>
                    </a:lnTo>
                    <a:lnTo>
                      <a:pt x="460" y="112"/>
                    </a:lnTo>
                    <a:close/>
                    <a:moveTo>
                      <a:pt x="92" y="70"/>
                    </a:moveTo>
                    <a:lnTo>
                      <a:pt x="92" y="74"/>
                    </a:lnTo>
                    <a:lnTo>
                      <a:pt x="88" y="74"/>
                    </a:lnTo>
                    <a:lnTo>
                      <a:pt x="88" y="70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0"/>
                    </a:lnTo>
                    <a:lnTo>
                      <a:pt x="92" y="70"/>
                    </a:lnTo>
                    <a:close/>
                    <a:moveTo>
                      <a:pt x="398" y="120"/>
                    </a:moveTo>
                    <a:lnTo>
                      <a:pt x="394" y="120"/>
                    </a:lnTo>
                    <a:lnTo>
                      <a:pt x="390" y="120"/>
                    </a:lnTo>
                    <a:lnTo>
                      <a:pt x="390" y="122"/>
                    </a:lnTo>
                    <a:lnTo>
                      <a:pt x="386" y="122"/>
                    </a:lnTo>
                    <a:lnTo>
                      <a:pt x="386" y="126"/>
                    </a:lnTo>
                    <a:lnTo>
                      <a:pt x="382" y="126"/>
                    </a:lnTo>
                    <a:lnTo>
                      <a:pt x="382" y="130"/>
                    </a:lnTo>
                    <a:lnTo>
                      <a:pt x="378" y="130"/>
                    </a:lnTo>
                    <a:lnTo>
                      <a:pt x="374" y="130"/>
                    </a:lnTo>
                    <a:lnTo>
                      <a:pt x="374" y="134"/>
                    </a:lnTo>
                    <a:lnTo>
                      <a:pt x="372" y="134"/>
                    </a:lnTo>
                    <a:lnTo>
                      <a:pt x="368" y="134"/>
                    </a:lnTo>
                    <a:lnTo>
                      <a:pt x="368" y="138"/>
                    </a:lnTo>
                    <a:lnTo>
                      <a:pt x="372" y="138"/>
                    </a:lnTo>
                    <a:lnTo>
                      <a:pt x="374" y="138"/>
                    </a:lnTo>
                    <a:lnTo>
                      <a:pt x="374" y="142"/>
                    </a:lnTo>
                    <a:lnTo>
                      <a:pt x="378" y="146"/>
                    </a:lnTo>
                    <a:lnTo>
                      <a:pt x="378" y="150"/>
                    </a:lnTo>
                    <a:lnTo>
                      <a:pt x="382" y="150"/>
                    </a:lnTo>
                    <a:lnTo>
                      <a:pt x="382" y="152"/>
                    </a:lnTo>
                    <a:lnTo>
                      <a:pt x="382" y="156"/>
                    </a:lnTo>
                    <a:lnTo>
                      <a:pt x="386" y="156"/>
                    </a:lnTo>
                    <a:lnTo>
                      <a:pt x="382" y="156"/>
                    </a:lnTo>
                    <a:lnTo>
                      <a:pt x="382" y="160"/>
                    </a:lnTo>
                    <a:lnTo>
                      <a:pt x="382" y="164"/>
                    </a:lnTo>
                    <a:lnTo>
                      <a:pt x="382" y="166"/>
                    </a:lnTo>
                    <a:lnTo>
                      <a:pt x="386" y="166"/>
                    </a:lnTo>
                    <a:lnTo>
                      <a:pt x="386" y="170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0"/>
                    </a:lnTo>
                    <a:lnTo>
                      <a:pt x="390" y="174"/>
                    </a:lnTo>
                    <a:lnTo>
                      <a:pt x="390" y="178"/>
                    </a:lnTo>
                    <a:lnTo>
                      <a:pt x="386" y="178"/>
                    </a:lnTo>
                    <a:lnTo>
                      <a:pt x="382" y="178"/>
                    </a:lnTo>
                    <a:lnTo>
                      <a:pt x="378" y="178"/>
                    </a:lnTo>
                    <a:lnTo>
                      <a:pt x="378" y="182"/>
                    </a:lnTo>
                    <a:lnTo>
                      <a:pt x="378" y="186"/>
                    </a:lnTo>
                    <a:lnTo>
                      <a:pt x="374" y="186"/>
                    </a:lnTo>
                    <a:lnTo>
                      <a:pt x="372" y="182"/>
                    </a:lnTo>
                    <a:lnTo>
                      <a:pt x="372" y="178"/>
                    </a:lnTo>
                    <a:lnTo>
                      <a:pt x="372" y="174"/>
                    </a:lnTo>
                    <a:lnTo>
                      <a:pt x="374" y="174"/>
                    </a:lnTo>
                    <a:lnTo>
                      <a:pt x="374" y="170"/>
                    </a:lnTo>
                    <a:lnTo>
                      <a:pt x="372" y="170"/>
                    </a:lnTo>
                    <a:lnTo>
                      <a:pt x="368" y="170"/>
                    </a:lnTo>
                    <a:lnTo>
                      <a:pt x="368" y="166"/>
                    </a:lnTo>
                    <a:lnTo>
                      <a:pt x="364" y="164"/>
                    </a:lnTo>
                    <a:lnTo>
                      <a:pt x="364" y="160"/>
                    </a:lnTo>
                    <a:lnTo>
                      <a:pt x="364" y="156"/>
                    </a:lnTo>
                    <a:lnTo>
                      <a:pt x="364" y="152"/>
                    </a:lnTo>
                    <a:lnTo>
                      <a:pt x="364" y="150"/>
                    </a:lnTo>
                    <a:lnTo>
                      <a:pt x="360" y="146"/>
                    </a:lnTo>
                    <a:lnTo>
                      <a:pt x="360" y="150"/>
                    </a:lnTo>
                    <a:lnTo>
                      <a:pt x="358" y="152"/>
                    </a:lnTo>
                    <a:lnTo>
                      <a:pt x="354" y="152"/>
                    </a:lnTo>
                    <a:lnTo>
                      <a:pt x="354" y="156"/>
                    </a:lnTo>
                    <a:lnTo>
                      <a:pt x="358" y="156"/>
                    </a:lnTo>
                    <a:lnTo>
                      <a:pt x="358" y="160"/>
                    </a:lnTo>
                    <a:lnTo>
                      <a:pt x="358" y="164"/>
                    </a:lnTo>
                    <a:lnTo>
                      <a:pt x="358" y="166"/>
                    </a:lnTo>
                    <a:lnTo>
                      <a:pt x="358" y="170"/>
                    </a:lnTo>
                    <a:lnTo>
                      <a:pt x="358" y="174"/>
                    </a:lnTo>
                    <a:lnTo>
                      <a:pt x="358" y="178"/>
                    </a:lnTo>
                    <a:lnTo>
                      <a:pt x="358" y="182"/>
                    </a:lnTo>
                    <a:lnTo>
                      <a:pt x="358" y="186"/>
                    </a:lnTo>
                    <a:lnTo>
                      <a:pt x="354" y="190"/>
                    </a:lnTo>
                    <a:lnTo>
                      <a:pt x="358" y="194"/>
                    </a:lnTo>
                    <a:lnTo>
                      <a:pt x="358" y="196"/>
                    </a:lnTo>
                    <a:lnTo>
                      <a:pt x="354" y="196"/>
                    </a:lnTo>
                    <a:lnTo>
                      <a:pt x="350" y="196"/>
                    </a:lnTo>
                    <a:lnTo>
                      <a:pt x="350" y="200"/>
                    </a:lnTo>
                    <a:lnTo>
                      <a:pt x="346" y="200"/>
                    </a:lnTo>
                    <a:lnTo>
                      <a:pt x="346" y="196"/>
                    </a:lnTo>
                    <a:lnTo>
                      <a:pt x="342" y="196"/>
                    </a:lnTo>
                    <a:lnTo>
                      <a:pt x="342" y="194"/>
                    </a:lnTo>
                    <a:lnTo>
                      <a:pt x="342" y="190"/>
                    </a:lnTo>
                    <a:lnTo>
                      <a:pt x="346" y="186"/>
                    </a:lnTo>
                    <a:lnTo>
                      <a:pt x="342" y="186"/>
                    </a:lnTo>
                    <a:lnTo>
                      <a:pt x="342" y="182"/>
                    </a:lnTo>
                    <a:lnTo>
                      <a:pt x="346" y="182"/>
                    </a:lnTo>
                    <a:lnTo>
                      <a:pt x="346" y="178"/>
                    </a:lnTo>
                    <a:lnTo>
                      <a:pt x="346" y="174"/>
                    </a:lnTo>
                    <a:lnTo>
                      <a:pt x="346" y="170"/>
                    </a:lnTo>
                    <a:lnTo>
                      <a:pt x="346" y="166"/>
                    </a:lnTo>
                    <a:lnTo>
                      <a:pt x="342" y="164"/>
                    </a:lnTo>
                    <a:lnTo>
                      <a:pt x="346" y="164"/>
                    </a:lnTo>
                    <a:lnTo>
                      <a:pt x="342" y="160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8" y="160"/>
                    </a:lnTo>
                    <a:lnTo>
                      <a:pt x="338" y="164"/>
                    </a:lnTo>
                    <a:lnTo>
                      <a:pt x="334" y="164"/>
                    </a:lnTo>
                    <a:lnTo>
                      <a:pt x="334" y="160"/>
                    </a:lnTo>
                    <a:lnTo>
                      <a:pt x="334" y="156"/>
                    </a:lnTo>
                    <a:lnTo>
                      <a:pt x="334" y="152"/>
                    </a:lnTo>
                    <a:lnTo>
                      <a:pt x="334" y="150"/>
                    </a:lnTo>
                    <a:lnTo>
                      <a:pt x="338" y="146"/>
                    </a:lnTo>
                    <a:lnTo>
                      <a:pt x="338" y="142"/>
                    </a:lnTo>
                    <a:lnTo>
                      <a:pt x="338" y="138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8"/>
                    </a:lnTo>
                    <a:lnTo>
                      <a:pt x="342" y="134"/>
                    </a:lnTo>
                    <a:lnTo>
                      <a:pt x="342" y="130"/>
                    </a:lnTo>
                    <a:lnTo>
                      <a:pt x="342" y="126"/>
                    </a:lnTo>
                    <a:lnTo>
                      <a:pt x="342" y="122"/>
                    </a:lnTo>
                    <a:lnTo>
                      <a:pt x="342" y="120"/>
                    </a:lnTo>
                    <a:lnTo>
                      <a:pt x="346" y="120"/>
                    </a:lnTo>
                    <a:lnTo>
                      <a:pt x="346" y="116"/>
                    </a:lnTo>
                    <a:lnTo>
                      <a:pt x="346" y="112"/>
                    </a:lnTo>
                    <a:lnTo>
                      <a:pt x="350" y="116"/>
                    </a:lnTo>
                    <a:lnTo>
                      <a:pt x="350" y="120"/>
                    </a:lnTo>
                    <a:lnTo>
                      <a:pt x="350" y="116"/>
                    </a:lnTo>
                    <a:lnTo>
                      <a:pt x="350" y="112"/>
                    </a:lnTo>
                    <a:lnTo>
                      <a:pt x="346" y="112"/>
                    </a:lnTo>
                    <a:lnTo>
                      <a:pt x="346" y="108"/>
                    </a:lnTo>
                    <a:lnTo>
                      <a:pt x="350" y="108"/>
                    </a:lnTo>
                    <a:lnTo>
                      <a:pt x="350" y="104"/>
                    </a:lnTo>
                    <a:lnTo>
                      <a:pt x="346" y="104"/>
                    </a:lnTo>
                    <a:lnTo>
                      <a:pt x="346" y="100"/>
                    </a:lnTo>
                    <a:lnTo>
                      <a:pt x="346" y="104"/>
                    </a:lnTo>
                    <a:lnTo>
                      <a:pt x="350" y="104"/>
                    </a:lnTo>
                    <a:lnTo>
                      <a:pt x="350" y="100"/>
                    </a:lnTo>
                    <a:lnTo>
                      <a:pt x="350" y="96"/>
                    </a:lnTo>
                    <a:lnTo>
                      <a:pt x="350" y="92"/>
                    </a:lnTo>
                    <a:lnTo>
                      <a:pt x="354" y="92"/>
                    </a:lnTo>
                    <a:lnTo>
                      <a:pt x="350" y="92"/>
                    </a:lnTo>
                    <a:lnTo>
                      <a:pt x="350" y="90"/>
                    </a:lnTo>
                    <a:lnTo>
                      <a:pt x="354" y="90"/>
                    </a:lnTo>
                    <a:lnTo>
                      <a:pt x="354" y="86"/>
                    </a:lnTo>
                    <a:lnTo>
                      <a:pt x="358" y="86"/>
                    </a:lnTo>
                    <a:lnTo>
                      <a:pt x="358" y="90"/>
                    </a:lnTo>
                    <a:lnTo>
                      <a:pt x="360" y="90"/>
                    </a:lnTo>
                    <a:lnTo>
                      <a:pt x="360" y="86"/>
                    </a:lnTo>
                    <a:lnTo>
                      <a:pt x="364" y="82"/>
                    </a:lnTo>
                    <a:lnTo>
                      <a:pt x="360" y="82"/>
                    </a:lnTo>
                    <a:lnTo>
                      <a:pt x="364" y="78"/>
                    </a:lnTo>
                    <a:lnTo>
                      <a:pt x="368" y="78"/>
                    </a:lnTo>
                    <a:lnTo>
                      <a:pt x="368" y="82"/>
                    </a:lnTo>
                    <a:lnTo>
                      <a:pt x="372" y="82"/>
                    </a:lnTo>
                    <a:lnTo>
                      <a:pt x="372" y="86"/>
                    </a:lnTo>
                    <a:lnTo>
                      <a:pt x="374" y="86"/>
                    </a:lnTo>
                    <a:lnTo>
                      <a:pt x="378" y="82"/>
                    </a:lnTo>
                    <a:lnTo>
                      <a:pt x="378" y="86"/>
                    </a:lnTo>
                    <a:lnTo>
                      <a:pt x="382" y="86"/>
                    </a:lnTo>
                    <a:lnTo>
                      <a:pt x="386" y="86"/>
                    </a:lnTo>
                    <a:lnTo>
                      <a:pt x="390" y="86"/>
                    </a:lnTo>
                    <a:lnTo>
                      <a:pt x="390" y="90"/>
                    </a:lnTo>
                    <a:lnTo>
                      <a:pt x="394" y="86"/>
                    </a:lnTo>
                    <a:lnTo>
                      <a:pt x="398" y="86"/>
                    </a:lnTo>
                    <a:lnTo>
                      <a:pt x="402" y="86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4" y="90"/>
                    </a:lnTo>
                    <a:lnTo>
                      <a:pt x="408" y="86"/>
                    </a:lnTo>
                    <a:lnTo>
                      <a:pt x="412" y="86"/>
                    </a:lnTo>
                    <a:lnTo>
                      <a:pt x="412" y="82"/>
                    </a:lnTo>
                    <a:lnTo>
                      <a:pt x="416" y="82"/>
                    </a:lnTo>
                    <a:lnTo>
                      <a:pt x="416" y="78"/>
                    </a:lnTo>
                    <a:lnTo>
                      <a:pt x="420" y="78"/>
                    </a:lnTo>
                    <a:lnTo>
                      <a:pt x="420" y="74"/>
                    </a:lnTo>
                    <a:lnTo>
                      <a:pt x="424" y="74"/>
                    </a:lnTo>
                    <a:lnTo>
                      <a:pt x="424" y="78"/>
                    </a:lnTo>
                    <a:lnTo>
                      <a:pt x="424" y="82"/>
                    </a:lnTo>
                    <a:lnTo>
                      <a:pt x="420" y="82"/>
                    </a:lnTo>
                    <a:lnTo>
                      <a:pt x="420" y="86"/>
                    </a:lnTo>
                    <a:lnTo>
                      <a:pt x="416" y="90"/>
                    </a:lnTo>
                    <a:lnTo>
                      <a:pt x="416" y="92"/>
                    </a:lnTo>
                    <a:lnTo>
                      <a:pt x="412" y="92"/>
                    </a:lnTo>
                    <a:lnTo>
                      <a:pt x="412" y="96"/>
                    </a:lnTo>
                    <a:lnTo>
                      <a:pt x="408" y="96"/>
                    </a:lnTo>
                    <a:lnTo>
                      <a:pt x="404" y="96"/>
                    </a:lnTo>
                    <a:lnTo>
                      <a:pt x="402" y="96"/>
                    </a:lnTo>
                    <a:lnTo>
                      <a:pt x="398" y="96"/>
                    </a:lnTo>
                    <a:lnTo>
                      <a:pt x="394" y="96"/>
                    </a:lnTo>
                    <a:lnTo>
                      <a:pt x="394" y="92"/>
                    </a:lnTo>
                    <a:lnTo>
                      <a:pt x="390" y="92"/>
                    </a:lnTo>
                    <a:lnTo>
                      <a:pt x="386" y="92"/>
                    </a:lnTo>
                    <a:lnTo>
                      <a:pt x="382" y="92"/>
                    </a:lnTo>
                    <a:lnTo>
                      <a:pt x="378" y="92"/>
                    </a:lnTo>
                    <a:lnTo>
                      <a:pt x="378" y="96"/>
                    </a:lnTo>
                    <a:lnTo>
                      <a:pt x="374" y="96"/>
                    </a:lnTo>
                    <a:lnTo>
                      <a:pt x="374" y="92"/>
                    </a:lnTo>
                    <a:lnTo>
                      <a:pt x="372" y="92"/>
                    </a:lnTo>
                    <a:lnTo>
                      <a:pt x="368" y="92"/>
                    </a:lnTo>
                    <a:lnTo>
                      <a:pt x="368" y="96"/>
                    </a:lnTo>
                    <a:lnTo>
                      <a:pt x="364" y="96"/>
                    </a:lnTo>
                    <a:lnTo>
                      <a:pt x="364" y="92"/>
                    </a:lnTo>
                    <a:lnTo>
                      <a:pt x="360" y="92"/>
                    </a:lnTo>
                    <a:lnTo>
                      <a:pt x="358" y="92"/>
                    </a:lnTo>
                    <a:lnTo>
                      <a:pt x="358" y="96"/>
                    </a:lnTo>
                    <a:lnTo>
                      <a:pt x="354" y="96"/>
                    </a:lnTo>
                    <a:lnTo>
                      <a:pt x="354" y="100"/>
                    </a:lnTo>
                    <a:lnTo>
                      <a:pt x="354" y="104"/>
                    </a:lnTo>
                    <a:lnTo>
                      <a:pt x="350" y="104"/>
                    </a:lnTo>
                    <a:lnTo>
                      <a:pt x="350" y="108"/>
                    </a:lnTo>
                    <a:lnTo>
                      <a:pt x="354" y="112"/>
                    </a:lnTo>
                    <a:lnTo>
                      <a:pt x="354" y="116"/>
                    </a:lnTo>
                    <a:lnTo>
                      <a:pt x="354" y="120"/>
                    </a:lnTo>
                    <a:lnTo>
                      <a:pt x="358" y="120"/>
                    </a:lnTo>
                    <a:lnTo>
                      <a:pt x="360" y="120"/>
                    </a:lnTo>
                    <a:lnTo>
                      <a:pt x="360" y="122"/>
                    </a:lnTo>
                    <a:lnTo>
                      <a:pt x="360" y="126"/>
                    </a:lnTo>
                    <a:lnTo>
                      <a:pt x="364" y="126"/>
                    </a:lnTo>
                    <a:lnTo>
                      <a:pt x="368" y="126"/>
                    </a:lnTo>
                    <a:lnTo>
                      <a:pt x="368" y="122"/>
                    </a:lnTo>
                    <a:lnTo>
                      <a:pt x="372" y="120"/>
                    </a:lnTo>
                    <a:lnTo>
                      <a:pt x="372" y="116"/>
                    </a:lnTo>
                    <a:lnTo>
                      <a:pt x="374" y="116"/>
                    </a:lnTo>
                    <a:lnTo>
                      <a:pt x="374" y="120"/>
                    </a:lnTo>
                    <a:lnTo>
                      <a:pt x="378" y="120"/>
                    </a:lnTo>
                    <a:lnTo>
                      <a:pt x="382" y="120"/>
                    </a:lnTo>
                    <a:lnTo>
                      <a:pt x="382" y="116"/>
                    </a:lnTo>
                    <a:lnTo>
                      <a:pt x="386" y="116"/>
                    </a:lnTo>
                    <a:lnTo>
                      <a:pt x="390" y="116"/>
                    </a:lnTo>
                    <a:lnTo>
                      <a:pt x="394" y="116"/>
                    </a:lnTo>
                    <a:lnTo>
                      <a:pt x="390" y="116"/>
                    </a:lnTo>
                    <a:lnTo>
                      <a:pt x="390" y="112"/>
                    </a:lnTo>
                    <a:lnTo>
                      <a:pt x="394" y="112"/>
                    </a:lnTo>
                    <a:lnTo>
                      <a:pt x="398" y="112"/>
                    </a:lnTo>
                    <a:lnTo>
                      <a:pt x="398" y="116"/>
                    </a:lnTo>
                    <a:lnTo>
                      <a:pt x="398" y="120"/>
                    </a:lnTo>
                    <a:lnTo>
                      <a:pt x="398" y="120"/>
                    </a:lnTo>
                    <a:lnTo>
                      <a:pt x="398" y="120"/>
                    </a:lnTo>
                    <a:close/>
                    <a:moveTo>
                      <a:pt x="104" y="78"/>
                    </a:moveTo>
                    <a:lnTo>
                      <a:pt x="104" y="82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96" y="78"/>
                    </a:lnTo>
                    <a:lnTo>
                      <a:pt x="96" y="74"/>
                    </a:lnTo>
                    <a:lnTo>
                      <a:pt x="100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close/>
                    <a:moveTo>
                      <a:pt x="36" y="92"/>
                    </a:moveTo>
                    <a:lnTo>
                      <a:pt x="36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6" y="82"/>
                    </a:lnTo>
                    <a:lnTo>
                      <a:pt x="40" y="86"/>
                    </a:lnTo>
                    <a:lnTo>
                      <a:pt x="36" y="90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close/>
                    <a:moveTo>
                      <a:pt x="104" y="82"/>
                    </a:moveTo>
                    <a:lnTo>
                      <a:pt x="104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close/>
                    <a:moveTo>
                      <a:pt x="134" y="86"/>
                    </a:moveTo>
                    <a:lnTo>
                      <a:pt x="134" y="90"/>
                    </a:lnTo>
                    <a:lnTo>
                      <a:pt x="134" y="86"/>
                    </a:lnTo>
                    <a:lnTo>
                      <a:pt x="130" y="86"/>
                    </a:lnTo>
                    <a:lnTo>
                      <a:pt x="130" y="82"/>
                    </a:lnTo>
                    <a:lnTo>
                      <a:pt x="134" y="82"/>
                    </a:lnTo>
                    <a:lnTo>
                      <a:pt x="134" y="86"/>
                    </a:lnTo>
                    <a:lnTo>
                      <a:pt x="134" y="86"/>
                    </a:lnTo>
                    <a:lnTo>
                      <a:pt x="134" y="86"/>
                    </a:lnTo>
                    <a:close/>
                    <a:moveTo>
                      <a:pt x="126" y="82"/>
                    </a:moveTo>
                    <a:lnTo>
                      <a:pt x="126" y="86"/>
                    </a:lnTo>
                    <a:lnTo>
                      <a:pt x="122" y="86"/>
                    </a:lnTo>
                    <a:lnTo>
                      <a:pt x="122" y="82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6" y="82"/>
                    </a:lnTo>
                    <a:close/>
                    <a:moveTo>
                      <a:pt x="110" y="90"/>
                    </a:move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6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0" y="90"/>
                    </a:moveTo>
                    <a:lnTo>
                      <a:pt x="106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4" y="82"/>
                    </a:lnTo>
                    <a:lnTo>
                      <a:pt x="104" y="86"/>
                    </a:lnTo>
                    <a:lnTo>
                      <a:pt x="106" y="86"/>
                    </a:lnTo>
                    <a:lnTo>
                      <a:pt x="110" y="86"/>
                    </a:lnTo>
                    <a:lnTo>
                      <a:pt x="110" y="90"/>
                    </a:lnTo>
                    <a:lnTo>
                      <a:pt x="110" y="90"/>
                    </a:lnTo>
                    <a:lnTo>
                      <a:pt x="110" y="90"/>
                    </a:lnTo>
                    <a:close/>
                    <a:moveTo>
                      <a:pt x="118" y="86"/>
                    </a:moveTo>
                    <a:lnTo>
                      <a:pt x="114" y="86"/>
                    </a:lnTo>
                    <a:lnTo>
                      <a:pt x="114" y="82"/>
                    </a:lnTo>
                    <a:lnTo>
                      <a:pt x="114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close/>
                    <a:moveTo>
                      <a:pt x="126" y="90"/>
                    </a:moveTo>
                    <a:lnTo>
                      <a:pt x="126" y="86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6" y="90"/>
                    </a:lnTo>
                    <a:lnTo>
                      <a:pt x="126" y="90"/>
                    </a:lnTo>
                    <a:close/>
                    <a:moveTo>
                      <a:pt x="118" y="90"/>
                    </a:moveTo>
                    <a:lnTo>
                      <a:pt x="118" y="92"/>
                    </a:lnTo>
                    <a:lnTo>
                      <a:pt x="114" y="92"/>
                    </a:lnTo>
                    <a:lnTo>
                      <a:pt x="114" y="90"/>
                    </a:lnTo>
                    <a:lnTo>
                      <a:pt x="114" y="86"/>
                    </a:lnTo>
                    <a:lnTo>
                      <a:pt x="114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close/>
                    <a:moveTo>
                      <a:pt x="134" y="100"/>
                    </a:moveTo>
                    <a:lnTo>
                      <a:pt x="134" y="96"/>
                    </a:lnTo>
                    <a:lnTo>
                      <a:pt x="134" y="100"/>
                    </a:lnTo>
                    <a:lnTo>
                      <a:pt x="134" y="100"/>
                    </a:lnTo>
                    <a:lnTo>
                      <a:pt x="134" y="100"/>
                    </a:lnTo>
                    <a:close/>
                    <a:moveTo>
                      <a:pt x="50" y="100"/>
                    </a:moveTo>
                    <a:lnTo>
                      <a:pt x="48" y="100"/>
                    </a:lnTo>
                    <a:lnTo>
                      <a:pt x="50" y="100"/>
                    </a:lnTo>
                    <a:lnTo>
                      <a:pt x="50" y="100"/>
                    </a:lnTo>
                    <a:lnTo>
                      <a:pt x="50" y="100"/>
                    </a:lnTo>
                    <a:close/>
                    <a:moveTo>
                      <a:pt x="136" y="108"/>
                    </a:moveTo>
                    <a:lnTo>
                      <a:pt x="134" y="108"/>
                    </a:lnTo>
                    <a:lnTo>
                      <a:pt x="134" y="104"/>
                    </a:lnTo>
                    <a:lnTo>
                      <a:pt x="134" y="108"/>
                    </a:lnTo>
                    <a:lnTo>
                      <a:pt x="130" y="108"/>
                    </a:lnTo>
                    <a:lnTo>
                      <a:pt x="130" y="104"/>
                    </a:lnTo>
                    <a:lnTo>
                      <a:pt x="134" y="104"/>
                    </a:lnTo>
                    <a:lnTo>
                      <a:pt x="134" y="100"/>
                    </a:lnTo>
                    <a:lnTo>
                      <a:pt x="134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08"/>
                    </a:lnTo>
                    <a:close/>
                    <a:moveTo>
                      <a:pt x="48" y="108"/>
                    </a:moveTo>
                    <a:lnTo>
                      <a:pt x="44" y="104"/>
                    </a:lnTo>
                    <a:lnTo>
                      <a:pt x="44" y="100"/>
                    </a:lnTo>
                    <a:lnTo>
                      <a:pt x="44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close/>
                    <a:moveTo>
                      <a:pt x="502" y="112"/>
                    </a:moveTo>
                    <a:lnTo>
                      <a:pt x="502" y="108"/>
                    </a:lnTo>
                    <a:lnTo>
                      <a:pt x="498" y="108"/>
                    </a:lnTo>
                    <a:lnTo>
                      <a:pt x="494" y="108"/>
                    </a:lnTo>
                    <a:lnTo>
                      <a:pt x="494" y="104"/>
                    </a:lnTo>
                    <a:lnTo>
                      <a:pt x="498" y="108"/>
                    </a:lnTo>
                    <a:lnTo>
                      <a:pt x="498" y="104"/>
                    </a:lnTo>
                    <a:lnTo>
                      <a:pt x="494" y="104"/>
                    </a:lnTo>
                    <a:lnTo>
                      <a:pt x="498" y="104"/>
                    </a:lnTo>
                    <a:lnTo>
                      <a:pt x="502" y="104"/>
                    </a:lnTo>
                    <a:lnTo>
                      <a:pt x="506" y="104"/>
                    </a:lnTo>
                    <a:lnTo>
                      <a:pt x="510" y="104"/>
                    </a:lnTo>
                    <a:lnTo>
                      <a:pt x="510" y="108"/>
                    </a:lnTo>
                    <a:lnTo>
                      <a:pt x="506" y="108"/>
                    </a:lnTo>
                    <a:lnTo>
                      <a:pt x="502" y="104"/>
                    </a:lnTo>
                    <a:lnTo>
                      <a:pt x="502" y="108"/>
                    </a:lnTo>
                    <a:lnTo>
                      <a:pt x="506" y="108"/>
                    </a:lnTo>
                    <a:lnTo>
                      <a:pt x="506" y="112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2" y="112"/>
                    </a:lnTo>
                    <a:close/>
                    <a:moveTo>
                      <a:pt x="48" y="112"/>
                    </a:moveTo>
                    <a:lnTo>
                      <a:pt x="44" y="112"/>
                    </a:lnTo>
                    <a:lnTo>
                      <a:pt x="44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close/>
                    <a:moveTo>
                      <a:pt x="458" y="108"/>
                    </a:moveTo>
                    <a:lnTo>
                      <a:pt x="460" y="112"/>
                    </a:lnTo>
                    <a:lnTo>
                      <a:pt x="458" y="112"/>
                    </a:lnTo>
                    <a:lnTo>
                      <a:pt x="458" y="116"/>
                    </a:lnTo>
                    <a:lnTo>
                      <a:pt x="460" y="116"/>
                    </a:lnTo>
                    <a:lnTo>
                      <a:pt x="460" y="120"/>
                    </a:lnTo>
                    <a:lnTo>
                      <a:pt x="460" y="116"/>
                    </a:lnTo>
                    <a:lnTo>
                      <a:pt x="458" y="116"/>
                    </a:lnTo>
                    <a:lnTo>
                      <a:pt x="454" y="112"/>
                    </a:lnTo>
                    <a:lnTo>
                      <a:pt x="454" y="108"/>
                    </a:lnTo>
                    <a:lnTo>
                      <a:pt x="458" y="108"/>
                    </a:lnTo>
                    <a:lnTo>
                      <a:pt x="458" y="108"/>
                    </a:lnTo>
                    <a:lnTo>
                      <a:pt x="458" y="108"/>
                    </a:lnTo>
                    <a:close/>
                    <a:moveTo>
                      <a:pt x="134" y="108"/>
                    </a:moveTo>
                    <a:lnTo>
                      <a:pt x="134" y="112"/>
                    </a:lnTo>
                    <a:lnTo>
                      <a:pt x="130" y="112"/>
                    </a:lnTo>
                    <a:lnTo>
                      <a:pt x="130" y="108"/>
                    </a:lnTo>
                    <a:lnTo>
                      <a:pt x="134" y="108"/>
                    </a:lnTo>
                    <a:lnTo>
                      <a:pt x="134" y="108"/>
                    </a:lnTo>
                    <a:lnTo>
                      <a:pt x="134" y="108"/>
                    </a:lnTo>
                    <a:close/>
                    <a:moveTo>
                      <a:pt x="622" y="226"/>
                    </a:moveTo>
                    <a:lnTo>
                      <a:pt x="622" y="222"/>
                    </a:lnTo>
                    <a:lnTo>
                      <a:pt x="622" y="226"/>
                    </a:lnTo>
                    <a:lnTo>
                      <a:pt x="618" y="222"/>
                    </a:lnTo>
                    <a:lnTo>
                      <a:pt x="614" y="220"/>
                    </a:lnTo>
                    <a:lnTo>
                      <a:pt x="618" y="220"/>
                    </a:lnTo>
                    <a:lnTo>
                      <a:pt x="622" y="220"/>
                    </a:lnTo>
                    <a:lnTo>
                      <a:pt x="622" y="222"/>
                    </a:lnTo>
                    <a:lnTo>
                      <a:pt x="622" y="220"/>
                    </a:lnTo>
                    <a:lnTo>
                      <a:pt x="618" y="220"/>
                    </a:lnTo>
                    <a:lnTo>
                      <a:pt x="614" y="216"/>
                    </a:lnTo>
                    <a:lnTo>
                      <a:pt x="614" y="212"/>
                    </a:lnTo>
                    <a:lnTo>
                      <a:pt x="610" y="212"/>
                    </a:lnTo>
                    <a:lnTo>
                      <a:pt x="610" y="208"/>
                    </a:lnTo>
                    <a:lnTo>
                      <a:pt x="610" y="204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10" y="200"/>
                    </a:lnTo>
                    <a:lnTo>
                      <a:pt x="610" y="196"/>
                    </a:lnTo>
                    <a:lnTo>
                      <a:pt x="610" y="200"/>
                    </a:lnTo>
                    <a:lnTo>
                      <a:pt x="606" y="200"/>
                    </a:lnTo>
                    <a:lnTo>
                      <a:pt x="606" y="196"/>
                    </a:lnTo>
                    <a:lnTo>
                      <a:pt x="606" y="194"/>
                    </a:lnTo>
                    <a:lnTo>
                      <a:pt x="606" y="196"/>
                    </a:lnTo>
                    <a:lnTo>
                      <a:pt x="602" y="194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592" y="186"/>
                    </a:lnTo>
                    <a:lnTo>
                      <a:pt x="588" y="186"/>
                    </a:lnTo>
                    <a:lnTo>
                      <a:pt x="584" y="182"/>
                    </a:lnTo>
                    <a:lnTo>
                      <a:pt x="580" y="182"/>
                    </a:lnTo>
                    <a:lnTo>
                      <a:pt x="576" y="182"/>
                    </a:lnTo>
                    <a:lnTo>
                      <a:pt x="576" y="178"/>
                    </a:lnTo>
                    <a:lnTo>
                      <a:pt x="572" y="178"/>
                    </a:lnTo>
                    <a:lnTo>
                      <a:pt x="570" y="178"/>
                    </a:lnTo>
                    <a:lnTo>
                      <a:pt x="566" y="178"/>
                    </a:lnTo>
                    <a:lnTo>
                      <a:pt x="562" y="174"/>
                    </a:lnTo>
                    <a:lnTo>
                      <a:pt x="558" y="174"/>
                    </a:lnTo>
                    <a:lnTo>
                      <a:pt x="558" y="170"/>
                    </a:lnTo>
                    <a:lnTo>
                      <a:pt x="562" y="170"/>
                    </a:lnTo>
                    <a:lnTo>
                      <a:pt x="558" y="166"/>
                    </a:lnTo>
                    <a:lnTo>
                      <a:pt x="558" y="170"/>
                    </a:lnTo>
                    <a:lnTo>
                      <a:pt x="554" y="170"/>
                    </a:lnTo>
                    <a:lnTo>
                      <a:pt x="554" y="166"/>
                    </a:lnTo>
                    <a:lnTo>
                      <a:pt x="554" y="170"/>
                    </a:lnTo>
                    <a:lnTo>
                      <a:pt x="550" y="170"/>
                    </a:lnTo>
                    <a:lnTo>
                      <a:pt x="550" y="166"/>
                    </a:lnTo>
                    <a:lnTo>
                      <a:pt x="546" y="166"/>
                    </a:lnTo>
                    <a:lnTo>
                      <a:pt x="546" y="164"/>
                    </a:lnTo>
                    <a:lnTo>
                      <a:pt x="544" y="164"/>
                    </a:lnTo>
                    <a:lnTo>
                      <a:pt x="544" y="160"/>
                    </a:lnTo>
                    <a:lnTo>
                      <a:pt x="544" y="156"/>
                    </a:lnTo>
                    <a:lnTo>
                      <a:pt x="546" y="156"/>
                    </a:lnTo>
                    <a:lnTo>
                      <a:pt x="546" y="152"/>
                    </a:lnTo>
                    <a:lnTo>
                      <a:pt x="544" y="152"/>
                    </a:lnTo>
                    <a:lnTo>
                      <a:pt x="544" y="156"/>
                    </a:lnTo>
                    <a:lnTo>
                      <a:pt x="544" y="160"/>
                    </a:lnTo>
                    <a:lnTo>
                      <a:pt x="544" y="164"/>
                    </a:lnTo>
                    <a:lnTo>
                      <a:pt x="540" y="166"/>
                    </a:lnTo>
                    <a:lnTo>
                      <a:pt x="540" y="170"/>
                    </a:lnTo>
                    <a:lnTo>
                      <a:pt x="536" y="170"/>
                    </a:lnTo>
                    <a:lnTo>
                      <a:pt x="532" y="170"/>
                    </a:lnTo>
                    <a:lnTo>
                      <a:pt x="532" y="166"/>
                    </a:lnTo>
                    <a:lnTo>
                      <a:pt x="532" y="164"/>
                    </a:lnTo>
                    <a:lnTo>
                      <a:pt x="532" y="160"/>
                    </a:lnTo>
                    <a:lnTo>
                      <a:pt x="532" y="156"/>
                    </a:lnTo>
                    <a:lnTo>
                      <a:pt x="532" y="160"/>
                    </a:lnTo>
                    <a:lnTo>
                      <a:pt x="528" y="160"/>
                    </a:lnTo>
                    <a:lnTo>
                      <a:pt x="528" y="156"/>
                    </a:lnTo>
                    <a:lnTo>
                      <a:pt x="528" y="152"/>
                    </a:lnTo>
                    <a:lnTo>
                      <a:pt x="524" y="152"/>
                    </a:lnTo>
                    <a:lnTo>
                      <a:pt x="520" y="152"/>
                    </a:lnTo>
                    <a:lnTo>
                      <a:pt x="520" y="150"/>
                    </a:lnTo>
                    <a:lnTo>
                      <a:pt x="524" y="150"/>
                    </a:lnTo>
                    <a:lnTo>
                      <a:pt x="528" y="150"/>
                    </a:lnTo>
                    <a:lnTo>
                      <a:pt x="532" y="150"/>
                    </a:lnTo>
                    <a:lnTo>
                      <a:pt x="536" y="146"/>
                    </a:lnTo>
                    <a:lnTo>
                      <a:pt x="540" y="146"/>
                    </a:lnTo>
                    <a:lnTo>
                      <a:pt x="544" y="146"/>
                    </a:lnTo>
                    <a:lnTo>
                      <a:pt x="544" y="150"/>
                    </a:ln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50"/>
                    </a:lnTo>
                    <a:lnTo>
                      <a:pt x="546" y="146"/>
                    </a:lnTo>
                    <a:lnTo>
                      <a:pt x="546" y="142"/>
                    </a:lnTo>
                    <a:lnTo>
                      <a:pt x="546" y="138"/>
                    </a:lnTo>
                    <a:lnTo>
                      <a:pt x="544" y="142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2" y="142"/>
                    </a:lnTo>
                    <a:lnTo>
                      <a:pt x="528" y="142"/>
                    </a:lnTo>
                    <a:lnTo>
                      <a:pt x="524" y="142"/>
                    </a:lnTo>
                    <a:lnTo>
                      <a:pt x="524" y="138"/>
                    </a:lnTo>
                    <a:lnTo>
                      <a:pt x="520" y="138"/>
                    </a:lnTo>
                    <a:lnTo>
                      <a:pt x="520" y="134"/>
                    </a:lnTo>
                    <a:lnTo>
                      <a:pt x="520" y="130"/>
                    </a:lnTo>
                    <a:lnTo>
                      <a:pt x="516" y="130"/>
                    </a:lnTo>
                    <a:lnTo>
                      <a:pt x="514" y="126"/>
                    </a:lnTo>
                    <a:lnTo>
                      <a:pt x="510" y="126"/>
                    </a:lnTo>
                    <a:lnTo>
                      <a:pt x="506" y="126"/>
                    </a:lnTo>
                    <a:lnTo>
                      <a:pt x="506" y="122"/>
                    </a:lnTo>
                    <a:lnTo>
                      <a:pt x="510" y="122"/>
                    </a:lnTo>
                    <a:lnTo>
                      <a:pt x="510" y="120"/>
                    </a:lnTo>
                    <a:lnTo>
                      <a:pt x="510" y="116"/>
                    </a:lnTo>
                    <a:lnTo>
                      <a:pt x="514" y="116"/>
                    </a:lnTo>
                    <a:lnTo>
                      <a:pt x="516" y="116"/>
                    </a:lnTo>
                    <a:lnTo>
                      <a:pt x="520" y="116"/>
                    </a:lnTo>
                    <a:lnTo>
                      <a:pt x="520" y="112"/>
                    </a:lnTo>
                    <a:lnTo>
                      <a:pt x="524" y="108"/>
                    </a:lnTo>
                    <a:lnTo>
                      <a:pt x="528" y="108"/>
                    </a:lnTo>
                    <a:lnTo>
                      <a:pt x="532" y="108"/>
                    </a:lnTo>
                    <a:lnTo>
                      <a:pt x="532" y="112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0" y="116"/>
                    </a:lnTo>
                    <a:lnTo>
                      <a:pt x="544" y="116"/>
                    </a:lnTo>
                    <a:lnTo>
                      <a:pt x="546" y="116"/>
                    </a:lnTo>
                    <a:lnTo>
                      <a:pt x="550" y="116"/>
                    </a:lnTo>
                    <a:lnTo>
                      <a:pt x="550" y="120"/>
                    </a:lnTo>
                    <a:lnTo>
                      <a:pt x="550" y="122"/>
                    </a:lnTo>
                    <a:lnTo>
                      <a:pt x="554" y="126"/>
                    </a:lnTo>
                    <a:lnTo>
                      <a:pt x="550" y="126"/>
                    </a:lnTo>
                    <a:lnTo>
                      <a:pt x="550" y="130"/>
                    </a:lnTo>
                    <a:lnTo>
                      <a:pt x="550" y="134"/>
                    </a:lnTo>
                    <a:lnTo>
                      <a:pt x="550" y="138"/>
                    </a:lnTo>
                    <a:lnTo>
                      <a:pt x="550" y="142"/>
                    </a:lnTo>
                    <a:lnTo>
                      <a:pt x="550" y="146"/>
                    </a:lnTo>
                    <a:lnTo>
                      <a:pt x="554" y="146"/>
                    </a:lnTo>
                    <a:lnTo>
                      <a:pt x="554" y="150"/>
                    </a:lnTo>
                    <a:lnTo>
                      <a:pt x="554" y="152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8" y="152"/>
                    </a:lnTo>
                    <a:lnTo>
                      <a:pt x="562" y="152"/>
                    </a:lnTo>
                    <a:lnTo>
                      <a:pt x="562" y="156"/>
                    </a:lnTo>
                    <a:lnTo>
                      <a:pt x="562" y="160"/>
                    </a:lnTo>
                    <a:lnTo>
                      <a:pt x="566" y="160"/>
                    </a:lnTo>
                    <a:lnTo>
                      <a:pt x="570" y="160"/>
                    </a:lnTo>
                    <a:lnTo>
                      <a:pt x="570" y="156"/>
                    </a:lnTo>
                    <a:lnTo>
                      <a:pt x="572" y="156"/>
                    </a:lnTo>
                    <a:lnTo>
                      <a:pt x="572" y="152"/>
                    </a:lnTo>
                    <a:lnTo>
                      <a:pt x="576" y="152"/>
                    </a:lnTo>
                    <a:lnTo>
                      <a:pt x="576" y="150"/>
                    </a:lnTo>
                    <a:lnTo>
                      <a:pt x="580" y="150"/>
                    </a:lnTo>
                    <a:lnTo>
                      <a:pt x="580" y="146"/>
                    </a:lnTo>
                    <a:lnTo>
                      <a:pt x="580" y="142"/>
                    </a:lnTo>
                    <a:lnTo>
                      <a:pt x="584" y="142"/>
                    </a:lnTo>
                    <a:lnTo>
                      <a:pt x="588" y="142"/>
                    </a:lnTo>
                    <a:lnTo>
                      <a:pt x="592" y="138"/>
                    </a:lnTo>
                    <a:lnTo>
                      <a:pt x="596" y="138"/>
                    </a:lnTo>
                    <a:lnTo>
                      <a:pt x="596" y="134"/>
                    </a:lnTo>
                    <a:lnTo>
                      <a:pt x="592" y="134"/>
                    </a:lnTo>
                    <a:lnTo>
                      <a:pt x="596" y="134"/>
                    </a:lnTo>
                    <a:lnTo>
                      <a:pt x="596" y="130"/>
                    </a:lnTo>
                    <a:lnTo>
                      <a:pt x="600" y="130"/>
                    </a:lnTo>
                    <a:lnTo>
                      <a:pt x="602" y="126"/>
                    </a:lnTo>
                    <a:lnTo>
                      <a:pt x="606" y="126"/>
                    </a:lnTo>
                    <a:lnTo>
                      <a:pt x="606" y="130"/>
                    </a:lnTo>
                    <a:lnTo>
                      <a:pt x="610" y="130"/>
                    </a:lnTo>
                    <a:lnTo>
                      <a:pt x="614" y="134"/>
                    </a:lnTo>
                    <a:lnTo>
                      <a:pt x="618" y="134"/>
                    </a:lnTo>
                    <a:lnTo>
                      <a:pt x="618" y="138"/>
                    </a:lnTo>
                    <a:lnTo>
                      <a:pt x="622" y="138"/>
                    </a:lnTo>
                    <a:lnTo>
                      <a:pt x="626" y="138"/>
                    </a:lnTo>
                    <a:lnTo>
                      <a:pt x="626" y="142"/>
                    </a:lnTo>
                    <a:lnTo>
                      <a:pt x="628" y="142"/>
                    </a:lnTo>
                    <a:lnTo>
                      <a:pt x="632" y="142"/>
                    </a:lnTo>
                    <a:lnTo>
                      <a:pt x="636" y="142"/>
                    </a:lnTo>
                    <a:lnTo>
                      <a:pt x="636" y="146"/>
                    </a:lnTo>
                    <a:lnTo>
                      <a:pt x="640" y="146"/>
                    </a:lnTo>
                    <a:lnTo>
                      <a:pt x="644" y="146"/>
                    </a:lnTo>
                    <a:lnTo>
                      <a:pt x="644" y="150"/>
                    </a:lnTo>
                    <a:lnTo>
                      <a:pt x="644" y="146"/>
                    </a:lnTo>
                    <a:lnTo>
                      <a:pt x="648" y="146"/>
                    </a:lnTo>
                    <a:lnTo>
                      <a:pt x="648" y="186"/>
                    </a:lnTo>
                    <a:lnTo>
                      <a:pt x="648" y="204"/>
                    </a:lnTo>
                    <a:lnTo>
                      <a:pt x="648" y="212"/>
                    </a:lnTo>
                    <a:lnTo>
                      <a:pt x="648" y="216"/>
                    </a:lnTo>
                    <a:lnTo>
                      <a:pt x="648" y="220"/>
                    </a:lnTo>
                    <a:lnTo>
                      <a:pt x="648" y="256"/>
                    </a:lnTo>
                    <a:lnTo>
                      <a:pt x="644" y="256"/>
                    </a:lnTo>
                    <a:lnTo>
                      <a:pt x="644" y="252"/>
                    </a:lnTo>
                    <a:lnTo>
                      <a:pt x="640" y="250"/>
                    </a:lnTo>
                    <a:lnTo>
                      <a:pt x="640" y="246"/>
                    </a:lnTo>
                    <a:lnTo>
                      <a:pt x="636" y="246"/>
                    </a:lnTo>
                    <a:lnTo>
                      <a:pt x="632" y="242"/>
                    </a:lnTo>
                    <a:lnTo>
                      <a:pt x="636" y="242"/>
                    </a:lnTo>
                    <a:lnTo>
                      <a:pt x="636" y="238"/>
                    </a:lnTo>
                    <a:lnTo>
                      <a:pt x="632" y="238"/>
                    </a:lnTo>
                    <a:lnTo>
                      <a:pt x="632" y="242"/>
                    </a:lnTo>
                    <a:lnTo>
                      <a:pt x="628" y="242"/>
                    </a:lnTo>
                    <a:lnTo>
                      <a:pt x="626" y="242"/>
                    </a:lnTo>
                    <a:lnTo>
                      <a:pt x="622" y="242"/>
                    </a:lnTo>
                    <a:lnTo>
                      <a:pt x="618" y="242"/>
                    </a:lnTo>
                    <a:lnTo>
                      <a:pt x="618" y="246"/>
                    </a:lnTo>
                    <a:lnTo>
                      <a:pt x="618" y="242"/>
                    </a:lnTo>
                    <a:lnTo>
                      <a:pt x="618" y="238"/>
                    </a:lnTo>
                    <a:lnTo>
                      <a:pt x="622" y="234"/>
                    </a:lnTo>
                    <a:lnTo>
                      <a:pt x="618" y="234"/>
                    </a:lnTo>
                    <a:lnTo>
                      <a:pt x="622" y="234"/>
                    </a:lnTo>
                    <a:lnTo>
                      <a:pt x="622" y="230"/>
                    </a:lnTo>
                    <a:lnTo>
                      <a:pt x="618" y="230"/>
                    </a:lnTo>
                    <a:lnTo>
                      <a:pt x="618" y="226"/>
                    </a:lnTo>
                    <a:lnTo>
                      <a:pt x="614" y="226"/>
                    </a:lnTo>
                    <a:lnTo>
                      <a:pt x="614" y="222"/>
                    </a:lnTo>
                    <a:lnTo>
                      <a:pt x="618" y="226"/>
                    </a:lnTo>
                    <a:lnTo>
                      <a:pt x="622" y="226"/>
                    </a:lnTo>
                    <a:lnTo>
                      <a:pt x="622" y="226"/>
                    </a:lnTo>
                    <a:lnTo>
                      <a:pt x="622" y="226"/>
                    </a:lnTo>
                    <a:close/>
                    <a:moveTo>
                      <a:pt x="502" y="108"/>
                    </a:moveTo>
                    <a:lnTo>
                      <a:pt x="502" y="112"/>
                    </a:lnTo>
                    <a:lnTo>
                      <a:pt x="498" y="112"/>
                    </a:lnTo>
                    <a:lnTo>
                      <a:pt x="502" y="108"/>
                    </a:lnTo>
                    <a:lnTo>
                      <a:pt x="502" y="108"/>
                    </a:lnTo>
                    <a:lnTo>
                      <a:pt x="502" y="108"/>
                    </a:lnTo>
                    <a:close/>
                    <a:moveTo>
                      <a:pt x="570" y="116"/>
                    </a:moveTo>
                    <a:lnTo>
                      <a:pt x="572" y="116"/>
                    </a:lnTo>
                    <a:lnTo>
                      <a:pt x="576" y="116"/>
                    </a:lnTo>
                    <a:lnTo>
                      <a:pt x="576" y="120"/>
                    </a:lnTo>
                    <a:lnTo>
                      <a:pt x="580" y="120"/>
                    </a:lnTo>
                    <a:lnTo>
                      <a:pt x="580" y="122"/>
                    </a:lnTo>
                    <a:lnTo>
                      <a:pt x="584" y="122"/>
                    </a:lnTo>
                    <a:lnTo>
                      <a:pt x="580" y="122"/>
                    </a:lnTo>
                    <a:lnTo>
                      <a:pt x="576" y="122"/>
                    </a:lnTo>
                    <a:lnTo>
                      <a:pt x="572" y="122"/>
                    </a:lnTo>
                    <a:lnTo>
                      <a:pt x="572" y="120"/>
                    </a:lnTo>
                    <a:lnTo>
                      <a:pt x="572" y="116"/>
                    </a:lnTo>
                    <a:lnTo>
                      <a:pt x="570" y="116"/>
                    </a:lnTo>
                    <a:lnTo>
                      <a:pt x="570" y="112"/>
                    </a:lnTo>
                    <a:lnTo>
                      <a:pt x="570" y="116"/>
                    </a:lnTo>
                    <a:lnTo>
                      <a:pt x="570" y="116"/>
                    </a:lnTo>
                    <a:lnTo>
                      <a:pt x="570" y="116"/>
                    </a:lnTo>
                    <a:close/>
                    <a:moveTo>
                      <a:pt x="506" y="116"/>
                    </a:moveTo>
                    <a:lnTo>
                      <a:pt x="502" y="120"/>
                    </a:lnTo>
                    <a:lnTo>
                      <a:pt x="498" y="120"/>
                    </a:lnTo>
                    <a:lnTo>
                      <a:pt x="498" y="116"/>
                    </a:lnTo>
                    <a:lnTo>
                      <a:pt x="502" y="116"/>
                    </a:lnTo>
                    <a:lnTo>
                      <a:pt x="506" y="116"/>
                    </a:lnTo>
                    <a:lnTo>
                      <a:pt x="506" y="116"/>
                    </a:lnTo>
                    <a:lnTo>
                      <a:pt x="506" y="116"/>
                    </a:lnTo>
                    <a:close/>
                    <a:moveTo>
                      <a:pt x="506" y="120"/>
                    </a:moveTo>
                    <a:lnTo>
                      <a:pt x="506" y="122"/>
                    </a:lnTo>
                    <a:lnTo>
                      <a:pt x="506" y="126"/>
                    </a:lnTo>
                    <a:lnTo>
                      <a:pt x="502" y="122"/>
                    </a:lnTo>
                    <a:lnTo>
                      <a:pt x="502" y="120"/>
                    </a:lnTo>
                    <a:lnTo>
                      <a:pt x="506" y="120"/>
                    </a:lnTo>
                    <a:lnTo>
                      <a:pt x="506" y="120"/>
                    </a:lnTo>
                    <a:lnTo>
                      <a:pt x="506" y="120"/>
                    </a:lnTo>
                    <a:close/>
                    <a:moveTo>
                      <a:pt x="58" y="130"/>
                    </a:moveTo>
                    <a:lnTo>
                      <a:pt x="54" y="130"/>
                    </a:lnTo>
                    <a:lnTo>
                      <a:pt x="58" y="130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48" y="122"/>
                    </a:lnTo>
                    <a:lnTo>
                      <a:pt x="48" y="120"/>
                    </a:lnTo>
                    <a:lnTo>
                      <a:pt x="50" y="120"/>
                    </a:lnTo>
                    <a:lnTo>
                      <a:pt x="54" y="122"/>
                    </a:lnTo>
                    <a:lnTo>
                      <a:pt x="54" y="126"/>
                    </a:lnTo>
                    <a:lnTo>
                      <a:pt x="58" y="130"/>
                    </a:lnTo>
                    <a:lnTo>
                      <a:pt x="58" y="130"/>
                    </a:lnTo>
                    <a:lnTo>
                      <a:pt x="58" y="130"/>
                    </a:lnTo>
                    <a:close/>
                    <a:moveTo>
                      <a:pt x="208" y="120"/>
                    </a:moveTo>
                    <a:lnTo>
                      <a:pt x="208" y="122"/>
                    </a:lnTo>
                    <a:lnTo>
                      <a:pt x="204" y="122"/>
                    </a:lnTo>
                    <a:lnTo>
                      <a:pt x="200" y="122"/>
                    </a:lnTo>
                    <a:lnTo>
                      <a:pt x="200" y="120"/>
                    </a:lnTo>
                    <a:lnTo>
                      <a:pt x="204" y="120"/>
                    </a:lnTo>
                    <a:lnTo>
                      <a:pt x="208" y="120"/>
                    </a:lnTo>
                    <a:lnTo>
                      <a:pt x="208" y="120"/>
                    </a:lnTo>
                    <a:lnTo>
                      <a:pt x="208" y="120"/>
                    </a:lnTo>
                    <a:close/>
                    <a:moveTo>
                      <a:pt x="490" y="122"/>
                    </a:moveTo>
                    <a:lnTo>
                      <a:pt x="488" y="122"/>
                    </a:lnTo>
                    <a:lnTo>
                      <a:pt x="490" y="122"/>
                    </a:lnTo>
                    <a:lnTo>
                      <a:pt x="490" y="122"/>
                    </a:lnTo>
                    <a:lnTo>
                      <a:pt x="490" y="122"/>
                    </a:lnTo>
                    <a:close/>
                    <a:moveTo>
                      <a:pt x="402" y="122"/>
                    </a:moveTo>
                    <a:lnTo>
                      <a:pt x="402" y="126"/>
                    </a:lnTo>
                    <a:lnTo>
                      <a:pt x="398" y="126"/>
                    </a:lnTo>
                    <a:lnTo>
                      <a:pt x="398" y="130"/>
                    </a:lnTo>
                    <a:lnTo>
                      <a:pt x="394" y="130"/>
                    </a:lnTo>
                    <a:lnTo>
                      <a:pt x="394" y="126"/>
                    </a:lnTo>
                    <a:lnTo>
                      <a:pt x="394" y="130"/>
                    </a:lnTo>
                    <a:lnTo>
                      <a:pt x="390" y="130"/>
                    </a:lnTo>
                    <a:lnTo>
                      <a:pt x="390" y="126"/>
                    </a:lnTo>
                    <a:lnTo>
                      <a:pt x="390" y="122"/>
                    </a:lnTo>
                    <a:lnTo>
                      <a:pt x="394" y="122"/>
                    </a:lnTo>
                    <a:lnTo>
                      <a:pt x="398" y="122"/>
                    </a:lnTo>
                    <a:lnTo>
                      <a:pt x="398" y="126"/>
                    </a:lnTo>
                    <a:lnTo>
                      <a:pt x="398" y="122"/>
                    </a:lnTo>
                    <a:lnTo>
                      <a:pt x="402" y="122"/>
                    </a:lnTo>
                    <a:lnTo>
                      <a:pt x="402" y="122"/>
                    </a:lnTo>
                    <a:lnTo>
                      <a:pt x="402" y="122"/>
                    </a:lnTo>
                    <a:close/>
                    <a:moveTo>
                      <a:pt x="464" y="130"/>
                    </a:moveTo>
                    <a:lnTo>
                      <a:pt x="460" y="130"/>
                    </a:lnTo>
                    <a:lnTo>
                      <a:pt x="458" y="130"/>
                    </a:lnTo>
                    <a:lnTo>
                      <a:pt x="454" y="130"/>
                    </a:lnTo>
                    <a:lnTo>
                      <a:pt x="454" y="126"/>
                    </a:lnTo>
                    <a:lnTo>
                      <a:pt x="458" y="126"/>
                    </a:lnTo>
                    <a:lnTo>
                      <a:pt x="460" y="126"/>
                    </a:lnTo>
                    <a:lnTo>
                      <a:pt x="464" y="130"/>
                    </a:lnTo>
                    <a:lnTo>
                      <a:pt x="464" y="130"/>
                    </a:lnTo>
                    <a:lnTo>
                      <a:pt x="464" y="130"/>
                    </a:lnTo>
                    <a:close/>
                    <a:moveTo>
                      <a:pt x="160" y="152"/>
                    </a:moveTo>
                    <a:lnTo>
                      <a:pt x="156" y="152"/>
                    </a:lnTo>
                    <a:lnTo>
                      <a:pt x="152" y="150"/>
                    </a:lnTo>
                    <a:lnTo>
                      <a:pt x="152" y="146"/>
                    </a:lnTo>
                    <a:lnTo>
                      <a:pt x="152" y="142"/>
                    </a:lnTo>
                    <a:lnTo>
                      <a:pt x="148" y="138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4" y="134"/>
                    </a:lnTo>
                    <a:lnTo>
                      <a:pt x="144" y="130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48" y="130"/>
                    </a:lnTo>
                    <a:lnTo>
                      <a:pt x="152" y="126"/>
                    </a:lnTo>
                    <a:lnTo>
                      <a:pt x="152" y="130"/>
                    </a:lnTo>
                    <a:lnTo>
                      <a:pt x="156" y="134"/>
                    </a:lnTo>
                    <a:lnTo>
                      <a:pt x="156" y="138"/>
                    </a:lnTo>
                    <a:lnTo>
                      <a:pt x="156" y="142"/>
                    </a:lnTo>
                    <a:lnTo>
                      <a:pt x="156" y="146"/>
                    </a:lnTo>
                    <a:lnTo>
                      <a:pt x="160" y="146"/>
                    </a:lnTo>
                    <a:lnTo>
                      <a:pt x="164" y="146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0" y="156"/>
                    </a:lnTo>
                    <a:lnTo>
                      <a:pt x="160" y="152"/>
                    </a:lnTo>
                    <a:lnTo>
                      <a:pt x="160" y="152"/>
                    </a:lnTo>
                    <a:lnTo>
                      <a:pt x="160" y="152"/>
                    </a:lnTo>
                    <a:close/>
                    <a:moveTo>
                      <a:pt x="192" y="130"/>
                    </a:moveTo>
                    <a:lnTo>
                      <a:pt x="196" y="130"/>
                    </a:lnTo>
                    <a:lnTo>
                      <a:pt x="192" y="130"/>
                    </a:lnTo>
                    <a:lnTo>
                      <a:pt x="192" y="130"/>
                    </a:lnTo>
                    <a:lnTo>
                      <a:pt x="192" y="130"/>
                    </a:lnTo>
                    <a:close/>
                    <a:moveTo>
                      <a:pt x="570" y="130"/>
                    </a:moveTo>
                    <a:lnTo>
                      <a:pt x="572" y="130"/>
                    </a:lnTo>
                    <a:lnTo>
                      <a:pt x="576" y="130"/>
                    </a:lnTo>
                    <a:lnTo>
                      <a:pt x="580" y="130"/>
                    </a:lnTo>
                    <a:lnTo>
                      <a:pt x="584" y="130"/>
                    </a:lnTo>
                    <a:lnTo>
                      <a:pt x="588" y="130"/>
                    </a:lnTo>
                    <a:lnTo>
                      <a:pt x="588" y="134"/>
                    </a:lnTo>
                    <a:lnTo>
                      <a:pt x="592" y="134"/>
                    </a:lnTo>
                    <a:lnTo>
                      <a:pt x="588" y="134"/>
                    </a:lnTo>
                    <a:lnTo>
                      <a:pt x="584" y="134"/>
                    </a:lnTo>
                    <a:lnTo>
                      <a:pt x="580" y="134"/>
                    </a:lnTo>
                    <a:lnTo>
                      <a:pt x="576" y="134"/>
                    </a:lnTo>
                    <a:lnTo>
                      <a:pt x="572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close/>
                    <a:moveTo>
                      <a:pt x="412" y="130"/>
                    </a:moveTo>
                    <a:lnTo>
                      <a:pt x="416" y="130"/>
                    </a:lnTo>
                    <a:lnTo>
                      <a:pt x="420" y="130"/>
                    </a:lnTo>
                    <a:lnTo>
                      <a:pt x="424" y="130"/>
                    </a:lnTo>
                    <a:lnTo>
                      <a:pt x="428" y="134"/>
                    </a:lnTo>
                    <a:lnTo>
                      <a:pt x="424" y="134"/>
                    </a:lnTo>
                    <a:lnTo>
                      <a:pt x="420" y="134"/>
                    </a:lnTo>
                    <a:lnTo>
                      <a:pt x="416" y="134"/>
                    </a:lnTo>
                    <a:lnTo>
                      <a:pt x="416" y="138"/>
                    </a:lnTo>
                    <a:lnTo>
                      <a:pt x="412" y="138"/>
                    </a:lnTo>
                    <a:lnTo>
                      <a:pt x="412" y="134"/>
                    </a:lnTo>
                    <a:lnTo>
                      <a:pt x="412" y="130"/>
                    </a:lnTo>
                    <a:lnTo>
                      <a:pt x="412" y="130"/>
                    </a:lnTo>
                    <a:lnTo>
                      <a:pt x="412" y="130"/>
                    </a:lnTo>
                    <a:close/>
                    <a:moveTo>
                      <a:pt x="498" y="130"/>
                    </a:moveTo>
                    <a:lnTo>
                      <a:pt x="498" y="134"/>
                    </a:lnTo>
                    <a:lnTo>
                      <a:pt x="498" y="138"/>
                    </a:lnTo>
                    <a:lnTo>
                      <a:pt x="494" y="138"/>
                    </a:lnTo>
                    <a:lnTo>
                      <a:pt x="490" y="138"/>
                    </a:lnTo>
                    <a:lnTo>
                      <a:pt x="488" y="134"/>
                    </a:lnTo>
                    <a:lnTo>
                      <a:pt x="490" y="134"/>
                    </a:lnTo>
                    <a:lnTo>
                      <a:pt x="490" y="130"/>
                    </a:lnTo>
                    <a:lnTo>
                      <a:pt x="494" y="130"/>
                    </a:lnTo>
                    <a:lnTo>
                      <a:pt x="498" y="130"/>
                    </a:lnTo>
                    <a:lnTo>
                      <a:pt x="498" y="130"/>
                    </a:lnTo>
                    <a:lnTo>
                      <a:pt x="498" y="130"/>
                    </a:lnTo>
                    <a:close/>
                    <a:moveTo>
                      <a:pt x="428" y="134"/>
                    </a:moveTo>
                    <a:lnTo>
                      <a:pt x="430" y="134"/>
                    </a:lnTo>
                    <a:lnTo>
                      <a:pt x="434" y="134"/>
                    </a:lnTo>
                    <a:lnTo>
                      <a:pt x="438" y="134"/>
                    </a:lnTo>
                    <a:lnTo>
                      <a:pt x="434" y="134"/>
                    </a:lnTo>
                    <a:lnTo>
                      <a:pt x="430" y="134"/>
                    </a:lnTo>
                    <a:lnTo>
                      <a:pt x="428" y="134"/>
                    </a:lnTo>
                    <a:lnTo>
                      <a:pt x="428" y="134"/>
                    </a:lnTo>
                    <a:lnTo>
                      <a:pt x="428" y="134"/>
                    </a:lnTo>
                    <a:close/>
                    <a:moveTo>
                      <a:pt x="66" y="142"/>
                    </a:moveTo>
                    <a:lnTo>
                      <a:pt x="62" y="142"/>
                    </a:lnTo>
                    <a:lnTo>
                      <a:pt x="62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close/>
                    <a:moveTo>
                      <a:pt x="70" y="150"/>
                    </a:moveTo>
                    <a:lnTo>
                      <a:pt x="70" y="152"/>
                    </a:lnTo>
                    <a:lnTo>
                      <a:pt x="70" y="150"/>
                    </a:lnTo>
                    <a:lnTo>
                      <a:pt x="66" y="150"/>
                    </a:lnTo>
                    <a:lnTo>
                      <a:pt x="66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50"/>
                    </a:lnTo>
                    <a:lnTo>
                      <a:pt x="70" y="150"/>
                    </a:lnTo>
                    <a:close/>
                    <a:moveTo>
                      <a:pt x="186" y="152"/>
                    </a:moveTo>
                    <a:lnTo>
                      <a:pt x="186" y="156"/>
                    </a:lnTo>
                    <a:lnTo>
                      <a:pt x="182" y="156"/>
                    </a:lnTo>
                    <a:lnTo>
                      <a:pt x="178" y="156"/>
                    </a:lnTo>
                    <a:lnTo>
                      <a:pt x="178" y="152"/>
                    </a:lnTo>
                    <a:lnTo>
                      <a:pt x="178" y="156"/>
                    </a:lnTo>
                    <a:lnTo>
                      <a:pt x="174" y="156"/>
                    </a:lnTo>
                    <a:lnTo>
                      <a:pt x="174" y="152"/>
                    </a:lnTo>
                    <a:lnTo>
                      <a:pt x="174" y="150"/>
                    </a:lnTo>
                    <a:lnTo>
                      <a:pt x="178" y="146"/>
                    </a:lnTo>
                    <a:lnTo>
                      <a:pt x="182" y="146"/>
                    </a:lnTo>
                    <a:lnTo>
                      <a:pt x="186" y="150"/>
                    </a:lnTo>
                    <a:lnTo>
                      <a:pt x="186" y="152"/>
                    </a:lnTo>
                    <a:lnTo>
                      <a:pt x="186" y="152"/>
                    </a:lnTo>
                    <a:lnTo>
                      <a:pt x="186" y="152"/>
                    </a:lnTo>
                    <a:close/>
                    <a:moveTo>
                      <a:pt x="74" y="160"/>
                    </a:moveTo>
                    <a:lnTo>
                      <a:pt x="74" y="156"/>
                    </a:lnTo>
                    <a:lnTo>
                      <a:pt x="70" y="152"/>
                    </a:lnTo>
                    <a:lnTo>
                      <a:pt x="70" y="150"/>
                    </a:ln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close/>
                    <a:moveTo>
                      <a:pt x="502" y="166"/>
                    </a:moveTo>
                    <a:lnTo>
                      <a:pt x="498" y="166"/>
                    </a:lnTo>
                    <a:lnTo>
                      <a:pt x="498" y="164"/>
                    </a:lnTo>
                    <a:lnTo>
                      <a:pt x="494" y="164"/>
                    </a:lnTo>
                    <a:lnTo>
                      <a:pt x="490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8" y="160"/>
                    </a:lnTo>
                    <a:lnTo>
                      <a:pt x="484" y="160"/>
                    </a:lnTo>
                    <a:lnTo>
                      <a:pt x="480" y="160"/>
                    </a:lnTo>
                    <a:lnTo>
                      <a:pt x="476" y="160"/>
                    </a:lnTo>
                    <a:lnTo>
                      <a:pt x="476" y="156"/>
                    </a:lnTo>
                    <a:lnTo>
                      <a:pt x="476" y="160"/>
                    </a:lnTo>
                    <a:lnTo>
                      <a:pt x="472" y="160"/>
                    </a:lnTo>
                    <a:lnTo>
                      <a:pt x="468" y="160"/>
                    </a:lnTo>
                    <a:lnTo>
                      <a:pt x="468" y="156"/>
                    </a:lnTo>
                    <a:lnTo>
                      <a:pt x="464" y="156"/>
                    </a:lnTo>
                    <a:lnTo>
                      <a:pt x="464" y="160"/>
                    </a:lnTo>
                    <a:lnTo>
                      <a:pt x="460" y="164"/>
                    </a:lnTo>
                    <a:lnTo>
                      <a:pt x="460" y="160"/>
                    </a:lnTo>
                    <a:lnTo>
                      <a:pt x="460" y="156"/>
                    </a:lnTo>
                    <a:lnTo>
                      <a:pt x="464" y="156"/>
                    </a:lnTo>
                    <a:lnTo>
                      <a:pt x="464" y="152"/>
                    </a:lnTo>
                    <a:lnTo>
                      <a:pt x="468" y="152"/>
                    </a:lnTo>
                    <a:lnTo>
                      <a:pt x="472" y="152"/>
                    </a:lnTo>
                    <a:lnTo>
                      <a:pt x="476" y="152"/>
                    </a:lnTo>
                    <a:lnTo>
                      <a:pt x="480" y="152"/>
                    </a:lnTo>
                    <a:lnTo>
                      <a:pt x="484" y="152"/>
                    </a:lnTo>
                    <a:lnTo>
                      <a:pt x="484" y="150"/>
                    </a:lnTo>
                    <a:lnTo>
                      <a:pt x="488" y="150"/>
                    </a:lnTo>
                    <a:lnTo>
                      <a:pt x="488" y="152"/>
                    </a:lnTo>
                    <a:lnTo>
                      <a:pt x="490" y="152"/>
                    </a:lnTo>
                    <a:lnTo>
                      <a:pt x="494" y="152"/>
                    </a:lnTo>
                    <a:lnTo>
                      <a:pt x="498" y="152"/>
                    </a:lnTo>
                    <a:lnTo>
                      <a:pt x="502" y="156"/>
                    </a:lnTo>
                    <a:lnTo>
                      <a:pt x="502" y="160"/>
                    </a:lnTo>
                    <a:lnTo>
                      <a:pt x="506" y="164"/>
                    </a:lnTo>
                    <a:lnTo>
                      <a:pt x="502" y="166"/>
                    </a:lnTo>
                    <a:lnTo>
                      <a:pt x="502" y="166"/>
                    </a:lnTo>
                    <a:lnTo>
                      <a:pt x="502" y="166"/>
                    </a:lnTo>
                    <a:close/>
                    <a:moveTo>
                      <a:pt x="164" y="152"/>
                    </a:moveTo>
                    <a:lnTo>
                      <a:pt x="166" y="152"/>
                    </a:lnTo>
                    <a:lnTo>
                      <a:pt x="164" y="152"/>
                    </a:lnTo>
                    <a:lnTo>
                      <a:pt x="164" y="152"/>
                    </a:lnTo>
                    <a:lnTo>
                      <a:pt x="164" y="152"/>
                    </a:lnTo>
                    <a:close/>
                    <a:moveTo>
                      <a:pt x="438" y="156"/>
                    </a:moveTo>
                    <a:lnTo>
                      <a:pt x="442" y="156"/>
                    </a:lnTo>
                    <a:lnTo>
                      <a:pt x="446" y="156"/>
                    </a:lnTo>
                    <a:lnTo>
                      <a:pt x="450" y="156"/>
                    </a:lnTo>
                    <a:lnTo>
                      <a:pt x="450" y="160"/>
                    </a:lnTo>
                    <a:lnTo>
                      <a:pt x="454" y="160"/>
                    </a:lnTo>
                    <a:lnTo>
                      <a:pt x="454" y="164"/>
                    </a:lnTo>
                    <a:lnTo>
                      <a:pt x="450" y="164"/>
                    </a:lnTo>
                    <a:lnTo>
                      <a:pt x="450" y="166"/>
                    </a:lnTo>
                    <a:lnTo>
                      <a:pt x="446" y="166"/>
                    </a:lnTo>
                    <a:lnTo>
                      <a:pt x="442" y="166"/>
                    </a:lnTo>
                    <a:lnTo>
                      <a:pt x="438" y="164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8" y="156"/>
                    </a:lnTo>
                    <a:lnTo>
                      <a:pt x="438" y="156"/>
                    </a:lnTo>
                    <a:lnTo>
                      <a:pt x="438" y="156"/>
                    </a:lnTo>
                    <a:close/>
                    <a:moveTo>
                      <a:pt x="298" y="160"/>
                    </a:moveTo>
                    <a:lnTo>
                      <a:pt x="298" y="164"/>
                    </a:lnTo>
                    <a:lnTo>
                      <a:pt x="298" y="166"/>
                    </a:lnTo>
                    <a:lnTo>
                      <a:pt x="298" y="170"/>
                    </a:lnTo>
                    <a:lnTo>
                      <a:pt x="294" y="170"/>
                    </a:lnTo>
                    <a:lnTo>
                      <a:pt x="298" y="166"/>
                    </a:lnTo>
                    <a:lnTo>
                      <a:pt x="294" y="166"/>
                    </a:lnTo>
                    <a:lnTo>
                      <a:pt x="294" y="164"/>
                    </a:lnTo>
                    <a:lnTo>
                      <a:pt x="294" y="160"/>
                    </a:lnTo>
                    <a:lnTo>
                      <a:pt x="298" y="160"/>
                    </a:lnTo>
                    <a:lnTo>
                      <a:pt x="298" y="156"/>
                    </a:lnTo>
                    <a:lnTo>
                      <a:pt x="298" y="160"/>
                    </a:lnTo>
                    <a:lnTo>
                      <a:pt x="298" y="160"/>
                    </a:lnTo>
                    <a:lnTo>
                      <a:pt x="298" y="160"/>
                    </a:lnTo>
                    <a:close/>
                    <a:moveTo>
                      <a:pt x="458" y="156"/>
                    </a:moveTo>
                    <a:lnTo>
                      <a:pt x="458" y="160"/>
                    </a:lnTo>
                    <a:lnTo>
                      <a:pt x="458" y="156"/>
                    </a:lnTo>
                    <a:lnTo>
                      <a:pt x="458" y="156"/>
                    </a:lnTo>
                    <a:lnTo>
                      <a:pt x="458" y="156"/>
                    </a:lnTo>
                    <a:close/>
                    <a:moveTo>
                      <a:pt x="464" y="164"/>
                    </a:moveTo>
                    <a:lnTo>
                      <a:pt x="468" y="164"/>
                    </a:lnTo>
                    <a:lnTo>
                      <a:pt x="468" y="166"/>
                    </a:lnTo>
                    <a:lnTo>
                      <a:pt x="464" y="166"/>
                    </a:lnTo>
                    <a:lnTo>
                      <a:pt x="468" y="164"/>
                    </a:lnTo>
                    <a:lnTo>
                      <a:pt x="464" y="164"/>
                    </a:lnTo>
                    <a:lnTo>
                      <a:pt x="464" y="166"/>
                    </a:lnTo>
                    <a:lnTo>
                      <a:pt x="460" y="166"/>
                    </a:lnTo>
                    <a:lnTo>
                      <a:pt x="460" y="164"/>
                    </a:lnTo>
                    <a:lnTo>
                      <a:pt x="464" y="164"/>
                    </a:lnTo>
                    <a:lnTo>
                      <a:pt x="464" y="164"/>
                    </a:lnTo>
                    <a:lnTo>
                      <a:pt x="464" y="164"/>
                    </a:lnTo>
                    <a:close/>
                    <a:moveTo>
                      <a:pt x="468" y="164"/>
                    </a:moveTo>
                    <a:lnTo>
                      <a:pt x="472" y="164"/>
                    </a:lnTo>
                    <a:lnTo>
                      <a:pt x="468" y="164"/>
                    </a:lnTo>
                    <a:lnTo>
                      <a:pt x="468" y="164"/>
                    </a:lnTo>
                    <a:lnTo>
                      <a:pt x="468" y="164"/>
                    </a:lnTo>
                    <a:close/>
                    <a:moveTo>
                      <a:pt x="394" y="170"/>
                    </a:moveTo>
                    <a:lnTo>
                      <a:pt x="398" y="170"/>
                    </a:lnTo>
                    <a:lnTo>
                      <a:pt x="394" y="174"/>
                    </a:lnTo>
                    <a:lnTo>
                      <a:pt x="394" y="170"/>
                    </a:lnTo>
                    <a:lnTo>
                      <a:pt x="394" y="170"/>
                    </a:lnTo>
                    <a:lnTo>
                      <a:pt x="394" y="170"/>
                    </a:lnTo>
                    <a:close/>
                    <a:moveTo>
                      <a:pt x="394" y="178"/>
                    </a:moveTo>
                    <a:lnTo>
                      <a:pt x="398" y="178"/>
                    </a:lnTo>
                    <a:lnTo>
                      <a:pt x="398" y="182"/>
                    </a:lnTo>
                    <a:lnTo>
                      <a:pt x="398" y="186"/>
                    </a:lnTo>
                    <a:lnTo>
                      <a:pt x="394" y="182"/>
                    </a:lnTo>
                    <a:lnTo>
                      <a:pt x="394" y="186"/>
                    </a:lnTo>
                    <a:lnTo>
                      <a:pt x="394" y="190"/>
                    </a:lnTo>
                    <a:lnTo>
                      <a:pt x="398" y="194"/>
                    </a:lnTo>
                    <a:lnTo>
                      <a:pt x="394" y="194"/>
                    </a:lnTo>
                    <a:lnTo>
                      <a:pt x="390" y="194"/>
                    </a:lnTo>
                    <a:lnTo>
                      <a:pt x="390" y="196"/>
                    </a:lnTo>
                    <a:lnTo>
                      <a:pt x="390" y="200"/>
                    </a:lnTo>
                    <a:lnTo>
                      <a:pt x="386" y="200"/>
                    </a:lnTo>
                    <a:lnTo>
                      <a:pt x="386" y="196"/>
                    </a:lnTo>
                    <a:lnTo>
                      <a:pt x="386" y="194"/>
                    </a:lnTo>
                    <a:lnTo>
                      <a:pt x="390" y="194"/>
                    </a:lnTo>
                    <a:lnTo>
                      <a:pt x="390" y="190"/>
                    </a:lnTo>
                    <a:lnTo>
                      <a:pt x="390" y="186"/>
                    </a:lnTo>
                    <a:lnTo>
                      <a:pt x="390" y="182"/>
                    </a:lnTo>
                    <a:lnTo>
                      <a:pt x="390" y="178"/>
                    </a:lnTo>
                    <a:lnTo>
                      <a:pt x="394" y="178"/>
                    </a:lnTo>
                    <a:lnTo>
                      <a:pt x="394" y="178"/>
                    </a:lnTo>
                    <a:lnTo>
                      <a:pt x="394" y="178"/>
                    </a:lnTo>
                    <a:close/>
                    <a:moveTo>
                      <a:pt x="390" y="182"/>
                    </a:moveTo>
                    <a:lnTo>
                      <a:pt x="390" y="186"/>
                    </a:lnTo>
                    <a:lnTo>
                      <a:pt x="386" y="190"/>
                    </a:lnTo>
                    <a:lnTo>
                      <a:pt x="386" y="194"/>
                    </a:lnTo>
                    <a:lnTo>
                      <a:pt x="382" y="194"/>
                    </a:lnTo>
                    <a:lnTo>
                      <a:pt x="382" y="190"/>
                    </a:lnTo>
                    <a:lnTo>
                      <a:pt x="382" y="186"/>
                    </a:lnTo>
                    <a:lnTo>
                      <a:pt x="382" y="182"/>
                    </a:lnTo>
                    <a:lnTo>
                      <a:pt x="386" y="182"/>
                    </a:lnTo>
                    <a:lnTo>
                      <a:pt x="390" y="182"/>
                    </a:lnTo>
                    <a:lnTo>
                      <a:pt x="390" y="182"/>
                    </a:lnTo>
                    <a:lnTo>
                      <a:pt x="390" y="182"/>
                    </a:lnTo>
                    <a:close/>
                    <a:moveTo>
                      <a:pt x="378" y="190"/>
                    </a:moveTo>
                    <a:lnTo>
                      <a:pt x="378" y="194"/>
                    </a:lnTo>
                    <a:lnTo>
                      <a:pt x="378" y="196"/>
                    </a:lnTo>
                    <a:lnTo>
                      <a:pt x="374" y="194"/>
                    </a:lnTo>
                    <a:lnTo>
                      <a:pt x="374" y="190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8" y="190"/>
                    </a:lnTo>
                    <a:close/>
                    <a:moveTo>
                      <a:pt x="104" y="196"/>
                    </a:moveTo>
                    <a:lnTo>
                      <a:pt x="100" y="196"/>
                    </a:lnTo>
                    <a:lnTo>
                      <a:pt x="96" y="194"/>
                    </a:lnTo>
                    <a:lnTo>
                      <a:pt x="100" y="194"/>
                    </a:lnTo>
                    <a:lnTo>
                      <a:pt x="104" y="194"/>
                    </a:lnTo>
                    <a:lnTo>
                      <a:pt x="104" y="196"/>
                    </a:lnTo>
                    <a:lnTo>
                      <a:pt x="104" y="196"/>
                    </a:lnTo>
                    <a:lnTo>
                      <a:pt x="104" y="196"/>
                    </a:lnTo>
                    <a:close/>
                    <a:moveTo>
                      <a:pt x="554" y="194"/>
                    </a:moveTo>
                    <a:lnTo>
                      <a:pt x="558" y="194"/>
                    </a:lnTo>
                    <a:lnTo>
                      <a:pt x="558" y="196"/>
                    </a:lnTo>
                    <a:lnTo>
                      <a:pt x="558" y="200"/>
                    </a:lnTo>
                    <a:lnTo>
                      <a:pt x="558" y="204"/>
                    </a:lnTo>
                    <a:lnTo>
                      <a:pt x="554" y="204"/>
                    </a:lnTo>
                    <a:lnTo>
                      <a:pt x="554" y="200"/>
                    </a:lnTo>
                    <a:lnTo>
                      <a:pt x="550" y="200"/>
                    </a:lnTo>
                    <a:lnTo>
                      <a:pt x="554" y="200"/>
                    </a:lnTo>
                    <a:lnTo>
                      <a:pt x="554" y="196"/>
                    </a:lnTo>
                    <a:lnTo>
                      <a:pt x="554" y="194"/>
                    </a:lnTo>
                    <a:lnTo>
                      <a:pt x="554" y="194"/>
                    </a:lnTo>
                    <a:lnTo>
                      <a:pt x="554" y="194"/>
                    </a:lnTo>
                    <a:close/>
                    <a:moveTo>
                      <a:pt x="248" y="200"/>
                    </a:moveTo>
                    <a:lnTo>
                      <a:pt x="246" y="200"/>
                    </a:lnTo>
                    <a:lnTo>
                      <a:pt x="248" y="200"/>
                    </a:lnTo>
                    <a:lnTo>
                      <a:pt x="248" y="200"/>
                    </a:lnTo>
                    <a:lnTo>
                      <a:pt x="248" y="200"/>
                    </a:lnTo>
                    <a:close/>
                    <a:moveTo>
                      <a:pt x="358" y="200"/>
                    </a:moveTo>
                    <a:lnTo>
                      <a:pt x="358" y="204"/>
                    </a:lnTo>
                    <a:lnTo>
                      <a:pt x="360" y="204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04"/>
                    </a:lnTo>
                    <a:lnTo>
                      <a:pt x="358" y="200"/>
                    </a:lnTo>
                    <a:lnTo>
                      <a:pt x="358" y="200"/>
                    </a:lnTo>
                    <a:lnTo>
                      <a:pt x="358" y="200"/>
                    </a:lnTo>
                    <a:close/>
                    <a:moveTo>
                      <a:pt x="212" y="238"/>
                    </a:moveTo>
                    <a:lnTo>
                      <a:pt x="208" y="238"/>
                    </a:lnTo>
                    <a:lnTo>
                      <a:pt x="204" y="234"/>
                    </a:lnTo>
                    <a:lnTo>
                      <a:pt x="200" y="234"/>
                    </a:lnTo>
                    <a:lnTo>
                      <a:pt x="196" y="234"/>
                    </a:lnTo>
                    <a:lnTo>
                      <a:pt x="192" y="234"/>
                    </a:lnTo>
                    <a:lnTo>
                      <a:pt x="190" y="234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8" y="230"/>
                    </a:lnTo>
                    <a:lnTo>
                      <a:pt x="174" y="230"/>
                    </a:lnTo>
                    <a:lnTo>
                      <a:pt x="170" y="230"/>
                    </a:lnTo>
                    <a:lnTo>
                      <a:pt x="166" y="230"/>
                    </a:lnTo>
                    <a:lnTo>
                      <a:pt x="164" y="230"/>
                    </a:lnTo>
                    <a:lnTo>
                      <a:pt x="160" y="230"/>
                    </a:lnTo>
                    <a:lnTo>
                      <a:pt x="160" y="226"/>
                    </a:lnTo>
                    <a:lnTo>
                      <a:pt x="160" y="222"/>
                    </a:lnTo>
                    <a:lnTo>
                      <a:pt x="160" y="220"/>
                    </a:lnTo>
                    <a:lnTo>
                      <a:pt x="160" y="222"/>
                    </a:lnTo>
                    <a:lnTo>
                      <a:pt x="156" y="222"/>
                    </a:lnTo>
                    <a:lnTo>
                      <a:pt x="156" y="220"/>
                    </a:lnTo>
                    <a:lnTo>
                      <a:pt x="152" y="220"/>
                    </a:lnTo>
                    <a:lnTo>
                      <a:pt x="148" y="220"/>
                    </a:lnTo>
                    <a:lnTo>
                      <a:pt x="144" y="220"/>
                    </a:lnTo>
                    <a:lnTo>
                      <a:pt x="140" y="220"/>
                    </a:lnTo>
                    <a:lnTo>
                      <a:pt x="144" y="220"/>
                    </a:lnTo>
                    <a:lnTo>
                      <a:pt x="144" y="216"/>
                    </a:lnTo>
                    <a:lnTo>
                      <a:pt x="144" y="220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52" y="212"/>
                    </a:lnTo>
                    <a:lnTo>
                      <a:pt x="152" y="208"/>
                    </a:lnTo>
                    <a:lnTo>
                      <a:pt x="152" y="204"/>
                    </a:lnTo>
                    <a:lnTo>
                      <a:pt x="152" y="200"/>
                    </a:lnTo>
                    <a:lnTo>
                      <a:pt x="156" y="200"/>
                    </a:lnTo>
                    <a:lnTo>
                      <a:pt x="156" y="204"/>
                    </a:lnTo>
                    <a:lnTo>
                      <a:pt x="160" y="204"/>
                    </a:lnTo>
                    <a:lnTo>
                      <a:pt x="164" y="204"/>
                    </a:lnTo>
                    <a:lnTo>
                      <a:pt x="166" y="204"/>
                    </a:lnTo>
                    <a:lnTo>
                      <a:pt x="170" y="204"/>
                    </a:lnTo>
                    <a:lnTo>
                      <a:pt x="174" y="204"/>
                    </a:lnTo>
                    <a:lnTo>
                      <a:pt x="174" y="208"/>
                    </a:lnTo>
                    <a:lnTo>
                      <a:pt x="178" y="208"/>
                    </a:lnTo>
                    <a:lnTo>
                      <a:pt x="182" y="212"/>
                    </a:lnTo>
                    <a:lnTo>
                      <a:pt x="186" y="212"/>
                    </a:lnTo>
                    <a:lnTo>
                      <a:pt x="186" y="208"/>
                    </a:lnTo>
                    <a:lnTo>
                      <a:pt x="186" y="212"/>
                    </a:lnTo>
                    <a:lnTo>
                      <a:pt x="190" y="212"/>
                    </a:lnTo>
                    <a:lnTo>
                      <a:pt x="190" y="216"/>
                    </a:lnTo>
                    <a:lnTo>
                      <a:pt x="190" y="220"/>
                    </a:lnTo>
                    <a:lnTo>
                      <a:pt x="192" y="220"/>
                    </a:lnTo>
                    <a:lnTo>
                      <a:pt x="196" y="220"/>
                    </a:lnTo>
                    <a:lnTo>
                      <a:pt x="200" y="220"/>
                    </a:lnTo>
                    <a:lnTo>
                      <a:pt x="204" y="220"/>
                    </a:lnTo>
                    <a:lnTo>
                      <a:pt x="208" y="220"/>
                    </a:lnTo>
                    <a:lnTo>
                      <a:pt x="212" y="220"/>
                    </a:lnTo>
                    <a:lnTo>
                      <a:pt x="216" y="220"/>
                    </a:lnTo>
                    <a:lnTo>
                      <a:pt x="216" y="222"/>
                    </a:lnTo>
                    <a:lnTo>
                      <a:pt x="216" y="220"/>
                    </a:lnTo>
                    <a:lnTo>
                      <a:pt x="220" y="220"/>
                    </a:lnTo>
                    <a:lnTo>
                      <a:pt x="220" y="216"/>
                    </a:lnTo>
                    <a:lnTo>
                      <a:pt x="220" y="212"/>
                    </a:lnTo>
                    <a:lnTo>
                      <a:pt x="222" y="212"/>
                    </a:lnTo>
                    <a:lnTo>
                      <a:pt x="226" y="216"/>
                    </a:lnTo>
                    <a:lnTo>
                      <a:pt x="230" y="216"/>
                    </a:lnTo>
                    <a:lnTo>
                      <a:pt x="234" y="216"/>
                    </a:lnTo>
                    <a:lnTo>
                      <a:pt x="234" y="220"/>
                    </a:lnTo>
                    <a:lnTo>
                      <a:pt x="238" y="220"/>
                    </a:lnTo>
                    <a:lnTo>
                      <a:pt x="242" y="220"/>
                    </a:lnTo>
                    <a:lnTo>
                      <a:pt x="246" y="220"/>
                    </a:lnTo>
                    <a:lnTo>
                      <a:pt x="246" y="222"/>
                    </a:lnTo>
                    <a:lnTo>
                      <a:pt x="248" y="222"/>
                    </a:lnTo>
                    <a:lnTo>
                      <a:pt x="248" y="226"/>
                    </a:lnTo>
                    <a:lnTo>
                      <a:pt x="246" y="222"/>
                    </a:lnTo>
                    <a:lnTo>
                      <a:pt x="246" y="226"/>
                    </a:lnTo>
                    <a:lnTo>
                      <a:pt x="248" y="226"/>
                    </a:lnTo>
                    <a:lnTo>
                      <a:pt x="248" y="230"/>
                    </a:lnTo>
                    <a:lnTo>
                      <a:pt x="252" y="234"/>
                    </a:lnTo>
                    <a:lnTo>
                      <a:pt x="256" y="234"/>
                    </a:lnTo>
                    <a:lnTo>
                      <a:pt x="260" y="234"/>
                    </a:lnTo>
                    <a:lnTo>
                      <a:pt x="264" y="234"/>
                    </a:lnTo>
                    <a:lnTo>
                      <a:pt x="268" y="234"/>
                    </a:lnTo>
                    <a:lnTo>
                      <a:pt x="268" y="230"/>
                    </a:lnTo>
                    <a:lnTo>
                      <a:pt x="268" y="234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72" y="246"/>
                    </a:lnTo>
                    <a:lnTo>
                      <a:pt x="272" y="250"/>
                    </a:lnTo>
                    <a:lnTo>
                      <a:pt x="276" y="250"/>
                    </a:lnTo>
                    <a:lnTo>
                      <a:pt x="276" y="252"/>
                    </a:lnTo>
                    <a:lnTo>
                      <a:pt x="272" y="252"/>
                    </a:lnTo>
                    <a:lnTo>
                      <a:pt x="272" y="250"/>
                    </a:lnTo>
                    <a:lnTo>
                      <a:pt x="268" y="250"/>
                    </a:lnTo>
                    <a:lnTo>
                      <a:pt x="264" y="250"/>
                    </a:lnTo>
                    <a:lnTo>
                      <a:pt x="260" y="246"/>
                    </a:lnTo>
                    <a:lnTo>
                      <a:pt x="256" y="246"/>
                    </a:lnTo>
                    <a:lnTo>
                      <a:pt x="256" y="242"/>
                    </a:lnTo>
                    <a:lnTo>
                      <a:pt x="252" y="242"/>
                    </a:lnTo>
                    <a:lnTo>
                      <a:pt x="252" y="246"/>
                    </a:lnTo>
                    <a:lnTo>
                      <a:pt x="248" y="246"/>
                    </a:lnTo>
                    <a:lnTo>
                      <a:pt x="246" y="246"/>
                    </a:lnTo>
                    <a:lnTo>
                      <a:pt x="242" y="246"/>
                    </a:lnTo>
                    <a:lnTo>
                      <a:pt x="238" y="246"/>
                    </a:lnTo>
                    <a:lnTo>
                      <a:pt x="234" y="242"/>
                    </a:lnTo>
                    <a:lnTo>
                      <a:pt x="234" y="246"/>
                    </a:lnTo>
                    <a:lnTo>
                      <a:pt x="230" y="246"/>
                    </a:lnTo>
                    <a:lnTo>
                      <a:pt x="230" y="242"/>
                    </a:lnTo>
                    <a:lnTo>
                      <a:pt x="226" y="242"/>
                    </a:lnTo>
                    <a:lnTo>
                      <a:pt x="222" y="242"/>
                    </a:lnTo>
                    <a:lnTo>
                      <a:pt x="220" y="242"/>
                    </a:lnTo>
                    <a:lnTo>
                      <a:pt x="216" y="242"/>
                    </a:lnTo>
                    <a:lnTo>
                      <a:pt x="212" y="238"/>
                    </a:lnTo>
                    <a:lnTo>
                      <a:pt x="212" y="238"/>
                    </a:lnTo>
                    <a:lnTo>
                      <a:pt x="212" y="238"/>
                    </a:lnTo>
                    <a:close/>
                    <a:moveTo>
                      <a:pt x="554" y="204"/>
                    </a:moveTo>
                    <a:lnTo>
                      <a:pt x="558" y="204"/>
                    </a:lnTo>
                    <a:lnTo>
                      <a:pt x="558" y="208"/>
                    </a:lnTo>
                    <a:lnTo>
                      <a:pt x="558" y="212"/>
                    </a:lnTo>
                    <a:lnTo>
                      <a:pt x="554" y="208"/>
                    </a:lnTo>
                    <a:lnTo>
                      <a:pt x="554" y="204"/>
                    </a:lnTo>
                    <a:lnTo>
                      <a:pt x="554" y="204"/>
                    </a:lnTo>
                    <a:lnTo>
                      <a:pt x="554" y="204"/>
                    </a:lnTo>
                    <a:close/>
                    <a:moveTo>
                      <a:pt x="550" y="208"/>
                    </a:moveTo>
                    <a:lnTo>
                      <a:pt x="554" y="208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0" y="220"/>
                    </a:lnTo>
                    <a:lnTo>
                      <a:pt x="550" y="212"/>
                    </a:lnTo>
                    <a:lnTo>
                      <a:pt x="550" y="208"/>
                    </a:lnTo>
                    <a:lnTo>
                      <a:pt x="550" y="208"/>
                    </a:lnTo>
                    <a:lnTo>
                      <a:pt x="550" y="208"/>
                    </a:lnTo>
                    <a:close/>
                    <a:moveTo>
                      <a:pt x="140" y="212"/>
                    </a:moveTo>
                    <a:lnTo>
                      <a:pt x="140" y="216"/>
                    </a:lnTo>
                    <a:lnTo>
                      <a:pt x="140" y="212"/>
                    </a:lnTo>
                    <a:lnTo>
                      <a:pt x="140" y="212"/>
                    </a:lnTo>
                    <a:lnTo>
                      <a:pt x="140" y="212"/>
                    </a:lnTo>
                    <a:close/>
                    <a:moveTo>
                      <a:pt x="286" y="220"/>
                    </a:moveTo>
                    <a:lnTo>
                      <a:pt x="290" y="220"/>
                    </a:lnTo>
                    <a:lnTo>
                      <a:pt x="286" y="220"/>
                    </a:lnTo>
                    <a:lnTo>
                      <a:pt x="286" y="222"/>
                    </a:lnTo>
                    <a:lnTo>
                      <a:pt x="282" y="222"/>
                    </a:lnTo>
                    <a:lnTo>
                      <a:pt x="282" y="220"/>
                    </a:lnTo>
                    <a:lnTo>
                      <a:pt x="286" y="220"/>
                    </a:lnTo>
                    <a:lnTo>
                      <a:pt x="286" y="220"/>
                    </a:lnTo>
                    <a:lnTo>
                      <a:pt x="286" y="220"/>
                    </a:lnTo>
                    <a:close/>
                    <a:moveTo>
                      <a:pt x="252" y="220"/>
                    </a:moveTo>
                    <a:lnTo>
                      <a:pt x="256" y="220"/>
                    </a:lnTo>
                    <a:lnTo>
                      <a:pt x="260" y="220"/>
                    </a:lnTo>
                    <a:lnTo>
                      <a:pt x="264" y="220"/>
                    </a:lnTo>
                    <a:lnTo>
                      <a:pt x="268" y="220"/>
                    </a:lnTo>
                    <a:lnTo>
                      <a:pt x="268" y="222"/>
                    </a:lnTo>
                    <a:lnTo>
                      <a:pt x="264" y="222"/>
                    </a:lnTo>
                    <a:lnTo>
                      <a:pt x="260" y="222"/>
                    </a:lnTo>
                    <a:lnTo>
                      <a:pt x="260" y="226"/>
                    </a:lnTo>
                    <a:lnTo>
                      <a:pt x="256" y="226"/>
                    </a:lnTo>
                    <a:lnTo>
                      <a:pt x="252" y="226"/>
                    </a:lnTo>
                    <a:lnTo>
                      <a:pt x="252" y="222"/>
                    </a:lnTo>
                    <a:lnTo>
                      <a:pt x="252" y="226"/>
                    </a:lnTo>
                    <a:lnTo>
                      <a:pt x="248" y="222"/>
                    </a:lnTo>
                    <a:lnTo>
                      <a:pt x="248" y="220"/>
                    </a:lnTo>
                    <a:lnTo>
                      <a:pt x="252" y="220"/>
                    </a:lnTo>
                    <a:lnTo>
                      <a:pt x="252" y="220"/>
                    </a:lnTo>
                    <a:lnTo>
                      <a:pt x="252" y="220"/>
                    </a:lnTo>
                    <a:close/>
                    <a:moveTo>
                      <a:pt x="516" y="222"/>
                    </a:moveTo>
                    <a:lnTo>
                      <a:pt x="516" y="226"/>
                    </a:lnTo>
                    <a:lnTo>
                      <a:pt x="516" y="230"/>
                    </a:lnTo>
                    <a:lnTo>
                      <a:pt x="514" y="234"/>
                    </a:lnTo>
                    <a:lnTo>
                      <a:pt x="514" y="238"/>
                    </a:lnTo>
                    <a:lnTo>
                      <a:pt x="510" y="238"/>
                    </a:lnTo>
                    <a:lnTo>
                      <a:pt x="506" y="238"/>
                    </a:lnTo>
                    <a:lnTo>
                      <a:pt x="510" y="234"/>
                    </a:lnTo>
                    <a:lnTo>
                      <a:pt x="510" y="230"/>
                    </a:lnTo>
                    <a:lnTo>
                      <a:pt x="514" y="226"/>
                    </a:lnTo>
                    <a:lnTo>
                      <a:pt x="514" y="222"/>
                    </a:lnTo>
                    <a:lnTo>
                      <a:pt x="516" y="222"/>
                    </a:lnTo>
                    <a:lnTo>
                      <a:pt x="516" y="222"/>
                    </a:lnTo>
                    <a:lnTo>
                      <a:pt x="516" y="222"/>
                    </a:lnTo>
                    <a:close/>
                    <a:moveTo>
                      <a:pt x="614" y="226"/>
                    </a:moveTo>
                    <a:lnTo>
                      <a:pt x="618" y="226"/>
                    </a:lnTo>
                    <a:lnTo>
                      <a:pt x="618" y="230"/>
                    </a:lnTo>
                    <a:lnTo>
                      <a:pt x="622" y="230"/>
                    </a:lnTo>
                    <a:lnTo>
                      <a:pt x="618" y="234"/>
                    </a:lnTo>
                    <a:lnTo>
                      <a:pt x="618" y="238"/>
                    </a:lnTo>
                    <a:lnTo>
                      <a:pt x="618" y="242"/>
                    </a:lnTo>
                    <a:lnTo>
                      <a:pt x="614" y="242"/>
                    </a:lnTo>
                    <a:lnTo>
                      <a:pt x="610" y="246"/>
                    </a:lnTo>
                    <a:lnTo>
                      <a:pt x="606" y="246"/>
                    </a:lnTo>
                    <a:lnTo>
                      <a:pt x="602" y="246"/>
                    </a:lnTo>
                    <a:lnTo>
                      <a:pt x="600" y="246"/>
                    </a:lnTo>
                    <a:lnTo>
                      <a:pt x="602" y="242"/>
                    </a:lnTo>
                    <a:lnTo>
                      <a:pt x="602" y="238"/>
                    </a:lnTo>
                    <a:lnTo>
                      <a:pt x="602" y="234"/>
                    </a:lnTo>
                    <a:lnTo>
                      <a:pt x="606" y="230"/>
                    </a:lnTo>
                    <a:lnTo>
                      <a:pt x="610" y="230"/>
                    </a:lnTo>
                    <a:lnTo>
                      <a:pt x="610" y="226"/>
                    </a:lnTo>
                    <a:lnTo>
                      <a:pt x="614" y="226"/>
                    </a:lnTo>
                    <a:lnTo>
                      <a:pt x="614" y="226"/>
                    </a:lnTo>
                    <a:lnTo>
                      <a:pt x="614" y="226"/>
                    </a:lnTo>
                    <a:close/>
                    <a:moveTo>
                      <a:pt x="488" y="234"/>
                    </a:moveTo>
                    <a:lnTo>
                      <a:pt x="490" y="234"/>
                    </a:lnTo>
                    <a:lnTo>
                      <a:pt x="490" y="238"/>
                    </a:lnTo>
                    <a:lnTo>
                      <a:pt x="488" y="238"/>
                    </a:lnTo>
                    <a:lnTo>
                      <a:pt x="488" y="234"/>
                    </a:lnTo>
                    <a:lnTo>
                      <a:pt x="488" y="234"/>
                    </a:lnTo>
                    <a:lnTo>
                      <a:pt x="488" y="234"/>
                    </a:lnTo>
                    <a:close/>
                    <a:moveTo>
                      <a:pt x="272" y="242"/>
                    </a:moveTo>
                    <a:lnTo>
                      <a:pt x="276" y="242"/>
                    </a:lnTo>
                    <a:lnTo>
                      <a:pt x="278" y="242"/>
                    </a:lnTo>
                    <a:lnTo>
                      <a:pt x="282" y="242"/>
                    </a:lnTo>
                    <a:lnTo>
                      <a:pt x="282" y="238"/>
                    </a:lnTo>
                    <a:lnTo>
                      <a:pt x="286" y="242"/>
                    </a:lnTo>
                    <a:lnTo>
                      <a:pt x="290" y="242"/>
                    </a:lnTo>
                    <a:lnTo>
                      <a:pt x="290" y="246"/>
                    </a:lnTo>
                    <a:lnTo>
                      <a:pt x="286" y="250"/>
                    </a:lnTo>
                    <a:lnTo>
                      <a:pt x="282" y="250"/>
                    </a:lnTo>
                    <a:lnTo>
                      <a:pt x="282" y="252"/>
                    </a:lnTo>
                    <a:lnTo>
                      <a:pt x="282" y="250"/>
                    </a:lnTo>
                    <a:lnTo>
                      <a:pt x="278" y="246"/>
                    </a:lnTo>
                    <a:lnTo>
                      <a:pt x="276" y="246"/>
                    </a:lnTo>
                    <a:lnTo>
                      <a:pt x="276" y="242"/>
                    </a:lnTo>
                    <a:lnTo>
                      <a:pt x="272" y="242"/>
                    </a:lnTo>
                    <a:lnTo>
                      <a:pt x="272" y="242"/>
                    </a:lnTo>
                    <a:lnTo>
                      <a:pt x="272" y="242"/>
                    </a:lnTo>
                    <a:close/>
                    <a:moveTo>
                      <a:pt x="390" y="250"/>
                    </a:moveTo>
                    <a:lnTo>
                      <a:pt x="386" y="250"/>
                    </a:lnTo>
                    <a:lnTo>
                      <a:pt x="386" y="252"/>
                    </a:lnTo>
                    <a:lnTo>
                      <a:pt x="382" y="252"/>
                    </a:lnTo>
                    <a:lnTo>
                      <a:pt x="378" y="252"/>
                    </a:lnTo>
                    <a:lnTo>
                      <a:pt x="374" y="252"/>
                    </a:lnTo>
                    <a:lnTo>
                      <a:pt x="372" y="252"/>
                    </a:lnTo>
                    <a:lnTo>
                      <a:pt x="368" y="252"/>
                    </a:lnTo>
                    <a:lnTo>
                      <a:pt x="364" y="256"/>
                    </a:lnTo>
                    <a:lnTo>
                      <a:pt x="364" y="252"/>
                    </a:lnTo>
                    <a:lnTo>
                      <a:pt x="360" y="252"/>
                    </a:lnTo>
                    <a:lnTo>
                      <a:pt x="358" y="252"/>
                    </a:lnTo>
                    <a:lnTo>
                      <a:pt x="354" y="252"/>
                    </a:lnTo>
                    <a:lnTo>
                      <a:pt x="350" y="252"/>
                    </a:lnTo>
                    <a:lnTo>
                      <a:pt x="350" y="250"/>
                    </a:lnTo>
                    <a:lnTo>
                      <a:pt x="350" y="246"/>
                    </a:lnTo>
                    <a:lnTo>
                      <a:pt x="354" y="246"/>
                    </a:lnTo>
                    <a:lnTo>
                      <a:pt x="354" y="242"/>
                    </a:lnTo>
                    <a:lnTo>
                      <a:pt x="358" y="242"/>
                    </a:lnTo>
                    <a:lnTo>
                      <a:pt x="360" y="246"/>
                    </a:lnTo>
                    <a:lnTo>
                      <a:pt x="364" y="246"/>
                    </a:lnTo>
                    <a:lnTo>
                      <a:pt x="368" y="246"/>
                    </a:lnTo>
                    <a:lnTo>
                      <a:pt x="368" y="250"/>
                    </a:lnTo>
                    <a:lnTo>
                      <a:pt x="372" y="250"/>
                    </a:lnTo>
                    <a:lnTo>
                      <a:pt x="374" y="246"/>
                    </a:lnTo>
                    <a:lnTo>
                      <a:pt x="378" y="246"/>
                    </a:lnTo>
                    <a:lnTo>
                      <a:pt x="378" y="250"/>
                    </a:lnTo>
                    <a:lnTo>
                      <a:pt x="382" y="250"/>
                    </a:lnTo>
                    <a:lnTo>
                      <a:pt x="386" y="250"/>
                    </a:lnTo>
                    <a:lnTo>
                      <a:pt x="386" y="246"/>
                    </a:lnTo>
                    <a:lnTo>
                      <a:pt x="390" y="246"/>
                    </a:lnTo>
                    <a:lnTo>
                      <a:pt x="394" y="242"/>
                    </a:lnTo>
                    <a:lnTo>
                      <a:pt x="390" y="242"/>
                    </a:lnTo>
                    <a:lnTo>
                      <a:pt x="394" y="242"/>
                    </a:lnTo>
                    <a:lnTo>
                      <a:pt x="394" y="246"/>
                    </a:lnTo>
                    <a:lnTo>
                      <a:pt x="390" y="246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38" y="250"/>
                    </a:moveTo>
                    <a:lnTo>
                      <a:pt x="338" y="252"/>
                    </a:lnTo>
                    <a:lnTo>
                      <a:pt x="334" y="252"/>
                    </a:lnTo>
                    <a:lnTo>
                      <a:pt x="334" y="250"/>
                    </a:lnTo>
                    <a:lnTo>
                      <a:pt x="332" y="252"/>
                    </a:lnTo>
                    <a:lnTo>
                      <a:pt x="334" y="252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50"/>
                    </a:lnTo>
                    <a:lnTo>
                      <a:pt x="328" y="252"/>
                    </a:lnTo>
                    <a:lnTo>
                      <a:pt x="324" y="252"/>
                    </a:lnTo>
                    <a:lnTo>
                      <a:pt x="320" y="256"/>
                    </a:lnTo>
                    <a:lnTo>
                      <a:pt x="320" y="252"/>
                    </a:lnTo>
                    <a:lnTo>
                      <a:pt x="316" y="256"/>
                    </a:lnTo>
                    <a:lnTo>
                      <a:pt x="312" y="256"/>
                    </a:lnTo>
                    <a:lnTo>
                      <a:pt x="308" y="256"/>
                    </a:lnTo>
                    <a:lnTo>
                      <a:pt x="304" y="256"/>
                    </a:lnTo>
                    <a:lnTo>
                      <a:pt x="304" y="252"/>
                    </a:lnTo>
                    <a:lnTo>
                      <a:pt x="304" y="250"/>
                    </a:lnTo>
                    <a:lnTo>
                      <a:pt x="308" y="250"/>
                    </a:lnTo>
                    <a:lnTo>
                      <a:pt x="308" y="246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20" y="250"/>
                    </a:lnTo>
                    <a:lnTo>
                      <a:pt x="324" y="252"/>
                    </a:lnTo>
                    <a:lnTo>
                      <a:pt x="324" y="250"/>
                    </a:lnTo>
                    <a:lnTo>
                      <a:pt x="328" y="250"/>
                    </a:lnTo>
                    <a:lnTo>
                      <a:pt x="324" y="246"/>
                    </a:lnTo>
                    <a:lnTo>
                      <a:pt x="320" y="246"/>
                    </a:lnTo>
                    <a:lnTo>
                      <a:pt x="320" y="242"/>
                    </a:lnTo>
                    <a:lnTo>
                      <a:pt x="324" y="242"/>
                    </a:lnTo>
                    <a:lnTo>
                      <a:pt x="328" y="242"/>
                    </a:lnTo>
                    <a:lnTo>
                      <a:pt x="328" y="246"/>
                    </a:lnTo>
                    <a:lnTo>
                      <a:pt x="328" y="242"/>
                    </a:lnTo>
                    <a:lnTo>
                      <a:pt x="332" y="242"/>
                    </a:lnTo>
                    <a:lnTo>
                      <a:pt x="332" y="246"/>
                    </a:lnTo>
                    <a:lnTo>
                      <a:pt x="332" y="250"/>
                    </a:lnTo>
                    <a:lnTo>
                      <a:pt x="332" y="246"/>
                    </a:lnTo>
                    <a:lnTo>
                      <a:pt x="334" y="246"/>
                    </a:lnTo>
                    <a:lnTo>
                      <a:pt x="338" y="246"/>
                    </a:lnTo>
                    <a:lnTo>
                      <a:pt x="338" y="250"/>
                    </a:lnTo>
                    <a:lnTo>
                      <a:pt x="338" y="250"/>
                    </a:lnTo>
                    <a:lnTo>
                      <a:pt x="338" y="250"/>
                    </a:lnTo>
                    <a:close/>
                    <a:moveTo>
                      <a:pt x="460" y="242"/>
                    </a:moveTo>
                    <a:lnTo>
                      <a:pt x="464" y="242"/>
                    </a:lnTo>
                    <a:lnTo>
                      <a:pt x="460" y="242"/>
                    </a:lnTo>
                    <a:lnTo>
                      <a:pt x="460" y="242"/>
                    </a:lnTo>
                    <a:lnTo>
                      <a:pt x="460" y="242"/>
                    </a:lnTo>
                    <a:close/>
                    <a:moveTo>
                      <a:pt x="316" y="246"/>
                    </a:moveTo>
                    <a:lnTo>
                      <a:pt x="316" y="242"/>
                    </a:lnTo>
                    <a:lnTo>
                      <a:pt x="320" y="242"/>
                    </a:lnTo>
                    <a:lnTo>
                      <a:pt x="316" y="242"/>
                    </a:lnTo>
                    <a:lnTo>
                      <a:pt x="316" y="246"/>
                    </a:lnTo>
                    <a:lnTo>
                      <a:pt x="316" y="246"/>
                    </a:lnTo>
                    <a:lnTo>
                      <a:pt x="316" y="246"/>
                    </a:lnTo>
                    <a:close/>
                    <a:moveTo>
                      <a:pt x="618" y="242"/>
                    </a:moveTo>
                    <a:lnTo>
                      <a:pt x="618" y="246"/>
                    </a:lnTo>
                    <a:lnTo>
                      <a:pt x="614" y="246"/>
                    </a:lnTo>
                    <a:lnTo>
                      <a:pt x="614" y="242"/>
                    </a:lnTo>
                    <a:lnTo>
                      <a:pt x="618" y="242"/>
                    </a:lnTo>
                    <a:lnTo>
                      <a:pt x="618" y="242"/>
                    </a:lnTo>
                    <a:lnTo>
                      <a:pt x="618" y="242"/>
                    </a:lnTo>
                    <a:close/>
                    <a:moveTo>
                      <a:pt x="476" y="242"/>
                    </a:moveTo>
                    <a:lnTo>
                      <a:pt x="480" y="242"/>
                    </a:lnTo>
                    <a:lnTo>
                      <a:pt x="476" y="242"/>
                    </a:lnTo>
                    <a:lnTo>
                      <a:pt x="476" y="242"/>
                    </a:lnTo>
                    <a:lnTo>
                      <a:pt x="476" y="242"/>
                    </a:lnTo>
                    <a:close/>
                    <a:moveTo>
                      <a:pt x="298" y="242"/>
                    </a:moveTo>
                    <a:lnTo>
                      <a:pt x="302" y="242"/>
                    </a:lnTo>
                    <a:lnTo>
                      <a:pt x="304" y="246"/>
                    </a:lnTo>
                    <a:lnTo>
                      <a:pt x="304" y="250"/>
                    </a:lnTo>
                    <a:lnTo>
                      <a:pt x="302" y="250"/>
                    </a:lnTo>
                    <a:lnTo>
                      <a:pt x="302" y="252"/>
                    </a:lnTo>
                    <a:lnTo>
                      <a:pt x="298" y="252"/>
                    </a:lnTo>
                    <a:lnTo>
                      <a:pt x="294" y="252"/>
                    </a:lnTo>
                    <a:lnTo>
                      <a:pt x="298" y="250"/>
                    </a:lnTo>
                    <a:lnTo>
                      <a:pt x="294" y="250"/>
                    </a:lnTo>
                    <a:lnTo>
                      <a:pt x="298" y="246"/>
                    </a:lnTo>
                    <a:lnTo>
                      <a:pt x="298" y="242"/>
                    </a:lnTo>
                    <a:lnTo>
                      <a:pt x="298" y="242"/>
                    </a:lnTo>
                    <a:lnTo>
                      <a:pt x="298" y="242"/>
                    </a:lnTo>
                    <a:close/>
                    <a:moveTo>
                      <a:pt x="394" y="246"/>
                    </a:moveTo>
                    <a:lnTo>
                      <a:pt x="394" y="242"/>
                    </a:lnTo>
                    <a:lnTo>
                      <a:pt x="398" y="242"/>
                    </a:lnTo>
                    <a:lnTo>
                      <a:pt x="398" y="246"/>
                    </a:lnTo>
                    <a:lnTo>
                      <a:pt x="394" y="246"/>
                    </a:lnTo>
                    <a:lnTo>
                      <a:pt x="394" y="246"/>
                    </a:lnTo>
                    <a:lnTo>
                      <a:pt x="394" y="246"/>
                    </a:lnTo>
                    <a:close/>
                    <a:moveTo>
                      <a:pt x="342" y="246"/>
                    </a:moveTo>
                    <a:lnTo>
                      <a:pt x="346" y="246"/>
                    </a:lnTo>
                    <a:lnTo>
                      <a:pt x="346" y="250"/>
                    </a:lnTo>
                    <a:lnTo>
                      <a:pt x="342" y="250"/>
                    </a:lnTo>
                    <a:lnTo>
                      <a:pt x="342" y="252"/>
                    </a:lnTo>
                    <a:lnTo>
                      <a:pt x="342" y="250"/>
                    </a:lnTo>
                    <a:lnTo>
                      <a:pt x="342" y="246"/>
                    </a:lnTo>
                    <a:lnTo>
                      <a:pt x="342" y="246"/>
                    </a:lnTo>
                    <a:lnTo>
                      <a:pt x="342" y="246"/>
                    </a:lnTo>
                    <a:close/>
                    <a:moveTo>
                      <a:pt x="390" y="250"/>
                    </a:moveTo>
                    <a:lnTo>
                      <a:pt x="394" y="246"/>
                    </a:lnTo>
                    <a:lnTo>
                      <a:pt x="394" y="250"/>
                    </a:lnTo>
                    <a:lnTo>
                      <a:pt x="390" y="250"/>
                    </a:lnTo>
                    <a:lnTo>
                      <a:pt x="390" y="250"/>
                    </a:lnTo>
                    <a:lnTo>
                      <a:pt x="390" y="250"/>
                    </a:lnTo>
                    <a:close/>
                    <a:moveTo>
                      <a:pt x="346" y="252"/>
                    </a:moveTo>
                    <a:lnTo>
                      <a:pt x="346" y="250"/>
                    </a:lnTo>
                    <a:lnTo>
                      <a:pt x="346" y="252"/>
                    </a:lnTo>
                    <a:lnTo>
                      <a:pt x="346" y="252"/>
                    </a:lnTo>
                    <a:lnTo>
                      <a:pt x="346" y="252"/>
                    </a:lnTo>
                    <a:close/>
                    <a:moveTo>
                      <a:pt x="338" y="268"/>
                    </a:move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0"/>
                    </a:lnTo>
                    <a:lnTo>
                      <a:pt x="342" y="264"/>
                    </a:lnTo>
                    <a:lnTo>
                      <a:pt x="346" y="260"/>
                    </a:lnTo>
                    <a:lnTo>
                      <a:pt x="346" y="264"/>
                    </a:lnTo>
                    <a:lnTo>
                      <a:pt x="350" y="264"/>
                    </a:lnTo>
                    <a:lnTo>
                      <a:pt x="350" y="260"/>
                    </a:lnTo>
                    <a:lnTo>
                      <a:pt x="350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0" y="268"/>
                    </a:lnTo>
                    <a:lnTo>
                      <a:pt x="360" y="272"/>
                    </a:lnTo>
                    <a:lnTo>
                      <a:pt x="364" y="272"/>
                    </a:lnTo>
                    <a:lnTo>
                      <a:pt x="364" y="276"/>
                    </a:lnTo>
                    <a:lnTo>
                      <a:pt x="360" y="276"/>
                    </a:lnTo>
                    <a:lnTo>
                      <a:pt x="360" y="280"/>
                    </a:lnTo>
                    <a:lnTo>
                      <a:pt x="358" y="280"/>
                    </a:lnTo>
                    <a:lnTo>
                      <a:pt x="354" y="280"/>
                    </a:lnTo>
                    <a:lnTo>
                      <a:pt x="354" y="276"/>
                    </a:lnTo>
                    <a:lnTo>
                      <a:pt x="350" y="276"/>
                    </a:lnTo>
                    <a:lnTo>
                      <a:pt x="350" y="272"/>
                    </a:lnTo>
                    <a:lnTo>
                      <a:pt x="346" y="272"/>
                    </a:lnTo>
                    <a:lnTo>
                      <a:pt x="346" y="268"/>
                    </a:lnTo>
                    <a:lnTo>
                      <a:pt x="342" y="268"/>
                    </a:lnTo>
                    <a:lnTo>
                      <a:pt x="338" y="268"/>
                    </a:lnTo>
                    <a:lnTo>
                      <a:pt x="338" y="268"/>
                    </a:lnTo>
                    <a:lnTo>
                      <a:pt x="338" y="268"/>
                    </a:lnTo>
                    <a:close/>
                    <a:moveTo>
                      <a:pt x="374" y="282"/>
                    </a:moveTo>
                    <a:lnTo>
                      <a:pt x="374" y="280"/>
                    </a:lnTo>
                    <a:lnTo>
                      <a:pt x="378" y="280"/>
                    </a:lnTo>
                    <a:lnTo>
                      <a:pt x="378" y="282"/>
                    </a:lnTo>
                    <a:lnTo>
                      <a:pt x="374" y="282"/>
                    </a:lnTo>
                    <a:lnTo>
                      <a:pt x="374" y="282"/>
                    </a:lnTo>
                    <a:lnTo>
                      <a:pt x="374" y="282"/>
                    </a:lnTo>
                    <a:close/>
                    <a:moveTo>
                      <a:pt x="390" y="286"/>
                    </a:moveTo>
                    <a:lnTo>
                      <a:pt x="394" y="286"/>
                    </a:lnTo>
                    <a:lnTo>
                      <a:pt x="394" y="282"/>
                    </a:lnTo>
                    <a:lnTo>
                      <a:pt x="398" y="282"/>
                    </a:lnTo>
                    <a:lnTo>
                      <a:pt x="398" y="280"/>
                    </a:lnTo>
                    <a:lnTo>
                      <a:pt x="398" y="282"/>
                    </a:lnTo>
                    <a:lnTo>
                      <a:pt x="398" y="286"/>
                    </a:lnTo>
                    <a:lnTo>
                      <a:pt x="394" y="286"/>
                    </a:lnTo>
                    <a:lnTo>
                      <a:pt x="394" y="290"/>
                    </a:lnTo>
                    <a:lnTo>
                      <a:pt x="390" y="290"/>
                    </a:lnTo>
                    <a:lnTo>
                      <a:pt x="390" y="286"/>
                    </a:lnTo>
                    <a:lnTo>
                      <a:pt x="390" y="286"/>
                    </a:lnTo>
                    <a:lnTo>
                      <a:pt x="390" y="286"/>
                    </a:lnTo>
                    <a:close/>
                    <a:moveTo>
                      <a:pt x="434" y="234"/>
                    </a:moveTo>
                    <a:lnTo>
                      <a:pt x="438" y="234"/>
                    </a:lnTo>
                    <a:lnTo>
                      <a:pt x="442" y="234"/>
                    </a:lnTo>
                    <a:lnTo>
                      <a:pt x="442" y="230"/>
                    </a:lnTo>
                    <a:lnTo>
                      <a:pt x="446" y="230"/>
                    </a:lnTo>
                    <a:lnTo>
                      <a:pt x="446" y="234"/>
                    </a:lnTo>
                    <a:lnTo>
                      <a:pt x="442" y="234"/>
                    </a:lnTo>
                    <a:lnTo>
                      <a:pt x="442" y="238"/>
                    </a:lnTo>
                    <a:lnTo>
                      <a:pt x="438" y="238"/>
                    </a:lnTo>
                    <a:lnTo>
                      <a:pt x="434" y="238"/>
                    </a:lnTo>
                    <a:lnTo>
                      <a:pt x="430" y="238"/>
                    </a:lnTo>
                    <a:lnTo>
                      <a:pt x="434" y="234"/>
                    </a:lnTo>
                    <a:lnTo>
                      <a:pt x="434" y="234"/>
                    </a:lnTo>
                    <a:lnTo>
                      <a:pt x="434" y="234"/>
                    </a:lnTo>
                    <a:close/>
                    <a:moveTo>
                      <a:pt x="412" y="242"/>
                    </a:moveTo>
                    <a:lnTo>
                      <a:pt x="416" y="242"/>
                    </a:lnTo>
                    <a:lnTo>
                      <a:pt x="420" y="242"/>
                    </a:lnTo>
                    <a:lnTo>
                      <a:pt x="424" y="242"/>
                    </a:lnTo>
                    <a:lnTo>
                      <a:pt x="424" y="246"/>
                    </a:lnTo>
                    <a:lnTo>
                      <a:pt x="420" y="246"/>
                    </a:lnTo>
                    <a:lnTo>
                      <a:pt x="416" y="246"/>
                    </a:lnTo>
                    <a:lnTo>
                      <a:pt x="412" y="246"/>
                    </a:lnTo>
                    <a:lnTo>
                      <a:pt x="412" y="242"/>
                    </a:lnTo>
                    <a:lnTo>
                      <a:pt x="412" y="242"/>
                    </a:lnTo>
                    <a:lnTo>
                      <a:pt x="412" y="242"/>
                    </a:lnTo>
                    <a:close/>
                    <a:moveTo>
                      <a:pt x="404" y="246"/>
                    </a:moveTo>
                    <a:lnTo>
                      <a:pt x="408" y="246"/>
                    </a:lnTo>
                    <a:lnTo>
                      <a:pt x="408" y="242"/>
                    </a:lnTo>
                    <a:lnTo>
                      <a:pt x="412" y="242"/>
                    </a:lnTo>
                    <a:lnTo>
                      <a:pt x="412" y="246"/>
                    </a:lnTo>
                    <a:lnTo>
                      <a:pt x="408" y="246"/>
                    </a:lnTo>
                    <a:lnTo>
                      <a:pt x="408" y="250"/>
                    </a:lnTo>
                    <a:lnTo>
                      <a:pt x="408" y="246"/>
                    </a:lnTo>
                    <a:lnTo>
                      <a:pt x="404" y="246"/>
                    </a:lnTo>
                    <a:lnTo>
                      <a:pt x="404" y="246"/>
                    </a:lnTo>
                    <a:lnTo>
                      <a:pt x="404" y="246"/>
                    </a:lnTo>
                    <a:close/>
                    <a:moveTo>
                      <a:pt x="398" y="250"/>
                    </a:moveTo>
                    <a:lnTo>
                      <a:pt x="398" y="246"/>
                    </a:lnTo>
                    <a:lnTo>
                      <a:pt x="402" y="246"/>
                    </a:lnTo>
                    <a:lnTo>
                      <a:pt x="398" y="246"/>
                    </a:lnTo>
                    <a:lnTo>
                      <a:pt x="398" y="242"/>
                    </a:lnTo>
                    <a:lnTo>
                      <a:pt x="402" y="242"/>
                    </a:lnTo>
                    <a:lnTo>
                      <a:pt x="402" y="246"/>
                    </a:lnTo>
                    <a:lnTo>
                      <a:pt x="404" y="242"/>
                    </a:lnTo>
                    <a:lnTo>
                      <a:pt x="404" y="246"/>
                    </a:lnTo>
                    <a:lnTo>
                      <a:pt x="402" y="246"/>
                    </a:lnTo>
                    <a:lnTo>
                      <a:pt x="402" y="250"/>
                    </a:lnTo>
                    <a:lnTo>
                      <a:pt x="398" y="250"/>
                    </a:lnTo>
                    <a:lnTo>
                      <a:pt x="398" y="250"/>
                    </a:lnTo>
                    <a:lnTo>
                      <a:pt x="398" y="250"/>
                    </a:lnTo>
                    <a:close/>
                    <a:moveTo>
                      <a:pt x="424" y="264"/>
                    </a:moveTo>
                    <a:lnTo>
                      <a:pt x="420" y="264"/>
                    </a:lnTo>
                    <a:lnTo>
                      <a:pt x="420" y="268"/>
                    </a:lnTo>
                    <a:lnTo>
                      <a:pt x="420" y="272"/>
                    </a:lnTo>
                    <a:lnTo>
                      <a:pt x="416" y="272"/>
                    </a:lnTo>
                    <a:lnTo>
                      <a:pt x="416" y="276"/>
                    </a:lnTo>
                    <a:lnTo>
                      <a:pt x="412" y="276"/>
                    </a:lnTo>
                    <a:lnTo>
                      <a:pt x="408" y="276"/>
                    </a:lnTo>
                    <a:lnTo>
                      <a:pt x="408" y="280"/>
                    </a:lnTo>
                    <a:lnTo>
                      <a:pt x="404" y="280"/>
                    </a:lnTo>
                    <a:lnTo>
                      <a:pt x="402" y="280"/>
                    </a:lnTo>
                    <a:lnTo>
                      <a:pt x="402" y="276"/>
                    </a:lnTo>
                    <a:lnTo>
                      <a:pt x="404" y="276"/>
                    </a:lnTo>
                    <a:lnTo>
                      <a:pt x="402" y="276"/>
                    </a:lnTo>
                    <a:lnTo>
                      <a:pt x="402" y="272"/>
                    </a:lnTo>
                    <a:lnTo>
                      <a:pt x="402" y="268"/>
                    </a:lnTo>
                    <a:lnTo>
                      <a:pt x="404" y="264"/>
                    </a:lnTo>
                    <a:lnTo>
                      <a:pt x="404" y="260"/>
                    </a:lnTo>
                    <a:lnTo>
                      <a:pt x="408" y="260"/>
                    </a:lnTo>
                    <a:lnTo>
                      <a:pt x="408" y="264"/>
                    </a:lnTo>
                    <a:lnTo>
                      <a:pt x="412" y="264"/>
                    </a:lnTo>
                    <a:lnTo>
                      <a:pt x="412" y="260"/>
                    </a:lnTo>
                    <a:lnTo>
                      <a:pt x="416" y="260"/>
                    </a:lnTo>
                    <a:lnTo>
                      <a:pt x="416" y="256"/>
                    </a:lnTo>
                    <a:lnTo>
                      <a:pt x="420" y="256"/>
                    </a:lnTo>
                    <a:lnTo>
                      <a:pt x="424" y="256"/>
                    </a:lnTo>
                    <a:lnTo>
                      <a:pt x="424" y="260"/>
                    </a:lnTo>
                    <a:lnTo>
                      <a:pt x="420" y="260"/>
                    </a:lnTo>
                    <a:lnTo>
                      <a:pt x="424" y="264"/>
                    </a:lnTo>
                    <a:lnTo>
                      <a:pt x="424" y="264"/>
                    </a:lnTo>
                    <a:lnTo>
                      <a:pt x="424" y="26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0" name="Freeform 29">
                <a:extLst>
                  <a:ext uri="{FF2B5EF4-FFF2-40B4-BE49-F238E27FC236}">
                    <a16:creationId xmlns:a16="http://schemas.microsoft.com/office/drawing/2014/main" id="{16E87FE2-7841-4C51-8A5F-F2848D1E9B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81625" y="3438593"/>
                <a:ext cx="431800" cy="431800"/>
              </a:xfrm>
              <a:custGeom>
                <a:avLst/>
                <a:gdLst>
                  <a:gd name="T0" fmla="*/ 250 w 272"/>
                  <a:gd name="T1" fmla="*/ 156 h 272"/>
                  <a:gd name="T2" fmla="*/ 242 w 272"/>
                  <a:gd name="T3" fmla="*/ 178 h 272"/>
                  <a:gd name="T4" fmla="*/ 246 w 272"/>
                  <a:gd name="T5" fmla="*/ 198 h 272"/>
                  <a:gd name="T6" fmla="*/ 264 w 272"/>
                  <a:gd name="T7" fmla="*/ 212 h 272"/>
                  <a:gd name="T8" fmla="*/ 268 w 272"/>
                  <a:gd name="T9" fmla="*/ 232 h 272"/>
                  <a:gd name="T10" fmla="*/ 264 w 272"/>
                  <a:gd name="T11" fmla="*/ 242 h 272"/>
                  <a:gd name="T12" fmla="*/ 258 w 272"/>
                  <a:gd name="T13" fmla="*/ 250 h 272"/>
                  <a:gd name="T14" fmla="*/ 250 w 272"/>
                  <a:gd name="T15" fmla="*/ 264 h 272"/>
                  <a:gd name="T16" fmla="*/ 238 w 272"/>
                  <a:gd name="T17" fmla="*/ 268 h 272"/>
                  <a:gd name="T18" fmla="*/ 228 w 272"/>
                  <a:gd name="T19" fmla="*/ 264 h 272"/>
                  <a:gd name="T20" fmla="*/ 204 w 272"/>
                  <a:gd name="T21" fmla="*/ 262 h 272"/>
                  <a:gd name="T22" fmla="*/ 190 w 272"/>
                  <a:gd name="T23" fmla="*/ 258 h 272"/>
                  <a:gd name="T24" fmla="*/ 182 w 272"/>
                  <a:gd name="T25" fmla="*/ 234 h 272"/>
                  <a:gd name="T26" fmla="*/ 164 w 272"/>
                  <a:gd name="T27" fmla="*/ 238 h 272"/>
                  <a:gd name="T28" fmla="*/ 144 w 272"/>
                  <a:gd name="T29" fmla="*/ 242 h 272"/>
                  <a:gd name="T30" fmla="*/ 126 w 272"/>
                  <a:gd name="T31" fmla="*/ 234 h 272"/>
                  <a:gd name="T32" fmla="*/ 116 w 272"/>
                  <a:gd name="T33" fmla="*/ 224 h 272"/>
                  <a:gd name="T34" fmla="*/ 100 w 272"/>
                  <a:gd name="T35" fmla="*/ 208 h 272"/>
                  <a:gd name="T36" fmla="*/ 94 w 272"/>
                  <a:gd name="T37" fmla="*/ 194 h 272"/>
                  <a:gd name="T38" fmla="*/ 86 w 272"/>
                  <a:gd name="T39" fmla="*/ 178 h 272"/>
                  <a:gd name="T40" fmla="*/ 74 w 272"/>
                  <a:gd name="T41" fmla="*/ 176 h 272"/>
                  <a:gd name="T42" fmla="*/ 68 w 272"/>
                  <a:gd name="T43" fmla="*/ 182 h 272"/>
                  <a:gd name="T44" fmla="*/ 56 w 272"/>
                  <a:gd name="T45" fmla="*/ 164 h 272"/>
                  <a:gd name="T46" fmla="*/ 52 w 272"/>
                  <a:gd name="T47" fmla="*/ 148 h 272"/>
                  <a:gd name="T48" fmla="*/ 44 w 272"/>
                  <a:gd name="T49" fmla="*/ 134 h 272"/>
                  <a:gd name="T50" fmla="*/ 30 w 272"/>
                  <a:gd name="T51" fmla="*/ 120 h 272"/>
                  <a:gd name="T52" fmla="*/ 18 w 272"/>
                  <a:gd name="T53" fmla="*/ 108 h 272"/>
                  <a:gd name="T54" fmla="*/ 26 w 272"/>
                  <a:gd name="T55" fmla="*/ 96 h 272"/>
                  <a:gd name="T56" fmla="*/ 26 w 272"/>
                  <a:gd name="T57" fmla="*/ 90 h 272"/>
                  <a:gd name="T58" fmla="*/ 30 w 272"/>
                  <a:gd name="T59" fmla="*/ 74 h 272"/>
                  <a:gd name="T60" fmla="*/ 18 w 272"/>
                  <a:gd name="T61" fmla="*/ 66 h 272"/>
                  <a:gd name="T62" fmla="*/ 12 w 272"/>
                  <a:gd name="T63" fmla="*/ 52 h 272"/>
                  <a:gd name="T64" fmla="*/ 4 w 272"/>
                  <a:gd name="T65" fmla="*/ 34 h 272"/>
                  <a:gd name="T66" fmla="*/ 4 w 272"/>
                  <a:gd name="T67" fmla="*/ 14 h 272"/>
                  <a:gd name="T68" fmla="*/ 4 w 272"/>
                  <a:gd name="T69" fmla="*/ 4 h 272"/>
                  <a:gd name="T70" fmla="*/ 14 w 272"/>
                  <a:gd name="T71" fmla="*/ 8 h 272"/>
                  <a:gd name="T72" fmla="*/ 34 w 272"/>
                  <a:gd name="T73" fmla="*/ 14 h 272"/>
                  <a:gd name="T74" fmla="*/ 48 w 272"/>
                  <a:gd name="T75" fmla="*/ 4 h 272"/>
                  <a:gd name="T76" fmla="*/ 60 w 272"/>
                  <a:gd name="T77" fmla="*/ 10 h 272"/>
                  <a:gd name="T78" fmla="*/ 64 w 272"/>
                  <a:gd name="T79" fmla="*/ 26 h 272"/>
                  <a:gd name="T80" fmla="*/ 90 w 272"/>
                  <a:gd name="T81" fmla="*/ 26 h 272"/>
                  <a:gd name="T82" fmla="*/ 108 w 272"/>
                  <a:gd name="T83" fmla="*/ 26 h 272"/>
                  <a:gd name="T84" fmla="*/ 122 w 272"/>
                  <a:gd name="T85" fmla="*/ 36 h 272"/>
                  <a:gd name="T86" fmla="*/ 142 w 272"/>
                  <a:gd name="T87" fmla="*/ 44 h 272"/>
                  <a:gd name="T88" fmla="*/ 156 w 272"/>
                  <a:gd name="T89" fmla="*/ 34 h 272"/>
                  <a:gd name="T90" fmla="*/ 174 w 272"/>
                  <a:gd name="T91" fmla="*/ 30 h 272"/>
                  <a:gd name="T92" fmla="*/ 186 w 272"/>
                  <a:gd name="T93" fmla="*/ 26 h 272"/>
                  <a:gd name="T94" fmla="*/ 208 w 272"/>
                  <a:gd name="T95" fmla="*/ 36 h 272"/>
                  <a:gd name="T96" fmla="*/ 216 w 272"/>
                  <a:gd name="T97" fmla="*/ 44 h 272"/>
                  <a:gd name="T98" fmla="*/ 234 w 272"/>
                  <a:gd name="T99" fmla="*/ 60 h 272"/>
                  <a:gd name="T100" fmla="*/ 242 w 272"/>
                  <a:gd name="T101" fmla="*/ 74 h 272"/>
                  <a:gd name="T102" fmla="*/ 242 w 272"/>
                  <a:gd name="T103" fmla="*/ 92 h 272"/>
                  <a:gd name="T104" fmla="*/ 234 w 272"/>
                  <a:gd name="T105" fmla="*/ 108 h 272"/>
                  <a:gd name="T106" fmla="*/ 234 w 272"/>
                  <a:gd name="T107" fmla="*/ 122 h 272"/>
                  <a:gd name="T108" fmla="*/ 238 w 272"/>
                  <a:gd name="T109" fmla="*/ 146 h 272"/>
                  <a:gd name="T110" fmla="*/ 168 w 272"/>
                  <a:gd name="T111" fmla="*/ 238 h 272"/>
                  <a:gd name="T112" fmla="*/ 172 w 272"/>
                  <a:gd name="T113" fmla="*/ 242 h 272"/>
                  <a:gd name="T114" fmla="*/ 168 w 272"/>
                  <a:gd name="T115" fmla="*/ 242 h 272"/>
                  <a:gd name="T116" fmla="*/ 174 w 272"/>
                  <a:gd name="T117" fmla="*/ 238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72" h="272">
                    <a:moveTo>
                      <a:pt x="238" y="146"/>
                    </a:moveTo>
                    <a:lnTo>
                      <a:pt x="238" y="148"/>
                    </a:lnTo>
                    <a:lnTo>
                      <a:pt x="238" y="152"/>
                    </a:lnTo>
                    <a:lnTo>
                      <a:pt x="242" y="156"/>
                    </a:lnTo>
                    <a:lnTo>
                      <a:pt x="246" y="156"/>
                    </a:lnTo>
                    <a:lnTo>
                      <a:pt x="250" y="156"/>
                    </a:lnTo>
                    <a:lnTo>
                      <a:pt x="250" y="160"/>
                    </a:lnTo>
                    <a:lnTo>
                      <a:pt x="254" y="160"/>
                    </a:lnTo>
                    <a:lnTo>
                      <a:pt x="254" y="164"/>
                    </a:lnTo>
                    <a:lnTo>
                      <a:pt x="250" y="168"/>
                    </a:lnTo>
                    <a:lnTo>
                      <a:pt x="246" y="176"/>
                    </a:lnTo>
                    <a:lnTo>
                      <a:pt x="242" y="178"/>
                    </a:lnTo>
                    <a:lnTo>
                      <a:pt x="242" y="182"/>
                    </a:lnTo>
                    <a:lnTo>
                      <a:pt x="238" y="182"/>
                    </a:lnTo>
                    <a:lnTo>
                      <a:pt x="238" y="186"/>
                    </a:lnTo>
                    <a:lnTo>
                      <a:pt x="242" y="186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50" y="202"/>
                    </a:lnTo>
                    <a:lnTo>
                      <a:pt x="250" y="206"/>
                    </a:lnTo>
                    <a:lnTo>
                      <a:pt x="254" y="208"/>
                    </a:lnTo>
                    <a:lnTo>
                      <a:pt x="258" y="208"/>
                    </a:lnTo>
                    <a:lnTo>
                      <a:pt x="262" y="212"/>
                    </a:lnTo>
                    <a:lnTo>
                      <a:pt x="264" y="212"/>
                    </a:lnTo>
                    <a:lnTo>
                      <a:pt x="264" y="216"/>
                    </a:lnTo>
                    <a:lnTo>
                      <a:pt x="264" y="220"/>
                    </a:lnTo>
                    <a:lnTo>
                      <a:pt x="264" y="224"/>
                    </a:lnTo>
                    <a:lnTo>
                      <a:pt x="264" y="228"/>
                    </a:lnTo>
                    <a:lnTo>
                      <a:pt x="264" y="232"/>
                    </a:lnTo>
                    <a:lnTo>
                      <a:pt x="268" y="232"/>
                    </a:lnTo>
                    <a:lnTo>
                      <a:pt x="272" y="232"/>
                    </a:lnTo>
                    <a:lnTo>
                      <a:pt x="272" y="234"/>
                    </a:lnTo>
                    <a:lnTo>
                      <a:pt x="272" y="238"/>
                    </a:lnTo>
                    <a:lnTo>
                      <a:pt x="272" y="242"/>
                    </a:lnTo>
                    <a:lnTo>
                      <a:pt x="268" y="242"/>
                    </a:lnTo>
                    <a:lnTo>
                      <a:pt x="264" y="242"/>
                    </a:lnTo>
                    <a:lnTo>
                      <a:pt x="264" y="246"/>
                    </a:lnTo>
                    <a:lnTo>
                      <a:pt x="262" y="246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8" y="246"/>
                    </a:lnTo>
                    <a:lnTo>
                      <a:pt x="258" y="250"/>
                    </a:lnTo>
                    <a:lnTo>
                      <a:pt x="254" y="250"/>
                    </a:lnTo>
                    <a:lnTo>
                      <a:pt x="254" y="254"/>
                    </a:lnTo>
                    <a:lnTo>
                      <a:pt x="254" y="258"/>
                    </a:lnTo>
                    <a:lnTo>
                      <a:pt x="250" y="258"/>
                    </a:lnTo>
                    <a:lnTo>
                      <a:pt x="250" y="262"/>
                    </a:lnTo>
                    <a:lnTo>
                      <a:pt x="250" y="264"/>
                    </a:lnTo>
                    <a:lnTo>
                      <a:pt x="250" y="268"/>
                    </a:lnTo>
                    <a:lnTo>
                      <a:pt x="246" y="268"/>
                    </a:lnTo>
                    <a:lnTo>
                      <a:pt x="246" y="272"/>
                    </a:lnTo>
                    <a:lnTo>
                      <a:pt x="242" y="272"/>
                    </a:lnTo>
                    <a:lnTo>
                      <a:pt x="242" y="268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4" y="264"/>
                    </a:lnTo>
                    <a:lnTo>
                      <a:pt x="232" y="264"/>
                    </a:lnTo>
                    <a:lnTo>
                      <a:pt x="232" y="268"/>
                    </a:lnTo>
                    <a:lnTo>
                      <a:pt x="232" y="264"/>
                    </a:lnTo>
                    <a:lnTo>
                      <a:pt x="228" y="264"/>
                    </a:lnTo>
                    <a:lnTo>
                      <a:pt x="224" y="264"/>
                    </a:lnTo>
                    <a:lnTo>
                      <a:pt x="220" y="264"/>
                    </a:lnTo>
                    <a:lnTo>
                      <a:pt x="216" y="264"/>
                    </a:lnTo>
                    <a:lnTo>
                      <a:pt x="212" y="264"/>
                    </a:lnTo>
                    <a:lnTo>
                      <a:pt x="208" y="262"/>
                    </a:lnTo>
                    <a:lnTo>
                      <a:pt x="204" y="262"/>
                    </a:lnTo>
                    <a:lnTo>
                      <a:pt x="202" y="262"/>
                    </a:lnTo>
                    <a:lnTo>
                      <a:pt x="202" y="264"/>
                    </a:lnTo>
                    <a:lnTo>
                      <a:pt x="198" y="262"/>
                    </a:lnTo>
                    <a:lnTo>
                      <a:pt x="194" y="262"/>
                    </a:lnTo>
                    <a:lnTo>
                      <a:pt x="190" y="262"/>
                    </a:lnTo>
                    <a:lnTo>
                      <a:pt x="190" y="258"/>
                    </a:lnTo>
                    <a:lnTo>
                      <a:pt x="186" y="258"/>
                    </a:lnTo>
                    <a:lnTo>
                      <a:pt x="186" y="254"/>
                    </a:lnTo>
                    <a:lnTo>
                      <a:pt x="186" y="246"/>
                    </a:lnTo>
                    <a:lnTo>
                      <a:pt x="186" y="242"/>
                    </a:lnTo>
                    <a:lnTo>
                      <a:pt x="182" y="238"/>
                    </a:lnTo>
                    <a:lnTo>
                      <a:pt x="182" y="234"/>
                    </a:lnTo>
                    <a:lnTo>
                      <a:pt x="178" y="234"/>
                    </a:lnTo>
                    <a:lnTo>
                      <a:pt x="174" y="234"/>
                    </a:lnTo>
                    <a:lnTo>
                      <a:pt x="172" y="234"/>
                    </a:lnTo>
                    <a:lnTo>
                      <a:pt x="168" y="234"/>
                    </a:lnTo>
                    <a:lnTo>
                      <a:pt x="164" y="234"/>
                    </a:lnTo>
                    <a:lnTo>
                      <a:pt x="164" y="238"/>
                    </a:lnTo>
                    <a:lnTo>
                      <a:pt x="164" y="242"/>
                    </a:lnTo>
                    <a:lnTo>
                      <a:pt x="160" y="242"/>
                    </a:lnTo>
                    <a:lnTo>
                      <a:pt x="156" y="242"/>
                    </a:lnTo>
                    <a:lnTo>
                      <a:pt x="152" y="246"/>
                    </a:lnTo>
                    <a:lnTo>
                      <a:pt x="148" y="242"/>
                    </a:lnTo>
                    <a:lnTo>
                      <a:pt x="144" y="242"/>
                    </a:lnTo>
                    <a:lnTo>
                      <a:pt x="142" y="242"/>
                    </a:lnTo>
                    <a:lnTo>
                      <a:pt x="138" y="242"/>
                    </a:lnTo>
                    <a:lnTo>
                      <a:pt x="134" y="238"/>
                    </a:lnTo>
                    <a:lnTo>
                      <a:pt x="134" y="234"/>
                    </a:lnTo>
                    <a:lnTo>
                      <a:pt x="130" y="234"/>
                    </a:lnTo>
                    <a:lnTo>
                      <a:pt x="126" y="234"/>
                    </a:lnTo>
                    <a:lnTo>
                      <a:pt x="126" y="232"/>
                    </a:lnTo>
                    <a:lnTo>
                      <a:pt x="122" y="232"/>
                    </a:lnTo>
                    <a:lnTo>
                      <a:pt x="122" y="228"/>
                    </a:lnTo>
                    <a:lnTo>
                      <a:pt x="118" y="228"/>
                    </a:lnTo>
                    <a:lnTo>
                      <a:pt x="118" y="224"/>
                    </a:lnTo>
                    <a:lnTo>
                      <a:pt x="116" y="224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6"/>
                    </a:lnTo>
                    <a:lnTo>
                      <a:pt x="98" y="206"/>
                    </a:lnTo>
                    <a:lnTo>
                      <a:pt x="98" y="202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90" y="186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6" y="178"/>
                    </a:lnTo>
                    <a:lnTo>
                      <a:pt x="82" y="178"/>
                    </a:lnTo>
                    <a:lnTo>
                      <a:pt x="78" y="182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6"/>
                    </a:lnTo>
                    <a:lnTo>
                      <a:pt x="74" y="176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68" y="176"/>
                    </a:lnTo>
                    <a:lnTo>
                      <a:pt x="70" y="178"/>
                    </a:lnTo>
                    <a:lnTo>
                      <a:pt x="70" y="182"/>
                    </a:lnTo>
                    <a:lnTo>
                      <a:pt x="68" y="182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56"/>
                    </a:lnTo>
                    <a:lnTo>
                      <a:pt x="52" y="152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6"/>
                    </a:lnTo>
                    <a:lnTo>
                      <a:pt x="52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4" y="138"/>
                    </a:lnTo>
                    <a:lnTo>
                      <a:pt x="44" y="134"/>
                    </a:lnTo>
                    <a:lnTo>
                      <a:pt x="40" y="134"/>
                    </a:lnTo>
                    <a:lnTo>
                      <a:pt x="38" y="130"/>
                    </a:lnTo>
                    <a:lnTo>
                      <a:pt x="34" y="126"/>
                    </a:lnTo>
                    <a:lnTo>
                      <a:pt x="30" y="126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2" y="116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22" y="96"/>
                    </a:lnTo>
                    <a:lnTo>
                      <a:pt x="26" y="96"/>
                    </a:lnTo>
                    <a:lnTo>
                      <a:pt x="22" y="96"/>
                    </a:lnTo>
                    <a:lnTo>
                      <a:pt x="22" y="92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26" y="92"/>
                    </a:lnTo>
                    <a:lnTo>
                      <a:pt x="26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0" y="8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56" y="14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2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18" y="36"/>
                    </a:lnTo>
                    <a:lnTo>
                      <a:pt x="122" y="36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30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52" y="40"/>
                    </a:lnTo>
                    <a:lnTo>
                      <a:pt x="152" y="36"/>
                    </a:lnTo>
                    <a:lnTo>
                      <a:pt x="156" y="36"/>
                    </a:lnTo>
                    <a:lnTo>
                      <a:pt x="156" y="34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4" y="30"/>
                    </a:lnTo>
                    <a:lnTo>
                      <a:pt x="174" y="26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2" y="30"/>
                    </a:lnTo>
                    <a:lnTo>
                      <a:pt x="186" y="30"/>
                    </a:lnTo>
                    <a:lnTo>
                      <a:pt x="186" y="26"/>
                    </a:lnTo>
                    <a:lnTo>
                      <a:pt x="190" y="30"/>
                    </a:lnTo>
                    <a:lnTo>
                      <a:pt x="190" y="34"/>
                    </a:lnTo>
                    <a:lnTo>
                      <a:pt x="194" y="34"/>
                    </a:lnTo>
                    <a:lnTo>
                      <a:pt x="202" y="36"/>
                    </a:lnTo>
                    <a:lnTo>
                      <a:pt x="204" y="40"/>
                    </a:lnTo>
                    <a:lnTo>
                      <a:pt x="208" y="36"/>
                    </a:lnTo>
                    <a:lnTo>
                      <a:pt x="208" y="40"/>
                    </a:lnTo>
                    <a:lnTo>
                      <a:pt x="208" y="36"/>
                    </a:lnTo>
                    <a:lnTo>
                      <a:pt x="212" y="36"/>
                    </a:lnTo>
                    <a:lnTo>
                      <a:pt x="212" y="40"/>
                    </a:lnTo>
                    <a:lnTo>
                      <a:pt x="216" y="40"/>
                    </a:lnTo>
                    <a:lnTo>
                      <a:pt x="216" y="44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32" y="60"/>
                    </a:lnTo>
                    <a:lnTo>
                      <a:pt x="234" y="60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2" y="64"/>
                    </a:lnTo>
                    <a:lnTo>
                      <a:pt x="242" y="66"/>
                    </a:lnTo>
                    <a:lnTo>
                      <a:pt x="242" y="70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6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90"/>
                    </a:lnTo>
                    <a:lnTo>
                      <a:pt x="242" y="92"/>
                    </a:lnTo>
                    <a:lnTo>
                      <a:pt x="238" y="96"/>
                    </a:lnTo>
                    <a:lnTo>
                      <a:pt x="234" y="96"/>
                    </a:lnTo>
                    <a:lnTo>
                      <a:pt x="238" y="100"/>
                    </a:lnTo>
                    <a:lnTo>
                      <a:pt x="234" y="100"/>
                    </a:lnTo>
                    <a:lnTo>
                      <a:pt x="234" y="104"/>
                    </a:lnTo>
                    <a:lnTo>
                      <a:pt x="234" y="108"/>
                    </a:lnTo>
                    <a:lnTo>
                      <a:pt x="234" y="112"/>
                    </a:lnTo>
                    <a:lnTo>
                      <a:pt x="234" y="116"/>
                    </a:lnTo>
                    <a:lnTo>
                      <a:pt x="238" y="116"/>
                    </a:lnTo>
                    <a:lnTo>
                      <a:pt x="238" y="120"/>
                    </a:lnTo>
                    <a:lnTo>
                      <a:pt x="234" y="120"/>
                    </a:lnTo>
                    <a:lnTo>
                      <a:pt x="234" y="122"/>
                    </a:lnTo>
                    <a:lnTo>
                      <a:pt x="234" y="126"/>
                    </a:lnTo>
                    <a:lnTo>
                      <a:pt x="234" y="130"/>
                    </a:lnTo>
                    <a:lnTo>
                      <a:pt x="234" y="134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6"/>
                    </a:lnTo>
                    <a:lnTo>
                      <a:pt x="238" y="146"/>
                    </a:lnTo>
                    <a:lnTo>
                      <a:pt x="238" y="146"/>
                    </a:lnTo>
                    <a:close/>
                    <a:moveTo>
                      <a:pt x="164" y="238"/>
                    </a:moveTo>
                    <a:lnTo>
                      <a:pt x="164" y="242"/>
                    </a:lnTo>
                    <a:lnTo>
                      <a:pt x="164" y="238"/>
                    </a:lnTo>
                    <a:lnTo>
                      <a:pt x="168" y="238"/>
                    </a:lnTo>
                    <a:lnTo>
                      <a:pt x="164" y="238"/>
                    </a:lnTo>
                    <a:lnTo>
                      <a:pt x="164" y="238"/>
                    </a:lnTo>
                    <a:lnTo>
                      <a:pt x="164" y="238"/>
                    </a:lnTo>
                    <a:close/>
                    <a:moveTo>
                      <a:pt x="174" y="238"/>
                    </a:moveTo>
                    <a:lnTo>
                      <a:pt x="172" y="238"/>
                    </a:lnTo>
                    <a:lnTo>
                      <a:pt x="172" y="242"/>
                    </a:lnTo>
                    <a:lnTo>
                      <a:pt x="168" y="242"/>
                    </a:lnTo>
                    <a:lnTo>
                      <a:pt x="164" y="242"/>
                    </a:lnTo>
                    <a:lnTo>
                      <a:pt x="160" y="246"/>
                    </a:lnTo>
                    <a:lnTo>
                      <a:pt x="160" y="242"/>
                    </a:lnTo>
                    <a:lnTo>
                      <a:pt x="164" y="242"/>
                    </a:lnTo>
                    <a:lnTo>
                      <a:pt x="168" y="242"/>
                    </a:lnTo>
                    <a:lnTo>
                      <a:pt x="168" y="238"/>
                    </a:lnTo>
                    <a:lnTo>
                      <a:pt x="172" y="238"/>
                    </a:lnTo>
                    <a:lnTo>
                      <a:pt x="172" y="234"/>
                    </a:lnTo>
                    <a:lnTo>
                      <a:pt x="174" y="238"/>
                    </a:lnTo>
                    <a:lnTo>
                      <a:pt x="174" y="238"/>
                    </a:lnTo>
                    <a:lnTo>
                      <a:pt x="174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1" name="Freeform 30">
                <a:extLst>
                  <a:ext uri="{FF2B5EF4-FFF2-40B4-BE49-F238E27FC236}">
                    <a16:creationId xmlns:a16="http://schemas.microsoft.com/office/drawing/2014/main" id="{7CC5E9CD-04B7-44A2-9248-561C4F170F8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64150" y="3508443"/>
                <a:ext cx="219075" cy="244475"/>
              </a:xfrm>
              <a:custGeom>
                <a:avLst/>
                <a:gdLst>
                  <a:gd name="T0" fmla="*/ 4 w 138"/>
                  <a:gd name="T1" fmla="*/ 90 h 154"/>
                  <a:gd name="T2" fmla="*/ 14 w 138"/>
                  <a:gd name="T3" fmla="*/ 68 h 154"/>
                  <a:gd name="T4" fmla="*/ 34 w 138"/>
                  <a:gd name="T5" fmla="*/ 56 h 154"/>
                  <a:gd name="T6" fmla="*/ 34 w 138"/>
                  <a:gd name="T7" fmla="*/ 40 h 154"/>
                  <a:gd name="T8" fmla="*/ 38 w 138"/>
                  <a:gd name="T9" fmla="*/ 38 h 154"/>
                  <a:gd name="T10" fmla="*/ 38 w 138"/>
                  <a:gd name="T11" fmla="*/ 34 h 154"/>
                  <a:gd name="T12" fmla="*/ 38 w 138"/>
                  <a:gd name="T13" fmla="*/ 18 h 154"/>
                  <a:gd name="T14" fmla="*/ 52 w 138"/>
                  <a:gd name="T15" fmla="*/ 4 h 154"/>
                  <a:gd name="T16" fmla="*/ 56 w 138"/>
                  <a:gd name="T17" fmla="*/ 0 h 154"/>
                  <a:gd name="T18" fmla="*/ 60 w 138"/>
                  <a:gd name="T19" fmla="*/ 0 h 154"/>
                  <a:gd name="T20" fmla="*/ 74 w 138"/>
                  <a:gd name="T21" fmla="*/ 4 h 154"/>
                  <a:gd name="T22" fmla="*/ 74 w 138"/>
                  <a:gd name="T23" fmla="*/ 0 h 154"/>
                  <a:gd name="T24" fmla="*/ 78 w 138"/>
                  <a:gd name="T25" fmla="*/ 4 h 154"/>
                  <a:gd name="T26" fmla="*/ 82 w 138"/>
                  <a:gd name="T27" fmla="*/ 4 h 154"/>
                  <a:gd name="T28" fmla="*/ 86 w 138"/>
                  <a:gd name="T29" fmla="*/ 4 h 154"/>
                  <a:gd name="T30" fmla="*/ 86 w 138"/>
                  <a:gd name="T31" fmla="*/ 8 h 154"/>
                  <a:gd name="T32" fmla="*/ 86 w 138"/>
                  <a:gd name="T33" fmla="*/ 10 h 154"/>
                  <a:gd name="T34" fmla="*/ 90 w 138"/>
                  <a:gd name="T35" fmla="*/ 14 h 154"/>
                  <a:gd name="T36" fmla="*/ 90 w 138"/>
                  <a:gd name="T37" fmla="*/ 18 h 154"/>
                  <a:gd name="T38" fmla="*/ 94 w 138"/>
                  <a:gd name="T39" fmla="*/ 18 h 154"/>
                  <a:gd name="T40" fmla="*/ 96 w 138"/>
                  <a:gd name="T41" fmla="*/ 26 h 154"/>
                  <a:gd name="T42" fmla="*/ 100 w 138"/>
                  <a:gd name="T43" fmla="*/ 30 h 154"/>
                  <a:gd name="T44" fmla="*/ 104 w 138"/>
                  <a:gd name="T45" fmla="*/ 30 h 154"/>
                  <a:gd name="T46" fmla="*/ 108 w 138"/>
                  <a:gd name="T47" fmla="*/ 30 h 154"/>
                  <a:gd name="T48" fmla="*/ 104 w 138"/>
                  <a:gd name="T49" fmla="*/ 30 h 154"/>
                  <a:gd name="T50" fmla="*/ 104 w 138"/>
                  <a:gd name="T51" fmla="*/ 38 h 154"/>
                  <a:gd name="T52" fmla="*/ 104 w 138"/>
                  <a:gd name="T53" fmla="*/ 40 h 154"/>
                  <a:gd name="T54" fmla="*/ 100 w 138"/>
                  <a:gd name="T55" fmla="*/ 44 h 154"/>
                  <a:gd name="T56" fmla="*/ 96 w 138"/>
                  <a:gd name="T57" fmla="*/ 48 h 154"/>
                  <a:gd name="T58" fmla="*/ 100 w 138"/>
                  <a:gd name="T59" fmla="*/ 52 h 154"/>
                  <a:gd name="T60" fmla="*/ 96 w 138"/>
                  <a:gd name="T61" fmla="*/ 56 h 154"/>
                  <a:gd name="T62" fmla="*/ 96 w 138"/>
                  <a:gd name="T63" fmla="*/ 60 h 154"/>
                  <a:gd name="T64" fmla="*/ 96 w 138"/>
                  <a:gd name="T65" fmla="*/ 64 h 154"/>
                  <a:gd name="T66" fmla="*/ 100 w 138"/>
                  <a:gd name="T67" fmla="*/ 70 h 154"/>
                  <a:gd name="T68" fmla="*/ 100 w 138"/>
                  <a:gd name="T69" fmla="*/ 74 h 154"/>
                  <a:gd name="T70" fmla="*/ 104 w 138"/>
                  <a:gd name="T71" fmla="*/ 74 h 154"/>
                  <a:gd name="T72" fmla="*/ 104 w 138"/>
                  <a:gd name="T73" fmla="*/ 78 h 154"/>
                  <a:gd name="T74" fmla="*/ 104 w 138"/>
                  <a:gd name="T75" fmla="*/ 82 h 154"/>
                  <a:gd name="T76" fmla="*/ 108 w 138"/>
                  <a:gd name="T77" fmla="*/ 82 h 154"/>
                  <a:gd name="T78" fmla="*/ 112 w 138"/>
                  <a:gd name="T79" fmla="*/ 86 h 154"/>
                  <a:gd name="T80" fmla="*/ 116 w 138"/>
                  <a:gd name="T81" fmla="*/ 90 h 154"/>
                  <a:gd name="T82" fmla="*/ 120 w 138"/>
                  <a:gd name="T83" fmla="*/ 94 h 154"/>
                  <a:gd name="T84" fmla="*/ 126 w 138"/>
                  <a:gd name="T85" fmla="*/ 98 h 154"/>
                  <a:gd name="T86" fmla="*/ 130 w 138"/>
                  <a:gd name="T87" fmla="*/ 104 h 154"/>
                  <a:gd name="T88" fmla="*/ 126 w 138"/>
                  <a:gd name="T89" fmla="*/ 116 h 154"/>
                  <a:gd name="T90" fmla="*/ 130 w 138"/>
                  <a:gd name="T91" fmla="*/ 120 h 154"/>
                  <a:gd name="T92" fmla="*/ 130 w 138"/>
                  <a:gd name="T93" fmla="*/ 130 h 154"/>
                  <a:gd name="T94" fmla="*/ 138 w 138"/>
                  <a:gd name="T95" fmla="*/ 134 h 154"/>
                  <a:gd name="T96" fmla="*/ 138 w 138"/>
                  <a:gd name="T97" fmla="*/ 138 h 154"/>
                  <a:gd name="T98" fmla="*/ 134 w 138"/>
                  <a:gd name="T99" fmla="*/ 138 h 154"/>
                  <a:gd name="T100" fmla="*/ 130 w 138"/>
                  <a:gd name="T101" fmla="*/ 138 h 154"/>
                  <a:gd name="T102" fmla="*/ 124 w 138"/>
                  <a:gd name="T103" fmla="*/ 134 h 154"/>
                  <a:gd name="T104" fmla="*/ 120 w 138"/>
                  <a:gd name="T105" fmla="*/ 138 h 154"/>
                  <a:gd name="T106" fmla="*/ 116 w 138"/>
                  <a:gd name="T107" fmla="*/ 150 h 154"/>
                  <a:gd name="T108" fmla="*/ 112 w 138"/>
                  <a:gd name="T109" fmla="*/ 154 h 154"/>
                  <a:gd name="T110" fmla="*/ 104 w 138"/>
                  <a:gd name="T111" fmla="*/ 154 h 154"/>
                  <a:gd name="T112" fmla="*/ 38 w 138"/>
                  <a:gd name="T113" fmla="*/ 112 h 154"/>
                  <a:gd name="T114" fmla="*/ 8 w 138"/>
                  <a:gd name="T115" fmla="*/ 98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8" h="154">
                    <a:moveTo>
                      <a:pt x="8" y="98"/>
                    </a:move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0"/>
                    </a:lnTo>
                    <a:lnTo>
                      <a:pt x="12" y="68"/>
                    </a:lnTo>
                    <a:lnTo>
                      <a:pt x="14" y="68"/>
                    </a:lnTo>
                    <a:lnTo>
                      <a:pt x="18" y="64"/>
                    </a:lnTo>
                    <a:lnTo>
                      <a:pt x="18" y="64"/>
                    </a:lnTo>
                    <a:lnTo>
                      <a:pt x="22" y="64"/>
                    </a:lnTo>
                    <a:lnTo>
                      <a:pt x="26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4"/>
                    </a:lnTo>
                    <a:lnTo>
                      <a:pt x="44" y="1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96" y="26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0" y="34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4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78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4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2" y="86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16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4"/>
                    </a:lnTo>
                    <a:lnTo>
                      <a:pt x="124" y="98"/>
                    </a:lnTo>
                    <a:lnTo>
                      <a:pt x="126" y="98"/>
                    </a:lnTo>
                    <a:lnTo>
                      <a:pt x="126" y="100"/>
                    </a:lnTo>
                    <a:lnTo>
                      <a:pt x="126" y="100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6" y="108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2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16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0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28"/>
                    </a:lnTo>
                    <a:lnTo>
                      <a:pt x="130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4" y="130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8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30" y="138"/>
                    </a:lnTo>
                    <a:lnTo>
                      <a:pt x="126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4" y="134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38"/>
                    </a:lnTo>
                    <a:lnTo>
                      <a:pt x="120" y="142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12" y="154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86" y="154"/>
                    </a:lnTo>
                    <a:lnTo>
                      <a:pt x="70" y="138"/>
                    </a:lnTo>
                    <a:lnTo>
                      <a:pt x="60" y="130"/>
                    </a:lnTo>
                    <a:lnTo>
                      <a:pt x="60" y="128"/>
                    </a:lnTo>
                    <a:lnTo>
                      <a:pt x="48" y="116"/>
                    </a:lnTo>
                    <a:lnTo>
                      <a:pt x="38" y="112"/>
                    </a:lnTo>
                    <a:lnTo>
                      <a:pt x="22" y="100"/>
                    </a:lnTo>
                    <a:lnTo>
                      <a:pt x="18" y="100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2" name="Freeform 31">
                <a:extLst>
                  <a:ext uri="{FF2B5EF4-FFF2-40B4-BE49-F238E27FC236}">
                    <a16:creationId xmlns:a16="http://schemas.microsoft.com/office/drawing/2014/main" id="{8EDAE1F1-D81C-4E68-83D5-22F7011C69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2550" y="3632268"/>
                <a:ext cx="28575" cy="107950"/>
              </a:xfrm>
              <a:custGeom>
                <a:avLst/>
                <a:gdLst>
                  <a:gd name="T0" fmla="*/ 14 w 18"/>
                  <a:gd name="T1" fmla="*/ 46 h 68"/>
                  <a:gd name="T2" fmla="*/ 14 w 18"/>
                  <a:gd name="T3" fmla="*/ 50 h 68"/>
                  <a:gd name="T4" fmla="*/ 12 w 18"/>
                  <a:gd name="T5" fmla="*/ 56 h 68"/>
                  <a:gd name="T6" fmla="*/ 12 w 18"/>
                  <a:gd name="T7" fmla="*/ 60 h 68"/>
                  <a:gd name="T8" fmla="*/ 12 w 18"/>
                  <a:gd name="T9" fmla="*/ 60 h 68"/>
                  <a:gd name="T10" fmla="*/ 12 w 18"/>
                  <a:gd name="T11" fmla="*/ 68 h 68"/>
                  <a:gd name="T12" fmla="*/ 8 w 18"/>
                  <a:gd name="T13" fmla="*/ 68 h 68"/>
                  <a:gd name="T14" fmla="*/ 8 w 18"/>
                  <a:gd name="T15" fmla="*/ 68 h 68"/>
                  <a:gd name="T16" fmla="*/ 4 w 18"/>
                  <a:gd name="T17" fmla="*/ 52 h 68"/>
                  <a:gd name="T18" fmla="*/ 4 w 18"/>
                  <a:gd name="T19" fmla="*/ 46 h 68"/>
                  <a:gd name="T20" fmla="*/ 0 w 18"/>
                  <a:gd name="T21" fmla="*/ 38 h 68"/>
                  <a:gd name="T22" fmla="*/ 4 w 18"/>
                  <a:gd name="T23" fmla="*/ 34 h 68"/>
                  <a:gd name="T24" fmla="*/ 4 w 18"/>
                  <a:gd name="T25" fmla="*/ 30 h 68"/>
                  <a:gd name="T26" fmla="*/ 4 w 18"/>
                  <a:gd name="T27" fmla="*/ 26 h 68"/>
                  <a:gd name="T28" fmla="*/ 8 w 18"/>
                  <a:gd name="T29" fmla="*/ 22 h 68"/>
                  <a:gd name="T30" fmla="*/ 8 w 18"/>
                  <a:gd name="T31" fmla="*/ 20 h 68"/>
                  <a:gd name="T32" fmla="*/ 12 w 18"/>
                  <a:gd name="T33" fmla="*/ 8 h 68"/>
                  <a:gd name="T34" fmla="*/ 12 w 18"/>
                  <a:gd name="T35" fmla="*/ 8 h 68"/>
                  <a:gd name="T36" fmla="*/ 12 w 18"/>
                  <a:gd name="T37" fmla="*/ 8 h 68"/>
                  <a:gd name="T38" fmla="*/ 12 w 18"/>
                  <a:gd name="T39" fmla="*/ 4 h 68"/>
                  <a:gd name="T40" fmla="*/ 14 w 18"/>
                  <a:gd name="T41" fmla="*/ 4 h 68"/>
                  <a:gd name="T42" fmla="*/ 18 w 18"/>
                  <a:gd name="T43" fmla="*/ 4 h 68"/>
                  <a:gd name="T44" fmla="*/ 18 w 18"/>
                  <a:gd name="T45" fmla="*/ 0 h 68"/>
                  <a:gd name="T46" fmla="*/ 18 w 18"/>
                  <a:gd name="T47" fmla="*/ 0 h 68"/>
                  <a:gd name="T48" fmla="*/ 18 w 18"/>
                  <a:gd name="T49" fmla="*/ 0 h 68"/>
                  <a:gd name="T50" fmla="*/ 18 w 18"/>
                  <a:gd name="T51" fmla="*/ 4 h 68"/>
                  <a:gd name="T52" fmla="*/ 18 w 18"/>
                  <a:gd name="T53" fmla="*/ 8 h 68"/>
                  <a:gd name="T54" fmla="*/ 18 w 18"/>
                  <a:gd name="T55" fmla="*/ 8 h 68"/>
                  <a:gd name="T56" fmla="*/ 18 w 18"/>
                  <a:gd name="T57" fmla="*/ 12 h 68"/>
                  <a:gd name="T58" fmla="*/ 18 w 18"/>
                  <a:gd name="T59" fmla="*/ 16 h 68"/>
                  <a:gd name="T60" fmla="*/ 14 w 18"/>
                  <a:gd name="T61" fmla="*/ 12 h 68"/>
                  <a:gd name="T62" fmla="*/ 14 w 18"/>
                  <a:gd name="T63" fmla="*/ 12 h 68"/>
                  <a:gd name="T64" fmla="*/ 12 w 18"/>
                  <a:gd name="T65" fmla="*/ 16 h 68"/>
                  <a:gd name="T66" fmla="*/ 12 w 18"/>
                  <a:gd name="T67" fmla="*/ 20 h 68"/>
                  <a:gd name="T68" fmla="*/ 12 w 18"/>
                  <a:gd name="T69" fmla="*/ 22 h 68"/>
                  <a:gd name="T70" fmla="*/ 12 w 18"/>
                  <a:gd name="T71" fmla="*/ 26 h 68"/>
                  <a:gd name="T72" fmla="*/ 12 w 18"/>
                  <a:gd name="T73" fmla="*/ 26 h 68"/>
                  <a:gd name="T74" fmla="*/ 12 w 18"/>
                  <a:gd name="T75" fmla="*/ 26 h 68"/>
                  <a:gd name="T76" fmla="*/ 12 w 18"/>
                  <a:gd name="T77" fmla="*/ 30 h 68"/>
                  <a:gd name="T78" fmla="*/ 8 w 18"/>
                  <a:gd name="T79" fmla="*/ 34 h 68"/>
                  <a:gd name="T80" fmla="*/ 12 w 18"/>
                  <a:gd name="T81" fmla="*/ 34 h 68"/>
                  <a:gd name="T82" fmla="*/ 14 w 18"/>
                  <a:gd name="T83" fmla="*/ 34 h 68"/>
                  <a:gd name="T84" fmla="*/ 18 w 18"/>
                  <a:gd name="T85" fmla="*/ 30 h 68"/>
                  <a:gd name="T86" fmla="*/ 18 w 18"/>
                  <a:gd name="T87" fmla="*/ 34 h 68"/>
                  <a:gd name="T88" fmla="*/ 18 w 18"/>
                  <a:gd name="T89" fmla="*/ 38 h 68"/>
                  <a:gd name="T90" fmla="*/ 14 w 18"/>
                  <a:gd name="T91" fmla="*/ 42 h 68"/>
                  <a:gd name="T92" fmla="*/ 14 w 18"/>
                  <a:gd name="T93" fmla="*/ 26 h 68"/>
                  <a:gd name="T94" fmla="*/ 14 w 18"/>
                  <a:gd name="T95" fmla="*/ 26 h 68"/>
                  <a:gd name="T96" fmla="*/ 14 w 18"/>
                  <a:gd name="T97" fmla="*/ 2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68">
                    <a:moveTo>
                      <a:pt x="14" y="42"/>
                    </a:move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close/>
                    <a:moveTo>
                      <a:pt x="14" y="26"/>
                    </a:move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3" name="Freeform 32">
                <a:extLst>
                  <a:ext uri="{FF2B5EF4-FFF2-40B4-BE49-F238E27FC236}">
                    <a16:creationId xmlns:a16="http://schemas.microsoft.com/office/drawing/2014/main" id="{C9AA3501-42F7-41EE-9D83-11280880A0C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65975" y="3254443"/>
                <a:ext cx="498475" cy="638175"/>
              </a:xfrm>
              <a:custGeom>
                <a:avLst/>
                <a:gdLst>
                  <a:gd name="T0" fmla="*/ 98 w 314"/>
                  <a:gd name="T1" fmla="*/ 250 h 402"/>
                  <a:gd name="T2" fmla="*/ 278 w 314"/>
                  <a:gd name="T3" fmla="*/ 70 h 402"/>
                  <a:gd name="T4" fmla="*/ 240 w 314"/>
                  <a:gd name="T5" fmla="*/ 60 h 402"/>
                  <a:gd name="T6" fmla="*/ 248 w 314"/>
                  <a:gd name="T7" fmla="*/ 78 h 402"/>
                  <a:gd name="T8" fmla="*/ 228 w 314"/>
                  <a:gd name="T9" fmla="*/ 66 h 402"/>
                  <a:gd name="T10" fmla="*/ 244 w 314"/>
                  <a:gd name="T11" fmla="*/ 48 h 402"/>
                  <a:gd name="T12" fmla="*/ 258 w 314"/>
                  <a:gd name="T13" fmla="*/ 26 h 402"/>
                  <a:gd name="T14" fmla="*/ 270 w 314"/>
                  <a:gd name="T15" fmla="*/ 12 h 402"/>
                  <a:gd name="T16" fmla="*/ 296 w 314"/>
                  <a:gd name="T17" fmla="*/ 34 h 402"/>
                  <a:gd name="T18" fmla="*/ 310 w 314"/>
                  <a:gd name="T19" fmla="*/ 42 h 402"/>
                  <a:gd name="T20" fmla="*/ 296 w 314"/>
                  <a:gd name="T21" fmla="*/ 52 h 402"/>
                  <a:gd name="T22" fmla="*/ 252 w 314"/>
                  <a:gd name="T23" fmla="*/ 8 h 402"/>
                  <a:gd name="T24" fmla="*/ 226 w 314"/>
                  <a:gd name="T25" fmla="*/ 66 h 402"/>
                  <a:gd name="T26" fmla="*/ 136 w 314"/>
                  <a:gd name="T27" fmla="*/ 216 h 402"/>
                  <a:gd name="T28" fmla="*/ 116 w 314"/>
                  <a:gd name="T29" fmla="*/ 224 h 402"/>
                  <a:gd name="T30" fmla="*/ 120 w 314"/>
                  <a:gd name="T31" fmla="*/ 208 h 402"/>
                  <a:gd name="T32" fmla="*/ 136 w 314"/>
                  <a:gd name="T33" fmla="*/ 194 h 402"/>
                  <a:gd name="T34" fmla="*/ 166 w 314"/>
                  <a:gd name="T35" fmla="*/ 190 h 402"/>
                  <a:gd name="T36" fmla="*/ 176 w 314"/>
                  <a:gd name="T37" fmla="*/ 194 h 402"/>
                  <a:gd name="T38" fmla="*/ 188 w 314"/>
                  <a:gd name="T39" fmla="*/ 164 h 402"/>
                  <a:gd name="T40" fmla="*/ 192 w 314"/>
                  <a:gd name="T41" fmla="*/ 172 h 402"/>
                  <a:gd name="T42" fmla="*/ 218 w 314"/>
                  <a:gd name="T43" fmla="*/ 148 h 402"/>
                  <a:gd name="T44" fmla="*/ 236 w 314"/>
                  <a:gd name="T45" fmla="*/ 118 h 402"/>
                  <a:gd name="T46" fmla="*/ 232 w 314"/>
                  <a:gd name="T47" fmla="*/ 96 h 402"/>
                  <a:gd name="T48" fmla="*/ 248 w 314"/>
                  <a:gd name="T49" fmla="*/ 90 h 402"/>
                  <a:gd name="T50" fmla="*/ 252 w 314"/>
                  <a:gd name="T51" fmla="*/ 82 h 402"/>
                  <a:gd name="T52" fmla="*/ 262 w 314"/>
                  <a:gd name="T53" fmla="*/ 116 h 402"/>
                  <a:gd name="T54" fmla="*/ 254 w 314"/>
                  <a:gd name="T55" fmla="*/ 142 h 402"/>
                  <a:gd name="T56" fmla="*/ 244 w 314"/>
                  <a:gd name="T57" fmla="*/ 172 h 402"/>
                  <a:gd name="T58" fmla="*/ 236 w 314"/>
                  <a:gd name="T59" fmla="*/ 202 h 402"/>
                  <a:gd name="T60" fmla="*/ 228 w 314"/>
                  <a:gd name="T61" fmla="*/ 198 h 402"/>
                  <a:gd name="T62" fmla="*/ 214 w 314"/>
                  <a:gd name="T63" fmla="*/ 202 h 402"/>
                  <a:gd name="T64" fmla="*/ 196 w 314"/>
                  <a:gd name="T65" fmla="*/ 208 h 402"/>
                  <a:gd name="T66" fmla="*/ 184 w 314"/>
                  <a:gd name="T67" fmla="*/ 212 h 402"/>
                  <a:gd name="T68" fmla="*/ 176 w 314"/>
                  <a:gd name="T69" fmla="*/ 230 h 402"/>
                  <a:gd name="T70" fmla="*/ 166 w 314"/>
                  <a:gd name="T71" fmla="*/ 212 h 402"/>
                  <a:gd name="T72" fmla="*/ 210 w 314"/>
                  <a:gd name="T73" fmla="*/ 148 h 402"/>
                  <a:gd name="T74" fmla="*/ 214 w 314"/>
                  <a:gd name="T75" fmla="*/ 142 h 402"/>
                  <a:gd name="T76" fmla="*/ 80 w 314"/>
                  <a:gd name="T77" fmla="*/ 216 h 402"/>
                  <a:gd name="T78" fmla="*/ 158 w 314"/>
                  <a:gd name="T79" fmla="*/ 220 h 402"/>
                  <a:gd name="T80" fmla="*/ 150 w 314"/>
                  <a:gd name="T81" fmla="*/ 234 h 402"/>
                  <a:gd name="T82" fmla="*/ 132 w 314"/>
                  <a:gd name="T83" fmla="*/ 246 h 402"/>
                  <a:gd name="T84" fmla="*/ 124 w 314"/>
                  <a:gd name="T85" fmla="*/ 234 h 402"/>
                  <a:gd name="T86" fmla="*/ 146 w 314"/>
                  <a:gd name="T87" fmla="*/ 220 h 402"/>
                  <a:gd name="T88" fmla="*/ 80 w 314"/>
                  <a:gd name="T89" fmla="*/ 224 h 402"/>
                  <a:gd name="T90" fmla="*/ 128 w 314"/>
                  <a:gd name="T91" fmla="*/ 220 h 402"/>
                  <a:gd name="T92" fmla="*/ 90 w 314"/>
                  <a:gd name="T93" fmla="*/ 238 h 402"/>
                  <a:gd name="T94" fmla="*/ 106 w 314"/>
                  <a:gd name="T95" fmla="*/ 230 h 402"/>
                  <a:gd name="T96" fmla="*/ 120 w 314"/>
                  <a:gd name="T97" fmla="*/ 246 h 402"/>
                  <a:gd name="T98" fmla="*/ 106 w 314"/>
                  <a:gd name="T99" fmla="*/ 272 h 402"/>
                  <a:gd name="T100" fmla="*/ 98 w 314"/>
                  <a:gd name="T101" fmla="*/ 272 h 402"/>
                  <a:gd name="T102" fmla="*/ 98 w 314"/>
                  <a:gd name="T103" fmla="*/ 258 h 402"/>
                  <a:gd name="T104" fmla="*/ 98 w 314"/>
                  <a:gd name="T105" fmla="*/ 246 h 402"/>
                  <a:gd name="T106" fmla="*/ 90 w 314"/>
                  <a:gd name="T107" fmla="*/ 228 h 402"/>
                  <a:gd name="T108" fmla="*/ 86 w 314"/>
                  <a:gd name="T109" fmla="*/ 234 h 402"/>
                  <a:gd name="T110" fmla="*/ 76 w 314"/>
                  <a:gd name="T111" fmla="*/ 250 h 402"/>
                  <a:gd name="T112" fmla="*/ 90 w 314"/>
                  <a:gd name="T113" fmla="*/ 258 h 402"/>
                  <a:gd name="T114" fmla="*/ 98 w 314"/>
                  <a:gd name="T115" fmla="*/ 294 h 402"/>
                  <a:gd name="T116" fmla="*/ 86 w 314"/>
                  <a:gd name="T117" fmla="*/ 324 h 402"/>
                  <a:gd name="T118" fmla="*/ 60 w 314"/>
                  <a:gd name="T119" fmla="*/ 362 h 402"/>
                  <a:gd name="T120" fmla="*/ 68 w 314"/>
                  <a:gd name="T121" fmla="*/ 354 h 402"/>
                  <a:gd name="T122" fmla="*/ 12 w 314"/>
                  <a:gd name="T123" fmla="*/ 398 h 4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14" h="402">
                    <a:moveTo>
                      <a:pt x="128" y="228"/>
                    </a:moveTo>
                    <a:lnTo>
                      <a:pt x="124" y="228"/>
                    </a:lnTo>
                    <a:lnTo>
                      <a:pt x="124" y="224"/>
                    </a:lnTo>
                    <a:lnTo>
                      <a:pt x="124" y="228"/>
                    </a:lnTo>
                    <a:lnTo>
                      <a:pt x="124" y="224"/>
                    </a:lnTo>
                    <a:lnTo>
                      <a:pt x="128" y="224"/>
                    </a:lnTo>
                    <a:lnTo>
                      <a:pt x="128" y="228"/>
                    </a:lnTo>
                    <a:lnTo>
                      <a:pt x="128" y="228"/>
                    </a:lnTo>
                    <a:lnTo>
                      <a:pt x="128" y="228"/>
                    </a:lnTo>
                    <a:close/>
                    <a:moveTo>
                      <a:pt x="94" y="254"/>
                    </a:moveTo>
                    <a:lnTo>
                      <a:pt x="98" y="250"/>
                    </a:lnTo>
                    <a:lnTo>
                      <a:pt x="98" y="254"/>
                    </a:lnTo>
                    <a:lnTo>
                      <a:pt x="94" y="254"/>
                    </a:lnTo>
                    <a:lnTo>
                      <a:pt x="94" y="254"/>
                    </a:lnTo>
                    <a:lnTo>
                      <a:pt x="94" y="254"/>
                    </a:lnTo>
                    <a:close/>
                    <a:moveTo>
                      <a:pt x="288" y="56"/>
                    </a:moveTo>
                    <a:lnTo>
                      <a:pt x="284" y="60"/>
                    </a:lnTo>
                    <a:lnTo>
                      <a:pt x="282" y="60"/>
                    </a:lnTo>
                    <a:lnTo>
                      <a:pt x="282" y="62"/>
                    </a:lnTo>
                    <a:lnTo>
                      <a:pt x="282" y="66"/>
                    </a:lnTo>
                    <a:lnTo>
                      <a:pt x="282" y="70"/>
                    </a:lnTo>
                    <a:lnTo>
                      <a:pt x="278" y="70"/>
                    </a:lnTo>
                    <a:lnTo>
                      <a:pt x="274" y="66"/>
                    </a:lnTo>
                    <a:lnTo>
                      <a:pt x="270" y="66"/>
                    </a:lnTo>
                    <a:lnTo>
                      <a:pt x="266" y="62"/>
                    </a:lnTo>
                    <a:lnTo>
                      <a:pt x="262" y="62"/>
                    </a:lnTo>
                    <a:lnTo>
                      <a:pt x="262" y="60"/>
                    </a:lnTo>
                    <a:lnTo>
                      <a:pt x="258" y="60"/>
                    </a:lnTo>
                    <a:lnTo>
                      <a:pt x="254" y="60"/>
                    </a:lnTo>
                    <a:lnTo>
                      <a:pt x="252" y="62"/>
                    </a:lnTo>
                    <a:lnTo>
                      <a:pt x="248" y="62"/>
                    </a:lnTo>
                    <a:lnTo>
                      <a:pt x="244" y="60"/>
                    </a:lnTo>
                    <a:lnTo>
                      <a:pt x="240" y="60"/>
                    </a:lnTo>
                    <a:lnTo>
                      <a:pt x="240" y="62"/>
                    </a:lnTo>
                    <a:lnTo>
                      <a:pt x="236" y="62"/>
                    </a:lnTo>
                    <a:lnTo>
                      <a:pt x="236" y="66"/>
                    </a:lnTo>
                    <a:lnTo>
                      <a:pt x="240" y="66"/>
                    </a:lnTo>
                    <a:lnTo>
                      <a:pt x="244" y="66"/>
                    </a:lnTo>
                    <a:lnTo>
                      <a:pt x="244" y="70"/>
                    </a:lnTo>
                    <a:lnTo>
                      <a:pt x="248" y="70"/>
                    </a:lnTo>
                    <a:lnTo>
                      <a:pt x="248" y="74"/>
                    </a:lnTo>
                    <a:lnTo>
                      <a:pt x="252" y="74"/>
                    </a:lnTo>
                    <a:lnTo>
                      <a:pt x="248" y="74"/>
                    </a:lnTo>
                    <a:lnTo>
                      <a:pt x="248" y="78"/>
                    </a:lnTo>
                    <a:lnTo>
                      <a:pt x="244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36" y="82"/>
                    </a:lnTo>
                    <a:lnTo>
                      <a:pt x="232" y="82"/>
                    </a:lnTo>
                    <a:lnTo>
                      <a:pt x="232" y="78"/>
                    </a:lnTo>
                    <a:lnTo>
                      <a:pt x="236" y="74"/>
                    </a:lnTo>
                    <a:lnTo>
                      <a:pt x="236" y="70"/>
                    </a:lnTo>
                    <a:lnTo>
                      <a:pt x="232" y="70"/>
                    </a:lnTo>
                    <a:lnTo>
                      <a:pt x="232" y="66"/>
                    </a:lnTo>
                    <a:lnTo>
                      <a:pt x="228" y="66"/>
                    </a:lnTo>
                    <a:lnTo>
                      <a:pt x="228" y="62"/>
                    </a:lnTo>
                    <a:lnTo>
                      <a:pt x="232" y="62"/>
                    </a:lnTo>
                    <a:lnTo>
                      <a:pt x="232" y="60"/>
                    </a:lnTo>
                    <a:lnTo>
                      <a:pt x="232" y="56"/>
                    </a:lnTo>
                    <a:lnTo>
                      <a:pt x="236" y="56"/>
                    </a:lnTo>
                    <a:lnTo>
                      <a:pt x="240" y="56"/>
                    </a:lnTo>
                    <a:lnTo>
                      <a:pt x="240" y="52"/>
                    </a:lnTo>
                    <a:lnTo>
                      <a:pt x="240" y="48"/>
                    </a:lnTo>
                    <a:lnTo>
                      <a:pt x="240" y="46"/>
                    </a:lnTo>
                    <a:lnTo>
                      <a:pt x="244" y="46"/>
                    </a:lnTo>
                    <a:lnTo>
                      <a:pt x="244" y="48"/>
                    </a:lnTo>
                    <a:lnTo>
                      <a:pt x="248" y="48"/>
                    </a:lnTo>
                    <a:lnTo>
                      <a:pt x="252" y="48"/>
                    </a:lnTo>
                    <a:lnTo>
                      <a:pt x="252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2" y="38"/>
                    </a:lnTo>
                    <a:lnTo>
                      <a:pt x="254" y="38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0"/>
                    </a:lnTo>
                    <a:lnTo>
                      <a:pt x="258" y="26"/>
                    </a:lnTo>
                    <a:lnTo>
                      <a:pt x="258" y="22"/>
                    </a:lnTo>
                    <a:lnTo>
                      <a:pt x="258" y="20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8"/>
                    </a:lnTo>
                    <a:lnTo>
                      <a:pt x="258" y="4"/>
                    </a:lnTo>
                    <a:lnTo>
                      <a:pt x="262" y="0"/>
                    </a:lnTo>
                    <a:lnTo>
                      <a:pt x="262" y="4"/>
                    </a:lnTo>
                    <a:lnTo>
                      <a:pt x="266" y="4"/>
                    </a:lnTo>
                    <a:lnTo>
                      <a:pt x="266" y="8"/>
                    </a:lnTo>
                    <a:lnTo>
                      <a:pt x="270" y="12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20"/>
                    </a:lnTo>
                    <a:lnTo>
                      <a:pt x="278" y="20"/>
                    </a:lnTo>
                    <a:lnTo>
                      <a:pt x="278" y="22"/>
                    </a:lnTo>
                    <a:lnTo>
                      <a:pt x="282" y="26"/>
                    </a:lnTo>
                    <a:lnTo>
                      <a:pt x="284" y="26"/>
                    </a:lnTo>
                    <a:lnTo>
                      <a:pt x="284" y="30"/>
                    </a:lnTo>
                    <a:lnTo>
                      <a:pt x="288" y="30"/>
                    </a:lnTo>
                    <a:lnTo>
                      <a:pt x="292" y="30"/>
                    </a:lnTo>
                    <a:lnTo>
                      <a:pt x="296" y="34"/>
                    </a:lnTo>
                    <a:lnTo>
                      <a:pt x="300" y="34"/>
                    </a:lnTo>
                    <a:lnTo>
                      <a:pt x="302" y="34"/>
                    </a:lnTo>
                    <a:lnTo>
                      <a:pt x="302" y="30"/>
                    </a:lnTo>
                    <a:lnTo>
                      <a:pt x="306" y="30"/>
                    </a:lnTo>
                    <a:lnTo>
                      <a:pt x="306" y="26"/>
                    </a:lnTo>
                    <a:lnTo>
                      <a:pt x="310" y="26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6" y="38"/>
                    </a:lnTo>
                    <a:lnTo>
                      <a:pt x="306" y="42"/>
                    </a:lnTo>
                    <a:lnTo>
                      <a:pt x="310" y="42"/>
                    </a:lnTo>
                    <a:lnTo>
                      <a:pt x="306" y="42"/>
                    </a:lnTo>
                    <a:lnTo>
                      <a:pt x="306" y="46"/>
                    </a:lnTo>
                    <a:lnTo>
                      <a:pt x="310" y="46"/>
                    </a:lnTo>
                    <a:lnTo>
                      <a:pt x="314" y="46"/>
                    </a:lnTo>
                    <a:lnTo>
                      <a:pt x="310" y="46"/>
                    </a:lnTo>
                    <a:lnTo>
                      <a:pt x="310" y="48"/>
                    </a:lnTo>
                    <a:lnTo>
                      <a:pt x="306" y="48"/>
                    </a:lnTo>
                    <a:lnTo>
                      <a:pt x="302" y="52"/>
                    </a:lnTo>
                    <a:lnTo>
                      <a:pt x="302" y="48"/>
                    </a:lnTo>
                    <a:lnTo>
                      <a:pt x="300" y="52"/>
                    </a:lnTo>
                    <a:lnTo>
                      <a:pt x="296" y="52"/>
                    </a:lnTo>
                    <a:lnTo>
                      <a:pt x="292" y="52"/>
                    </a:lnTo>
                    <a:lnTo>
                      <a:pt x="288" y="52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close/>
                    <a:moveTo>
                      <a:pt x="248" y="4"/>
                    </a:moveTo>
                    <a:lnTo>
                      <a:pt x="248" y="8"/>
                    </a:lnTo>
                    <a:lnTo>
                      <a:pt x="248" y="4"/>
                    </a:lnTo>
                    <a:lnTo>
                      <a:pt x="248" y="4"/>
                    </a:lnTo>
                    <a:lnTo>
                      <a:pt x="248" y="4"/>
                    </a:lnTo>
                    <a:close/>
                    <a:moveTo>
                      <a:pt x="252" y="8"/>
                    </a:moveTo>
                    <a:lnTo>
                      <a:pt x="252" y="12"/>
                    </a:lnTo>
                    <a:lnTo>
                      <a:pt x="252" y="8"/>
                    </a:lnTo>
                    <a:lnTo>
                      <a:pt x="252" y="8"/>
                    </a:lnTo>
                    <a:lnTo>
                      <a:pt x="252" y="8"/>
                    </a:lnTo>
                    <a:close/>
                    <a:moveTo>
                      <a:pt x="226" y="66"/>
                    </a:moveTo>
                    <a:lnTo>
                      <a:pt x="228" y="66"/>
                    </a:lnTo>
                    <a:lnTo>
                      <a:pt x="226" y="66"/>
                    </a:lnTo>
                    <a:lnTo>
                      <a:pt x="226" y="70"/>
                    </a:lnTo>
                    <a:lnTo>
                      <a:pt x="226" y="66"/>
                    </a:lnTo>
                    <a:lnTo>
                      <a:pt x="226" y="66"/>
                    </a:lnTo>
                    <a:lnTo>
                      <a:pt x="226" y="66"/>
                    </a:lnTo>
                    <a:close/>
                    <a:moveTo>
                      <a:pt x="154" y="208"/>
                    </a:moveTo>
                    <a:lnTo>
                      <a:pt x="150" y="208"/>
                    </a:lnTo>
                    <a:lnTo>
                      <a:pt x="150" y="212"/>
                    </a:lnTo>
                    <a:lnTo>
                      <a:pt x="146" y="212"/>
                    </a:lnTo>
                    <a:lnTo>
                      <a:pt x="150" y="212"/>
                    </a:lnTo>
                    <a:lnTo>
                      <a:pt x="146" y="216"/>
                    </a:lnTo>
                    <a:lnTo>
                      <a:pt x="142" y="212"/>
                    </a:lnTo>
                    <a:lnTo>
                      <a:pt x="142" y="216"/>
                    </a:lnTo>
                    <a:lnTo>
                      <a:pt x="140" y="216"/>
                    </a:lnTo>
                    <a:lnTo>
                      <a:pt x="136" y="220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4" y="224"/>
                    </a:lnTo>
                    <a:lnTo>
                      <a:pt x="120" y="224"/>
                    </a:lnTo>
                    <a:lnTo>
                      <a:pt x="124" y="228"/>
                    </a:lnTo>
                    <a:lnTo>
                      <a:pt x="120" y="228"/>
                    </a:lnTo>
                    <a:lnTo>
                      <a:pt x="116" y="224"/>
                    </a:lnTo>
                    <a:lnTo>
                      <a:pt x="112" y="224"/>
                    </a:lnTo>
                    <a:lnTo>
                      <a:pt x="110" y="224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6" y="216"/>
                    </a:lnTo>
                    <a:lnTo>
                      <a:pt x="110" y="216"/>
                    </a:lnTo>
                    <a:lnTo>
                      <a:pt x="112" y="216"/>
                    </a:lnTo>
                    <a:lnTo>
                      <a:pt x="112" y="212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24" y="204"/>
                    </a:lnTo>
                    <a:lnTo>
                      <a:pt x="124" y="202"/>
                    </a:lnTo>
                    <a:lnTo>
                      <a:pt x="128" y="202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194"/>
                    </a:lnTo>
                    <a:lnTo>
                      <a:pt x="140" y="194"/>
                    </a:lnTo>
                    <a:lnTo>
                      <a:pt x="140" y="198"/>
                    </a:lnTo>
                    <a:lnTo>
                      <a:pt x="142" y="198"/>
                    </a:lnTo>
                    <a:lnTo>
                      <a:pt x="142" y="194"/>
                    </a:lnTo>
                    <a:lnTo>
                      <a:pt x="142" y="198"/>
                    </a:lnTo>
                    <a:lnTo>
                      <a:pt x="146" y="198"/>
                    </a:lnTo>
                    <a:lnTo>
                      <a:pt x="150" y="194"/>
                    </a:lnTo>
                    <a:lnTo>
                      <a:pt x="154" y="194"/>
                    </a:lnTo>
                    <a:lnTo>
                      <a:pt x="158" y="194"/>
                    </a:lnTo>
                    <a:lnTo>
                      <a:pt x="162" y="194"/>
                    </a:lnTo>
                    <a:lnTo>
                      <a:pt x="166" y="190"/>
                    </a:lnTo>
                    <a:lnTo>
                      <a:pt x="166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2" y="198"/>
                    </a:lnTo>
                    <a:lnTo>
                      <a:pt x="172" y="194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94"/>
                    </a:lnTo>
                    <a:lnTo>
                      <a:pt x="176" y="190"/>
                    </a:lnTo>
                    <a:lnTo>
                      <a:pt x="176" y="186"/>
                    </a:lnTo>
                    <a:lnTo>
                      <a:pt x="176" y="182"/>
                    </a:lnTo>
                    <a:lnTo>
                      <a:pt x="180" y="182"/>
                    </a:lnTo>
                    <a:lnTo>
                      <a:pt x="180" y="178"/>
                    </a:lnTo>
                    <a:lnTo>
                      <a:pt x="184" y="178"/>
                    </a:lnTo>
                    <a:lnTo>
                      <a:pt x="184" y="174"/>
                    </a:lnTo>
                    <a:lnTo>
                      <a:pt x="188" y="174"/>
                    </a:lnTo>
                    <a:lnTo>
                      <a:pt x="188" y="172"/>
                    </a:lnTo>
                    <a:lnTo>
                      <a:pt x="188" y="168"/>
                    </a:lnTo>
                    <a:lnTo>
                      <a:pt x="188" y="164"/>
                    </a:lnTo>
                    <a:lnTo>
                      <a:pt x="188" y="160"/>
                    </a:lnTo>
                    <a:lnTo>
                      <a:pt x="192" y="160"/>
                    </a:lnTo>
                    <a:lnTo>
                      <a:pt x="192" y="156"/>
                    </a:lnTo>
                    <a:lnTo>
                      <a:pt x="196" y="156"/>
                    </a:lnTo>
                    <a:lnTo>
                      <a:pt x="196" y="160"/>
                    </a:lnTo>
                    <a:lnTo>
                      <a:pt x="192" y="160"/>
                    </a:lnTo>
                    <a:lnTo>
                      <a:pt x="192" y="164"/>
                    </a:lnTo>
                    <a:lnTo>
                      <a:pt x="188" y="164"/>
                    </a:lnTo>
                    <a:lnTo>
                      <a:pt x="188" y="168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96" y="172"/>
                    </a:lnTo>
                    <a:lnTo>
                      <a:pt x="196" y="168"/>
                    </a:lnTo>
                    <a:lnTo>
                      <a:pt x="198" y="168"/>
                    </a:lnTo>
                    <a:lnTo>
                      <a:pt x="202" y="168"/>
                    </a:lnTo>
                    <a:lnTo>
                      <a:pt x="206" y="164"/>
                    </a:lnTo>
                    <a:lnTo>
                      <a:pt x="210" y="164"/>
                    </a:lnTo>
                    <a:lnTo>
                      <a:pt x="214" y="160"/>
                    </a:lnTo>
                    <a:lnTo>
                      <a:pt x="214" y="156"/>
                    </a:lnTo>
                    <a:lnTo>
                      <a:pt x="218" y="156"/>
                    </a:lnTo>
                    <a:lnTo>
                      <a:pt x="218" y="152"/>
                    </a:lnTo>
                    <a:lnTo>
                      <a:pt x="218" y="148"/>
                    </a:lnTo>
                    <a:lnTo>
                      <a:pt x="222" y="148"/>
                    </a:lnTo>
                    <a:lnTo>
                      <a:pt x="226" y="148"/>
                    </a:lnTo>
                    <a:lnTo>
                      <a:pt x="226" y="146"/>
                    </a:lnTo>
                    <a:lnTo>
                      <a:pt x="226" y="142"/>
                    </a:lnTo>
                    <a:lnTo>
                      <a:pt x="228" y="138"/>
                    </a:lnTo>
                    <a:lnTo>
                      <a:pt x="228" y="134"/>
                    </a:lnTo>
                    <a:lnTo>
                      <a:pt x="228" y="130"/>
                    </a:lnTo>
                    <a:lnTo>
                      <a:pt x="232" y="126"/>
                    </a:lnTo>
                    <a:lnTo>
                      <a:pt x="232" y="122"/>
                    </a:lnTo>
                    <a:lnTo>
                      <a:pt x="232" y="118"/>
                    </a:lnTo>
                    <a:lnTo>
                      <a:pt x="236" y="118"/>
                    </a:lnTo>
                    <a:lnTo>
                      <a:pt x="236" y="116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28" y="112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32" y="112"/>
                    </a:lnTo>
                    <a:lnTo>
                      <a:pt x="232" y="108"/>
                    </a:lnTo>
                    <a:lnTo>
                      <a:pt x="232" y="104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6" y="96"/>
                    </a:lnTo>
                    <a:lnTo>
                      <a:pt x="236" y="92"/>
                    </a:lnTo>
                    <a:lnTo>
                      <a:pt x="240" y="90"/>
                    </a:lnTo>
                    <a:lnTo>
                      <a:pt x="236" y="90"/>
                    </a:lnTo>
                    <a:lnTo>
                      <a:pt x="240" y="90"/>
                    </a:lnTo>
                    <a:lnTo>
                      <a:pt x="240" y="86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4" y="92"/>
                    </a:lnTo>
                    <a:lnTo>
                      <a:pt x="248" y="92"/>
                    </a:lnTo>
                    <a:lnTo>
                      <a:pt x="248" y="90"/>
                    </a:lnTo>
                    <a:lnTo>
                      <a:pt x="248" y="92"/>
                    </a:lnTo>
                    <a:lnTo>
                      <a:pt x="252" y="92"/>
                    </a:lnTo>
                    <a:lnTo>
                      <a:pt x="252" y="90"/>
                    </a:lnTo>
                    <a:lnTo>
                      <a:pt x="252" y="86"/>
                    </a:lnTo>
                    <a:lnTo>
                      <a:pt x="248" y="86"/>
                    </a:lnTo>
                    <a:lnTo>
                      <a:pt x="244" y="90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8" y="78"/>
                    </a:lnTo>
                    <a:lnTo>
                      <a:pt x="248" y="82"/>
                    </a:lnTo>
                    <a:lnTo>
                      <a:pt x="252" y="82"/>
                    </a:lnTo>
                    <a:lnTo>
                      <a:pt x="254" y="82"/>
                    </a:lnTo>
                    <a:lnTo>
                      <a:pt x="254" y="86"/>
                    </a:lnTo>
                    <a:lnTo>
                      <a:pt x="254" y="92"/>
                    </a:lnTo>
                    <a:lnTo>
                      <a:pt x="254" y="96"/>
                    </a:lnTo>
                    <a:lnTo>
                      <a:pt x="254" y="100"/>
                    </a:lnTo>
                    <a:lnTo>
                      <a:pt x="258" y="100"/>
                    </a:lnTo>
                    <a:lnTo>
                      <a:pt x="258" y="104"/>
                    </a:lnTo>
                    <a:lnTo>
                      <a:pt x="258" y="108"/>
                    </a:lnTo>
                    <a:lnTo>
                      <a:pt x="262" y="108"/>
                    </a:lnTo>
                    <a:lnTo>
                      <a:pt x="262" y="112"/>
                    </a:lnTo>
                    <a:lnTo>
                      <a:pt x="262" y="116"/>
                    </a:lnTo>
                    <a:lnTo>
                      <a:pt x="262" y="118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4" y="134"/>
                    </a:lnTo>
                    <a:lnTo>
                      <a:pt x="254" y="138"/>
                    </a:lnTo>
                    <a:lnTo>
                      <a:pt x="254" y="142"/>
                    </a:lnTo>
                    <a:lnTo>
                      <a:pt x="252" y="142"/>
                    </a:lnTo>
                    <a:lnTo>
                      <a:pt x="248" y="142"/>
                    </a:lnTo>
                    <a:lnTo>
                      <a:pt x="248" y="146"/>
                    </a:lnTo>
                    <a:lnTo>
                      <a:pt x="248" y="148"/>
                    </a:lnTo>
                    <a:lnTo>
                      <a:pt x="248" y="152"/>
                    </a:lnTo>
                    <a:lnTo>
                      <a:pt x="248" y="156"/>
                    </a:lnTo>
                    <a:lnTo>
                      <a:pt x="248" y="160"/>
                    </a:lnTo>
                    <a:lnTo>
                      <a:pt x="248" y="164"/>
                    </a:lnTo>
                    <a:lnTo>
                      <a:pt x="248" y="168"/>
                    </a:lnTo>
                    <a:lnTo>
                      <a:pt x="244" y="168"/>
                    </a:lnTo>
                    <a:lnTo>
                      <a:pt x="244" y="172"/>
                    </a:lnTo>
                    <a:lnTo>
                      <a:pt x="244" y="174"/>
                    </a:lnTo>
                    <a:lnTo>
                      <a:pt x="244" y="178"/>
                    </a:lnTo>
                    <a:lnTo>
                      <a:pt x="240" y="182"/>
                    </a:lnTo>
                    <a:lnTo>
                      <a:pt x="244" y="182"/>
                    </a:lnTo>
                    <a:lnTo>
                      <a:pt x="244" y="186"/>
                    </a:lnTo>
                    <a:lnTo>
                      <a:pt x="244" y="190"/>
                    </a:lnTo>
                    <a:lnTo>
                      <a:pt x="244" y="194"/>
                    </a:lnTo>
                    <a:lnTo>
                      <a:pt x="240" y="194"/>
                    </a:lnTo>
                    <a:lnTo>
                      <a:pt x="240" y="198"/>
                    </a:lnTo>
                    <a:lnTo>
                      <a:pt x="240" y="202"/>
                    </a:lnTo>
                    <a:lnTo>
                      <a:pt x="236" y="202"/>
                    </a:lnTo>
                    <a:lnTo>
                      <a:pt x="236" y="204"/>
                    </a:lnTo>
                    <a:lnTo>
                      <a:pt x="232" y="204"/>
                    </a:lnTo>
                    <a:lnTo>
                      <a:pt x="232" y="208"/>
                    </a:lnTo>
                    <a:lnTo>
                      <a:pt x="228" y="204"/>
                    </a:lnTo>
                    <a:lnTo>
                      <a:pt x="232" y="204"/>
                    </a:lnTo>
                    <a:lnTo>
                      <a:pt x="232" y="202"/>
                    </a:lnTo>
                    <a:lnTo>
                      <a:pt x="232" y="198"/>
                    </a:lnTo>
                    <a:lnTo>
                      <a:pt x="236" y="194"/>
                    </a:lnTo>
                    <a:lnTo>
                      <a:pt x="232" y="194"/>
                    </a:lnTo>
                    <a:lnTo>
                      <a:pt x="228" y="194"/>
                    </a:lnTo>
                    <a:lnTo>
                      <a:pt x="228" y="198"/>
                    </a:lnTo>
                    <a:lnTo>
                      <a:pt x="228" y="202"/>
                    </a:lnTo>
                    <a:lnTo>
                      <a:pt x="226" y="198"/>
                    </a:lnTo>
                    <a:lnTo>
                      <a:pt x="226" y="202"/>
                    </a:lnTo>
                    <a:lnTo>
                      <a:pt x="222" y="202"/>
                    </a:lnTo>
                    <a:lnTo>
                      <a:pt x="222" y="204"/>
                    </a:lnTo>
                    <a:lnTo>
                      <a:pt x="222" y="208"/>
                    </a:lnTo>
                    <a:lnTo>
                      <a:pt x="218" y="212"/>
                    </a:lnTo>
                    <a:lnTo>
                      <a:pt x="218" y="208"/>
                    </a:lnTo>
                    <a:lnTo>
                      <a:pt x="218" y="204"/>
                    </a:lnTo>
                    <a:lnTo>
                      <a:pt x="218" y="202"/>
                    </a:lnTo>
                    <a:lnTo>
                      <a:pt x="214" y="202"/>
                    </a:lnTo>
                    <a:lnTo>
                      <a:pt x="214" y="204"/>
                    </a:lnTo>
                    <a:lnTo>
                      <a:pt x="210" y="208"/>
                    </a:lnTo>
                    <a:lnTo>
                      <a:pt x="206" y="212"/>
                    </a:lnTo>
                    <a:lnTo>
                      <a:pt x="210" y="212"/>
                    </a:lnTo>
                    <a:lnTo>
                      <a:pt x="206" y="212"/>
                    </a:lnTo>
                    <a:lnTo>
                      <a:pt x="202" y="212"/>
                    </a:lnTo>
                    <a:lnTo>
                      <a:pt x="198" y="212"/>
                    </a:lnTo>
                    <a:lnTo>
                      <a:pt x="196" y="212"/>
                    </a:lnTo>
                    <a:lnTo>
                      <a:pt x="192" y="212"/>
                    </a:lnTo>
                    <a:lnTo>
                      <a:pt x="196" y="212"/>
                    </a:lnTo>
                    <a:lnTo>
                      <a:pt x="196" y="208"/>
                    </a:lnTo>
                    <a:lnTo>
                      <a:pt x="192" y="208"/>
                    </a:lnTo>
                    <a:lnTo>
                      <a:pt x="192" y="204"/>
                    </a:lnTo>
                    <a:lnTo>
                      <a:pt x="192" y="208"/>
                    </a:lnTo>
                    <a:lnTo>
                      <a:pt x="192" y="212"/>
                    </a:lnTo>
                    <a:lnTo>
                      <a:pt x="188" y="208"/>
                    </a:lnTo>
                    <a:lnTo>
                      <a:pt x="188" y="204"/>
                    </a:lnTo>
                    <a:lnTo>
                      <a:pt x="192" y="204"/>
                    </a:lnTo>
                    <a:lnTo>
                      <a:pt x="188" y="204"/>
                    </a:lnTo>
                    <a:lnTo>
                      <a:pt x="188" y="208"/>
                    </a:lnTo>
                    <a:lnTo>
                      <a:pt x="184" y="208"/>
                    </a:lnTo>
                    <a:lnTo>
                      <a:pt x="184" y="212"/>
                    </a:lnTo>
                    <a:lnTo>
                      <a:pt x="188" y="212"/>
                    </a:lnTo>
                    <a:lnTo>
                      <a:pt x="188" y="216"/>
                    </a:lnTo>
                    <a:lnTo>
                      <a:pt x="192" y="216"/>
                    </a:lnTo>
                    <a:lnTo>
                      <a:pt x="192" y="220"/>
                    </a:lnTo>
                    <a:lnTo>
                      <a:pt x="188" y="220"/>
                    </a:lnTo>
                    <a:lnTo>
                      <a:pt x="184" y="220"/>
                    </a:lnTo>
                    <a:lnTo>
                      <a:pt x="180" y="220"/>
                    </a:lnTo>
                    <a:lnTo>
                      <a:pt x="180" y="224"/>
                    </a:lnTo>
                    <a:lnTo>
                      <a:pt x="180" y="228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2" y="234"/>
                    </a:lnTo>
                    <a:lnTo>
                      <a:pt x="170" y="230"/>
                    </a:lnTo>
                    <a:lnTo>
                      <a:pt x="170" y="228"/>
                    </a:lnTo>
                    <a:lnTo>
                      <a:pt x="166" y="228"/>
                    </a:lnTo>
                    <a:lnTo>
                      <a:pt x="166" y="224"/>
                    </a:lnTo>
                    <a:lnTo>
                      <a:pt x="166" y="220"/>
                    </a:lnTo>
                    <a:lnTo>
                      <a:pt x="166" y="216"/>
                    </a:lnTo>
                    <a:lnTo>
                      <a:pt x="170" y="216"/>
                    </a:lnTo>
                    <a:lnTo>
                      <a:pt x="170" y="212"/>
                    </a:lnTo>
                    <a:lnTo>
                      <a:pt x="170" y="208"/>
                    </a:lnTo>
                    <a:lnTo>
                      <a:pt x="166" y="212"/>
                    </a:lnTo>
                    <a:lnTo>
                      <a:pt x="162" y="212"/>
                    </a:lnTo>
                    <a:lnTo>
                      <a:pt x="158" y="208"/>
                    </a:lnTo>
                    <a:lnTo>
                      <a:pt x="154" y="208"/>
                    </a:lnTo>
                    <a:lnTo>
                      <a:pt x="154" y="212"/>
                    </a:lnTo>
                    <a:lnTo>
                      <a:pt x="154" y="208"/>
                    </a:lnTo>
                    <a:lnTo>
                      <a:pt x="154" y="208"/>
                    </a:lnTo>
                    <a:lnTo>
                      <a:pt x="154" y="208"/>
                    </a:lnTo>
                    <a:close/>
                    <a:moveTo>
                      <a:pt x="214" y="142"/>
                    </a:moveTo>
                    <a:lnTo>
                      <a:pt x="214" y="146"/>
                    </a:lnTo>
                    <a:lnTo>
                      <a:pt x="210" y="146"/>
                    </a:lnTo>
                    <a:lnTo>
                      <a:pt x="210" y="148"/>
                    </a:lnTo>
                    <a:lnTo>
                      <a:pt x="214" y="146"/>
                    </a:lnTo>
                    <a:lnTo>
                      <a:pt x="214" y="148"/>
                    </a:lnTo>
                    <a:lnTo>
                      <a:pt x="210" y="152"/>
                    </a:lnTo>
                    <a:lnTo>
                      <a:pt x="206" y="152"/>
                    </a:lnTo>
                    <a:lnTo>
                      <a:pt x="210" y="152"/>
                    </a:lnTo>
                    <a:lnTo>
                      <a:pt x="210" y="148"/>
                    </a:lnTo>
                    <a:lnTo>
                      <a:pt x="210" y="146"/>
                    </a:lnTo>
                    <a:lnTo>
                      <a:pt x="210" y="142"/>
                    </a:lnTo>
                    <a:lnTo>
                      <a:pt x="214" y="142"/>
                    </a:lnTo>
                    <a:lnTo>
                      <a:pt x="214" y="142"/>
                    </a:lnTo>
                    <a:lnTo>
                      <a:pt x="214" y="142"/>
                    </a:lnTo>
                    <a:close/>
                    <a:moveTo>
                      <a:pt x="140" y="178"/>
                    </a:moveTo>
                    <a:lnTo>
                      <a:pt x="140" y="182"/>
                    </a:lnTo>
                    <a:lnTo>
                      <a:pt x="136" y="182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close/>
                    <a:moveTo>
                      <a:pt x="84" y="212"/>
                    </a:move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4" y="212"/>
                    </a:lnTo>
                    <a:lnTo>
                      <a:pt x="84" y="212"/>
                    </a:lnTo>
                    <a:lnTo>
                      <a:pt x="84" y="212"/>
                    </a:lnTo>
                    <a:close/>
                    <a:moveTo>
                      <a:pt x="158" y="220"/>
                    </a:moveTo>
                    <a:lnTo>
                      <a:pt x="158" y="216"/>
                    </a:lnTo>
                    <a:lnTo>
                      <a:pt x="162" y="216"/>
                    </a:lnTo>
                    <a:lnTo>
                      <a:pt x="162" y="212"/>
                    </a:lnTo>
                    <a:lnTo>
                      <a:pt x="162" y="216"/>
                    </a:lnTo>
                    <a:lnTo>
                      <a:pt x="162" y="220"/>
                    </a:lnTo>
                    <a:lnTo>
                      <a:pt x="158" y="220"/>
                    </a:lnTo>
                    <a:lnTo>
                      <a:pt x="158" y="220"/>
                    </a:lnTo>
                    <a:lnTo>
                      <a:pt x="158" y="220"/>
                    </a:lnTo>
                    <a:close/>
                    <a:moveTo>
                      <a:pt x="154" y="212"/>
                    </a:moveTo>
                    <a:lnTo>
                      <a:pt x="154" y="216"/>
                    </a:lnTo>
                    <a:lnTo>
                      <a:pt x="150" y="216"/>
                    </a:lnTo>
                    <a:lnTo>
                      <a:pt x="150" y="212"/>
                    </a:lnTo>
                    <a:lnTo>
                      <a:pt x="154" y="212"/>
                    </a:lnTo>
                    <a:lnTo>
                      <a:pt x="154" y="212"/>
                    </a:lnTo>
                    <a:lnTo>
                      <a:pt x="154" y="212"/>
                    </a:lnTo>
                    <a:close/>
                    <a:moveTo>
                      <a:pt x="154" y="230"/>
                    </a:moveTo>
                    <a:lnTo>
                      <a:pt x="154" y="234"/>
                    </a:lnTo>
                    <a:lnTo>
                      <a:pt x="150" y="234"/>
                    </a:lnTo>
                    <a:lnTo>
                      <a:pt x="150" y="238"/>
                    </a:lnTo>
                    <a:lnTo>
                      <a:pt x="150" y="234"/>
                    </a:lnTo>
                    <a:lnTo>
                      <a:pt x="146" y="234"/>
                    </a:lnTo>
                    <a:lnTo>
                      <a:pt x="146" y="230"/>
                    </a:lnTo>
                    <a:lnTo>
                      <a:pt x="142" y="230"/>
                    </a:lnTo>
                    <a:lnTo>
                      <a:pt x="142" y="234"/>
                    </a:lnTo>
                    <a:lnTo>
                      <a:pt x="140" y="234"/>
                    </a:lnTo>
                    <a:lnTo>
                      <a:pt x="140" y="238"/>
                    </a:lnTo>
                    <a:lnTo>
                      <a:pt x="136" y="242"/>
                    </a:lnTo>
                    <a:lnTo>
                      <a:pt x="136" y="246"/>
                    </a:lnTo>
                    <a:lnTo>
                      <a:pt x="132" y="246"/>
                    </a:lnTo>
                    <a:lnTo>
                      <a:pt x="128" y="246"/>
                    </a:lnTo>
                    <a:lnTo>
                      <a:pt x="132" y="246"/>
                    </a:lnTo>
                    <a:lnTo>
                      <a:pt x="132" y="242"/>
                    </a:lnTo>
                    <a:lnTo>
                      <a:pt x="128" y="242"/>
                    </a:lnTo>
                    <a:lnTo>
                      <a:pt x="128" y="246"/>
                    </a:lnTo>
                    <a:lnTo>
                      <a:pt x="128" y="242"/>
                    </a:lnTo>
                    <a:lnTo>
                      <a:pt x="128" y="238"/>
                    </a:lnTo>
                    <a:lnTo>
                      <a:pt x="124" y="238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24" y="234"/>
                    </a:lnTo>
                    <a:lnTo>
                      <a:pt x="128" y="230"/>
                    </a:lnTo>
                    <a:lnTo>
                      <a:pt x="128" y="228"/>
                    </a:lnTo>
                    <a:lnTo>
                      <a:pt x="132" y="228"/>
                    </a:lnTo>
                    <a:lnTo>
                      <a:pt x="132" y="224"/>
                    </a:lnTo>
                    <a:lnTo>
                      <a:pt x="132" y="220"/>
                    </a:lnTo>
                    <a:lnTo>
                      <a:pt x="136" y="220"/>
                    </a:lnTo>
                    <a:lnTo>
                      <a:pt x="136" y="224"/>
                    </a:lnTo>
                    <a:lnTo>
                      <a:pt x="140" y="224"/>
                    </a:lnTo>
                    <a:lnTo>
                      <a:pt x="142" y="224"/>
                    </a:lnTo>
                    <a:lnTo>
                      <a:pt x="142" y="220"/>
                    </a:lnTo>
                    <a:lnTo>
                      <a:pt x="146" y="220"/>
                    </a:lnTo>
                    <a:lnTo>
                      <a:pt x="146" y="216"/>
                    </a:lnTo>
                    <a:lnTo>
                      <a:pt x="150" y="216"/>
                    </a:lnTo>
                    <a:lnTo>
                      <a:pt x="154" y="220"/>
                    </a:lnTo>
                    <a:lnTo>
                      <a:pt x="158" y="220"/>
                    </a:lnTo>
                    <a:lnTo>
                      <a:pt x="158" y="224"/>
                    </a:lnTo>
                    <a:lnTo>
                      <a:pt x="158" y="228"/>
                    </a:lnTo>
                    <a:lnTo>
                      <a:pt x="154" y="230"/>
                    </a:lnTo>
                    <a:lnTo>
                      <a:pt x="154" y="230"/>
                    </a:lnTo>
                    <a:lnTo>
                      <a:pt x="154" y="230"/>
                    </a:lnTo>
                    <a:close/>
                    <a:moveTo>
                      <a:pt x="84" y="220"/>
                    </a:moveTo>
                    <a:lnTo>
                      <a:pt x="80" y="224"/>
                    </a:lnTo>
                    <a:lnTo>
                      <a:pt x="80" y="220"/>
                    </a:lnTo>
                    <a:lnTo>
                      <a:pt x="80" y="216"/>
                    </a:lnTo>
                    <a:lnTo>
                      <a:pt x="84" y="216"/>
                    </a:lnTo>
                    <a:lnTo>
                      <a:pt x="84" y="220"/>
                    </a:lnTo>
                    <a:lnTo>
                      <a:pt x="84" y="220"/>
                    </a:lnTo>
                    <a:lnTo>
                      <a:pt x="84" y="220"/>
                    </a:lnTo>
                    <a:close/>
                    <a:moveTo>
                      <a:pt x="128" y="220"/>
                    </a:moveTo>
                    <a:lnTo>
                      <a:pt x="124" y="220"/>
                    </a:lnTo>
                    <a:lnTo>
                      <a:pt x="128" y="220"/>
                    </a:lnTo>
                    <a:lnTo>
                      <a:pt x="128" y="220"/>
                    </a:lnTo>
                    <a:lnTo>
                      <a:pt x="128" y="220"/>
                    </a:lnTo>
                    <a:close/>
                    <a:moveTo>
                      <a:pt x="86" y="250"/>
                    </a:moveTo>
                    <a:lnTo>
                      <a:pt x="90" y="250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42"/>
                    </a:lnTo>
                    <a:lnTo>
                      <a:pt x="90" y="242"/>
                    </a:lnTo>
                    <a:lnTo>
                      <a:pt x="90" y="246"/>
                    </a:lnTo>
                    <a:lnTo>
                      <a:pt x="90" y="242"/>
                    </a:lnTo>
                    <a:lnTo>
                      <a:pt x="86" y="238"/>
                    </a:lnTo>
                    <a:lnTo>
                      <a:pt x="86" y="234"/>
                    </a:lnTo>
                    <a:lnTo>
                      <a:pt x="90" y="238"/>
                    </a:lnTo>
                    <a:lnTo>
                      <a:pt x="90" y="234"/>
                    </a:lnTo>
                    <a:lnTo>
                      <a:pt x="90" y="230"/>
                    </a:lnTo>
                    <a:lnTo>
                      <a:pt x="90" y="234"/>
                    </a:lnTo>
                    <a:lnTo>
                      <a:pt x="94" y="234"/>
                    </a:lnTo>
                    <a:lnTo>
                      <a:pt x="94" y="230"/>
                    </a:lnTo>
                    <a:lnTo>
                      <a:pt x="98" y="230"/>
                    </a:lnTo>
                    <a:lnTo>
                      <a:pt x="98" y="228"/>
                    </a:lnTo>
                    <a:lnTo>
                      <a:pt x="102" y="224"/>
                    </a:lnTo>
                    <a:lnTo>
                      <a:pt x="106" y="224"/>
                    </a:lnTo>
                    <a:lnTo>
                      <a:pt x="106" y="228"/>
                    </a:lnTo>
                    <a:lnTo>
                      <a:pt x="106" y="230"/>
                    </a:lnTo>
                    <a:lnTo>
                      <a:pt x="110" y="230"/>
                    </a:lnTo>
                    <a:lnTo>
                      <a:pt x="112" y="230"/>
                    </a:lnTo>
                    <a:lnTo>
                      <a:pt x="116" y="230"/>
                    </a:lnTo>
                    <a:lnTo>
                      <a:pt x="116" y="234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20" y="238"/>
                    </a:lnTo>
                    <a:lnTo>
                      <a:pt x="116" y="238"/>
                    </a:lnTo>
                    <a:lnTo>
                      <a:pt x="120" y="242"/>
                    </a:lnTo>
                    <a:lnTo>
                      <a:pt x="120" y="246"/>
                    </a:lnTo>
                    <a:lnTo>
                      <a:pt x="116" y="246"/>
                    </a:lnTo>
                    <a:lnTo>
                      <a:pt x="116" y="250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12" y="258"/>
                    </a:lnTo>
                    <a:lnTo>
                      <a:pt x="112" y="260"/>
                    </a:lnTo>
                    <a:lnTo>
                      <a:pt x="112" y="264"/>
                    </a:lnTo>
                    <a:lnTo>
                      <a:pt x="112" y="268"/>
                    </a:lnTo>
                    <a:lnTo>
                      <a:pt x="112" y="272"/>
                    </a:lnTo>
                    <a:lnTo>
                      <a:pt x="110" y="272"/>
                    </a:lnTo>
                    <a:lnTo>
                      <a:pt x="106" y="272"/>
                    </a:lnTo>
                    <a:lnTo>
                      <a:pt x="110" y="272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102" y="264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8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98" y="276"/>
                    </a:lnTo>
                    <a:lnTo>
                      <a:pt x="94" y="276"/>
                    </a:lnTo>
                    <a:lnTo>
                      <a:pt x="94" y="272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4" y="260"/>
                    </a:lnTo>
                    <a:lnTo>
                      <a:pt x="94" y="258"/>
                    </a:lnTo>
                    <a:lnTo>
                      <a:pt x="94" y="260"/>
                    </a:lnTo>
                    <a:lnTo>
                      <a:pt x="98" y="258"/>
                    </a:lnTo>
                    <a:lnTo>
                      <a:pt x="98" y="254"/>
                    </a:lnTo>
                    <a:lnTo>
                      <a:pt x="102" y="250"/>
                    </a:lnTo>
                    <a:lnTo>
                      <a:pt x="98" y="250"/>
                    </a:lnTo>
                    <a:lnTo>
                      <a:pt x="102" y="246"/>
                    </a:lnTo>
                    <a:lnTo>
                      <a:pt x="98" y="246"/>
                    </a:lnTo>
                    <a:lnTo>
                      <a:pt x="98" y="242"/>
                    </a:lnTo>
                    <a:lnTo>
                      <a:pt x="98" y="238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4" y="246"/>
                    </a:lnTo>
                    <a:lnTo>
                      <a:pt x="98" y="246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46"/>
                    </a:lnTo>
                    <a:lnTo>
                      <a:pt x="90" y="246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6" y="250"/>
                    </a:lnTo>
                    <a:close/>
                    <a:moveTo>
                      <a:pt x="86" y="230"/>
                    </a:moveTo>
                    <a:lnTo>
                      <a:pt x="86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0"/>
                    </a:lnTo>
                    <a:lnTo>
                      <a:pt x="86" y="230"/>
                    </a:lnTo>
                    <a:lnTo>
                      <a:pt x="86" y="230"/>
                    </a:lnTo>
                    <a:close/>
                    <a:moveTo>
                      <a:pt x="86" y="234"/>
                    </a:moveTo>
                    <a:lnTo>
                      <a:pt x="86" y="238"/>
                    </a:lnTo>
                    <a:lnTo>
                      <a:pt x="84" y="238"/>
                    </a:lnTo>
                    <a:lnTo>
                      <a:pt x="84" y="234"/>
                    </a:lnTo>
                    <a:lnTo>
                      <a:pt x="86" y="234"/>
                    </a:lnTo>
                    <a:lnTo>
                      <a:pt x="86" y="234"/>
                    </a:lnTo>
                    <a:lnTo>
                      <a:pt x="86" y="234"/>
                    </a:lnTo>
                    <a:close/>
                    <a:moveTo>
                      <a:pt x="80" y="242"/>
                    </a:moveTo>
                    <a:lnTo>
                      <a:pt x="80" y="246"/>
                    </a:lnTo>
                    <a:lnTo>
                      <a:pt x="80" y="242"/>
                    </a:lnTo>
                    <a:lnTo>
                      <a:pt x="80" y="238"/>
                    </a:lnTo>
                    <a:lnTo>
                      <a:pt x="80" y="242"/>
                    </a:lnTo>
                    <a:lnTo>
                      <a:pt x="80" y="242"/>
                    </a:lnTo>
                    <a:lnTo>
                      <a:pt x="80" y="242"/>
                    </a:lnTo>
                    <a:close/>
                    <a:moveTo>
                      <a:pt x="72" y="250"/>
                    </a:moveTo>
                    <a:lnTo>
                      <a:pt x="72" y="246"/>
                    </a:lnTo>
                    <a:lnTo>
                      <a:pt x="76" y="246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2" y="250"/>
                    </a:lnTo>
                    <a:lnTo>
                      <a:pt x="72" y="250"/>
                    </a:lnTo>
                    <a:close/>
                    <a:moveTo>
                      <a:pt x="90" y="258"/>
                    </a:moveTo>
                    <a:lnTo>
                      <a:pt x="90" y="254"/>
                    </a:lnTo>
                    <a:lnTo>
                      <a:pt x="94" y="250"/>
                    </a:lnTo>
                    <a:lnTo>
                      <a:pt x="94" y="254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90" y="258"/>
                    </a:lnTo>
                    <a:lnTo>
                      <a:pt x="90" y="258"/>
                    </a:lnTo>
                    <a:close/>
                    <a:moveTo>
                      <a:pt x="106" y="284"/>
                    </a:moveTo>
                    <a:lnTo>
                      <a:pt x="106" y="286"/>
                    </a:lnTo>
                    <a:lnTo>
                      <a:pt x="106" y="290"/>
                    </a:lnTo>
                    <a:lnTo>
                      <a:pt x="106" y="286"/>
                    </a:lnTo>
                    <a:lnTo>
                      <a:pt x="106" y="284"/>
                    </a:lnTo>
                    <a:lnTo>
                      <a:pt x="106" y="284"/>
                    </a:lnTo>
                    <a:lnTo>
                      <a:pt x="106" y="284"/>
                    </a:lnTo>
                    <a:close/>
                    <a:moveTo>
                      <a:pt x="98" y="290"/>
                    </a:moveTo>
                    <a:lnTo>
                      <a:pt x="102" y="290"/>
                    </a:lnTo>
                    <a:lnTo>
                      <a:pt x="102" y="294"/>
                    </a:lnTo>
                    <a:lnTo>
                      <a:pt x="98" y="294"/>
                    </a:lnTo>
                    <a:lnTo>
                      <a:pt x="98" y="290"/>
                    </a:lnTo>
                    <a:lnTo>
                      <a:pt x="98" y="290"/>
                    </a:lnTo>
                    <a:lnTo>
                      <a:pt x="98" y="290"/>
                    </a:lnTo>
                    <a:close/>
                    <a:moveTo>
                      <a:pt x="86" y="324"/>
                    </a:moveTo>
                    <a:lnTo>
                      <a:pt x="86" y="328"/>
                    </a:lnTo>
                    <a:lnTo>
                      <a:pt x="84" y="328"/>
                    </a:lnTo>
                    <a:lnTo>
                      <a:pt x="84" y="332"/>
                    </a:lnTo>
                    <a:lnTo>
                      <a:pt x="80" y="328"/>
                    </a:lnTo>
                    <a:lnTo>
                      <a:pt x="84" y="328"/>
                    </a:lnTo>
                    <a:lnTo>
                      <a:pt x="86" y="324"/>
                    </a:lnTo>
                    <a:lnTo>
                      <a:pt x="86" y="324"/>
                    </a:lnTo>
                    <a:lnTo>
                      <a:pt x="86" y="324"/>
                    </a:lnTo>
                    <a:close/>
                    <a:moveTo>
                      <a:pt x="76" y="336"/>
                    </a:moveTo>
                    <a:lnTo>
                      <a:pt x="80" y="340"/>
                    </a:lnTo>
                    <a:lnTo>
                      <a:pt x="76" y="340"/>
                    </a:lnTo>
                    <a:lnTo>
                      <a:pt x="76" y="336"/>
                    </a:lnTo>
                    <a:lnTo>
                      <a:pt x="76" y="336"/>
                    </a:lnTo>
                    <a:lnTo>
                      <a:pt x="76" y="336"/>
                    </a:lnTo>
                    <a:close/>
                    <a:moveTo>
                      <a:pt x="68" y="354"/>
                    </a:moveTo>
                    <a:lnTo>
                      <a:pt x="68" y="358"/>
                    </a:lnTo>
                    <a:lnTo>
                      <a:pt x="64" y="362"/>
                    </a:lnTo>
                    <a:lnTo>
                      <a:pt x="60" y="362"/>
                    </a:lnTo>
                    <a:lnTo>
                      <a:pt x="60" y="366"/>
                    </a:lnTo>
                    <a:lnTo>
                      <a:pt x="60" y="370"/>
                    </a:lnTo>
                    <a:lnTo>
                      <a:pt x="56" y="370"/>
                    </a:lnTo>
                    <a:lnTo>
                      <a:pt x="56" y="366"/>
                    </a:lnTo>
                    <a:lnTo>
                      <a:pt x="60" y="366"/>
                    </a:lnTo>
                    <a:lnTo>
                      <a:pt x="60" y="362"/>
                    </a:lnTo>
                    <a:lnTo>
                      <a:pt x="64" y="362"/>
                    </a:lnTo>
                    <a:lnTo>
                      <a:pt x="64" y="358"/>
                    </a:lnTo>
                    <a:lnTo>
                      <a:pt x="60" y="358"/>
                    </a:lnTo>
                    <a:lnTo>
                      <a:pt x="64" y="358"/>
                    </a:lnTo>
                    <a:lnTo>
                      <a:pt x="68" y="354"/>
                    </a:lnTo>
                    <a:lnTo>
                      <a:pt x="68" y="354"/>
                    </a:lnTo>
                    <a:lnTo>
                      <a:pt x="68" y="354"/>
                    </a:lnTo>
                    <a:close/>
                    <a:moveTo>
                      <a:pt x="24" y="392"/>
                    </a:moveTo>
                    <a:lnTo>
                      <a:pt x="28" y="392"/>
                    </a:lnTo>
                    <a:lnTo>
                      <a:pt x="24" y="392"/>
                    </a:lnTo>
                    <a:lnTo>
                      <a:pt x="24" y="392"/>
                    </a:lnTo>
                    <a:lnTo>
                      <a:pt x="24" y="392"/>
                    </a:lnTo>
                    <a:close/>
                    <a:moveTo>
                      <a:pt x="8" y="398"/>
                    </a:moveTo>
                    <a:lnTo>
                      <a:pt x="12" y="398"/>
                    </a:lnTo>
                    <a:lnTo>
                      <a:pt x="12" y="396"/>
                    </a:lnTo>
                    <a:lnTo>
                      <a:pt x="12" y="398"/>
                    </a:lnTo>
                    <a:lnTo>
                      <a:pt x="8" y="398"/>
                    </a:lnTo>
                    <a:lnTo>
                      <a:pt x="8" y="398"/>
                    </a:lnTo>
                    <a:lnTo>
                      <a:pt x="8" y="398"/>
                    </a:lnTo>
                    <a:close/>
                    <a:moveTo>
                      <a:pt x="4" y="398"/>
                    </a:moveTo>
                    <a:lnTo>
                      <a:pt x="4" y="402"/>
                    </a:lnTo>
                    <a:lnTo>
                      <a:pt x="0" y="402"/>
                    </a:lnTo>
                    <a:lnTo>
                      <a:pt x="0" y="398"/>
                    </a:lnTo>
                    <a:lnTo>
                      <a:pt x="4" y="398"/>
                    </a:lnTo>
                    <a:lnTo>
                      <a:pt x="4" y="398"/>
                    </a:lnTo>
                    <a:lnTo>
                      <a:pt x="4" y="39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4" name="Freeform 33">
                <a:extLst>
                  <a:ext uri="{FF2B5EF4-FFF2-40B4-BE49-F238E27FC236}">
                    <a16:creationId xmlns:a16="http://schemas.microsoft.com/office/drawing/2014/main" id="{5ACA18F4-59FF-43FA-92D2-4D2BE7B4AF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625918"/>
                <a:ext cx="92075" cy="127000"/>
              </a:xfrm>
              <a:custGeom>
                <a:avLst/>
                <a:gdLst>
                  <a:gd name="T0" fmla="*/ 6 w 58"/>
                  <a:gd name="T1" fmla="*/ 34 h 80"/>
                  <a:gd name="T2" fmla="*/ 6 w 58"/>
                  <a:gd name="T3" fmla="*/ 34 h 80"/>
                  <a:gd name="T4" fmla="*/ 6 w 58"/>
                  <a:gd name="T5" fmla="*/ 30 h 80"/>
                  <a:gd name="T6" fmla="*/ 6 w 58"/>
                  <a:gd name="T7" fmla="*/ 30 h 80"/>
                  <a:gd name="T8" fmla="*/ 6 w 58"/>
                  <a:gd name="T9" fmla="*/ 26 h 80"/>
                  <a:gd name="T10" fmla="*/ 6 w 58"/>
                  <a:gd name="T11" fmla="*/ 26 h 80"/>
                  <a:gd name="T12" fmla="*/ 6 w 58"/>
                  <a:gd name="T13" fmla="*/ 24 h 80"/>
                  <a:gd name="T14" fmla="*/ 6 w 58"/>
                  <a:gd name="T15" fmla="*/ 20 h 80"/>
                  <a:gd name="T16" fmla="*/ 6 w 58"/>
                  <a:gd name="T17" fmla="*/ 16 h 80"/>
                  <a:gd name="T18" fmla="*/ 6 w 58"/>
                  <a:gd name="T19" fmla="*/ 16 h 80"/>
                  <a:gd name="T20" fmla="*/ 6 w 58"/>
                  <a:gd name="T21" fmla="*/ 12 h 80"/>
                  <a:gd name="T22" fmla="*/ 10 w 58"/>
                  <a:gd name="T23" fmla="*/ 12 h 80"/>
                  <a:gd name="T24" fmla="*/ 14 w 58"/>
                  <a:gd name="T25" fmla="*/ 16 h 80"/>
                  <a:gd name="T26" fmla="*/ 14 w 58"/>
                  <a:gd name="T27" fmla="*/ 16 h 80"/>
                  <a:gd name="T28" fmla="*/ 14 w 58"/>
                  <a:gd name="T29" fmla="*/ 16 h 80"/>
                  <a:gd name="T30" fmla="*/ 18 w 58"/>
                  <a:gd name="T31" fmla="*/ 20 h 80"/>
                  <a:gd name="T32" fmla="*/ 18 w 58"/>
                  <a:gd name="T33" fmla="*/ 20 h 80"/>
                  <a:gd name="T34" fmla="*/ 22 w 58"/>
                  <a:gd name="T35" fmla="*/ 20 h 80"/>
                  <a:gd name="T36" fmla="*/ 22 w 58"/>
                  <a:gd name="T37" fmla="*/ 20 h 80"/>
                  <a:gd name="T38" fmla="*/ 26 w 58"/>
                  <a:gd name="T39" fmla="*/ 20 h 80"/>
                  <a:gd name="T40" fmla="*/ 32 w 58"/>
                  <a:gd name="T41" fmla="*/ 16 h 80"/>
                  <a:gd name="T42" fmla="*/ 32 w 58"/>
                  <a:gd name="T43" fmla="*/ 16 h 80"/>
                  <a:gd name="T44" fmla="*/ 40 w 58"/>
                  <a:gd name="T45" fmla="*/ 8 h 80"/>
                  <a:gd name="T46" fmla="*/ 48 w 58"/>
                  <a:gd name="T47" fmla="*/ 4 h 80"/>
                  <a:gd name="T48" fmla="*/ 52 w 58"/>
                  <a:gd name="T49" fmla="*/ 0 h 80"/>
                  <a:gd name="T50" fmla="*/ 54 w 58"/>
                  <a:gd name="T51" fmla="*/ 20 h 80"/>
                  <a:gd name="T52" fmla="*/ 58 w 58"/>
                  <a:gd name="T53" fmla="*/ 20 h 80"/>
                  <a:gd name="T54" fmla="*/ 58 w 58"/>
                  <a:gd name="T55" fmla="*/ 24 h 80"/>
                  <a:gd name="T56" fmla="*/ 54 w 58"/>
                  <a:gd name="T57" fmla="*/ 26 h 80"/>
                  <a:gd name="T58" fmla="*/ 40 w 58"/>
                  <a:gd name="T59" fmla="*/ 30 h 80"/>
                  <a:gd name="T60" fmla="*/ 36 w 58"/>
                  <a:gd name="T61" fmla="*/ 34 h 80"/>
                  <a:gd name="T62" fmla="*/ 28 w 58"/>
                  <a:gd name="T63" fmla="*/ 34 h 80"/>
                  <a:gd name="T64" fmla="*/ 32 w 58"/>
                  <a:gd name="T65" fmla="*/ 42 h 80"/>
                  <a:gd name="T66" fmla="*/ 36 w 58"/>
                  <a:gd name="T67" fmla="*/ 46 h 80"/>
                  <a:gd name="T68" fmla="*/ 36 w 58"/>
                  <a:gd name="T69" fmla="*/ 56 h 80"/>
                  <a:gd name="T70" fmla="*/ 32 w 58"/>
                  <a:gd name="T71" fmla="*/ 64 h 80"/>
                  <a:gd name="T72" fmla="*/ 22 w 58"/>
                  <a:gd name="T73" fmla="*/ 68 h 80"/>
                  <a:gd name="T74" fmla="*/ 18 w 58"/>
                  <a:gd name="T75" fmla="*/ 76 h 80"/>
                  <a:gd name="T76" fmla="*/ 6 w 58"/>
                  <a:gd name="T77" fmla="*/ 76 h 80"/>
                  <a:gd name="T78" fmla="*/ 0 w 58"/>
                  <a:gd name="T79" fmla="*/ 76 h 80"/>
                  <a:gd name="T80" fmla="*/ 0 w 58"/>
                  <a:gd name="T81" fmla="*/ 76 h 80"/>
                  <a:gd name="T82" fmla="*/ 0 w 58"/>
                  <a:gd name="T83" fmla="*/ 72 h 80"/>
                  <a:gd name="T84" fmla="*/ 0 w 58"/>
                  <a:gd name="T85" fmla="*/ 72 h 80"/>
                  <a:gd name="T86" fmla="*/ 0 w 58"/>
                  <a:gd name="T87" fmla="*/ 72 h 80"/>
                  <a:gd name="T88" fmla="*/ 0 w 58"/>
                  <a:gd name="T89" fmla="*/ 64 h 80"/>
                  <a:gd name="T90" fmla="*/ 0 w 58"/>
                  <a:gd name="T91" fmla="*/ 64 h 80"/>
                  <a:gd name="T92" fmla="*/ 0 w 58"/>
                  <a:gd name="T93" fmla="*/ 64 h 80"/>
                  <a:gd name="T94" fmla="*/ 0 w 58"/>
                  <a:gd name="T95" fmla="*/ 60 h 80"/>
                  <a:gd name="T96" fmla="*/ 0 w 58"/>
                  <a:gd name="T97" fmla="*/ 56 h 80"/>
                  <a:gd name="T98" fmla="*/ 0 w 58"/>
                  <a:gd name="T99" fmla="*/ 56 h 80"/>
                  <a:gd name="T100" fmla="*/ 2 w 58"/>
                  <a:gd name="T101" fmla="*/ 54 h 80"/>
                  <a:gd name="T102" fmla="*/ 2 w 58"/>
                  <a:gd name="T103" fmla="*/ 50 h 80"/>
                  <a:gd name="T104" fmla="*/ 2 w 58"/>
                  <a:gd name="T105" fmla="*/ 46 h 80"/>
                  <a:gd name="T106" fmla="*/ 2 w 58"/>
                  <a:gd name="T107" fmla="*/ 46 h 80"/>
                  <a:gd name="T108" fmla="*/ 6 w 58"/>
                  <a:gd name="T109" fmla="*/ 42 h 80"/>
                  <a:gd name="T110" fmla="*/ 6 w 58"/>
                  <a:gd name="T111" fmla="*/ 42 h 80"/>
                  <a:gd name="T112" fmla="*/ 2 w 58"/>
                  <a:gd name="T113" fmla="*/ 42 h 80"/>
                  <a:gd name="T114" fmla="*/ 6 w 58"/>
                  <a:gd name="T115" fmla="*/ 38 h 80"/>
                  <a:gd name="T116" fmla="*/ 6 w 58"/>
                  <a:gd name="T117" fmla="*/ 38 h 80"/>
                  <a:gd name="T118" fmla="*/ 6 w 58"/>
                  <a:gd name="T119" fmla="*/ 34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58" h="80">
                    <a:moveTo>
                      <a:pt x="6" y="34"/>
                    </a:move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4" y="16"/>
                    </a:lnTo>
                    <a:lnTo>
                      <a:pt x="54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4" y="26"/>
                    </a:lnTo>
                    <a:lnTo>
                      <a:pt x="54" y="26"/>
                    </a:lnTo>
                    <a:lnTo>
                      <a:pt x="4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6" y="46"/>
                    </a:lnTo>
                    <a:lnTo>
                      <a:pt x="40" y="54"/>
                    </a:lnTo>
                    <a:lnTo>
                      <a:pt x="36" y="56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18" y="76"/>
                    </a:lnTo>
                    <a:lnTo>
                      <a:pt x="14" y="80"/>
                    </a:lnTo>
                    <a:lnTo>
                      <a:pt x="6" y="76"/>
                    </a:lnTo>
                    <a:lnTo>
                      <a:pt x="2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2" y="54"/>
                    </a:lnTo>
                    <a:lnTo>
                      <a:pt x="2" y="54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2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2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5" name="Freeform 34">
                <a:extLst>
                  <a:ext uri="{FF2B5EF4-FFF2-40B4-BE49-F238E27FC236}">
                    <a16:creationId xmlns:a16="http://schemas.microsoft.com/office/drawing/2014/main" id="{A833B3B8-BD5F-4583-9601-EE4DD8E436A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35600" y="2927418"/>
                <a:ext cx="917575" cy="479425"/>
              </a:xfrm>
              <a:custGeom>
                <a:avLst/>
                <a:gdLst>
                  <a:gd name="T0" fmla="*/ 388 w 578"/>
                  <a:gd name="T1" fmla="*/ 254 h 302"/>
                  <a:gd name="T2" fmla="*/ 372 w 578"/>
                  <a:gd name="T3" fmla="*/ 262 h 302"/>
                  <a:gd name="T4" fmla="*/ 342 w 578"/>
                  <a:gd name="T5" fmla="*/ 272 h 302"/>
                  <a:gd name="T6" fmla="*/ 316 w 578"/>
                  <a:gd name="T7" fmla="*/ 294 h 302"/>
                  <a:gd name="T8" fmla="*/ 306 w 578"/>
                  <a:gd name="T9" fmla="*/ 292 h 302"/>
                  <a:gd name="T10" fmla="*/ 278 w 578"/>
                  <a:gd name="T11" fmla="*/ 272 h 302"/>
                  <a:gd name="T12" fmla="*/ 264 w 578"/>
                  <a:gd name="T13" fmla="*/ 248 h 302"/>
                  <a:gd name="T14" fmla="*/ 220 w 578"/>
                  <a:gd name="T15" fmla="*/ 248 h 302"/>
                  <a:gd name="T16" fmla="*/ 156 w 578"/>
                  <a:gd name="T17" fmla="*/ 210 h 302"/>
                  <a:gd name="T18" fmla="*/ 136 w 578"/>
                  <a:gd name="T19" fmla="*/ 254 h 302"/>
                  <a:gd name="T20" fmla="*/ 134 w 578"/>
                  <a:gd name="T21" fmla="*/ 292 h 302"/>
                  <a:gd name="T22" fmla="*/ 110 w 578"/>
                  <a:gd name="T23" fmla="*/ 268 h 302"/>
                  <a:gd name="T24" fmla="*/ 76 w 578"/>
                  <a:gd name="T25" fmla="*/ 288 h 302"/>
                  <a:gd name="T26" fmla="*/ 44 w 578"/>
                  <a:gd name="T27" fmla="*/ 258 h 302"/>
                  <a:gd name="T28" fmla="*/ 36 w 578"/>
                  <a:gd name="T29" fmla="*/ 214 h 302"/>
                  <a:gd name="T30" fmla="*/ 36 w 578"/>
                  <a:gd name="T31" fmla="*/ 188 h 302"/>
                  <a:gd name="T32" fmla="*/ 30 w 578"/>
                  <a:gd name="T33" fmla="*/ 168 h 302"/>
                  <a:gd name="T34" fmla="*/ 6 w 578"/>
                  <a:gd name="T35" fmla="*/ 150 h 302"/>
                  <a:gd name="T36" fmla="*/ 6 w 578"/>
                  <a:gd name="T37" fmla="*/ 128 h 302"/>
                  <a:gd name="T38" fmla="*/ 18 w 578"/>
                  <a:gd name="T39" fmla="*/ 110 h 302"/>
                  <a:gd name="T40" fmla="*/ 34 w 578"/>
                  <a:gd name="T41" fmla="*/ 112 h 302"/>
                  <a:gd name="T42" fmla="*/ 44 w 578"/>
                  <a:gd name="T43" fmla="*/ 90 h 302"/>
                  <a:gd name="T44" fmla="*/ 62 w 578"/>
                  <a:gd name="T45" fmla="*/ 84 h 302"/>
                  <a:gd name="T46" fmla="*/ 76 w 578"/>
                  <a:gd name="T47" fmla="*/ 80 h 302"/>
                  <a:gd name="T48" fmla="*/ 100 w 578"/>
                  <a:gd name="T49" fmla="*/ 84 h 302"/>
                  <a:gd name="T50" fmla="*/ 114 w 578"/>
                  <a:gd name="T51" fmla="*/ 102 h 302"/>
                  <a:gd name="T52" fmla="*/ 130 w 578"/>
                  <a:gd name="T53" fmla="*/ 106 h 302"/>
                  <a:gd name="T54" fmla="*/ 160 w 578"/>
                  <a:gd name="T55" fmla="*/ 98 h 302"/>
                  <a:gd name="T56" fmla="*/ 178 w 578"/>
                  <a:gd name="T57" fmla="*/ 102 h 302"/>
                  <a:gd name="T58" fmla="*/ 204 w 578"/>
                  <a:gd name="T59" fmla="*/ 102 h 302"/>
                  <a:gd name="T60" fmla="*/ 204 w 578"/>
                  <a:gd name="T61" fmla="*/ 84 h 302"/>
                  <a:gd name="T62" fmla="*/ 204 w 578"/>
                  <a:gd name="T63" fmla="*/ 68 h 302"/>
                  <a:gd name="T64" fmla="*/ 216 w 578"/>
                  <a:gd name="T65" fmla="*/ 54 h 302"/>
                  <a:gd name="T66" fmla="*/ 208 w 578"/>
                  <a:gd name="T67" fmla="*/ 46 h 302"/>
                  <a:gd name="T68" fmla="*/ 208 w 578"/>
                  <a:gd name="T69" fmla="*/ 38 h 302"/>
                  <a:gd name="T70" fmla="*/ 226 w 578"/>
                  <a:gd name="T71" fmla="*/ 30 h 302"/>
                  <a:gd name="T72" fmla="*/ 256 w 578"/>
                  <a:gd name="T73" fmla="*/ 24 h 302"/>
                  <a:gd name="T74" fmla="*/ 276 w 578"/>
                  <a:gd name="T75" fmla="*/ 20 h 302"/>
                  <a:gd name="T76" fmla="*/ 306 w 578"/>
                  <a:gd name="T77" fmla="*/ 8 h 302"/>
                  <a:gd name="T78" fmla="*/ 332 w 578"/>
                  <a:gd name="T79" fmla="*/ 4 h 302"/>
                  <a:gd name="T80" fmla="*/ 354 w 578"/>
                  <a:gd name="T81" fmla="*/ 16 h 302"/>
                  <a:gd name="T82" fmla="*/ 366 w 578"/>
                  <a:gd name="T83" fmla="*/ 28 h 302"/>
                  <a:gd name="T84" fmla="*/ 368 w 578"/>
                  <a:gd name="T85" fmla="*/ 30 h 302"/>
                  <a:gd name="T86" fmla="*/ 380 w 578"/>
                  <a:gd name="T87" fmla="*/ 34 h 302"/>
                  <a:gd name="T88" fmla="*/ 398 w 578"/>
                  <a:gd name="T89" fmla="*/ 38 h 302"/>
                  <a:gd name="T90" fmla="*/ 420 w 578"/>
                  <a:gd name="T91" fmla="*/ 24 h 302"/>
                  <a:gd name="T92" fmla="*/ 436 w 578"/>
                  <a:gd name="T93" fmla="*/ 38 h 302"/>
                  <a:gd name="T94" fmla="*/ 462 w 578"/>
                  <a:gd name="T95" fmla="*/ 68 h 302"/>
                  <a:gd name="T96" fmla="*/ 480 w 578"/>
                  <a:gd name="T97" fmla="*/ 90 h 302"/>
                  <a:gd name="T98" fmla="*/ 498 w 578"/>
                  <a:gd name="T99" fmla="*/ 98 h 302"/>
                  <a:gd name="T100" fmla="*/ 524 w 578"/>
                  <a:gd name="T101" fmla="*/ 94 h 302"/>
                  <a:gd name="T102" fmla="*/ 548 w 578"/>
                  <a:gd name="T103" fmla="*/ 116 h 302"/>
                  <a:gd name="T104" fmla="*/ 566 w 578"/>
                  <a:gd name="T105" fmla="*/ 124 h 302"/>
                  <a:gd name="T106" fmla="*/ 570 w 578"/>
                  <a:gd name="T107" fmla="*/ 136 h 302"/>
                  <a:gd name="T108" fmla="*/ 554 w 578"/>
                  <a:gd name="T109" fmla="*/ 158 h 302"/>
                  <a:gd name="T110" fmla="*/ 540 w 578"/>
                  <a:gd name="T111" fmla="*/ 176 h 302"/>
                  <a:gd name="T112" fmla="*/ 514 w 578"/>
                  <a:gd name="T113" fmla="*/ 188 h 302"/>
                  <a:gd name="T114" fmla="*/ 514 w 578"/>
                  <a:gd name="T115" fmla="*/ 214 h 302"/>
                  <a:gd name="T116" fmla="*/ 484 w 578"/>
                  <a:gd name="T117" fmla="*/ 214 h 302"/>
                  <a:gd name="T118" fmla="*/ 480 w 578"/>
                  <a:gd name="T119" fmla="*/ 232 h 302"/>
                  <a:gd name="T120" fmla="*/ 484 w 578"/>
                  <a:gd name="T121" fmla="*/ 258 h 302"/>
                  <a:gd name="T122" fmla="*/ 466 w 578"/>
                  <a:gd name="T123" fmla="*/ 268 h 302"/>
                  <a:gd name="T124" fmla="*/ 436 w 578"/>
                  <a:gd name="T125" fmla="*/ 258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78" h="302">
                    <a:moveTo>
                      <a:pt x="416" y="258"/>
                    </a:moveTo>
                    <a:lnTo>
                      <a:pt x="412" y="262"/>
                    </a:lnTo>
                    <a:lnTo>
                      <a:pt x="408" y="262"/>
                    </a:lnTo>
                    <a:lnTo>
                      <a:pt x="408" y="258"/>
                    </a:lnTo>
                    <a:lnTo>
                      <a:pt x="406" y="258"/>
                    </a:lnTo>
                    <a:lnTo>
                      <a:pt x="402" y="258"/>
                    </a:lnTo>
                    <a:lnTo>
                      <a:pt x="398" y="254"/>
                    </a:lnTo>
                    <a:lnTo>
                      <a:pt x="394" y="254"/>
                    </a:lnTo>
                    <a:lnTo>
                      <a:pt x="392" y="254"/>
                    </a:lnTo>
                    <a:lnTo>
                      <a:pt x="388" y="254"/>
                    </a:lnTo>
                    <a:lnTo>
                      <a:pt x="384" y="254"/>
                    </a:lnTo>
                    <a:lnTo>
                      <a:pt x="384" y="258"/>
                    </a:lnTo>
                    <a:lnTo>
                      <a:pt x="384" y="262"/>
                    </a:lnTo>
                    <a:lnTo>
                      <a:pt x="384" y="266"/>
                    </a:lnTo>
                    <a:lnTo>
                      <a:pt x="384" y="268"/>
                    </a:lnTo>
                    <a:lnTo>
                      <a:pt x="380" y="268"/>
                    </a:lnTo>
                    <a:lnTo>
                      <a:pt x="380" y="266"/>
                    </a:lnTo>
                    <a:lnTo>
                      <a:pt x="376" y="266"/>
                    </a:lnTo>
                    <a:lnTo>
                      <a:pt x="372" y="266"/>
                    </a:lnTo>
                    <a:lnTo>
                      <a:pt x="372" y="262"/>
                    </a:lnTo>
                    <a:lnTo>
                      <a:pt x="368" y="262"/>
                    </a:lnTo>
                    <a:lnTo>
                      <a:pt x="366" y="262"/>
                    </a:lnTo>
                    <a:lnTo>
                      <a:pt x="362" y="262"/>
                    </a:lnTo>
                    <a:lnTo>
                      <a:pt x="358" y="262"/>
                    </a:lnTo>
                    <a:lnTo>
                      <a:pt x="354" y="262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8"/>
                    </a:lnTo>
                    <a:lnTo>
                      <a:pt x="346" y="272"/>
                    </a:lnTo>
                    <a:lnTo>
                      <a:pt x="342" y="272"/>
                    </a:lnTo>
                    <a:lnTo>
                      <a:pt x="342" y="276"/>
                    </a:lnTo>
                    <a:lnTo>
                      <a:pt x="338" y="272"/>
                    </a:lnTo>
                    <a:lnTo>
                      <a:pt x="338" y="276"/>
                    </a:lnTo>
                    <a:lnTo>
                      <a:pt x="336" y="280"/>
                    </a:lnTo>
                    <a:lnTo>
                      <a:pt x="332" y="284"/>
                    </a:lnTo>
                    <a:lnTo>
                      <a:pt x="328" y="284"/>
                    </a:lnTo>
                    <a:lnTo>
                      <a:pt x="324" y="288"/>
                    </a:lnTo>
                    <a:lnTo>
                      <a:pt x="320" y="288"/>
                    </a:lnTo>
                    <a:lnTo>
                      <a:pt x="320" y="292"/>
                    </a:lnTo>
                    <a:lnTo>
                      <a:pt x="316" y="294"/>
                    </a:lnTo>
                    <a:lnTo>
                      <a:pt x="316" y="298"/>
                    </a:lnTo>
                    <a:lnTo>
                      <a:pt x="312" y="298"/>
                    </a:lnTo>
                    <a:lnTo>
                      <a:pt x="312" y="302"/>
                    </a:lnTo>
                    <a:lnTo>
                      <a:pt x="316" y="302"/>
                    </a:lnTo>
                    <a:lnTo>
                      <a:pt x="312" y="302"/>
                    </a:lnTo>
                    <a:lnTo>
                      <a:pt x="308" y="302"/>
                    </a:lnTo>
                    <a:lnTo>
                      <a:pt x="306" y="298"/>
                    </a:lnTo>
                    <a:lnTo>
                      <a:pt x="308" y="294"/>
                    </a:lnTo>
                    <a:lnTo>
                      <a:pt x="306" y="294"/>
                    </a:lnTo>
                    <a:lnTo>
                      <a:pt x="306" y="292"/>
                    </a:lnTo>
                    <a:lnTo>
                      <a:pt x="302" y="292"/>
                    </a:lnTo>
                    <a:lnTo>
                      <a:pt x="298" y="292"/>
                    </a:lnTo>
                    <a:lnTo>
                      <a:pt x="294" y="292"/>
                    </a:lnTo>
                    <a:lnTo>
                      <a:pt x="290" y="292"/>
                    </a:lnTo>
                    <a:lnTo>
                      <a:pt x="286" y="292"/>
                    </a:lnTo>
                    <a:lnTo>
                      <a:pt x="286" y="288"/>
                    </a:lnTo>
                    <a:lnTo>
                      <a:pt x="286" y="280"/>
                    </a:lnTo>
                    <a:lnTo>
                      <a:pt x="282" y="276"/>
                    </a:lnTo>
                    <a:lnTo>
                      <a:pt x="278" y="276"/>
                    </a:lnTo>
                    <a:lnTo>
                      <a:pt x="278" y="272"/>
                    </a:lnTo>
                    <a:lnTo>
                      <a:pt x="278" y="268"/>
                    </a:lnTo>
                    <a:lnTo>
                      <a:pt x="278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6" y="258"/>
                    </a:lnTo>
                    <a:lnTo>
                      <a:pt x="272" y="254"/>
                    </a:lnTo>
                    <a:lnTo>
                      <a:pt x="272" y="252"/>
                    </a:lnTo>
                    <a:lnTo>
                      <a:pt x="268" y="252"/>
                    </a:lnTo>
                    <a:lnTo>
                      <a:pt x="268" y="248"/>
                    </a:lnTo>
                    <a:lnTo>
                      <a:pt x="264" y="248"/>
                    </a:lnTo>
                    <a:lnTo>
                      <a:pt x="264" y="244"/>
                    </a:lnTo>
                    <a:lnTo>
                      <a:pt x="260" y="244"/>
                    </a:lnTo>
                    <a:lnTo>
                      <a:pt x="256" y="248"/>
                    </a:lnTo>
                    <a:lnTo>
                      <a:pt x="250" y="248"/>
                    </a:lnTo>
                    <a:lnTo>
                      <a:pt x="246" y="248"/>
                    </a:lnTo>
                    <a:lnTo>
                      <a:pt x="242" y="244"/>
                    </a:lnTo>
                    <a:lnTo>
                      <a:pt x="238" y="244"/>
                    </a:lnTo>
                    <a:lnTo>
                      <a:pt x="230" y="248"/>
                    </a:lnTo>
                    <a:lnTo>
                      <a:pt x="226" y="248"/>
                    </a:lnTo>
                    <a:lnTo>
                      <a:pt x="220" y="248"/>
                    </a:lnTo>
                    <a:lnTo>
                      <a:pt x="220" y="244"/>
                    </a:lnTo>
                    <a:lnTo>
                      <a:pt x="216" y="240"/>
                    </a:lnTo>
                    <a:lnTo>
                      <a:pt x="212" y="236"/>
                    </a:lnTo>
                    <a:lnTo>
                      <a:pt x="208" y="232"/>
                    </a:lnTo>
                    <a:lnTo>
                      <a:pt x="186" y="218"/>
                    </a:lnTo>
                    <a:lnTo>
                      <a:pt x="170" y="206"/>
                    </a:lnTo>
                    <a:lnTo>
                      <a:pt x="166" y="206"/>
                    </a:lnTo>
                    <a:lnTo>
                      <a:pt x="164" y="210"/>
                    </a:lnTo>
                    <a:lnTo>
                      <a:pt x="160" y="210"/>
                    </a:lnTo>
                    <a:lnTo>
                      <a:pt x="156" y="210"/>
                    </a:lnTo>
                    <a:lnTo>
                      <a:pt x="152" y="214"/>
                    </a:lnTo>
                    <a:lnTo>
                      <a:pt x="144" y="214"/>
                    </a:lnTo>
                    <a:lnTo>
                      <a:pt x="140" y="218"/>
                    </a:lnTo>
                    <a:lnTo>
                      <a:pt x="136" y="218"/>
                    </a:lnTo>
                    <a:lnTo>
                      <a:pt x="136" y="222"/>
                    </a:lnTo>
                    <a:lnTo>
                      <a:pt x="136" y="228"/>
                    </a:lnTo>
                    <a:lnTo>
                      <a:pt x="136" y="240"/>
                    </a:lnTo>
                    <a:lnTo>
                      <a:pt x="136" y="244"/>
                    </a:lnTo>
                    <a:lnTo>
                      <a:pt x="136" y="252"/>
                    </a:lnTo>
                    <a:lnTo>
                      <a:pt x="136" y="254"/>
                    </a:lnTo>
                    <a:lnTo>
                      <a:pt x="136" y="258"/>
                    </a:lnTo>
                    <a:lnTo>
                      <a:pt x="136" y="262"/>
                    </a:lnTo>
                    <a:lnTo>
                      <a:pt x="136" y="266"/>
                    </a:lnTo>
                    <a:lnTo>
                      <a:pt x="136" y="272"/>
                    </a:lnTo>
                    <a:lnTo>
                      <a:pt x="136" y="280"/>
                    </a:lnTo>
                    <a:lnTo>
                      <a:pt x="136" y="284"/>
                    </a:lnTo>
                    <a:lnTo>
                      <a:pt x="136" y="288"/>
                    </a:lnTo>
                    <a:lnTo>
                      <a:pt x="136" y="292"/>
                    </a:lnTo>
                    <a:lnTo>
                      <a:pt x="134" y="288"/>
                    </a:lnTo>
                    <a:lnTo>
                      <a:pt x="134" y="292"/>
                    </a:lnTo>
                    <a:lnTo>
                      <a:pt x="130" y="292"/>
                    </a:lnTo>
                    <a:lnTo>
                      <a:pt x="126" y="292"/>
                    </a:lnTo>
                    <a:lnTo>
                      <a:pt x="126" y="288"/>
                    </a:lnTo>
                    <a:lnTo>
                      <a:pt x="126" y="284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18" y="276"/>
                    </a:lnTo>
                    <a:lnTo>
                      <a:pt x="114" y="272"/>
                    </a:lnTo>
                    <a:lnTo>
                      <a:pt x="110" y="272"/>
                    </a:lnTo>
                    <a:lnTo>
                      <a:pt x="110" y="268"/>
                    </a:lnTo>
                    <a:lnTo>
                      <a:pt x="106" y="268"/>
                    </a:lnTo>
                    <a:lnTo>
                      <a:pt x="104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92" y="272"/>
                    </a:lnTo>
                    <a:lnTo>
                      <a:pt x="92" y="276"/>
                    </a:lnTo>
                    <a:lnTo>
                      <a:pt x="88" y="276"/>
                    </a:lnTo>
                    <a:lnTo>
                      <a:pt x="84" y="280"/>
                    </a:lnTo>
                    <a:lnTo>
                      <a:pt x="80" y="284"/>
                    </a:lnTo>
                    <a:lnTo>
                      <a:pt x="76" y="288"/>
                    </a:lnTo>
                    <a:lnTo>
                      <a:pt x="74" y="288"/>
                    </a:lnTo>
                    <a:lnTo>
                      <a:pt x="66" y="292"/>
                    </a:lnTo>
                    <a:lnTo>
                      <a:pt x="66" y="288"/>
                    </a:lnTo>
                    <a:lnTo>
                      <a:pt x="62" y="284"/>
                    </a:lnTo>
                    <a:lnTo>
                      <a:pt x="60" y="280"/>
                    </a:lnTo>
                    <a:lnTo>
                      <a:pt x="60" y="276"/>
                    </a:lnTo>
                    <a:lnTo>
                      <a:pt x="56" y="272"/>
                    </a:lnTo>
                    <a:lnTo>
                      <a:pt x="52" y="268"/>
                    </a:lnTo>
                    <a:lnTo>
                      <a:pt x="48" y="262"/>
                    </a:lnTo>
                    <a:lnTo>
                      <a:pt x="44" y="258"/>
                    </a:lnTo>
                    <a:lnTo>
                      <a:pt x="44" y="254"/>
                    </a:lnTo>
                    <a:lnTo>
                      <a:pt x="40" y="252"/>
                    </a:lnTo>
                    <a:lnTo>
                      <a:pt x="40" y="248"/>
                    </a:lnTo>
                    <a:lnTo>
                      <a:pt x="36" y="240"/>
                    </a:lnTo>
                    <a:lnTo>
                      <a:pt x="36" y="236"/>
                    </a:lnTo>
                    <a:lnTo>
                      <a:pt x="36" y="232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6" y="214"/>
                    </a:lnTo>
                    <a:lnTo>
                      <a:pt x="40" y="210"/>
                    </a:lnTo>
                    <a:lnTo>
                      <a:pt x="44" y="206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198"/>
                    </a:lnTo>
                    <a:lnTo>
                      <a:pt x="48" y="198"/>
                    </a:lnTo>
                    <a:lnTo>
                      <a:pt x="44" y="196"/>
                    </a:lnTo>
                    <a:lnTo>
                      <a:pt x="40" y="196"/>
                    </a:lnTo>
                    <a:lnTo>
                      <a:pt x="40" y="192"/>
                    </a:lnTo>
                    <a:lnTo>
                      <a:pt x="36" y="188"/>
                    </a:lnTo>
                    <a:lnTo>
                      <a:pt x="34" y="18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4" y="180"/>
                    </a:lnTo>
                    <a:lnTo>
                      <a:pt x="34" y="184"/>
                    </a:lnTo>
                    <a:lnTo>
                      <a:pt x="36" y="184"/>
                    </a:lnTo>
                    <a:lnTo>
                      <a:pt x="36" y="180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0" y="168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22" y="162"/>
                    </a:lnTo>
                    <a:lnTo>
                      <a:pt x="18" y="162"/>
                    </a:lnTo>
                    <a:lnTo>
                      <a:pt x="14" y="162"/>
                    </a:lnTo>
                    <a:lnTo>
                      <a:pt x="10" y="162"/>
                    </a:lnTo>
                    <a:lnTo>
                      <a:pt x="10" y="158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6" y="150"/>
                    </a:lnTo>
                    <a:lnTo>
                      <a:pt x="4" y="150"/>
                    </a:lnTo>
                    <a:lnTo>
                      <a:pt x="0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6" y="140"/>
                    </a:lnTo>
                    <a:lnTo>
                      <a:pt x="6" y="136"/>
                    </a:lnTo>
                    <a:lnTo>
                      <a:pt x="10" y="136"/>
                    </a:lnTo>
                    <a:lnTo>
                      <a:pt x="10" y="132"/>
                    </a:lnTo>
                    <a:lnTo>
                      <a:pt x="6" y="132"/>
                    </a:lnTo>
                    <a:lnTo>
                      <a:pt x="6" y="128"/>
                    </a:lnTo>
                    <a:lnTo>
                      <a:pt x="6" y="124"/>
                    </a:lnTo>
                    <a:lnTo>
                      <a:pt x="6" y="116"/>
                    </a:lnTo>
                    <a:lnTo>
                      <a:pt x="10" y="116"/>
                    </a:lnTo>
                    <a:lnTo>
                      <a:pt x="14" y="116"/>
                    </a:lnTo>
                    <a:lnTo>
                      <a:pt x="14" y="112"/>
                    </a:lnTo>
                    <a:lnTo>
                      <a:pt x="10" y="112"/>
                    </a:lnTo>
                    <a:lnTo>
                      <a:pt x="14" y="110"/>
                    </a:lnTo>
                    <a:lnTo>
                      <a:pt x="14" y="106"/>
                    </a:lnTo>
                    <a:lnTo>
                      <a:pt x="18" y="106"/>
                    </a:lnTo>
                    <a:lnTo>
                      <a:pt x="18" y="110"/>
                    </a:lnTo>
                    <a:lnTo>
                      <a:pt x="22" y="110"/>
                    </a:lnTo>
                    <a:lnTo>
                      <a:pt x="22" y="112"/>
                    </a:lnTo>
                    <a:lnTo>
                      <a:pt x="26" y="112"/>
                    </a:lnTo>
                    <a:lnTo>
                      <a:pt x="26" y="116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34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4" y="112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02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40" y="98"/>
                    </a:lnTo>
                    <a:lnTo>
                      <a:pt x="44" y="98"/>
                    </a:lnTo>
                    <a:lnTo>
                      <a:pt x="40" y="94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4"/>
                    </a:lnTo>
                    <a:lnTo>
                      <a:pt x="62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0" y="84"/>
                    </a:lnTo>
                    <a:lnTo>
                      <a:pt x="74" y="84"/>
                    </a:lnTo>
                    <a:lnTo>
                      <a:pt x="74" y="86"/>
                    </a:lnTo>
                    <a:lnTo>
                      <a:pt x="76" y="84"/>
                    </a:lnTo>
                    <a:lnTo>
                      <a:pt x="74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8" y="86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6"/>
                    </a:lnTo>
                    <a:lnTo>
                      <a:pt x="92" y="84"/>
                    </a:lnTo>
                    <a:lnTo>
                      <a:pt x="96" y="84"/>
                    </a:lnTo>
                    <a:lnTo>
                      <a:pt x="100" y="84"/>
                    </a:lnTo>
                    <a:lnTo>
                      <a:pt x="104" y="86"/>
                    </a:lnTo>
                    <a:lnTo>
                      <a:pt x="100" y="86"/>
                    </a:lnTo>
                    <a:lnTo>
                      <a:pt x="104" y="90"/>
                    </a:lnTo>
                    <a:lnTo>
                      <a:pt x="106" y="90"/>
                    </a:lnTo>
                    <a:lnTo>
                      <a:pt x="106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4" y="98"/>
                    </a:lnTo>
                    <a:lnTo>
                      <a:pt x="110" y="102"/>
                    </a:lnTo>
                    <a:lnTo>
                      <a:pt x="114" y="102"/>
                    </a:lnTo>
                    <a:lnTo>
                      <a:pt x="114" y="106"/>
                    </a:lnTo>
                    <a:lnTo>
                      <a:pt x="118" y="102"/>
                    </a:lnTo>
                    <a:lnTo>
                      <a:pt x="114" y="102"/>
                    </a:lnTo>
                    <a:lnTo>
                      <a:pt x="114" y="98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22" y="98"/>
                    </a:lnTo>
                    <a:lnTo>
                      <a:pt x="126" y="102"/>
                    </a:lnTo>
                    <a:lnTo>
                      <a:pt x="130" y="102"/>
                    </a:lnTo>
                    <a:lnTo>
                      <a:pt x="130" y="106"/>
                    </a:lnTo>
                    <a:lnTo>
                      <a:pt x="134" y="102"/>
                    </a:lnTo>
                    <a:lnTo>
                      <a:pt x="136" y="102"/>
                    </a:lnTo>
                    <a:lnTo>
                      <a:pt x="136" y="98"/>
                    </a:lnTo>
                    <a:lnTo>
                      <a:pt x="140" y="98"/>
                    </a:lnTo>
                    <a:lnTo>
                      <a:pt x="140" y="94"/>
                    </a:lnTo>
                    <a:lnTo>
                      <a:pt x="144" y="94"/>
                    </a:lnTo>
                    <a:lnTo>
                      <a:pt x="148" y="94"/>
                    </a:lnTo>
                    <a:lnTo>
                      <a:pt x="152" y="94"/>
                    </a:lnTo>
                    <a:lnTo>
                      <a:pt x="156" y="98"/>
                    </a:lnTo>
                    <a:lnTo>
                      <a:pt x="160" y="98"/>
                    </a:lnTo>
                    <a:lnTo>
                      <a:pt x="160" y="94"/>
                    </a:lnTo>
                    <a:lnTo>
                      <a:pt x="160" y="90"/>
                    </a:lnTo>
                    <a:lnTo>
                      <a:pt x="164" y="94"/>
                    </a:lnTo>
                    <a:lnTo>
                      <a:pt x="166" y="94"/>
                    </a:lnTo>
                    <a:lnTo>
                      <a:pt x="166" y="90"/>
                    </a:lnTo>
                    <a:lnTo>
                      <a:pt x="170" y="90"/>
                    </a:lnTo>
                    <a:lnTo>
                      <a:pt x="170" y="94"/>
                    </a:lnTo>
                    <a:lnTo>
                      <a:pt x="170" y="98"/>
                    </a:lnTo>
                    <a:lnTo>
                      <a:pt x="174" y="98"/>
                    </a:lnTo>
                    <a:lnTo>
                      <a:pt x="178" y="102"/>
                    </a:lnTo>
                    <a:lnTo>
                      <a:pt x="182" y="102"/>
                    </a:lnTo>
                    <a:lnTo>
                      <a:pt x="186" y="102"/>
                    </a:lnTo>
                    <a:lnTo>
                      <a:pt x="186" y="106"/>
                    </a:lnTo>
                    <a:lnTo>
                      <a:pt x="190" y="106"/>
                    </a:lnTo>
                    <a:lnTo>
                      <a:pt x="190" y="102"/>
                    </a:lnTo>
                    <a:lnTo>
                      <a:pt x="190" y="98"/>
                    </a:lnTo>
                    <a:lnTo>
                      <a:pt x="192" y="98"/>
                    </a:lnTo>
                    <a:lnTo>
                      <a:pt x="196" y="102"/>
                    </a:lnTo>
                    <a:lnTo>
                      <a:pt x="200" y="102"/>
                    </a:lnTo>
                    <a:lnTo>
                      <a:pt x="204" y="102"/>
                    </a:lnTo>
                    <a:lnTo>
                      <a:pt x="208" y="102"/>
                    </a:lnTo>
                    <a:lnTo>
                      <a:pt x="212" y="98"/>
                    </a:lnTo>
                    <a:lnTo>
                      <a:pt x="212" y="94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12" y="86"/>
                    </a:lnTo>
                    <a:lnTo>
                      <a:pt x="208" y="84"/>
                    </a:lnTo>
                    <a:lnTo>
                      <a:pt x="208" y="86"/>
                    </a:lnTo>
                    <a:lnTo>
                      <a:pt x="208" y="84"/>
                    </a:lnTo>
                    <a:lnTo>
                      <a:pt x="204" y="84"/>
                    </a:lnTo>
                    <a:lnTo>
                      <a:pt x="200" y="84"/>
                    </a:lnTo>
                    <a:lnTo>
                      <a:pt x="196" y="80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2" y="76"/>
                    </a:lnTo>
                    <a:lnTo>
                      <a:pt x="192" y="72"/>
                    </a:lnTo>
                    <a:lnTo>
                      <a:pt x="196" y="72"/>
                    </a:lnTo>
                    <a:lnTo>
                      <a:pt x="200" y="72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64"/>
                    </a:lnTo>
                    <a:lnTo>
                      <a:pt x="204" y="64"/>
                    </a:lnTo>
                    <a:lnTo>
                      <a:pt x="204" y="60"/>
                    </a:lnTo>
                    <a:lnTo>
                      <a:pt x="200" y="60"/>
                    </a:lnTo>
                    <a:lnTo>
                      <a:pt x="200" y="56"/>
                    </a:lnTo>
                    <a:lnTo>
                      <a:pt x="204" y="56"/>
                    </a:lnTo>
                    <a:lnTo>
                      <a:pt x="208" y="54"/>
                    </a:lnTo>
                    <a:lnTo>
                      <a:pt x="212" y="54"/>
                    </a:lnTo>
                    <a:lnTo>
                      <a:pt x="216" y="54"/>
                    </a:lnTo>
                    <a:lnTo>
                      <a:pt x="220" y="54"/>
                    </a:lnTo>
                    <a:lnTo>
                      <a:pt x="222" y="54"/>
                    </a:lnTo>
                    <a:lnTo>
                      <a:pt x="222" y="50"/>
                    </a:lnTo>
                    <a:lnTo>
                      <a:pt x="220" y="50"/>
                    </a:lnTo>
                    <a:lnTo>
                      <a:pt x="216" y="50"/>
                    </a:lnTo>
                    <a:lnTo>
                      <a:pt x="216" y="46"/>
                    </a:lnTo>
                    <a:lnTo>
                      <a:pt x="216" y="50"/>
                    </a:lnTo>
                    <a:lnTo>
                      <a:pt x="212" y="50"/>
                    </a:lnTo>
                    <a:lnTo>
                      <a:pt x="212" y="46"/>
                    </a:lnTo>
                    <a:lnTo>
                      <a:pt x="208" y="46"/>
                    </a:lnTo>
                    <a:lnTo>
                      <a:pt x="208" y="42"/>
                    </a:lnTo>
                    <a:lnTo>
                      <a:pt x="212" y="42"/>
                    </a:lnTo>
                    <a:lnTo>
                      <a:pt x="216" y="42"/>
                    </a:lnTo>
                    <a:lnTo>
                      <a:pt x="216" y="38"/>
                    </a:lnTo>
                    <a:lnTo>
                      <a:pt x="212" y="38"/>
                    </a:lnTo>
                    <a:lnTo>
                      <a:pt x="212" y="42"/>
                    </a:lnTo>
                    <a:lnTo>
                      <a:pt x="208" y="42"/>
                    </a:lnTo>
                    <a:lnTo>
                      <a:pt x="208" y="38"/>
                    </a:lnTo>
                    <a:lnTo>
                      <a:pt x="204" y="38"/>
                    </a:lnTo>
                    <a:lnTo>
                      <a:pt x="208" y="38"/>
                    </a:lnTo>
                    <a:lnTo>
                      <a:pt x="208" y="34"/>
                    </a:lnTo>
                    <a:lnTo>
                      <a:pt x="204" y="34"/>
                    </a:lnTo>
                    <a:lnTo>
                      <a:pt x="208" y="30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20" y="30"/>
                    </a:lnTo>
                    <a:lnTo>
                      <a:pt x="222" y="30"/>
                    </a:lnTo>
                    <a:lnTo>
                      <a:pt x="226" y="30"/>
                    </a:lnTo>
                    <a:lnTo>
                      <a:pt x="226" y="34"/>
                    </a:lnTo>
                    <a:lnTo>
                      <a:pt x="226" y="30"/>
                    </a:lnTo>
                    <a:lnTo>
                      <a:pt x="230" y="30"/>
                    </a:lnTo>
                    <a:lnTo>
                      <a:pt x="234" y="30"/>
                    </a:lnTo>
                    <a:lnTo>
                      <a:pt x="234" y="28"/>
                    </a:lnTo>
                    <a:lnTo>
                      <a:pt x="238" y="28"/>
                    </a:lnTo>
                    <a:lnTo>
                      <a:pt x="242" y="28"/>
                    </a:lnTo>
                    <a:lnTo>
                      <a:pt x="246" y="28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2" y="24"/>
                    </a:lnTo>
                    <a:lnTo>
                      <a:pt x="256" y="24"/>
                    </a:lnTo>
                    <a:lnTo>
                      <a:pt x="260" y="24"/>
                    </a:lnTo>
                    <a:lnTo>
                      <a:pt x="264" y="24"/>
                    </a:lnTo>
                    <a:lnTo>
                      <a:pt x="268" y="24"/>
                    </a:lnTo>
                    <a:lnTo>
                      <a:pt x="264" y="24"/>
                    </a:lnTo>
                    <a:lnTo>
                      <a:pt x="264" y="20"/>
                    </a:lnTo>
                    <a:lnTo>
                      <a:pt x="268" y="20"/>
                    </a:lnTo>
                    <a:lnTo>
                      <a:pt x="268" y="16"/>
                    </a:lnTo>
                    <a:lnTo>
                      <a:pt x="272" y="16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8" y="16"/>
                    </a:lnTo>
                    <a:lnTo>
                      <a:pt x="282" y="16"/>
                    </a:lnTo>
                    <a:lnTo>
                      <a:pt x="286" y="16"/>
                    </a:lnTo>
                    <a:lnTo>
                      <a:pt x="290" y="16"/>
                    </a:lnTo>
                    <a:lnTo>
                      <a:pt x="294" y="12"/>
                    </a:lnTo>
                    <a:lnTo>
                      <a:pt x="298" y="12"/>
                    </a:lnTo>
                    <a:lnTo>
                      <a:pt x="302" y="12"/>
                    </a:lnTo>
                    <a:lnTo>
                      <a:pt x="302" y="8"/>
                    </a:lnTo>
                    <a:lnTo>
                      <a:pt x="306" y="8"/>
                    </a:lnTo>
                    <a:lnTo>
                      <a:pt x="306" y="12"/>
                    </a:lnTo>
                    <a:lnTo>
                      <a:pt x="308" y="8"/>
                    </a:lnTo>
                    <a:lnTo>
                      <a:pt x="308" y="4"/>
                    </a:lnTo>
                    <a:lnTo>
                      <a:pt x="312" y="4"/>
                    </a:lnTo>
                    <a:lnTo>
                      <a:pt x="316" y="0"/>
                    </a:lnTo>
                    <a:lnTo>
                      <a:pt x="320" y="4"/>
                    </a:lnTo>
                    <a:lnTo>
                      <a:pt x="320" y="0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8" y="4"/>
                    </a:lnTo>
                    <a:lnTo>
                      <a:pt x="342" y="4"/>
                    </a:lnTo>
                    <a:lnTo>
                      <a:pt x="342" y="0"/>
                    </a:lnTo>
                    <a:lnTo>
                      <a:pt x="346" y="0"/>
                    </a:lnTo>
                    <a:lnTo>
                      <a:pt x="346" y="4"/>
                    </a:lnTo>
                    <a:lnTo>
                      <a:pt x="346" y="8"/>
                    </a:lnTo>
                    <a:lnTo>
                      <a:pt x="346" y="12"/>
                    </a:lnTo>
                    <a:lnTo>
                      <a:pt x="350" y="16"/>
                    </a:lnTo>
                    <a:lnTo>
                      <a:pt x="354" y="16"/>
                    </a:lnTo>
                    <a:lnTo>
                      <a:pt x="350" y="16"/>
                    </a:lnTo>
                    <a:lnTo>
                      <a:pt x="350" y="20"/>
                    </a:lnTo>
                    <a:lnTo>
                      <a:pt x="350" y="24"/>
                    </a:lnTo>
                    <a:lnTo>
                      <a:pt x="346" y="24"/>
                    </a:lnTo>
                    <a:lnTo>
                      <a:pt x="350" y="24"/>
                    </a:lnTo>
                    <a:lnTo>
                      <a:pt x="350" y="28"/>
                    </a:lnTo>
                    <a:lnTo>
                      <a:pt x="354" y="28"/>
                    </a:lnTo>
                    <a:lnTo>
                      <a:pt x="358" y="28"/>
                    </a:lnTo>
                    <a:lnTo>
                      <a:pt x="362" y="28"/>
                    </a:lnTo>
                    <a:lnTo>
                      <a:pt x="366" y="28"/>
                    </a:lnTo>
                    <a:lnTo>
                      <a:pt x="362" y="24"/>
                    </a:lnTo>
                    <a:lnTo>
                      <a:pt x="366" y="24"/>
                    </a:lnTo>
                    <a:lnTo>
                      <a:pt x="368" y="28"/>
                    </a:lnTo>
                    <a:lnTo>
                      <a:pt x="366" y="28"/>
                    </a:lnTo>
                    <a:lnTo>
                      <a:pt x="368" y="28"/>
                    </a:lnTo>
                    <a:lnTo>
                      <a:pt x="368" y="30"/>
                    </a:lnTo>
                    <a:lnTo>
                      <a:pt x="368" y="34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68" y="30"/>
                    </a:lnTo>
                    <a:lnTo>
                      <a:pt x="368" y="28"/>
                    </a:lnTo>
                    <a:lnTo>
                      <a:pt x="372" y="28"/>
                    </a:lnTo>
                    <a:lnTo>
                      <a:pt x="376" y="28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88" y="30"/>
                    </a:lnTo>
                    <a:lnTo>
                      <a:pt x="388" y="34"/>
                    </a:lnTo>
                    <a:lnTo>
                      <a:pt x="384" y="34"/>
                    </a:lnTo>
                    <a:lnTo>
                      <a:pt x="380" y="34"/>
                    </a:lnTo>
                    <a:lnTo>
                      <a:pt x="380" y="38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84" y="42"/>
                    </a:lnTo>
                    <a:lnTo>
                      <a:pt x="388" y="38"/>
                    </a:lnTo>
                    <a:lnTo>
                      <a:pt x="392" y="38"/>
                    </a:lnTo>
                    <a:lnTo>
                      <a:pt x="394" y="38"/>
                    </a:lnTo>
                    <a:lnTo>
                      <a:pt x="394" y="42"/>
                    </a:lnTo>
                    <a:lnTo>
                      <a:pt x="398" y="38"/>
                    </a:lnTo>
                    <a:lnTo>
                      <a:pt x="394" y="38"/>
                    </a:lnTo>
                    <a:lnTo>
                      <a:pt x="398" y="38"/>
                    </a:lnTo>
                    <a:lnTo>
                      <a:pt x="398" y="34"/>
                    </a:lnTo>
                    <a:lnTo>
                      <a:pt x="402" y="34"/>
                    </a:lnTo>
                    <a:lnTo>
                      <a:pt x="406" y="34"/>
                    </a:lnTo>
                    <a:lnTo>
                      <a:pt x="408" y="30"/>
                    </a:lnTo>
                    <a:lnTo>
                      <a:pt x="412" y="28"/>
                    </a:lnTo>
                    <a:lnTo>
                      <a:pt x="416" y="28"/>
                    </a:lnTo>
                    <a:lnTo>
                      <a:pt x="420" y="28"/>
                    </a:lnTo>
                    <a:lnTo>
                      <a:pt x="420" y="24"/>
                    </a:lnTo>
                    <a:lnTo>
                      <a:pt x="424" y="24"/>
                    </a:lnTo>
                    <a:lnTo>
                      <a:pt x="428" y="24"/>
                    </a:lnTo>
                    <a:lnTo>
                      <a:pt x="428" y="20"/>
                    </a:lnTo>
                    <a:lnTo>
                      <a:pt x="432" y="24"/>
                    </a:lnTo>
                    <a:lnTo>
                      <a:pt x="428" y="28"/>
                    </a:lnTo>
                    <a:lnTo>
                      <a:pt x="424" y="28"/>
                    </a:lnTo>
                    <a:lnTo>
                      <a:pt x="424" y="30"/>
                    </a:lnTo>
                    <a:lnTo>
                      <a:pt x="428" y="34"/>
                    </a:lnTo>
                    <a:lnTo>
                      <a:pt x="432" y="34"/>
                    </a:lnTo>
                    <a:lnTo>
                      <a:pt x="436" y="38"/>
                    </a:lnTo>
                    <a:lnTo>
                      <a:pt x="438" y="42"/>
                    </a:lnTo>
                    <a:lnTo>
                      <a:pt x="442" y="46"/>
                    </a:lnTo>
                    <a:lnTo>
                      <a:pt x="446" y="46"/>
                    </a:lnTo>
                    <a:lnTo>
                      <a:pt x="446" y="50"/>
                    </a:lnTo>
                    <a:lnTo>
                      <a:pt x="450" y="56"/>
                    </a:lnTo>
                    <a:lnTo>
                      <a:pt x="454" y="56"/>
                    </a:lnTo>
                    <a:lnTo>
                      <a:pt x="454" y="60"/>
                    </a:lnTo>
                    <a:lnTo>
                      <a:pt x="454" y="64"/>
                    </a:lnTo>
                    <a:lnTo>
                      <a:pt x="458" y="64"/>
                    </a:lnTo>
                    <a:lnTo>
                      <a:pt x="462" y="68"/>
                    </a:lnTo>
                    <a:lnTo>
                      <a:pt x="466" y="80"/>
                    </a:lnTo>
                    <a:lnTo>
                      <a:pt x="468" y="84"/>
                    </a:lnTo>
                    <a:lnTo>
                      <a:pt x="468" y="86"/>
                    </a:lnTo>
                    <a:lnTo>
                      <a:pt x="468" y="90"/>
                    </a:lnTo>
                    <a:lnTo>
                      <a:pt x="472" y="90"/>
                    </a:lnTo>
                    <a:lnTo>
                      <a:pt x="472" y="98"/>
                    </a:lnTo>
                    <a:lnTo>
                      <a:pt x="476" y="98"/>
                    </a:lnTo>
                    <a:lnTo>
                      <a:pt x="480" y="98"/>
                    </a:lnTo>
                    <a:lnTo>
                      <a:pt x="480" y="94"/>
                    </a:lnTo>
                    <a:lnTo>
                      <a:pt x="480" y="90"/>
                    </a:lnTo>
                    <a:lnTo>
                      <a:pt x="484" y="90"/>
                    </a:lnTo>
                    <a:lnTo>
                      <a:pt x="484" y="86"/>
                    </a:lnTo>
                    <a:lnTo>
                      <a:pt x="488" y="90"/>
                    </a:lnTo>
                    <a:lnTo>
                      <a:pt x="492" y="90"/>
                    </a:lnTo>
                    <a:lnTo>
                      <a:pt x="492" y="94"/>
                    </a:lnTo>
                    <a:lnTo>
                      <a:pt x="496" y="94"/>
                    </a:lnTo>
                    <a:lnTo>
                      <a:pt x="496" y="98"/>
                    </a:lnTo>
                    <a:lnTo>
                      <a:pt x="496" y="102"/>
                    </a:lnTo>
                    <a:lnTo>
                      <a:pt x="498" y="102"/>
                    </a:lnTo>
                    <a:lnTo>
                      <a:pt x="498" y="98"/>
                    </a:lnTo>
                    <a:lnTo>
                      <a:pt x="502" y="98"/>
                    </a:lnTo>
                    <a:lnTo>
                      <a:pt x="502" y="102"/>
                    </a:lnTo>
                    <a:lnTo>
                      <a:pt x="506" y="102"/>
                    </a:lnTo>
                    <a:lnTo>
                      <a:pt x="510" y="98"/>
                    </a:lnTo>
                    <a:lnTo>
                      <a:pt x="510" y="102"/>
                    </a:lnTo>
                    <a:lnTo>
                      <a:pt x="514" y="98"/>
                    </a:lnTo>
                    <a:lnTo>
                      <a:pt x="518" y="98"/>
                    </a:lnTo>
                    <a:lnTo>
                      <a:pt x="518" y="94"/>
                    </a:lnTo>
                    <a:lnTo>
                      <a:pt x="522" y="94"/>
                    </a:lnTo>
                    <a:lnTo>
                      <a:pt x="524" y="94"/>
                    </a:lnTo>
                    <a:lnTo>
                      <a:pt x="528" y="98"/>
                    </a:lnTo>
                    <a:lnTo>
                      <a:pt x="532" y="98"/>
                    </a:lnTo>
                    <a:lnTo>
                      <a:pt x="532" y="102"/>
                    </a:lnTo>
                    <a:lnTo>
                      <a:pt x="536" y="106"/>
                    </a:lnTo>
                    <a:lnTo>
                      <a:pt x="536" y="110"/>
                    </a:lnTo>
                    <a:lnTo>
                      <a:pt x="536" y="112"/>
                    </a:lnTo>
                    <a:lnTo>
                      <a:pt x="540" y="112"/>
                    </a:lnTo>
                    <a:lnTo>
                      <a:pt x="544" y="112"/>
                    </a:lnTo>
                    <a:lnTo>
                      <a:pt x="548" y="112"/>
                    </a:lnTo>
                    <a:lnTo>
                      <a:pt x="548" y="116"/>
                    </a:lnTo>
                    <a:lnTo>
                      <a:pt x="544" y="116"/>
                    </a:lnTo>
                    <a:lnTo>
                      <a:pt x="548" y="116"/>
                    </a:lnTo>
                    <a:lnTo>
                      <a:pt x="548" y="120"/>
                    </a:lnTo>
                    <a:lnTo>
                      <a:pt x="548" y="124"/>
                    </a:lnTo>
                    <a:lnTo>
                      <a:pt x="552" y="124"/>
                    </a:lnTo>
                    <a:lnTo>
                      <a:pt x="554" y="124"/>
                    </a:lnTo>
                    <a:lnTo>
                      <a:pt x="558" y="124"/>
                    </a:lnTo>
                    <a:lnTo>
                      <a:pt x="562" y="128"/>
                    </a:lnTo>
                    <a:lnTo>
                      <a:pt x="562" y="124"/>
                    </a:lnTo>
                    <a:lnTo>
                      <a:pt x="566" y="124"/>
                    </a:lnTo>
                    <a:lnTo>
                      <a:pt x="566" y="120"/>
                    </a:lnTo>
                    <a:lnTo>
                      <a:pt x="570" y="120"/>
                    </a:lnTo>
                    <a:lnTo>
                      <a:pt x="570" y="124"/>
                    </a:lnTo>
                    <a:lnTo>
                      <a:pt x="574" y="124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78" y="136"/>
                    </a:lnTo>
                    <a:lnTo>
                      <a:pt x="574" y="136"/>
                    </a:lnTo>
                    <a:lnTo>
                      <a:pt x="570" y="136"/>
                    </a:lnTo>
                    <a:lnTo>
                      <a:pt x="570" y="140"/>
                    </a:lnTo>
                    <a:lnTo>
                      <a:pt x="570" y="142"/>
                    </a:lnTo>
                    <a:lnTo>
                      <a:pt x="570" y="146"/>
                    </a:lnTo>
                    <a:lnTo>
                      <a:pt x="566" y="146"/>
                    </a:lnTo>
                    <a:lnTo>
                      <a:pt x="562" y="146"/>
                    </a:lnTo>
                    <a:lnTo>
                      <a:pt x="558" y="146"/>
                    </a:lnTo>
                    <a:lnTo>
                      <a:pt x="558" y="150"/>
                    </a:lnTo>
                    <a:lnTo>
                      <a:pt x="554" y="150"/>
                    </a:lnTo>
                    <a:lnTo>
                      <a:pt x="554" y="154"/>
                    </a:lnTo>
                    <a:lnTo>
                      <a:pt x="554" y="158"/>
                    </a:lnTo>
                    <a:lnTo>
                      <a:pt x="554" y="162"/>
                    </a:lnTo>
                    <a:lnTo>
                      <a:pt x="554" y="166"/>
                    </a:lnTo>
                    <a:lnTo>
                      <a:pt x="554" y="168"/>
                    </a:lnTo>
                    <a:lnTo>
                      <a:pt x="554" y="172"/>
                    </a:lnTo>
                    <a:lnTo>
                      <a:pt x="554" y="176"/>
                    </a:lnTo>
                    <a:lnTo>
                      <a:pt x="552" y="176"/>
                    </a:lnTo>
                    <a:lnTo>
                      <a:pt x="548" y="176"/>
                    </a:lnTo>
                    <a:lnTo>
                      <a:pt x="548" y="180"/>
                    </a:lnTo>
                    <a:lnTo>
                      <a:pt x="544" y="180"/>
                    </a:lnTo>
                    <a:lnTo>
                      <a:pt x="540" y="176"/>
                    </a:lnTo>
                    <a:lnTo>
                      <a:pt x="536" y="176"/>
                    </a:lnTo>
                    <a:lnTo>
                      <a:pt x="532" y="176"/>
                    </a:lnTo>
                    <a:lnTo>
                      <a:pt x="528" y="176"/>
                    </a:lnTo>
                    <a:lnTo>
                      <a:pt x="524" y="176"/>
                    </a:lnTo>
                    <a:lnTo>
                      <a:pt x="522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8" y="180"/>
                    </a:lnTo>
                    <a:lnTo>
                      <a:pt x="514" y="184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0" y="192"/>
                    </a:lnTo>
                    <a:lnTo>
                      <a:pt x="510" y="196"/>
                    </a:lnTo>
                    <a:lnTo>
                      <a:pt x="510" y="198"/>
                    </a:lnTo>
                    <a:lnTo>
                      <a:pt x="510" y="202"/>
                    </a:lnTo>
                    <a:lnTo>
                      <a:pt x="506" y="206"/>
                    </a:lnTo>
                    <a:lnTo>
                      <a:pt x="510" y="206"/>
                    </a:lnTo>
                    <a:lnTo>
                      <a:pt x="510" y="210"/>
                    </a:lnTo>
                    <a:lnTo>
                      <a:pt x="514" y="210"/>
                    </a:lnTo>
                    <a:lnTo>
                      <a:pt x="514" y="214"/>
                    </a:lnTo>
                    <a:lnTo>
                      <a:pt x="510" y="214"/>
                    </a:lnTo>
                    <a:lnTo>
                      <a:pt x="506" y="214"/>
                    </a:lnTo>
                    <a:lnTo>
                      <a:pt x="502" y="214"/>
                    </a:lnTo>
                    <a:lnTo>
                      <a:pt x="498" y="214"/>
                    </a:lnTo>
                    <a:lnTo>
                      <a:pt x="498" y="210"/>
                    </a:lnTo>
                    <a:lnTo>
                      <a:pt x="496" y="210"/>
                    </a:lnTo>
                    <a:lnTo>
                      <a:pt x="496" y="214"/>
                    </a:lnTo>
                    <a:lnTo>
                      <a:pt x="492" y="214"/>
                    </a:lnTo>
                    <a:lnTo>
                      <a:pt x="488" y="214"/>
                    </a:lnTo>
                    <a:lnTo>
                      <a:pt x="484" y="214"/>
                    </a:lnTo>
                    <a:lnTo>
                      <a:pt x="480" y="218"/>
                    </a:lnTo>
                    <a:lnTo>
                      <a:pt x="476" y="218"/>
                    </a:lnTo>
                    <a:lnTo>
                      <a:pt x="472" y="222"/>
                    </a:lnTo>
                    <a:lnTo>
                      <a:pt x="476" y="222"/>
                    </a:lnTo>
                    <a:lnTo>
                      <a:pt x="480" y="222"/>
                    </a:lnTo>
                    <a:lnTo>
                      <a:pt x="484" y="222"/>
                    </a:lnTo>
                    <a:lnTo>
                      <a:pt x="484" y="224"/>
                    </a:lnTo>
                    <a:lnTo>
                      <a:pt x="480" y="224"/>
                    </a:lnTo>
                    <a:lnTo>
                      <a:pt x="480" y="228"/>
                    </a:lnTo>
                    <a:lnTo>
                      <a:pt x="480" y="232"/>
                    </a:lnTo>
                    <a:lnTo>
                      <a:pt x="480" y="236"/>
                    </a:lnTo>
                    <a:lnTo>
                      <a:pt x="480" y="240"/>
                    </a:lnTo>
                    <a:lnTo>
                      <a:pt x="484" y="240"/>
                    </a:lnTo>
                    <a:lnTo>
                      <a:pt x="484" y="244"/>
                    </a:lnTo>
                    <a:lnTo>
                      <a:pt x="484" y="248"/>
                    </a:lnTo>
                    <a:lnTo>
                      <a:pt x="488" y="252"/>
                    </a:lnTo>
                    <a:lnTo>
                      <a:pt x="488" y="254"/>
                    </a:lnTo>
                    <a:lnTo>
                      <a:pt x="484" y="254"/>
                    </a:lnTo>
                    <a:lnTo>
                      <a:pt x="480" y="258"/>
                    </a:lnTo>
                    <a:lnTo>
                      <a:pt x="484" y="258"/>
                    </a:lnTo>
                    <a:lnTo>
                      <a:pt x="480" y="262"/>
                    </a:lnTo>
                    <a:lnTo>
                      <a:pt x="476" y="266"/>
                    </a:lnTo>
                    <a:lnTo>
                      <a:pt x="476" y="268"/>
                    </a:lnTo>
                    <a:lnTo>
                      <a:pt x="480" y="268"/>
                    </a:lnTo>
                    <a:lnTo>
                      <a:pt x="480" y="272"/>
                    </a:lnTo>
                    <a:lnTo>
                      <a:pt x="476" y="272"/>
                    </a:lnTo>
                    <a:lnTo>
                      <a:pt x="476" y="268"/>
                    </a:lnTo>
                    <a:lnTo>
                      <a:pt x="472" y="268"/>
                    </a:lnTo>
                    <a:lnTo>
                      <a:pt x="468" y="268"/>
                    </a:ln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2"/>
                    </a:lnTo>
                    <a:lnTo>
                      <a:pt x="462" y="262"/>
                    </a:lnTo>
                    <a:lnTo>
                      <a:pt x="458" y="262"/>
                    </a:lnTo>
                    <a:lnTo>
                      <a:pt x="454" y="258"/>
                    </a:lnTo>
                    <a:lnTo>
                      <a:pt x="450" y="258"/>
                    </a:lnTo>
                    <a:lnTo>
                      <a:pt x="446" y="258"/>
                    </a:lnTo>
                    <a:lnTo>
                      <a:pt x="442" y="258"/>
                    </a:lnTo>
                    <a:lnTo>
                      <a:pt x="438" y="258"/>
                    </a:lnTo>
                    <a:lnTo>
                      <a:pt x="436" y="258"/>
                    </a:lnTo>
                    <a:lnTo>
                      <a:pt x="432" y="258"/>
                    </a:lnTo>
                    <a:lnTo>
                      <a:pt x="428" y="258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16" y="258"/>
                    </a:lnTo>
                    <a:lnTo>
                      <a:pt x="416" y="258"/>
                    </a:lnTo>
                    <a:lnTo>
                      <a:pt x="416" y="25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6" name="Freeform 35">
                <a:extLst>
                  <a:ext uri="{FF2B5EF4-FFF2-40B4-BE49-F238E27FC236}">
                    <a16:creationId xmlns:a16="http://schemas.microsoft.com/office/drawing/2014/main" id="{BCB8E768-C7ED-42A6-B47B-A8C81E0888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41950" y="3724343"/>
                <a:ext cx="41275" cy="44450"/>
              </a:xfrm>
              <a:custGeom>
                <a:avLst/>
                <a:gdLst>
                  <a:gd name="T0" fmla="*/ 10 w 26"/>
                  <a:gd name="T1" fmla="*/ 22 h 28"/>
                  <a:gd name="T2" fmla="*/ 4 w 26"/>
                  <a:gd name="T3" fmla="*/ 18 h 28"/>
                  <a:gd name="T4" fmla="*/ 0 w 26"/>
                  <a:gd name="T5" fmla="*/ 18 h 28"/>
                  <a:gd name="T6" fmla="*/ 0 w 26"/>
                  <a:gd name="T7" fmla="*/ 18 h 28"/>
                  <a:gd name="T8" fmla="*/ 0 w 26"/>
                  <a:gd name="T9" fmla="*/ 18 h 28"/>
                  <a:gd name="T10" fmla="*/ 0 w 26"/>
                  <a:gd name="T11" fmla="*/ 18 h 28"/>
                  <a:gd name="T12" fmla="*/ 0 w 26"/>
                  <a:gd name="T13" fmla="*/ 18 h 28"/>
                  <a:gd name="T14" fmla="*/ 4 w 26"/>
                  <a:gd name="T15" fmla="*/ 14 h 28"/>
                  <a:gd name="T16" fmla="*/ 4 w 26"/>
                  <a:gd name="T17" fmla="*/ 10 h 28"/>
                  <a:gd name="T18" fmla="*/ 4 w 26"/>
                  <a:gd name="T19" fmla="*/ 10 h 28"/>
                  <a:gd name="T20" fmla="*/ 6 w 26"/>
                  <a:gd name="T21" fmla="*/ 6 h 28"/>
                  <a:gd name="T22" fmla="*/ 6 w 26"/>
                  <a:gd name="T23" fmla="*/ 2 h 28"/>
                  <a:gd name="T24" fmla="*/ 6 w 26"/>
                  <a:gd name="T25" fmla="*/ 2 h 28"/>
                  <a:gd name="T26" fmla="*/ 6 w 26"/>
                  <a:gd name="T27" fmla="*/ 2 h 28"/>
                  <a:gd name="T28" fmla="*/ 10 w 26"/>
                  <a:gd name="T29" fmla="*/ 0 h 28"/>
                  <a:gd name="T30" fmla="*/ 14 w 26"/>
                  <a:gd name="T31" fmla="*/ 0 h 28"/>
                  <a:gd name="T32" fmla="*/ 18 w 26"/>
                  <a:gd name="T33" fmla="*/ 2 h 28"/>
                  <a:gd name="T34" fmla="*/ 18 w 26"/>
                  <a:gd name="T35" fmla="*/ 6 h 28"/>
                  <a:gd name="T36" fmla="*/ 18 w 26"/>
                  <a:gd name="T37" fmla="*/ 6 h 28"/>
                  <a:gd name="T38" fmla="*/ 18 w 26"/>
                  <a:gd name="T39" fmla="*/ 6 h 28"/>
                  <a:gd name="T40" fmla="*/ 22 w 26"/>
                  <a:gd name="T41" fmla="*/ 10 h 28"/>
                  <a:gd name="T42" fmla="*/ 22 w 26"/>
                  <a:gd name="T43" fmla="*/ 10 h 28"/>
                  <a:gd name="T44" fmla="*/ 18 w 26"/>
                  <a:gd name="T45" fmla="*/ 10 h 28"/>
                  <a:gd name="T46" fmla="*/ 18 w 26"/>
                  <a:gd name="T47" fmla="*/ 10 h 28"/>
                  <a:gd name="T48" fmla="*/ 14 w 26"/>
                  <a:gd name="T49" fmla="*/ 14 h 28"/>
                  <a:gd name="T50" fmla="*/ 14 w 26"/>
                  <a:gd name="T51" fmla="*/ 14 h 28"/>
                  <a:gd name="T52" fmla="*/ 18 w 26"/>
                  <a:gd name="T53" fmla="*/ 14 h 28"/>
                  <a:gd name="T54" fmla="*/ 18 w 26"/>
                  <a:gd name="T55" fmla="*/ 14 h 28"/>
                  <a:gd name="T56" fmla="*/ 18 w 26"/>
                  <a:gd name="T57" fmla="*/ 14 h 28"/>
                  <a:gd name="T58" fmla="*/ 18 w 26"/>
                  <a:gd name="T59" fmla="*/ 14 h 28"/>
                  <a:gd name="T60" fmla="*/ 18 w 26"/>
                  <a:gd name="T61" fmla="*/ 18 h 28"/>
                  <a:gd name="T62" fmla="*/ 22 w 26"/>
                  <a:gd name="T63" fmla="*/ 18 h 28"/>
                  <a:gd name="T64" fmla="*/ 22 w 26"/>
                  <a:gd name="T65" fmla="*/ 22 h 28"/>
                  <a:gd name="T66" fmla="*/ 22 w 26"/>
                  <a:gd name="T67" fmla="*/ 26 h 28"/>
                  <a:gd name="T68" fmla="*/ 26 w 26"/>
                  <a:gd name="T69" fmla="*/ 26 h 28"/>
                  <a:gd name="T70" fmla="*/ 26 w 26"/>
                  <a:gd name="T71" fmla="*/ 26 h 28"/>
                  <a:gd name="T72" fmla="*/ 22 w 26"/>
                  <a:gd name="T73" fmla="*/ 28 h 28"/>
                  <a:gd name="T74" fmla="*/ 14 w 26"/>
                  <a:gd name="T75" fmla="*/ 28 h 28"/>
                  <a:gd name="T76" fmla="*/ 14 w 26"/>
                  <a:gd name="T77" fmla="*/ 26 h 28"/>
                  <a:gd name="T78" fmla="*/ 14 w 26"/>
                  <a:gd name="T79" fmla="*/ 26 h 28"/>
                  <a:gd name="T80" fmla="*/ 10 w 26"/>
                  <a:gd name="T81" fmla="*/ 22 h 28"/>
                  <a:gd name="T82" fmla="*/ 10 w 26"/>
                  <a:gd name="T83" fmla="*/ 22 h 28"/>
                  <a:gd name="T84" fmla="*/ 10 w 26"/>
                  <a:gd name="T85" fmla="*/ 22 h 28"/>
                  <a:gd name="T86" fmla="*/ 22 w 26"/>
                  <a:gd name="T87" fmla="*/ 2 h 28"/>
                  <a:gd name="T88" fmla="*/ 22 w 26"/>
                  <a:gd name="T89" fmla="*/ 6 h 28"/>
                  <a:gd name="T90" fmla="*/ 22 w 26"/>
                  <a:gd name="T91" fmla="*/ 6 h 28"/>
                  <a:gd name="T92" fmla="*/ 26 w 26"/>
                  <a:gd name="T93" fmla="*/ 6 h 28"/>
                  <a:gd name="T94" fmla="*/ 26 w 26"/>
                  <a:gd name="T95" fmla="*/ 6 h 28"/>
                  <a:gd name="T96" fmla="*/ 22 w 26"/>
                  <a:gd name="T97" fmla="*/ 6 h 28"/>
                  <a:gd name="T98" fmla="*/ 22 w 26"/>
                  <a:gd name="T99" fmla="*/ 10 h 28"/>
                  <a:gd name="T100" fmla="*/ 22 w 26"/>
                  <a:gd name="T101" fmla="*/ 10 h 28"/>
                  <a:gd name="T102" fmla="*/ 22 w 26"/>
                  <a:gd name="T103" fmla="*/ 10 h 28"/>
                  <a:gd name="T104" fmla="*/ 22 w 26"/>
                  <a:gd name="T105" fmla="*/ 10 h 28"/>
                  <a:gd name="T106" fmla="*/ 22 w 26"/>
                  <a:gd name="T107" fmla="*/ 10 h 28"/>
                  <a:gd name="T108" fmla="*/ 22 w 26"/>
                  <a:gd name="T109" fmla="*/ 10 h 28"/>
                  <a:gd name="T110" fmla="*/ 22 w 26"/>
                  <a:gd name="T111" fmla="*/ 2 h 28"/>
                  <a:gd name="T112" fmla="*/ 22 w 26"/>
                  <a:gd name="T113" fmla="*/ 2 h 28"/>
                  <a:gd name="T114" fmla="*/ 22 w 26"/>
                  <a:gd name="T115" fmla="*/ 2 h 28"/>
                  <a:gd name="T116" fmla="*/ 22 w 26"/>
                  <a:gd name="T117" fmla="*/ 2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6" h="28">
                    <a:moveTo>
                      <a:pt x="10" y="22"/>
                    </a:moveTo>
                    <a:lnTo>
                      <a:pt x="1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6" y="6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8"/>
                    </a:lnTo>
                    <a:lnTo>
                      <a:pt x="22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22" y="2"/>
                    </a:move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18" y="6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7" name="Freeform 36">
                <a:extLst>
                  <a:ext uri="{FF2B5EF4-FFF2-40B4-BE49-F238E27FC236}">
                    <a16:creationId xmlns:a16="http://schemas.microsoft.com/office/drawing/2014/main" id="{E6608887-BCEB-42A5-9F76-F073E757A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49950" y="3333818"/>
                <a:ext cx="247650" cy="120650"/>
              </a:xfrm>
              <a:custGeom>
                <a:avLst/>
                <a:gdLst>
                  <a:gd name="T0" fmla="*/ 74 w 156"/>
                  <a:gd name="T1" fmla="*/ 54 h 76"/>
                  <a:gd name="T2" fmla="*/ 68 w 156"/>
                  <a:gd name="T3" fmla="*/ 58 h 76"/>
                  <a:gd name="T4" fmla="*/ 68 w 156"/>
                  <a:gd name="T5" fmla="*/ 66 h 76"/>
                  <a:gd name="T6" fmla="*/ 60 w 156"/>
                  <a:gd name="T7" fmla="*/ 68 h 76"/>
                  <a:gd name="T8" fmla="*/ 52 w 156"/>
                  <a:gd name="T9" fmla="*/ 72 h 76"/>
                  <a:gd name="T10" fmla="*/ 42 w 156"/>
                  <a:gd name="T11" fmla="*/ 72 h 76"/>
                  <a:gd name="T12" fmla="*/ 38 w 156"/>
                  <a:gd name="T13" fmla="*/ 72 h 76"/>
                  <a:gd name="T14" fmla="*/ 30 w 156"/>
                  <a:gd name="T15" fmla="*/ 68 h 76"/>
                  <a:gd name="T16" fmla="*/ 30 w 156"/>
                  <a:gd name="T17" fmla="*/ 68 h 76"/>
                  <a:gd name="T18" fmla="*/ 22 w 156"/>
                  <a:gd name="T19" fmla="*/ 68 h 76"/>
                  <a:gd name="T20" fmla="*/ 14 w 156"/>
                  <a:gd name="T21" fmla="*/ 66 h 76"/>
                  <a:gd name="T22" fmla="*/ 8 w 156"/>
                  <a:gd name="T23" fmla="*/ 68 h 76"/>
                  <a:gd name="T24" fmla="*/ 0 w 156"/>
                  <a:gd name="T25" fmla="*/ 66 h 76"/>
                  <a:gd name="T26" fmla="*/ 0 w 156"/>
                  <a:gd name="T27" fmla="*/ 62 h 76"/>
                  <a:gd name="T28" fmla="*/ 8 w 156"/>
                  <a:gd name="T29" fmla="*/ 58 h 76"/>
                  <a:gd name="T30" fmla="*/ 18 w 156"/>
                  <a:gd name="T31" fmla="*/ 58 h 76"/>
                  <a:gd name="T32" fmla="*/ 18 w 156"/>
                  <a:gd name="T33" fmla="*/ 62 h 76"/>
                  <a:gd name="T34" fmla="*/ 22 w 156"/>
                  <a:gd name="T35" fmla="*/ 54 h 76"/>
                  <a:gd name="T36" fmla="*/ 34 w 156"/>
                  <a:gd name="T37" fmla="*/ 58 h 76"/>
                  <a:gd name="T38" fmla="*/ 44 w 156"/>
                  <a:gd name="T39" fmla="*/ 50 h 76"/>
                  <a:gd name="T40" fmla="*/ 48 w 156"/>
                  <a:gd name="T41" fmla="*/ 50 h 76"/>
                  <a:gd name="T42" fmla="*/ 52 w 156"/>
                  <a:gd name="T43" fmla="*/ 42 h 76"/>
                  <a:gd name="T44" fmla="*/ 48 w 156"/>
                  <a:gd name="T45" fmla="*/ 42 h 76"/>
                  <a:gd name="T46" fmla="*/ 42 w 156"/>
                  <a:gd name="T47" fmla="*/ 36 h 76"/>
                  <a:gd name="T48" fmla="*/ 34 w 156"/>
                  <a:gd name="T49" fmla="*/ 28 h 76"/>
                  <a:gd name="T50" fmla="*/ 30 w 156"/>
                  <a:gd name="T51" fmla="*/ 36 h 76"/>
                  <a:gd name="T52" fmla="*/ 30 w 156"/>
                  <a:gd name="T53" fmla="*/ 40 h 76"/>
                  <a:gd name="T54" fmla="*/ 22 w 156"/>
                  <a:gd name="T55" fmla="*/ 32 h 76"/>
                  <a:gd name="T56" fmla="*/ 12 w 156"/>
                  <a:gd name="T57" fmla="*/ 32 h 76"/>
                  <a:gd name="T58" fmla="*/ 14 w 156"/>
                  <a:gd name="T59" fmla="*/ 24 h 76"/>
                  <a:gd name="T60" fmla="*/ 22 w 156"/>
                  <a:gd name="T61" fmla="*/ 20 h 76"/>
                  <a:gd name="T62" fmla="*/ 22 w 156"/>
                  <a:gd name="T63" fmla="*/ 16 h 76"/>
                  <a:gd name="T64" fmla="*/ 26 w 156"/>
                  <a:gd name="T65" fmla="*/ 6 h 76"/>
                  <a:gd name="T66" fmla="*/ 38 w 156"/>
                  <a:gd name="T67" fmla="*/ 6 h 76"/>
                  <a:gd name="T68" fmla="*/ 48 w 156"/>
                  <a:gd name="T69" fmla="*/ 6 h 76"/>
                  <a:gd name="T70" fmla="*/ 56 w 156"/>
                  <a:gd name="T71" fmla="*/ 10 h 76"/>
                  <a:gd name="T72" fmla="*/ 60 w 156"/>
                  <a:gd name="T73" fmla="*/ 10 h 76"/>
                  <a:gd name="T74" fmla="*/ 60 w 156"/>
                  <a:gd name="T75" fmla="*/ 0 h 76"/>
                  <a:gd name="T76" fmla="*/ 72 w 156"/>
                  <a:gd name="T77" fmla="*/ 0 h 76"/>
                  <a:gd name="T78" fmla="*/ 82 w 156"/>
                  <a:gd name="T79" fmla="*/ 4 h 76"/>
                  <a:gd name="T80" fmla="*/ 88 w 156"/>
                  <a:gd name="T81" fmla="*/ 6 h 76"/>
                  <a:gd name="T82" fmla="*/ 100 w 156"/>
                  <a:gd name="T83" fmla="*/ 4 h 76"/>
                  <a:gd name="T84" fmla="*/ 112 w 156"/>
                  <a:gd name="T85" fmla="*/ 4 h 76"/>
                  <a:gd name="T86" fmla="*/ 122 w 156"/>
                  <a:gd name="T87" fmla="*/ 4 h 76"/>
                  <a:gd name="T88" fmla="*/ 134 w 156"/>
                  <a:gd name="T89" fmla="*/ 6 h 76"/>
                  <a:gd name="T90" fmla="*/ 142 w 156"/>
                  <a:gd name="T91" fmla="*/ 10 h 76"/>
                  <a:gd name="T92" fmla="*/ 148 w 156"/>
                  <a:gd name="T93" fmla="*/ 14 h 76"/>
                  <a:gd name="T94" fmla="*/ 156 w 156"/>
                  <a:gd name="T95" fmla="*/ 16 h 76"/>
                  <a:gd name="T96" fmla="*/ 148 w 156"/>
                  <a:gd name="T97" fmla="*/ 20 h 76"/>
                  <a:gd name="T98" fmla="*/ 142 w 156"/>
                  <a:gd name="T99" fmla="*/ 24 h 76"/>
                  <a:gd name="T100" fmla="*/ 134 w 156"/>
                  <a:gd name="T101" fmla="*/ 28 h 76"/>
                  <a:gd name="T102" fmla="*/ 126 w 156"/>
                  <a:gd name="T103" fmla="*/ 36 h 76"/>
                  <a:gd name="T104" fmla="*/ 118 w 156"/>
                  <a:gd name="T105" fmla="*/ 40 h 76"/>
                  <a:gd name="T106" fmla="*/ 108 w 156"/>
                  <a:gd name="T107" fmla="*/ 40 h 76"/>
                  <a:gd name="T108" fmla="*/ 104 w 156"/>
                  <a:gd name="T109" fmla="*/ 50 h 76"/>
                  <a:gd name="T110" fmla="*/ 100 w 156"/>
                  <a:gd name="T111" fmla="*/ 50 h 76"/>
                  <a:gd name="T112" fmla="*/ 88 w 156"/>
                  <a:gd name="T113" fmla="*/ 54 h 76"/>
                  <a:gd name="T114" fmla="*/ 86 w 156"/>
                  <a:gd name="T115" fmla="*/ 46 h 76"/>
                  <a:gd name="T116" fmla="*/ 78 w 156"/>
                  <a:gd name="T117" fmla="*/ 5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6">
                    <a:moveTo>
                      <a:pt x="78" y="50"/>
                    </a:moveTo>
                    <a:lnTo>
                      <a:pt x="78" y="54"/>
                    </a:lnTo>
                    <a:lnTo>
                      <a:pt x="74" y="54"/>
                    </a:lnTo>
                    <a:lnTo>
                      <a:pt x="74" y="58"/>
                    </a:lnTo>
                    <a:lnTo>
                      <a:pt x="72" y="58"/>
                    </a:lnTo>
                    <a:lnTo>
                      <a:pt x="68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0" y="66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6"/>
                    </a:lnTo>
                    <a:lnTo>
                      <a:pt x="14" y="66"/>
                    </a:lnTo>
                    <a:lnTo>
                      <a:pt x="14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4" y="58"/>
                    </a:lnTo>
                    <a:lnTo>
                      <a:pt x="18" y="58"/>
                    </a:lnTo>
                    <a:lnTo>
                      <a:pt x="18" y="62"/>
                    </a:lnTo>
                    <a:lnTo>
                      <a:pt x="14" y="62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26" y="54"/>
                    </a:lnTo>
                    <a:lnTo>
                      <a:pt x="30" y="54"/>
                    </a:lnTo>
                    <a:lnTo>
                      <a:pt x="34" y="58"/>
                    </a:lnTo>
                    <a:lnTo>
                      <a:pt x="38" y="54"/>
                    </a:lnTo>
                    <a:lnTo>
                      <a:pt x="42" y="50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4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2"/>
                    </a:lnTo>
                    <a:lnTo>
                      <a:pt x="34" y="28"/>
                    </a:lnTo>
                    <a:lnTo>
                      <a:pt x="34" y="32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2"/>
                    </a:lnTo>
                    <a:lnTo>
                      <a:pt x="18" y="32"/>
                    </a:lnTo>
                    <a:lnTo>
                      <a:pt x="14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6" y="16"/>
                    </a:lnTo>
                    <a:lnTo>
                      <a:pt x="26" y="14"/>
                    </a:lnTo>
                    <a:lnTo>
                      <a:pt x="22" y="16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4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4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4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6"/>
                    </a:lnTo>
                    <a:lnTo>
                      <a:pt x="88" y="6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48" y="14"/>
                    </a:lnTo>
                    <a:lnTo>
                      <a:pt x="152" y="14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48" y="20"/>
                    </a:lnTo>
                    <a:lnTo>
                      <a:pt x="148" y="24"/>
                    </a:lnTo>
                    <a:lnTo>
                      <a:pt x="146" y="24"/>
                    </a:lnTo>
                    <a:lnTo>
                      <a:pt x="142" y="24"/>
                    </a:lnTo>
                    <a:lnTo>
                      <a:pt x="138" y="24"/>
                    </a:lnTo>
                    <a:lnTo>
                      <a:pt x="138" y="28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2"/>
                    </a:lnTo>
                    <a:lnTo>
                      <a:pt x="126" y="36"/>
                    </a:lnTo>
                    <a:lnTo>
                      <a:pt x="126" y="40"/>
                    </a:lnTo>
                    <a:lnTo>
                      <a:pt x="122" y="40"/>
                    </a:lnTo>
                    <a:lnTo>
                      <a:pt x="118" y="40"/>
                    </a:lnTo>
                    <a:lnTo>
                      <a:pt x="116" y="40"/>
                    </a:lnTo>
                    <a:lnTo>
                      <a:pt x="112" y="40"/>
                    </a:lnTo>
                    <a:lnTo>
                      <a:pt x="108" y="40"/>
                    </a:lnTo>
                    <a:lnTo>
                      <a:pt x="104" y="40"/>
                    </a:lnTo>
                    <a:lnTo>
                      <a:pt x="104" y="46"/>
                    </a:lnTo>
                    <a:lnTo>
                      <a:pt x="104" y="50"/>
                    </a:lnTo>
                    <a:lnTo>
                      <a:pt x="100" y="50"/>
                    </a:lnTo>
                    <a:lnTo>
                      <a:pt x="100" y="54"/>
                    </a:lnTo>
                    <a:lnTo>
                      <a:pt x="100" y="50"/>
                    </a:lnTo>
                    <a:lnTo>
                      <a:pt x="96" y="50"/>
                    </a:lnTo>
                    <a:lnTo>
                      <a:pt x="92" y="54"/>
                    </a:lnTo>
                    <a:lnTo>
                      <a:pt x="88" y="54"/>
                    </a:lnTo>
                    <a:lnTo>
                      <a:pt x="88" y="50"/>
                    </a:lnTo>
                    <a:lnTo>
                      <a:pt x="88" y="46"/>
                    </a:lnTo>
                    <a:lnTo>
                      <a:pt x="86" y="46"/>
                    </a:lnTo>
                    <a:lnTo>
                      <a:pt x="86" y="50"/>
                    </a:lnTo>
                    <a:lnTo>
                      <a:pt x="82" y="50"/>
                    </a:lnTo>
                    <a:lnTo>
                      <a:pt x="78" y="50"/>
                    </a:lnTo>
                    <a:lnTo>
                      <a:pt x="78" y="50"/>
                    </a:lnTo>
                    <a:lnTo>
                      <a:pt x="78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8" name="Freeform 37">
                <a:extLst>
                  <a:ext uri="{FF2B5EF4-FFF2-40B4-BE49-F238E27FC236}">
                    <a16:creationId xmlns:a16="http://schemas.microsoft.com/office/drawing/2014/main" id="{A807EA27-84C6-4BAE-BC2E-09680AAAFA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38925" y="3943418"/>
                <a:ext cx="174625" cy="234950"/>
              </a:xfrm>
              <a:custGeom>
                <a:avLst/>
                <a:gdLst>
                  <a:gd name="T0" fmla="*/ 54 w 110"/>
                  <a:gd name="T1" fmla="*/ 72 h 148"/>
                  <a:gd name="T2" fmla="*/ 46 w 110"/>
                  <a:gd name="T3" fmla="*/ 72 h 148"/>
                  <a:gd name="T4" fmla="*/ 34 w 110"/>
                  <a:gd name="T5" fmla="*/ 80 h 148"/>
                  <a:gd name="T6" fmla="*/ 26 w 110"/>
                  <a:gd name="T7" fmla="*/ 72 h 148"/>
                  <a:gd name="T8" fmla="*/ 20 w 110"/>
                  <a:gd name="T9" fmla="*/ 80 h 148"/>
                  <a:gd name="T10" fmla="*/ 12 w 110"/>
                  <a:gd name="T11" fmla="*/ 88 h 148"/>
                  <a:gd name="T12" fmla="*/ 16 w 110"/>
                  <a:gd name="T13" fmla="*/ 76 h 148"/>
                  <a:gd name="T14" fmla="*/ 16 w 110"/>
                  <a:gd name="T15" fmla="*/ 62 h 148"/>
                  <a:gd name="T16" fmla="*/ 16 w 110"/>
                  <a:gd name="T17" fmla="*/ 54 h 148"/>
                  <a:gd name="T18" fmla="*/ 4 w 110"/>
                  <a:gd name="T19" fmla="*/ 50 h 148"/>
                  <a:gd name="T20" fmla="*/ 4 w 110"/>
                  <a:gd name="T21" fmla="*/ 40 h 148"/>
                  <a:gd name="T22" fmla="*/ 0 w 110"/>
                  <a:gd name="T23" fmla="*/ 36 h 148"/>
                  <a:gd name="T24" fmla="*/ 8 w 110"/>
                  <a:gd name="T25" fmla="*/ 30 h 148"/>
                  <a:gd name="T26" fmla="*/ 8 w 110"/>
                  <a:gd name="T27" fmla="*/ 22 h 148"/>
                  <a:gd name="T28" fmla="*/ 16 w 110"/>
                  <a:gd name="T29" fmla="*/ 14 h 148"/>
                  <a:gd name="T30" fmla="*/ 24 w 110"/>
                  <a:gd name="T31" fmla="*/ 22 h 148"/>
                  <a:gd name="T32" fmla="*/ 24 w 110"/>
                  <a:gd name="T33" fmla="*/ 22 h 148"/>
                  <a:gd name="T34" fmla="*/ 20 w 110"/>
                  <a:gd name="T35" fmla="*/ 4 h 148"/>
                  <a:gd name="T36" fmla="*/ 30 w 110"/>
                  <a:gd name="T37" fmla="*/ 0 h 148"/>
                  <a:gd name="T38" fmla="*/ 38 w 110"/>
                  <a:gd name="T39" fmla="*/ 10 h 148"/>
                  <a:gd name="T40" fmla="*/ 38 w 110"/>
                  <a:gd name="T41" fmla="*/ 18 h 148"/>
                  <a:gd name="T42" fmla="*/ 42 w 110"/>
                  <a:gd name="T43" fmla="*/ 26 h 148"/>
                  <a:gd name="T44" fmla="*/ 50 w 110"/>
                  <a:gd name="T45" fmla="*/ 32 h 148"/>
                  <a:gd name="T46" fmla="*/ 60 w 110"/>
                  <a:gd name="T47" fmla="*/ 30 h 148"/>
                  <a:gd name="T48" fmla="*/ 68 w 110"/>
                  <a:gd name="T49" fmla="*/ 40 h 148"/>
                  <a:gd name="T50" fmla="*/ 64 w 110"/>
                  <a:gd name="T51" fmla="*/ 50 h 148"/>
                  <a:gd name="T52" fmla="*/ 56 w 110"/>
                  <a:gd name="T53" fmla="*/ 50 h 148"/>
                  <a:gd name="T54" fmla="*/ 54 w 110"/>
                  <a:gd name="T55" fmla="*/ 54 h 148"/>
                  <a:gd name="T56" fmla="*/ 64 w 110"/>
                  <a:gd name="T57" fmla="*/ 66 h 148"/>
                  <a:gd name="T58" fmla="*/ 72 w 110"/>
                  <a:gd name="T59" fmla="*/ 72 h 148"/>
                  <a:gd name="T60" fmla="*/ 80 w 110"/>
                  <a:gd name="T61" fmla="*/ 80 h 148"/>
                  <a:gd name="T62" fmla="*/ 86 w 110"/>
                  <a:gd name="T63" fmla="*/ 88 h 148"/>
                  <a:gd name="T64" fmla="*/ 90 w 110"/>
                  <a:gd name="T65" fmla="*/ 98 h 148"/>
                  <a:gd name="T66" fmla="*/ 98 w 110"/>
                  <a:gd name="T67" fmla="*/ 102 h 148"/>
                  <a:gd name="T68" fmla="*/ 106 w 110"/>
                  <a:gd name="T69" fmla="*/ 110 h 148"/>
                  <a:gd name="T70" fmla="*/ 102 w 110"/>
                  <a:gd name="T71" fmla="*/ 122 h 148"/>
                  <a:gd name="T72" fmla="*/ 106 w 110"/>
                  <a:gd name="T73" fmla="*/ 128 h 148"/>
                  <a:gd name="T74" fmla="*/ 102 w 110"/>
                  <a:gd name="T75" fmla="*/ 140 h 148"/>
                  <a:gd name="T76" fmla="*/ 90 w 110"/>
                  <a:gd name="T77" fmla="*/ 140 h 148"/>
                  <a:gd name="T78" fmla="*/ 86 w 110"/>
                  <a:gd name="T79" fmla="*/ 144 h 148"/>
                  <a:gd name="T80" fmla="*/ 80 w 110"/>
                  <a:gd name="T81" fmla="*/ 144 h 148"/>
                  <a:gd name="T82" fmla="*/ 72 w 110"/>
                  <a:gd name="T83" fmla="*/ 144 h 148"/>
                  <a:gd name="T84" fmla="*/ 76 w 110"/>
                  <a:gd name="T85" fmla="*/ 132 h 148"/>
                  <a:gd name="T86" fmla="*/ 80 w 110"/>
                  <a:gd name="T87" fmla="*/ 124 h 148"/>
                  <a:gd name="T88" fmla="*/ 76 w 110"/>
                  <a:gd name="T89" fmla="*/ 114 h 148"/>
                  <a:gd name="T90" fmla="*/ 68 w 110"/>
                  <a:gd name="T91" fmla="*/ 102 h 148"/>
                  <a:gd name="T92" fmla="*/ 64 w 110"/>
                  <a:gd name="T93" fmla="*/ 96 h 148"/>
                  <a:gd name="T94" fmla="*/ 64 w 110"/>
                  <a:gd name="T95" fmla="*/ 88 h 148"/>
                  <a:gd name="T96" fmla="*/ 60 w 110"/>
                  <a:gd name="T97" fmla="*/ 80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0" h="148">
                    <a:moveTo>
                      <a:pt x="60" y="80"/>
                    </a:moveTo>
                    <a:lnTo>
                      <a:pt x="56" y="76"/>
                    </a:lnTo>
                    <a:lnTo>
                      <a:pt x="56" y="72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4" y="80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20" y="62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8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2"/>
                    </a:lnTo>
                    <a:lnTo>
                      <a:pt x="54" y="32"/>
                    </a:lnTo>
                    <a:lnTo>
                      <a:pt x="54" y="30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4" y="32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4" y="54"/>
                    </a:lnTo>
                    <a:lnTo>
                      <a:pt x="56" y="58"/>
                    </a:lnTo>
                    <a:lnTo>
                      <a:pt x="60" y="58"/>
                    </a:lnTo>
                    <a:lnTo>
                      <a:pt x="64" y="62"/>
                    </a:lnTo>
                    <a:lnTo>
                      <a:pt x="64" y="66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90" y="92"/>
                    </a:lnTo>
                    <a:lnTo>
                      <a:pt x="90" y="96"/>
                    </a:lnTo>
                    <a:lnTo>
                      <a:pt x="90" y="98"/>
                    </a:lnTo>
                    <a:lnTo>
                      <a:pt x="90" y="102"/>
                    </a:lnTo>
                    <a:lnTo>
                      <a:pt x="94" y="106"/>
                    </a:lnTo>
                    <a:lnTo>
                      <a:pt x="94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102" y="106"/>
                    </a:lnTo>
                    <a:lnTo>
                      <a:pt x="102" y="110"/>
                    </a:lnTo>
                    <a:lnTo>
                      <a:pt x="106" y="110"/>
                    </a:lnTo>
                    <a:lnTo>
                      <a:pt x="106" y="114"/>
                    </a:lnTo>
                    <a:lnTo>
                      <a:pt x="102" y="114"/>
                    </a:lnTo>
                    <a:lnTo>
                      <a:pt x="102" y="118"/>
                    </a:lnTo>
                    <a:lnTo>
                      <a:pt x="102" y="122"/>
                    </a:lnTo>
                    <a:lnTo>
                      <a:pt x="106" y="122"/>
                    </a:lnTo>
                    <a:lnTo>
                      <a:pt x="106" y="124"/>
                    </a:lnTo>
                    <a:lnTo>
                      <a:pt x="110" y="124"/>
                    </a:lnTo>
                    <a:lnTo>
                      <a:pt x="106" y="128"/>
                    </a:lnTo>
                    <a:lnTo>
                      <a:pt x="106" y="132"/>
                    </a:lnTo>
                    <a:lnTo>
                      <a:pt x="106" y="136"/>
                    </a:lnTo>
                    <a:lnTo>
                      <a:pt x="102" y="136"/>
                    </a:lnTo>
                    <a:lnTo>
                      <a:pt x="102" y="140"/>
                    </a:lnTo>
                    <a:lnTo>
                      <a:pt x="94" y="144"/>
                    </a:lnTo>
                    <a:lnTo>
                      <a:pt x="94" y="140"/>
                    </a:lnTo>
                    <a:lnTo>
                      <a:pt x="90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4" y="140"/>
                    </a:lnTo>
                    <a:lnTo>
                      <a:pt x="84" y="144"/>
                    </a:lnTo>
                    <a:lnTo>
                      <a:pt x="86" y="144"/>
                    </a:lnTo>
                    <a:lnTo>
                      <a:pt x="86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44"/>
                    </a:lnTo>
                    <a:lnTo>
                      <a:pt x="76" y="144"/>
                    </a:lnTo>
                    <a:lnTo>
                      <a:pt x="76" y="148"/>
                    </a:lnTo>
                    <a:lnTo>
                      <a:pt x="76" y="144"/>
                    </a:lnTo>
                    <a:lnTo>
                      <a:pt x="72" y="144"/>
                    </a:lnTo>
                    <a:lnTo>
                      <a:pt x="72" y="140"/>
                    </a:lnTo>
                    <a:lnTo>
                      <a:pt x="76" y="140"/>
                    </a:lnTo>
                    <a:lnTo>
                      <a:pt x="76" y="136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76" y="128"/>
                    </a:lnTo>
                    <a:lnTo>
                      <a:pt x="80" y="124"/>
                    </a:lnTo>
                    <a:lnTo>
                      <a:pt x="80" y="122"/>
                    </a:lnTo>
                    <a:lnTo>
                      <a:pt x="80" y="118"/>
                    </a:lnTo>
                    <a:lnTo>
                      <a:pt x="76" y="118"/>
                    </a:lnTo>
                    <a:lnTo>
                      <a:pt x="76" y="114"/>
                    </a:lnTo>
                    <a:lnTo>
                      <a:pt x="72" y="114"/>
                    </a:lnTo>
                    <a:lnTo>
                      <a:pt x="72" y="110"/>
                    </a:lnTo>
                    <a:lnTo>
                      <a:pt x="68" y="106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8" y="102"/>
                    </a:lnTo>
                    <a:lnTo>
                      <a:pt x="68" y="98"/>
                    </a:lnTo>
                    <a:lnTo>
                      <a:pt x="64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299" name="Freeform 38">
                <a:extLst>
                  <a:ext uri="{FF2B5EF4-FFF2-40B4-BE49-F238E27FC236}">
                    <a16:creationId xmlns:a16="http://schemas.microsoft.com/office/drawing/2014/main" id="{932E954C-7659-42A2-A8E8-6A4E845E0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81600" y="3590993"/>
                <a:ext cx="34925" cy="47625"/>
              </a:xfrm>
              <a:custGeom>
                <a:avLst/>
                <a:gdLst>
                  <a:gd name="T0" fmla="*/ 14 w 22"/>
                  <a:gd name="T1" fmla="*/ 0 h 30"/>
                  <a:gd name="T2" fmla="*/ 14 w 22"/>
                  <a:gd name="T3" fmla="*/ 0 h 30"/>
                  <a:gd name="T4" fmla="*/ 14 w 22"/>
                  <a:gd name="T5" fmla="*/ 0 h 30"/>
                  <a:gd name="T6" fmla="*/ 18 w 22"/>
                  <a:gd name="T7" fmla="*/ 0 h 30"/>
                  <a:gd name="T8" fmla="*/ 18 w 22"/>
                  <a:gd name="T9" fmla="*/ 0 h 30"/>
                  <a:gd name="T10" fmla="*/ 18 w 22"/>
                  <a:gd name="T11" fmla="*/ 0 h 30"/>
                  <a:gd name="T12" fmla="*/ 18 w 22"/>
                  <a:gd name="T13" fmla="*/ 0 h 30"/>
                  <a:gd name="T14" fmla="*/ 22 w 22"/>
                  <a:gd name="T15" fmla="*/ 4 h 30"/>
                  <a:gd name="T16" fmla="*/ 22 w 22"/>
                  <a:gd name="T17" fmla="*/ 8 h 30"/>
                  <a:gd name="T18" fmla="*/ 22 w 22"/>
                  <a:gd name="T19" fmla="*/ 8 h 30"/>
                  <a:gd name="T20" fmla="*/ 18 w 22"/>
                  <a:gd name="T21" fmla="*/ 12 h 30"/>
                  <a:gd name="T22" fmla="*/ 18 w 22"/>
                  <a:gd name="T23" fmla="*/ 12 h 30"/>
                  <a:gd name="T24" fmla="*/ 18 w 22"/>
                  <a:gd name="T25" fmla="*/ 16 h 30"/>
                  <a:gd name="T26" fmla="*/ 18 w 22"/>
                  <a:gd name="T27" fmla="*/ 16 h 30"/>
                  <a:gd name="T28" fmla="*/ 18 w 22"/>
                  <a:gd name="T29" fmla="*/ 16 h 30"/>
                  <a:gd name="T30" fmla="*/ 14 w 22"/>
                  <a:gd name="T31" fmla="*/ 16 h 30"/>
                  <a:gd name="T32" fmla="*/ 10 w 22"/>
                  <a:gd name="T33" fmla="*/ 20 h 30"/>
                  <a:gd name="T34" fmla="*/ 14 w 22"/>
                  <a:gd name="T35" fmla="*/ 20 h 30"/>
                  <a:gd name="T36" fmla="*/ 14 w 22"/>
                  <a:gd name="T37" fmla="*/ 20 h 30"/>
                  <a:gd name="T38" fmla="*/ 10 w 22"/>
                  <a:gd name="T39" fmla="*/ 22 h 30"/>
                  <a:gd name="T40" fmla="*/ 10 w 22"/>
                  <a:gd name="T41" fmla="*/ 22 h 30"/>
                  <a:gd name="T42" fmla="*/ 10 w 22"/>
                  <a:gd name="T43" fmla="*/ 22 h 30"/>
                  <a:gd name="T44" fmla="*/ 10 w 22"/>
                  <a:gd name="T45" fmla="*/ 22 h 30"/>
                  <a:gd name="T46" fmla="*/ 6 w 22"/>
                  <a:gd name="T47" fmla="*/ 26 h 30"/>
                  <a:gd name="T48" fmla="*/ 6 w 22"/>
                  <a:gd name="T49" fmla="*/ 26 h 30"/>
                  <a:gd name="T50" fmla="*/ 6 w 22"/>
                  <a:gd name="T51" fmla="*/ 26 h 30"/>
                  <a:gd name="T52" fmla="*/ 6 w 22"/>
                  <a:gd name="T53" fmla="*/ 30 h 30"/>
                  <a:gd name="T54" fmla="*/ 2 w 22"/>
                  <a:gd name="T55" fmla="*/ 30 h 30"/>
                  <a:gd name="T56" fmla="*/ 2 w 22"/>
                  <a:gd name="T57" fmla="*/ 30 h 30"/>
                  <a:gd name="T58" fmla="*/ 0 w 22"/>
                  <a:gd name="T59" fmla="*/ 30 h 30"/>
                  <a:gd name="T60" fmla="*/ 0 w 22"/>
                  <a:gd name="T61" fmla="*/ 26 h 30"/>
                  <a:gd name="T62" fmla="*/ 2 w 22"/>
                  <a:gd name="T63" fmla="*/ 26 h 30"/>
                  <a:gd name="T64" fmla="*/ 2 w 22"/>
                  <a:gd name="T65" fmla="*/ 22 h 30"/>
                  <a:gd name="T66" fmla="*/ 2 w 22"/>
                  <a:gd name="T67" fmla="*/ 22 h 30"/>
                  <a:gd name="T68" fmla="*/ 2 w 22"/>
                  <a:gd name="T69" fmla="*/ 22 h 30"/>
                  <a:gd name="T70" fmla="*/ 2 w 22"/>
                  <a:gd name="T71" fmla="*/ 20 h 30"/>
                  <a:gd name="T72" fmla="*/ 2 w 22"/>
                  <a:gd name="T73" fmla="*/ 20 h 30"/>
                  <a:gd name="T74" fmla="*/ 6 w 22"/>
                  <a:gd name="T75" fmla="*/ 16 h 30"/>
                  <a:gd name="T76" fmla="*/ 6 w 22"/>
                  <a:gd name="T77" fmla="*/ 16 h 30"/>
                  <a:gd name="T78" fmla="*/ 6 w 22"/>
                  <a:gd name="T79" fmla="*/ 16 h 30"/>
                  <a:gd name="T80" fmla="*/ 6 w 22"/>
                  <a:gd name="T81" fmla="*/ 12 h 30"/>
                  <a:gd name="T82" fmla="*/ 6 w 22"/>
                  <a:gd name="T83" fmla="*/ 12 h 30"/>
                  <a:gd name="T84" fmla="*/ 6 w 22"/>
                  <a:gd name="T85" fmla="*/ 8 h 30"/>
                  <a:gd name="T86" fmla="*/ 6 w 22"/>
                  <a:gd name="T87" fmla="*/ 8 h 30"/>
                  <a:gd name="T88" fmla="*/ 6 w 22"/>
                  <a:gd name="T89" fmla="*/ 8 h 30"/>
                  <a:gd name="T90" fmla="*/ 10 w 22"/>
                  <a:gd name="T91" fmla="*/ 4 h 30"/>
                  <a:gd name="T92" fmla="*/ 14 w 22"/>
                  <a:gd name="T93" fmla="*/ 0 h 30"/>
                  <a:gd name="T94" fmla="*/ 14 w 22"/>
                  <a:gd name="T95" fmla="*/ 0 h 30"/>
                  <a:gd name="T96" fmla="*/ 14 w 22"/>
                  <a:gd name="T97" fmla="*/ 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22" h="30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6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0" name="Freeform 39">
                <a:extLst>
                  <a:ext uri="{FF2B5EF4-FFF2-40B4-BE49-F238E27FC236}">
                    <a16:creationId xmlns:a16="http://schemas.microsoft.com/office/drawing/2014/main" id="{13DC89BC-E92B-4A63-9310-265547F8461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29400" y="4362518"/>
                <a:ext cx="444500" cy="177800"/>
              </a:xfrm>
              <a:custGeom>
                <a:avLst/>
                <a:gdLst>
                  <a:gd name="T0" fmla="*/ 8 w 280"/>
                  <a:gd name="T1" fmla="*/ 14 h 112"/>
                  <a:gd name="T2" fmla="*/ 18 w 280"/>
                  <a:gd name="T3" fmla="*/ 18 h 112"/>
                  <a:gd name="T4" fmla="*/ 22 w 280"/>
                  <a:gd name="T5" fmla="*/ 30 h 112"/>
                  <a:gd name="T6" fmla="*/ 34 w 280"/>
                  <a:gd name="T7" fmla="*/ 26 h 112"/>
                  <a:gd name="T8" fmla="*/ 42 w 280"/>
                  <a:gd name="T9" fmla="*/ 26 h 112"/>
                  <a:gd name="T10" fmla="*/ 52 w 280"/>
                  <a:gd name="T11" fmla="*/ 36 h 112"/>
                  <a:gd name="T12" fmla="*/ 52 w 280"/>
                  <a:gd name="T13" fmla="*/ 56 h 112"/>
                  <a:gd name="T14" fmla="*/ 56 w 280"/>
                  <a:gd name="T15" fmla="*/ 66 h 112"/>
                  <a:gd name="T16" fmla="*/ 60 w 280"/>
                  <a:gd name="T17" fmla="*/ 86 h 112"/>
                  <a:gd name="T18" fmla="*/ 64 w 280"/>
                  <a:gd name="T19" fmla="*/ 100 h 112"/>
                  <a:gd name="T20" fmla="*/ 56 w 280"/>
                  <a:gd name="T21" fmla="*/ 100 h 112"/>
                  <a:gd name="T22" fmla="*/ 38 w 280"/>
                  <a:gd name="T23" fmla="*/ 90 h 112"/>
                  <a:gd name="T24" fmla="*/ 22 w 280"/>
                  <a:gd name="T25" fmla="*/ 78 h 112"/>
                  <a:gd name="T26" fmla="*/ 22 w 280"/>
                  <a:gd name="T27" fmla="*/ 64 h 112"/>
                  <a:gd name="T28" fmla="*/ 14 w 280"/>
                  <a:gd name="T29" fmla="*/ 52 h 112"/>
                  <a:gd name="T30" fmla="*/ 12 w 280"/>
                  <a:gd name="T31" fmla="*/ 30 h 112"/>
                  <a:gd name="T32" fmla="*/ 242 w 280"/>
                  <a:gd name="T33" fmla="*/ 4 h 112"/>
                  <a:gd name="T34" fmla="*/ 246 w 280"/>
                  <a:gd name="T35" fmla="*/ 0 h 112"/>
                  <a:gd name="T36" fmla="*/ 254 w 280"/>
                  <a:gd name="T37" fmla="*/ 10 h 112"/>
                  <a:gd name="T38" fmla="*/ 266 w 280"/>
                  <a:gd name="T39" fmla="*/ 44 h 112"/>
                  <a:gd name="T40" fmla="*/ 258 w 280"/>
                  <a:gd name="T41" fmla="*/ 52 h 112"/>
                  <a:gd name="T42" fmla="*/ 168 w 280"/>
                  <a:gd name="T43" fmla="*/ 86 h 112"/>
                  <a:gd name="T44" fmla="*/ 210 w 280"/>
                  <a:gd name="T45" fmla="*/ 48 h 112"/>
                  <a:gd name="T46" fmla="*/ 216 w 280"/>
                  <a:gd name="T47" fmla="*/ 44 h 112"/>
                  <a:gd name="T48" fmla="*/ 224 w 280"/>
                  <a:gd name="T49" fmla="*/ 52 h 112"/>
                  <a:gd name="T50" fmla="*/ 224 w 280"/>
                  <a:gd name="T51" fmla="*/ 36 h 112"/>
                  <a:gd name="T52" fmla="*/ 232 w 280"/>
                  <a:gd name="T53" fmla="*/ 30 h 112"/>
                  <a:gd name="T54" fmla="*/ 240 w 280"/>
                  <a:gd name="T55" fmla="*/ 14 h 112"/>
                  <a:gd name="T56" fmla="*/ 242 w 280"/>
                  <a:gd name="T57" fmla="*/ 10 h 112"/>
                  <a:gd name="T58" fmla="*/ 250 w 280"/>
                  <a:gd name="T59" fmla="*/ 10 h 112"/>
                  <a:gd name="T60" fmla="*/ 258 w 280"/>
                  <a:gd name="T61" fmla="*/ 18 h 112"/>
                  <a:gd name="T62" fmla="*/ 262 w 280"/>
                  <a:gd name="T63" fmla="*/ 26 h 112"/>
                  <a:gd name="T64" fmla="*/ 272 w 280"/>
                  <a:gd name="T65" fmla="*/ 30 h 112"/>
                  <a:gd name="T66" fmla="*/ 272 w 280"/>
                  <a:gd name="T67" fmla="*/ 36 h 112"/>
                  <a:gd name="T68" fmla="*/ 262 w 280"/>
                  <a:gd name="T69" fmla="*/ 40 h 112"/>
                  <a:gd name="T70" fmla="*/ 262 w 280"/>
                  <a:gd name="T71" fmla="*/ 52 h 112"/>
                  <a:gd name="T72" fmla="*/ 242 w 280"/>
                  <a:gd name="T73" fmla="*/ 52 h 112"/>
                  <a:gd name="T74" fmla="*/ 228 w 280"/>
                  <a:gd name="T75" fmla="*/ 52 h 112"/>
                  <a:gd name="T76" fmla="*/ 224 w 280"/>
                  <a:gd name="T77" fmla="*/ 70 h 112"/>
                  <a:gd name="T78" fmla="*/ 216 w 280"/>
                  <a:gd name="T79" fmla="*/ 92 h 112"/>
                  <a:gd name="T80" fmla="*/ 202 w 280"/>
                  <a:gd name="T81" fmla="*/ 100 h 112"/>
                  <a:gd name="T82" fmla="*/ 186 w 280"/>
                  <a:gd name="T83" fmla="*/ 96 h 112"/>
                  <a:gd name="T84" fmla="*/ 172 w 280"/>
                  <a:gd name="T85" fmla="*/ 108 h 112"/>
                  <a:gd name="T86" fmla="*/ 154 w 280"/>
                  <a:gd name="T87" fmla="*/ 112 h 112"/>
                  <a:gd name="T88" fmla="*/ 142 w 280"/>
                  <a:gd name="T89" fmla="*/ 92 h 112"/>
                  <a:gd name="T90" fmla="*/ 154 w 280"/>
                  <a:gd name="T91" fmla="*/ 92 h 112"/>
                  <a:gd name="T92" fmla="*/ 160 w 280"/>
                  <a:gd name="T93" fmla="*/ 100 h 112"/>
                  <a:gd name="T94" fmla="*/ 164 w 280"/>
                  <a:gd name="T95" fmla="*/ 92 h 112"/>
                  <a:gd name="T96" fmla="*/ 164 w 280"/>
                  <a:gd name="T97" fmla="*/ 86 h 112"/>
                  <a:gd name="T98" fmla="*/ 176 w 280"/>
                  <a:gd name="T99" fmla="*/ 74 h 112"/>
                  <a:gd name="T100" fmla="*/ 194 w 280"/>
                  <a:gd name="T101" fmla="*/ 66 h 112"/>
                  <a:gd name="T102" fmla="*/ 206 w 280"/>
                  <a:gd name="T103" fmla="*/ 48 h 112"/>
                  <a:gd name="T104" fmla="*/ 4 w 280"/>
                  <a:gd name="T105" fmla="*/ 14 h 112"/>
                  <a:gd name="T106" fmla="*/ 12 w 280"/>
                  <a:gd name="T107" fmla="*/ 34 h 112"/>
                  <a:gd name="T108" fmla="*/ 12 w 280"/>
                  <a:gd name="T109" fmla="*/ 34 h 112"/>
                  <a:gd name="T110" fmla="*/ 64 w 280"/>
                  <a:gd name="T111" fmla="*/ 74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280" h="112">
                    <a:moveTo>
                      <a:pt x="12" y="30"/>
                    </a:moveTo>
                    <a:lnTo>
                      <a:pt x="12" y="26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4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4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4" y="92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42" y="4"/>
                    </a:moveTo>
                    <a:lnTo>
                      <a:pt x="246" y="0"/>
                    </a:lnTo>
                    <a:lnTo>
                      <a:pt x="242" y="4"/>
                    </a:lnTo>
                    <a:lnTo>
                      <a:pt x="242" y="4"/>
                    </a:lnTo>
                    <a:lnTo>
                      <a:pt x="242" y="4"/>
                    </a:lnTo>
                    <a:close/>
                    <a:moveTo>
                      <a:pt x="246" y="0"/>
                    </a:moveTo>
                    <a:lnTo>
                      <a:pt x="250" y="0"/>
                    </a:lnTo>
                    <a:lnTo>
                      <a:pt x="250" y="4"/>
                    </a:lnTo>
                    <a:lnTo>
                      <a:pt x="246" y="4"/>
                    </a:lnTo>
                    <a:lnTo>
                      <a:pt x="246" y="0"/>
                    </a:lnTo>
                    <a:lnTo>
                      <a:pt x="246" y="0"/>
                    </a:lnTo>
                    <a:lnTo>
                      <a:pt x="246" y="0"/>
                    </a:lnTo>
                    <a:close/>
                    <a:moveTo>
                      <a:pt x="250" y="10"/>
                    </a:moveTo>
                    <a:lnTo>
                      <a:pt x="254" y="10"/>
                    </a:lnTo>
                    <a:lnTo>
                      <a:pt x="254" y="6"/>
                    </a:lnTo>
                    <a:lnTo>
                      <a:pt x="254" y="10"/>
                    </a:lnTo>
                    <a:lnTo>
                      <a:pt x="250" y="10"/>
                    </a:lnTo>
                    <a:lnTo>
                      <a:pt x="250" y="10"/>
                    </a:lnTo>
                    <a:lnTo>
                      <a:pt x="250" y="10"/>
                    </a:lnTo>
                    <a:close/>
                    <a:moveTo>
                      <a:pt x="266" y="44"/>
                    </a:moveTo>
                    <a:lnTo>
                      <a:pt x="270" y="44"/>
                    </a:lnTo>
                    <a:lnTo>
                      <a:pt x="266" y="44"/>
                    </a:lnTo>
                    <a:lnTo>
                      <a:pt x="266" y="44"/>
                    </a:lnTo>
                    <a:lnTo>
                      <a:pt x="266" y="44"/>
                    </a:lnTo>
                    <a:close/>
                    <a:moveTo>
                      <a:pt x="258" y="52"/>
                    </a:moveTo>
                    <a:lnTo>
                      <a:pt x="254" y="52"/>
                    </a:lnTo>
                    <a:lnTo>
                      <a:pt x="258" y="52"/>
                    </a:lnTo>
                    <a:lnTo>
                      <a:pt x="258" y="52"/>
                    </a:lnTo>
                    <a:lnTo>
                      <a:pt x="258" y="52"/>
                    </a:lnTo>
                    <a:close/>
                    <a:moveTo>
                      <a:pt x="164" y="82"/>
                    </a:moveTo>
                    <a:lnTo>
                      <a:pt x="164" y="78"/>
                    </a:lnTo>
                    <a:lnTo>
                      <a:pt x="168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82"/>
                    </a:lnTo>
                    <a:lnTo>
                      <a:pt x="164" y="82"/>
                    </a:lnTo>
                    <a:close/>
                    <a:moveTo>
                      <a:pt x="206" y="44"/>
                    </a:moveTo>
                    <a:lnTo>
                      <a:pt x="206" y="48"/>
                    </a:lnTo>
                    <a:lnTo>
                      <a:pt x="210" y="48"/>
                    </a:lnTo>
                    <a:lnTo>
                      <a:pt x="210" y="52"/>
                    </a:lnTo>
                    <a:lnTo>
                      <a:pt x="214" y="56"/>
                    </a:lnTo>
                    <a:lnTo>
                      <a:pt x="216" y="56"/>
                    </a:lnTo>
                    <a:lnTo>
                      <a:pt x="216" y="52"/>
                    </a:lnTo>
                    <a:lnTo>
                      <a:pt x="216" y="48"/>
                    </a:lnTo>
                    <a:lnTo>
                      <a:pt x="216" y="44"/>
                    </a:lnTo>
                    <a:lnTo>
                      <a:pt x="216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0" y="48"/>
                    </a:lnTo>
                    <a:lnTo>
                      <a:pt x="224" y="52"/>
                    </a:lnTo>
                    <a:lnTo>
                      <a:pt x="224" y="48"/>
                    </a:lnTo>
                    <a:lnTo>
                      <a:pt x="220" y="48"/>
                    </a:lnTo>
                    <a:lnTo>
                      <a:pt x="220" y="44"/>
                    </a:lnTo>
                    <a:lnTo>
                      <a:pt x="220" y="40"/>
                    </a:lnTo>
                    <a:lnTo>
                      <a:pt x="224" y="40"/>
                    </a:lnTo>
                    <a:lnTo>
                      <a:pt x="224" y="36"/>
                    </a:lnTo>
                    <a:lnTo>
                      <a:pt x="228" y="36"/>
                    </a:lnTo>
                    <a:lnTo>
                      <a:pt x="224" y="36"/>
                    </a:lnTo>
                    <a:lnTo>
                      <a:pt x="224" y="34"/>
                    </a:lnTo>
                    <a:lnTo>
                      <a:pt x="224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2" y="22"/>
                    </a:lnTo>
                    <a:lnTo>
                      <a:pt x="236" y="22"/>
                    </a:lnTo>
                    <a:lnTo>
                      <a:pt x="236" y="18"/>
                    </a:lnTo>
                    <a:lnTo>
                      <a:pt x="236" y="14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2" y="10"/>
                    </a:lnTo>
                    <a:lnTo>
                      <a:pt x="242" y="6"/>
                    </a:lnTo>
                    <a:lnTo>
                      <a:pt x="242" y="4"/>
                    </a:lnTo>
                    <a:lnTo>
                      <a:pt x="242" y="6"/>
                    </a:lnTo>
                    <a:lnTo>
                      <a:pt x="242" y="10"/>
                    </a:lnTo>
                    <a:lnTo>
                      <a:pt x="246" y="10"/>
                    </a:lnTo>
                    <a:lnTo>
                      <a:pt x="246" y="6"/>
                    </a:lnTo>
                    <a:lnTo>
                      <a:pt x="246" y="4"/>
                    </a:lnTo>
                    <a:lnTo>
                      <a:pt x="250" y="4"/>
                    </a:lnTo>
                    <a:lnTo>
                      <a:pt x="250" y="6"/>
                    </a:lnTo>
                    <a:lnTo>
                      <a:pt x="250" y="10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4" y="10"/>
                    </a:lnTo>
                    <a:lnTo>
                      <a:pt x="254" y="14"/>
                    </a:lnTo>
                    <a:lnTo>
                      <a:pt x="258" y="14"/>
                    </a:lnTo>
                    <a:lnTo>
                      <a:pt x="258" y="18"/>
                    </a:lnTo>
                    <a:lnTo>
                      <a:pt x="254" y="18"/>
                    </a:lnTo>
                    <a:lnTo>
                      <a:pt x="258" y="22"/>
                    </a:lnTo>
                    <a:lnTo>
                      <a:pt x="254" y="22"/>
                    </a:lnTo>
                    <a:lnTo>
                      <a:pt x="258" y="22"/>
                    </a:lnTo>
                    <a:lnTo>
                      <a:pt x="262" y="22"/>
                    </a:lnTo>
                    <a:lnTo>
                      <a:pt x="262" y="26"/>
                    </a:lnTo>
                    <a:lnTo>
                      <a:pt x="258" y="26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70" y="26"/>
                    </a:lnTo>
                    <a:lnTo>
                      <a:pt x="270" y="30"/>
                    </a:lnTo>
                    <a:lnTo>
                      <a:pt x="272" y="30"/>
                    </a:lnTo>
                    <a:lnTo>
                      <a:pt x="272" y="34"/>
                    </a:lnTo>
                    <a:lnTo>
                      <a:pt x="276" y="34"/>
                    </a:lnTo>
                    <a:lnTo>
                      <a:pt x="280" y="34"/>
                    </a:lnTo>
                    <a:lnTo>
                      <a:pt x="280" y="36"/>
                    </a:lnTo>
                    <a:lnTo>
                      <a:pt x="276" y="36"/>
                    </a:lnTo>
                    <a:lnTo>
                      <a:pt x="272" y="36"/>
                    </a:lnTo>
                    <a:lnTo>
                      <a:pt x="272" y="40"/>
                    </a:lnTo>
                    <a:lnTo>
                      <a:pt x="270" y="40"/>
                    </a:lnTo>
                    <a:lnTo>
                      <a:pt x="266" y="40"/>
                    </a:lnTo>
                    <a:lnTo>
                      <a:pt x="266" y="36"/>
                    </a:lnTo>
                    <a:lnTo>
                      <a:pt x="266" y="40"/>
                    </a:lnTo>
                    <a:lnTo>
                      <a:pt x="262" y="40"/>
                    </a:lnTo>
                    <a:lnTo>
                      <a:pt x="266" y="44"/>
                    </a:lnTo>
                    <a:lnTo>
                      <a:pt x="270" y="44"/>
                    </a:lnTo>
                    <a:lnTo>
                      <a:pt x="270" y="48"/>
                    </a:lnTo>
                    <a:lnTo>
                      <a:pt x="270" y="52"/>
                    </a:lnTo>
                    <a:lnTo>
                      <a:pt x="266" y="52"/>
                    </a:lnTo>
                    <a:lnTo>
                      <a:pt x="262" y="52"/>
                    </a:lnTo>
                    <a:lnTo>
                      <a:pt x="258" y="52"/>
                    </a:lnTo>
                    <a:lnTo>
                      <a:pt x="258" y="48"/>
                    </a:lnTo>
                    <a:lnTo>
                      <a:pt x="254" y="52"/>
                    </a:lnTo>
                    <a:lnTo>
                      <a:pt x="250" y="52"/>
                    </a:lnTo>
                    <a:lnTo>
                      <a:pt x="246" y="52"/>
                    </a:lnTo>
                    <a:lnTo>
                      <a:pt x="242" y="52"/>
                    </a:lnTo>
                    <a:lnTo>
                      <a:pt x="240" y="52"/>
                    </a:lnTo>
                    <a:lnTo>
                      <a:pt x="236" y="52"/>
                    </a:lnTo>
                    <a:lnTo>
                      <a:pt x="232" y="52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28" y="66"/>
                    </a:lnTo>
                    <a:lnTo>
                      <a:pt x="224" y="66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82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2"/>
                    </a:lnTo>
                    <a:lnTo>
                      <a:pt x="214" y="92"/>
                    </a:lnTo>
                    <a:lnTo>
                      <a:pt x="214" y="96"/>
                    </a:lnTo>
                    <a:lnTo>
                      <a:pt x="214" y="100"/>
                    </a:lnTo>
                    <a:lnTo>
                      <a:pt x="210" y="100"/>
                    </a:lnTo>
                    <a:lnTo>
                      <a:pt x="206" y="100"/>
                    </a:lnTo>
                    <a:lnTo>
                      <a:pt x="202" y="100"/>
                    </a:lnTo>
                    <a:lnTo>
                      <a:pt x="202" y="104"/>
                    </a:lnTo>
                    <a:lnTo>
                      <a:pt x="198" y="104"/>
                    </a:lnTo>
                    <a:lnTo>
                      <a:pt x="194" y="100"/>
                    </a:lnTo>
                    <a:lnTo>
                      <a:pt x="190" y="100"/>
                    </a:lnTo>
                    <a:lnTo>
                      <a:pt x="190" y="96"/>
                    </a:lnTo>
                    <a:lnTo>
                      <a:pt x="186" y="96"/>
                    </a:lnTo>
                    <a:lnTo>
                      <a:pt x="184" y="96"/>
                    </a:lnTo>
                    <a:lnTo>
                      <a:pt x="180" y="100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68" y="108"/>
                    </a:lnTo>
                    <a:lnTo>
                      <a:pt x="164" y="108"/>
                    </a:lnTo>
                    <a:lnTo>
                      <a:pt x="160" y="108"/>
                    </a:lnTo>
                    <a:lnTo>
                      <a:pt x="156" y="108"/>
                    </a:lnTo>
                    <a:lnTo>
                      <a:pt x="156" y="112"/>
                    </a:lnTo>
                    <a:lnTo>
                      <a:pt x="154" y="112"/>
                    </a:lnTo>
                    <a:lnTo>
                      <a:pt x="154" y="108"/>
                    </a:lnTo>
                    <a:lnTo>
                      <a:pt x="150" y="104"/>
                    </a:lnTo>
                    <a:lnTo>
                      <a:pt x="146" y="104"/>
                    </a:lnTo>
                    <a:lnTo>
                      <a:pt x="146" y="100"/>
                    </a:lnTo>
                    <a:lnTo>
                      <a:pt x="142" y="96"/>
                    </a:lnTo>
                    <a:lnTo>
                      <a:pt x="142" y="92"/>
                    </a:lnTo>
                    <a:lnTo>
                      <a:pt x="142" y="90"/>
                    </a:lnTo>
                    <a:lnTo>
                      <a:pt x="142" y="92"/>
                    </a:lnTo>
                    <a:lnTo>
                      <a:pt x="146" y="92"/>
                    </a:lnTo>
                    <a:lnTo>
                      <a:pt x="146" y="96"/>
                    </a:lnTo>
                    <a:lnTo>
                      <a:pt x="150" y="96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6" y="96"/>
                    </a:lnTo>
                    <a:lnTo>
                      <a:pt x="156" y="100"/>
                    </a:lnTo>
                    <a:lnTo>
                      <a:pt x="156" y="96"/>
                    </a:lnTo>
                    <a:lnTo>
                      <a:pt x="160" y="96"/>
                    </a:lnTo>
                    <a:lnTo>
                      <a:pt x="160" y="100"/>
                    </a:lnTo>
                    <a:lnTo>
                      <a:pt x="164" y="100"/>
                    </a:lnTo>
                    <a:lnTo>
                      <a:pt x="168" y="100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4" y="92"/>
                    </a:lnTo>
                    <a:lnTo>
                      <a:pt x="164" y="90"/>
                    </a:lnTo>
                    <a:lnTo>
                      <a:pt x="168" y="90"/>
                    </a:lnTo>
                    <a:lnTo>
                      <a:pt x="164" y="90"/>
                    </a:lnTo>
                    <a:lnTo>
                      <a:pt x="164" y="86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72" y="78"/>
                    </a:lnTo>
                    <a:lnTo>
                      <a:pt x="172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6" y="74"/>
                    </a:lnTo>
                    <a:lnTo>
                      <a:pt x="186" y="70"/>
                    </a:lnTo>
                    <a:lnTo>
                      <a:pt x="190" y="70"/>
                    </a:lnTo>
                    <a:lnTo>
                      <a:pt x="194" y="66"/>
                    </a:lnTo>
                    <a:lnTo>
                      <a:pt x="194" y="64"/>
                    </a:lnTo>
                    <a:lnTo>
                      <a:pt x="198" y="60"/>
                    </a:lnTo>
                    <a:lnTo>
                      <a:pt x="198" y="56"/>
                    </a:lnTo>
                    <a:lnTo>
                      <a:pt x="202" y="56"/>
                    </a:lnTo>
                    <a:lnTo>
                      <a:pt x="202" y="52"/>
                    </a:lnTo>
                    <a:lnTo>
                      <a:pt x="206" y="48"/>
                    </a:lnTo>
                    <a:lnTo>
                      <a:pt x="202" y="48"/>
                    </a:lnTo>
                    <a:lnTo>
                      <a:pt x="202" y="44"/>
                    </a:lnTo>
                    <a:lnTo>
                      <a:pt x="206" y="44"/>
                    </a:lnTo>
                    <a:lnTo>
                      <a:pt x="206" y="44"/>
                    </a:lnTo>
                    <a:lnTo>
                      <a:pt x="206" y="44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12" y="34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close/>
                    <a:moveTo>
                      <a:pt x="64" y="74"/>
                    </a:moveTo>
                    <a:lnTo>
                      <a:pt x="64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1" name="Freeform 40">
                <a:extLst>
                  <a:ext uri="{FF2B5EF4-FFF2-40B4-BE49-F238E27FC236}">
                    <a16:creationId xmlns:a16="http://schemas.microsoft.com/office/drawing/2014/main" id="{956D94E7-72E3-4E71-AA24-38BFFAEE66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032500" y="4368868"/>
                <a:ext cx="12700" cy="206375"/>
              </a:xfrm>
              <a:custGeom>
                <a:avLst/>
                <a:gdLst>
                  <a:gd name="T0" fmla="*/ 0 w 8"/>
                  <a:gd name="T1" fmla="*/ 0 h 130"/>
                  <a:gd name="T2" fmla="*/ 0 w 8"/>
                  <a:gd name="T3" fmla="*/ 0 h 130"/>
                  <a:gd name="T4" fmla="*/ 4 w 8"/>
                  <a:gd name="T5" fmla="*/ 6 h 130"/>
                  <a:gd name="T6" fmla="*/ 4 w 8"/>
                  <a:gd name="T7" fmla="*/ 2 h 130"/>
                  <a:gd name="T8" fmla="*/ 4 w 8"/>
                  <a:gd name="T9" fmla="*/ 2 h 130"/>
                  <a:gd name="T10" fmla="*/ 0 w 8"/>
                  <a:gd name="T11" fmla="*/ 10 h 130"/>
                  <a:gd name="T12" fmla="*/ 0 w 8"/>
                  <a:gd name="T13" fmla="*/ 10 h 130"/>
                  <a:gd name="T14" fmla="*/ 0 w 8"/>
                  <a:gd name="T15" fmla="*/ 18 h 130"/>
                  <a:gd name="T16" fmla="*/ 0 w 8"/>
                  <a:gd name="T17" fmla="*/ 18 h 130"/>
                  <a:gd name="T18" fmla="*/ 4 w 8"/>
                  <a:gd name="T19" fmla="*/ 22 h 130"/>
                  <a:gd name="T20" fmla="*/ 8 w 8"/>
                  <a:gd name="T21" fmla="*/ 22 h 130"/>
                  <a:gd name="T22" fmla="*/ 8 w 8"/>
                  <a:gd name="T23" fmla="*/ 30 h 130"/>
                  <a:gd name="T24" fmla="*/ 8 w 8"/>
                  <a:gd name="T25" fmla="*/ 30 h 130"/>
                  <a:gd name="T26" fmla="*/ 8 w 8"/>
                  <a:gd name="T27" fmla="*/ 30 h 130"/>
                  <a:gd name="T28" fmla="*/ 0 w 8"/>
                  <a:gd name="T29" fmla="*/ 36 h 130"/>
                  <a:gd name="T30" fmla="*/ 0 w 8"/>
                  <a:gd name="T31" fmla="*/ 36 h 130"/>
                  <a:gd name="T32" fmla="*/ 0 w 8"/>
                  <a:gd name="T33" fmla="*/ 44 h 130"/>
                  <a:gd name="T34" fmla="*/ 0 w 8"/>
                  <a:gd name="T35" fmla="*/ 44 h 130"/>
                  <a:gd name="T36" fmla="*/ 8 w 8"/>
                  <a:gd name="T37" fmla="*/ 48 h 130"/>
                  <a:gd name="T38" fmla="*/ 8 w 8"/>
                  <a:gd name="T39" fmla="*/ 48 h 130"/>
                  <a:gd name="T40" fmla="*/ 8 w 8"/>
                  <a:gd name="T41" fmla="*/ 48 h 130"/>
                  <a:gd name="T42" fmla="*/ 8 w 8"/>
                  <a:gd name="T43" fmla="*/ 62 h 130"/>
                  <a:gd name="T44" fmla="*/ 8 w 8"/>
                  <a:gd name="T45" fmla="*/ 62 h 130"/>
                  <a:gd name="T46" fmla="*/ 8 w 8"/>
                  <a:gd name="T47" fmla="*/ 62 h 130"/>
                  <a:gd name="T48" fmla="*/ 0 w 8"/>
                  <a:gd name="T49" fmla="*/ 66 h 130"/>
                  <a:gd name="T50" fmla="*/ 0 w 8"/>
                  <a:gd name="T51" fmla="*/ 66 h 130"/>
                  <a:gd name="T52" fmla="*/ 0 w 8"/>
                  <a:gd name="T53" fmla="*/ 66 h 130"/>
                  <a:gd name="T54" fmla="*/ 0 w 8"/>
                  <a:gd name="T55" fmla="*/ 66 h 130"/>
                  <a:gd name="T56" fmla="*/ 0 w 8"/>
                  <a:gd name="T57" fmla="*/ 70 h 130"/>
                  <a:gd name="T58" fmla="*/ 0 w 8"/>
                  <a:gd name="T59" fmla="*/ 70 h 130"/>
                  <a:gd name="T60" fmla="*/ 8 w 8"/>
                  <a:gd name="T61" fmla="*/ 70 h 130"/>
                  <a:gd name="T62" fmla="*/ 8 w 8"/>
                  <a:gd name="T63" fmla="*/ 70 h 130"/>
                  <a:gd name="T64" fmla="*/ 4 w 8"/>
                  <a:gd name="T65" fmla="*/ 78 h 130"/>
                  <a:gd name="T66" fmla="*/ 4 w 8"/>
                  <a:gd name="T67" fmla="*/ 82 h 130"/>
                  <a:gd name="T68" fmla="*/ 4 w 8"/>
                  <a:gd name="T69" fmla="*/ 78 h 130"/>
                  <a:gd name="T70" fmla="*/ 8 w 8"/>
                  <a:gd name="T71" fmla="*/ 88 h 130"/>
                  <a:gd name="T72" fmla="*/ 8 w 8"/>
                  <a:gd name="T73" fmla="*/ 88 h 130"/>
                  <a:gd name="T74" fmla="*/ 8 w 8"/>
                  <a:gd name="T75" fmla="*/ 88 h 130"/>
                  <a:gd name="T76" fmla="*/ 8 w 8"/>
                  <a:gd name="T77" fmla="*/ 114 h 130"/>
                  <a:gd name="T78" fmla="*/ 8 w 8"/>
                  <a:gd name="T79" fmla="*/ 114 h 130"/>
                  <a:gd name="T80" fmla="*/ 0 w 8"/>
                  <a:gd name="T81" fmla="*/ 118 h 130"/>
                  <a:gd name="T82" fmla="*/ 0 w 8"/>
                  <a:gd name="T83" fmla="*/ 114 h 130"/>
                  <a:gd name="T84" fmla="*/ 8 w 8"/>
                  <a:gd name="T85" fmla="*/ 126 h 130"/>
                  <a:gd name="T86" fmla="*/ 8 w 8"/>
                  <a:gd name="T87" fmla="*/ 126 h 130"/>
                  <a:gd name="T88" fmla="*/ 0 w 8"/>
                  <a:gd name="T89" fmla="*/ 130 h 130"/>
                  <a:gd name="T90" fmla="*/ 0 w 8"/>
                  <a:gd name="T91" fmla="*/ 130 h 130"/>
                  <a:gd name="T92" fmla="*/ 0 w 8"/>
                  <a:gd name="T93" fmla="*/ 130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8" h="13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2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0" y="36"/>
                    </a:move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8" y="48"/>
                    </a:move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8" y="62"/>
                    </a:move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8" y="62"/>
                    </a:lnTo>
                    <a:close/>
                    <a:moveTo>
                      <a:pt x="0" y="66"/>
                    </a:move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close/>
                    <a:moveTo>
                      <a:pt x="0" y="70"/>
                    </a:move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lnTo>
                      <a:pt x="0" y="70"/>
                    </a:lnTo>
                    <a:close/>
                    <a:moveTo>
                      <a:pt x="8" y="70"/>
                    </a:move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close/>
                    <a:moveTo>
                      <a:pt x="4" y="78"/>
                    </a:moveTo>
                    <a:lnTo>
                      <a:pt x="4" y="78"/>
                    </a:lnTo>
                    <a:lnTo>
                      <a:pt x="4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88"/>
                    </a:move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8"/>
                    </a:lnTo>
                    <a:close/>
                    <a:moveTo>
                      <a:pt x="8" y="114"/>
                    </a:move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lnTo>
                      <a:pt x="8" y="114"/>
                    </a:lnTo>
                    <a:close/>
                    <a:moveTo>
                      <a:pt x="0" y="114"/>
                    </a:moveTo>
                    <a:lnTo>
                      <a:pt x="0" y="114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0" y="114"/>
                    </a:lnTo>
                    <a:close/>
                    <a:moveTo>
                      <a:pt x="8" y="126"/>
                    </a:move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lnTo>
                      <a:pt x="8" y="126"/>
                    </a:lnTo>
                    <a:close/>
                    <a:moveTo>
                      <a:pt x="0" y="130"/>
                    </a:move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lnTo>
                      <a:pt x="0" y="1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2" name="Freeform 41">
                <a:extLst>
                  <a:ext uri="{FF2B5EF4-FFF2-40B4-BE49-F238E27FC236}">
                    <a16:creationId xmlns:a16="http://schemas.microsoft.com/office/drawing/2014/main" id="{33D64F43-4E93-4A20-9A1F-E5F51BA7D2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362700" y="3041718"/>
                <a:ext cx="723900" cy="336550"/>
              </a:xfrm>
              <a:custGeom>
                <a:avLst/>
                <a:gdLst>
                  <a:gd name="T0" fmla="*/ 400 w 456"/>
                  <a:gd name="T1" fmla="*/ 134 h 212"/>
                  <a:gd name="T2" fmla="*/ 376 w 456"/>
                  <a:gd name="T3" fmla="*/ 142 h 212"/>
                  <a:gd name="T4" fmla="*/ 358 w 456"/>
                  <a:gd name="T5" fmla="*/ 150 h 212"/>
                  <a:gd name="T6" fmla="*/ 336 w 456"/>
                  <a:gd name="T7" fmla="*/ 154 h 212"/>
                  <a:gd name="T8" fmla="*/ 340 w 456"/>
                  <a:gd name="T9" fmla="*/ 176 h 212"/>
                  <a:gd name="T10" fmla="*/ 324 w 456"/>
                  <a:gd name="T11" fmla="*/ 186 h 212"/>
                  <a:gd name="T12" fmla="*/ 310 w 456"/>
                  <a:gd name="T13" fmla="*/ 198 h 212"/>
                  <a:gd name="T14" fmla="*/ 280 w 456"/>
                  <a:gd name="T15" fmla="*/ 198 h 212"/>
                  <a:gd name="T16" fmla="*/ 254 w 456"/>
                  <a:gd name="T17" fmla="*/ 208 h 212"/>
                  <a:gd name="T18" fmla="*/ 228 w 456"/>
                  <a:gd name="T19" fmla="*/ 208 h 212"/>
                  <a:gd name="T20" fmla="*/ 202 w 456"/>
                  <a:gd name="T21" fmla="*/ 198 h 212"/>
                  <a:gd name="T22" fmla="*/ 180 w 456"/>
                  <a:gd name="T23" fmla="*/ 190 h 212"/>
                  <a:gd name="T24" fmla="*/ 152 w 456"/>
                  <a:gd name="T25" fmla="*/ 194 h 212"/>
                  <a:gd name="T26" fmla="*/ 128 w 456"/>
                  <a:gd name="T27" fmla="*/ 190 h 212"/>
                  <a:gd name="T28" fmla="*/ 112 w 456"/>
                  <a:gd name="T29" fmla="*/ 176 h 212"/>
                  <a:gd name="T30" fmla="*/ 98 w 456"/>
                  <a:gd name="T31" fmla="*/ 160 h 212"/>
                  <a:gd name="T32" fmla="*/ 84 w 456"/>
                  <a:gd name="T33" fmla="*/ 150 h 212"/>
                  <a:gd name="T34" fmla="*/ 60 w 456"/>
                  <a:gd name="T35" fmla="*/ 146 h 212"/>
                  <a:gd name="T36" fmla="*/ 42 w 456"/>
                  <a:gd name="T37" fmla="*/ 134 h 212"/>
                  <a:gd name="T38" fmla="*/ 50 w 456"/>
                  <a:gd name="T39" fmla="*/ 112 h 212"/>
                  <a:gd name="T40" fmla="*/ 38 w 456"/>
                  <a:gd name="T41" fmla="*/ 98 h 212"/>
                  <a:gd name="T42" fmla="*/ 28 w 456"/>
                  <a:gd name="T43" fmla="*/ 86 h 212"/>
                  <a:gd name="T44" fmla="*/ 8 w 456"/>
                  <a:gd name="T45" fmla="*/ 74 h 212"/>
                  <a:gd name="T46" fmla="*/ 4 w 456"/>
                  <a:gd name="T47" fmla="*/ 60 h 212"/>
                  <a:gd name="T48" fmla="*/ 20 w 456"/>
                  <a:gd name="T49" fmla="*/ 52 h 212"/>
                  <a:gd name="T50" fmla="*/ 28 w 456"/>
                  <a:gd name="T51" fmla="*/ 48 h 212"/>
                  <a:gd name="T52" fmla="*/ 42 w 456"/>
                  <a:gd name="T53" fmla="*/ 38 h 212"/>
                  <a:gd name="T54" fmla="*/ 56 w 456"/>
                  <a:gd name="T55" fmla="*/ 30 h 212"/>
                  <a:gd name="T56" fmla="*/ 76 w 456"/>
                  <a:gd name="T57" fmla="*/ 26 h 212"/>
                  <a:gd name="T58" fmla="*/ 94 w 456"/>
                  <a:gd name="T59" fmla="*/ 34 h 212"/>
                  <a:gd name="T60" fmla="*/ 110 w 456"/>
                  <a:gd name="T61" fmla="*/ 44 h 212"/>
                  <a:gd name="T62" fmla="*/ 136 w 456"/>
                  <a:gd name="T63" fmla="*/ 48 h 212"/>
                  <a:gd name="T64" fmla="*/ 150 w 456"/>
                  <a:gd name="T65" fmla="*/ 38 h 212"/>
                  <a:gd name="T66" fmla="*/ 146 w 456"/>
                  <a:gd name="T67" fmla="*/ 12 h 212"/>
                  <a:gd name="T68" fmla="*/ 156 w 456"/>
                  <a:gd name="T69" fmla="*/ 4 h 212"/>
                  <a:gd name="T70" fmla="*/ 176 w 456"/>
                  <a:gd name="T71" fmla="*/ 8 h 212"/>
                  <a:gd name="T72" fmla="*/ 198 w 456"/>
                  <a:gd name="T73" fmla="*/ 12 h 212"/>
                  <a:gd name="T74" fmla="*/ 206 w 456"/>
                  <a:gd name="T75" fmla="*/ 30 h 212"/>
                  <a:gd name="T76" fmla="*/ 220 w 456"/>
                  <a:gd name="T77" fmla="*/ 42 h 212"/>
                  <a:gd name="T78" fmla="*/ 242 w 456"/>
                  <a:gd name="T79" fmla="*/ 34 h 212"/>
                  <a:gd name="T80" fmla="*/ 262 w 456"/>
                  <a:gd name="T81" fmla="*/ 38 h 212"/>
                  <a:gd name="T82" fmla="*/ 288 w 456"/>
                  <a:gd name="T83" fmla="*/ 44 h 212"/>
                  <a:gd name="T84" fmla="*/ 306 w 456"/>
                  <a:gd name="T85" fmla="*/ 56 h 212"/>
                  <a:gd name="T86" fmla="*/ 332 w 456"/>
                  <a:gd name="T87" fmla="*/ 60 h 212"/>
                  <a:gd name="T88" fmla="*/ 354 w 456"/>
                  <a:gd name="T89" fmla="*/ 52 h 212"/>
                  <a:gd name="T90" fmla="*/ 370 w 456"/>
                  <a:gd name="T91" fmla="*/ 42 h 212"/>
                  <a:gd name="T92" fmla="*/ 388 w 456"/>
                  <a:gd name="T93" fmla="*/ 42 h 212"/>
                  <a:gd name="T94" fmla="*/ 410 w 456"/>
                  <a:gd name="T95" fmla="*/ 44 h 212"/>
                  <a:gd name="T96" fmla="*/ 400 w 456"/>
                  <a:gd name="T97" fmla="*/ 68 h 212"/>
                  <a:gd name="T98" fmla="*/ 396 w 456"/>
                  <a:gd name="T99" fmla="*/ 86 h 212"/>
                  <a:gd name="T100" fmla="*/ 414 w 456"/>
                  <a:gd name="T101" fmla="*/ 90 h 212"/>
                  <a:gd name="T102" fmla="*/ 436 w 456"/>
                  <a:gd name="T103" fmla="*/ 86 h 212"/>
                  <a:gd name="T104" fmla="*/ 456 w 456"/>
                  <a:gd name="T105" fmla="*/ 104 h 212"/>
                  <a:gd name="T106" fmla="*/ 440 w 456"/>
                  <a:gd name="T107" fmla="*/ 108 h 212"/>
                  <a:gd name="T108" fmla="*/ 422 w 456"/>
                  <a:gd name="T109" fmla="*/ 116 h 212"/>
                  <a:gd name="T110" fmla="*/ 410 w 456"/>
                  <a:gd name="T111" fmla="*/ 120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456" h="212">
                    <a:moveTo>
                      <a:pt x="410" y="120"/>
                    </a:moveTo>
                    <a:lnTo>
                      <a:pt x="406" y="120"/>
                    </a:lnTo>
                    <a:lnTo>
                      <a:pt x="406" y="124"/>
                    </a:lnTo>
                    <a:lnTo>
                      <a:pt x="402" y="128"/>
                    </a:lnTo>
                    <a:lnTo>
                      <a:pt x="402" y="130"/>
                    </a:lnTo>
                    <a:lnTo>
                      <a:pt x="400" y="130"/>
                    </a:lnTo>
                    <a:lnTo>
                      <a:pt x="400" y="134"/>
                    </a:lnTo>
                    <a:lnTo>
                      <a:pt x="396" y="134"/>
                    </a:lnTo>
                    <a:lnTo>
                      <a:pt x="396" y="138"/>
                    </a:lnTo>
                    <a:lnTo>
                      <a:pt x="392" y="138"/>
                    </a:lnTo>
                    <a:lnTo>
                      <a:pt x="388" y="138"/>
                    </a:lnTo>
                    <a:lnTo>
                      <a:pt x="384" y="138"/>
                    </a:lnTo>
                    <a:lnTo>
                      <a:pt x="380" y="138"/>
                    </a:lnTo>
                    <a:lnTo>
                      <a:pt x="376" y="142"/>
                    </a:lnTo>
                    <a:lnTo>
                      <a:pt x="376" y="146"/>
                    </a:lnTo>
                    <a:lnTo>
                      <a:pt x="374" y="146"/>
                    </a:lnTo>
                    <a:lnTo>
                      <a:pt x="370" y="146"/>
                    </a:lnTo>
                    <a:lnTo>
                      <a:pt x="370" y="150"/>
                    </a:lnTo>
                    <a:lnTo>
                      <a:pt x="366" y="150"/>
                    </a:lnTo>
                    <a:lnTo>
                      <a:pt x="362" y="150"/>
                    </a:lnTo>
                    <a:lnTo>
                      <a:pt x="358" y="150"/>
                    </a:lnTo>
                    <a:lnTo>
                      <a:pt x="354" y="150"/>
                    </a:lnTo>
                    <a:lnTo>
                      <a:pt x="350" y="146"/>
                    </a:lnTo>
                    <a:lnTo>
                      <a:pt x="346" y="146"/>
                    </a:lnTo>
                    <a:lnTo>
                      <a:pt x="344" y="146"/>
                    </a:lnTo>
                    <a:lnTo>
                      <a:pt x="340" y="146"/>
                    </a:lnTo>
                    <a:lnTo>
                      <a:pt x="340" y="150"/>
                    </a:lnTo>
                    <a:lnTo>
                      <a:pt x="336" y="154"/>
                    </a:lnTo>
                    <a:lnTo>
                      <a:pt x="336" y="158"/>
                    </a:lnTo>
                    <a:lnTo>
                      <a:pt x="336" y="160"/>
                    </a:lnTo>
                    <a:lnTo>
                      <a:pt x="340" y="164"/>
                    </a:lnTo>
                    <a:lnTo>
                      <a:pt x="344" y="168"/>
                    </a:lnTo>
                    <a:lnTo>
                      <a:pt x="344" y="172"/>
                    </a:lnTo>
                    <a:lnTo>
                      <a:pt x="340" y="172"/>
                    </a:lnTo>
                    <a:lnTo>
                      <a:pt x="340" y="176"/>
                    </a:lnTo>
                    <a:lnTo>
                      <a:pt x="336" y="176"/>
                    </a:lnTo>
                    <a:lnTo>
                      <a:pt x="332" y="176"/>
                    </a:lnTo>
                    <a:lnTo>
                      <a:pt x="332" y="180"/>
                    </a:lnTo>
                    <a:lnTo>
                      <a:pt x="328" y="180"/>
                    </a:lnTo>
                    <a:lnTo>
                      <a:pt x="328" y="184"/>
                    </a:lnTo>
                    <a:lnTo>
                      <a:pt x="324" y="184"/>
                    </a:lnTo>
                    <a:lnTo>
                      <a:pt x="324" y="186"/>
                    </a:lnTo>
                    <a:lnTo>
                      <a:pt x="320" y="186"/>
                    </a:lnTo>
                    <a:lnTo>
                      <a:pt x="320" y="190"/>
                    </a:lnTo>
                    <a:lnTo>
                      <a:pt x="318" y="190"/>
                    </a:lnTo>
                    <a:lnTo>
                      <a:pt x="318" y="194"/>
                    </a:lnTo>
                    <a:lnTo>
                      <a:pt x="314" y="194"/>
                    </a:lnTo>
                    <a:lnTo>
                      <a:pt x="310" y="194"/>
                    </a:lnTo>
                    <a:lnTo>
                      <a:pt x="310" y="198"/>
                    </a:lnTo>
                    <a:lnTo>
                      <a:pt x="306" y="198"/>
                    </a:lnTo>
                    <a:lnTo>
                      <a:pt x="302" y="198"/>
                    </a:lnTo>
                    <a:lnTo>
                      <a:pt x="298" y="198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84" y="198"/>
                    </a:lnTo>
                    <a:lnTo>
                      <a:pt x="280" y="198"/>
                    </a:lnTo>
                    <a:lnTo>
                      <a:pt x="276" y="198"/>
                    </a:lnTo>
                    <a:lnTo>
                      <a:pt x="272" y="198"/>
                    </a:lnTo>
                    <a:lnTo>
                      <a:pt x="268" y="198"/>
                    </a:lnTo>
                    <a:lnTo>
                      <a:pt x="264" y="200"/>
                    </a:lnTo>
                    <a:lnTo>
                      <a:pt x="262" y="204"/>
                    </a:lnTo>
                    <a:lnTo>
                      <a:pt x="258" y="204"/>
                    </a:lnTo>
                    <a:lnTo>
                      <a:pt x="254" y="208"/>
                    </a:lnTo>
                    <a:lnTo>
                      <a:pt x="250" y="208"/>
                    </a:lnTo>
                    <a:lnTo>
                      <a:pt x="246" y="208"/>
                    </a:lnTo>
                    <a:lnTo>
                      <a:pt x="242" y="212"/>
                    </a:lnTo>
                    <a:lnTo>
                      <a:pt x="238" y="212"/>
                    </a:lnTo>
                    <a:lnTo>
                      <a:pt x="238" y="208"/>
                    </a:lnTo>
                    <a:lnTo>
                      <a:pt x="232" y="208"/>
                    </a:lnTo>
                    <a:lnTo>
                      <a:pt x="228" y="208"/>
                    </a:lnTo>
                    <a:lnTo>
                      <a:pt x="220" y="208"/>
                    </a:lnTo>
                    <a:lnTo>
                      <a:pt x="220" y="204"/>
                    </a:lnTo>
                    <a:lnTo>
                      <a:pt x="216" y="204"/>
                    </a:lnTo>
                    <a:lnTo>
                      <a:pt x="212" y="200"/>
                    </a:lnTo>
                    <a:lnTo>
                      <a:pt x="208" y="200"/>
                    </a:lnTo>
                    <a:lnTo>
                      <a:pt x="202" y="200"/>
                    </a:lnTo>
                    <a:lnTo>
                      <a:pt x="202" y="198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4"/>
                    </a:lnTo>
                    <a:lnTo>
                      <a:pt x="186" y="194"/>
                    </a:lnTo>
                    <a:lnTo>
                      <a:pt x="186" y="190"/>
                    </a:lnTo>
                    <a:lnTo>
                      <a:pt x="182" y="190"/>
                    </a:lnTo>
                    <a:lnTo>
                      <a:pt x="180" y="190"/>
                    </a:lnTo>
                    <a:lnTo>
                      <a:pt x="176" y="194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4"/>
                    </a:lnTo>
                    <a:lnTo>
                      <a:pt x="150" y="194"/>
                    </a:lnTo>
                    <a:lnTo>
                      <a:pt x="146" y="190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6" y="190"/>
                    </a:lnTo>
                    <a:lnTo>
                      <a:pt x="132" y="190"/>
                    </a:lnTo>
                    <a:lnTo>
                      <a:pt x="128" y="190"/>
                    </a:lnTo>
                    <a:lnTo>
                      <a:pt x="124" y="190"/>
                    </a:lnTo>
                    <a:lnTo>
                      <a:pt x="124" y="186"/>
                    </a:lnTo>
                    <a:lnTo>
                      <a:pt x="120" y="184"/>
                    </a:lnTo>
                    <a:lnTo>
                      <a:pt x="116" y="184"/>
                    </a:lnTo>
                    <a:lnTo>
                      <a:pt x="116" y="180"/>
                    </a:lnTo>
                    <a:lnTo>
                      <a:pt x="116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68"/>
                    </a:lnTo>
                    <a:lnTo>
                      <a:pt x="112" y="164"/>
                    </a:lnTo>
                    <a:lnTo>
                      <a:pt x="110" y="164"/>
                    </a:lnTo>
                    <a:lnTo>
                      <a:pt x="110" y="160"/>
                    </a:lnTo>
                    <a:lnTo>
                      <a:pt x="106" y="160"/>
                    </a:lnTo>
                    <a:lnTo>
                      <a:pt x="98" y="160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4" y="154"/>
                    </a:lnTo>
                    <a:lnTo>
                      <a:pt x="90" y="154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4" y="150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2" y="146"/>
                    </a:lnTo>
                    <a:lnTo>
                      <a:pt x="68" y="146"/>
                    </a:lnTo>
                    <a:lnTo>
                      <a:pt x="64" y="146"/>
                    </a:lnTo>
                    <a:lnTo>
                      <a:pt x="60" y="146"/>
                    </a:lnTo>
                    <a:lnTo>
                      <a:pt x="54" y="146"/>
                    </a:lnTo>
                    <a:lnTo>
                      <a:pt x="54" y="142"/>
                    </a:lnTo>
                    <a:lnTo>
                      <a:pt x="50" y="142"/>
                    </a:lnTo>
                    <a:lnTo>
                      <a:pt x="46" y="142"/>
                    </a:lnTo>
                    <a:lnTo>
                      <a:pt x="46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28"/>
                    </a:lnTo>
                    <a:lnTo>
                      <a:pt x="46" y="124"/>
                    </a:lnTo>
                    <a:lnTo>
                      <a:pt x="46" y="120"/>
                    </a:lnTo>
                    <a:lnTo>
                      <a:pt x="50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46" y="104"/>
                    </a:lnTo>
                    <a:lnTo>
                      <a:pt x="42" y="104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90"/>
                    </a:lnTo>
                    <a:lnTo>
                      <a:pt x="28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0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48"/>
                    </a:lnTo>
                    <a:lnTo>
                      <a:pt x="30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30" y="44"/>
                    </a:lnTo>
                    <a:lnTo>
                      <a:pt x="34" y="44"/>
                    </a:lnTo>
                    <a:lnTo>
                      <a:pt x="34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6" y="38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8" y="42"/>
                    </a:lnTo>
                    <a:lnTo>
                      <a:pt x="98" y="44"/>
                    </a:lnTo>
                    <a:lnTo>
                      <a:pt x="102" y="42"/>
                    </a:lnTo>
                    <a:lnTo>
                      <a:pt x="106" y="44"/>
                    </a:lnTo>
                    <a:lnTo>
                      <a:pt x="110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2"/>
                    </a:lnTo>
                    <a:lnTo>
                      <a:pt x="150" y="42"/>
                    </a:lnTo>
                    <a:lnTo>
                      <a:pt x="150" y="38"/>
                    </a:lnTo>
                    <a:lnTo>
                      <a:pt x="150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42" y="22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4"/>
                    </a:lnTo>
                    <a:lnTo>
                      <a:pt x="150" y="12"/>
                    </a:lnTo>
                    <a:lnTo>
                      <a:pt x="150" y="8"/>
                    </a:lnTo>
                    <a:lnTo>
                      <a:pt x="152" y="8"/>
                    </a:lnTo>
                    <a:lnTo>
                      <a:pt x="156" y="8"/>
                    </a:lnTo>
                    <a:lnTo>
                      <a:pt x="156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2" y="8"/>
                    </a:lnTo>
                    <a:lnTo>
                      <a:pt x="186" y="12"/>
                    </a:lnTo>
                    <a:lnTo>
                      <a:pt x="190" y="12"/>
                    </a:lnTo>
                    <a:lnTo>
                      <a:pt x="194" y="14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06" y="18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06" y="34"/>
                    </a:lnTo>
                    <a:lnTo>
                      <a:pt x="208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6" y="38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32" y="42"/>
                    </a:lnTo>
                    <a:lnTo>
                      <a:pt x="236" y="42"/>
                    </a:lnTo>
                    <a:lnTo>
                      <a:pt x="236" y="38"/>
                    </a:lnTo>
                    <a:lnTo>
                      <a:pt x="238" y="38"/>
                    </a:lnTo>
                    <a:lnTo>
                      <a:pt x="242" y="34"/>
                    </a:lnTo>
                    <a:lnTo>
                      <a:pt x="246" y="38"/>
                    </a:lnTo>
                    <a:lnTo>
                      <a:pt x="246" y="34"/>
                    </a:lnTo>
                    <a:lnTo>
                      <a:pt x="250" y="34"/>
                    </a:lnTo>
                    <a:lnTo>
                      <a:pt x="254" y="34"/>
                    </a:lnTo>
                    <a:lnTo>
                      <a:pt x="258" y="34"/>
                    </a:lnTo>
                    <a:lnTo>
                      <a:pt x="258" y="38"/>
                    </a:lnTo>
                    <a:lnTo>
                      <a:pt x="262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80" y="44"/>
                    </a:lnTo>
                    <a:lnTo>
                      <a:pt x="284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8" y="52"/>
                    </a:lnTo>
                    <a:lnTo>
                      <a:pt x="290" y="56"/>
                    </a:lnTo>
                    <a:lnTo>
                      <a:pt x="294" y="56"/>
                    </a:lnTo>
                    <a:lnTo>
                      <a:pt x="298" y="56"/>
                    </a:lnTo>
                    <a:lnTo>
                      <a:pt x="302" y="56"/>
                    </a:lnTo>
                    <a:lnTo>
                      <a:pt x="306" y="56"/>
                    </a:lnTo>
                    <a:lnTo>
                      <a:pt x="310" y="60"/>
                    </a:lnTo>
                    <a:lnTo>
                      <a:pt x="314" y="60"/>
                    </a:lnTo>
                    <a:lnTo>
                      <a:pt x="318" y="60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32" y="56"/>
                    </a:lnTo>
                    <a:lnTo>
                      <a:pt x="336" y="56"/>
                    </a:lnTo>
                    <a:lnTo>
                      <a:pt x="340" y="56"/>
                    </a:lnTo>
                    <a:lnTo>
                      <a:pt x="344" y="56"/>
                    </a:lnTo>
                    <a:lnTo>
                      <a:pt x="346" y="56"/>
                    </a:lnTo>
                    <a:lnTo>
                      <a:pt x="350" y="52"/>
                    </a:lnTo>
                    <a:lnTo>
                      <a:pt x="354" y="52"/>
                    </a:lnTo>
                    <a:lnTo>
                      <a:pt x="354" y="56"/>
                    </a:lnTo>
                    <a:lnTo>
                      <a:pt x="354" y="52"/>
                    </a:lnTo>
                    <a:lnTo>
                      <a:pt x="358" y="52"/>
                    </a:lnTo>
                    <a:lnTo>
                      <a:pt x="362" y="48"/>
                    </a:lnTo>
                    <a:lnTo>
                      <a:pt x="362" y="44"/>
                    </a:lnTo>
                    <a:lnTo>
                      <a:pt x="366" y="44"/>
                    </a:lnTo>
                    <a:lnTo>
                      <a:pt x="370" y="42"/>
                    </a:lnTo>
                    <a:lnTo>
                      <a:pt x="374" y="42"/>
                    </a:lnTo>
                    <a:lnTo>
                      <a:pt x="374" y="38"/>
                    </a:lnTo>
                    <a:lnTo>
                      <a:pt x="376" y="38"/>
                    </a:lnTo>
                    <a:lnTo>
                      <a:pt x="380" y="38"/>
                    </a:lnTo>
                    <a:lnTo>
                      <a:pt x="384" y="38"/>
                    </a:lnTo>
                    <a:lnTo>
                      <a:pt x="384" y="42"/>
                    </a:lnTo>
                    <a:lnTo>
                      <a:pt x="388" y="42"/>
                    </a:lnTo>
                    <a:lnTo>
                      <a:pt x="388" y="44"/>
                    </a:lnTo>
                    <a:lnTo>
                      <a:pt x="392" y="44"/>
                    </a:lnTo>
                    <a:lnTo>
                      <a:pt x="396" y="44"/>
                    </a:lnTo>
                    <a:lnTo>
                      <a:pt x="400" y="44"/>
                    </a:lnTo>
                    <a:lnTo>
                      <a:pt x="402" y="44"/>
                    </a:lnTo>
                    <a:lnTo>
                      <a:pt x="406" y="44"/>
                    </a:lnTo>
                    <a:lnTo>
                      <a:pt x="410" y="44"/>
                    </a:lnTo>
                    <a:lnTo>
                      <a:pt x="410" y="48"/>
                    </a:lnTo>
                    <a:lnTo>
                      <a:pt x="406" y="52"/>
                    </a:lnTo>
                    <a:lnTo>
                      <a:pt x="406" y="56"/>
                    </a:lnTo>
                    <a:lnTo>
                      <a:pt x="406" y="60"/>
                    </a:lnTo>
                    <a:lnTo>
                      <a:pt x="402" y="60"/>
                    </a:lnTo>
                    <a:lnTo>
                      <a:pt x="402" y="64"/>
                    </a:lnTo>
                    <a:lnTo>
                      <a:pt x="400" y="68"/>
                    </a:lnTo>
                    <a:lnTo>
                      <a:pt x="402" y="68"/>
                    </a:lnTo>
                    <a:lnTo>
                      <a:pt x="400" y="72"/>
                    </a:lnTo>
                    <a:lnTo>
                      <a:pt x="396" y="74"/>
                    </a:lnTo>
                    <a:lnTo>
                      <a:pt x="400" y="78"/>
                    </a:lnTo>
                    <a:lnTo>
                      <a:pt x="396" y="82"/>
                    </a:lnTo>
                    <a:lnTo>
                      <a:pt x="392" y="82"/>
                    </a:lnTo>
                    <a:lnTo>
                      <a:pt x="396" y="86"/>
                    </a:lnTo>
                    <a:lnTo>
                      <a:pt x="400" y="90"/>
                    </a:lnTo>
                    <a:lnTo>
                      <a:pt x="402" y="90"/>
                    </a:lnTo>
                    <a:lnTo>
                      <a:pt x="402" y="86"/>
                    </a:lnTo>
                    <a:lnTo>
                      <a:pt x="406" y="90"/>
                    </a:lnTo>
                    <a:lnTo>
                      <a:pt x="410" y="86"/>
                    </a:lnTo>
                    <a:lnTo>
                      <a:pt x="414" y="86"/>
                    </a:lnTo>
                    <a:lnTo>
                      <a:pt x="414" y="90"/>
                    </a:lnTo>
                    <a:lnTo>
                      <a:pt x="418" y="94"/>
                    </a:lnTo>
                    <a:lnTo>
                      <a:pt x="422" y="90"/>
                    </a:lnTo>
                    <a:lnTo>
                      <a:pt x="422" y="86"/>
                    </a:lnTo>
                    <a:lnTo>
                      <a:pt x="426" y="86"/>
                    </a:lnTo>
                    <a:lnTo>
                      <a:pt x="428" y="86"/>
                    </a:lnTo>
                    <a:lnTo>
                      <a:pt x="432" y="86"/>
                    </a:lnTo>
                    <a:lnTo>
                      <a:pt x="436" y="86"/>
                    </a:lnTo>
                    <a:lnTo>
                      <a:pt x="440" y="90"/>
                    </a:lnTo>
                    <a:lnTo>
                      <a:pt x="444" y="94"/>
                    </a:lnTo>
                    <a:lnTo>
                      <a:pt x="448" y="94"/>
                    </a:lnTo>
                    <a:lnTo>
                      <a:pt x="448" y="98"/>
                    </a:lnTo>
                    <a:lnTo>
                      <a:pt x="448" y="100"/>
                    </a:lnTo>
                    <a:lnTo>
                      <a:pt x="452" y="100"/>
                    </a:lnTo>
                    <a:lnTo>
                      <a:pt x="456" y="104"/>
                    </a:lnTo>
                    <a:lnTo>
                      <a:pt x="456" y="108"/>
                    </a:lnTo>
                    <a:lnTo>
                      <a:pt x="456" y="112"/>
                    </a:lnTo>
                    <a:lnTo>
                      <a:pt x="452" y="112"/>
                    </a:lnTo>
                    <a:lnTo>
                      <a:pt x="448" y="112"/>
                    </a:lnTo>
                    <a:lnTo>
                      <a:pt x="444" y="112"/>
                    </a:lnTo>
                    <a:lnTo>
                      <a:pt x="440" y="112"/>
                    </a:lnTo>
                    <a:lnTo>
                      <a:pt x="440" y="108"/>
                    </a:lnTo>
                    <a:lnTo>
                      <a:pt x="440" y="112"/>
                    </a:lnTo>
                    <a:lnTo>
                      <a:pt x="436" y="112"/>
                    </a:lnTo>
                    <a:lnTo>
                      <a:pt x="432" y="112"/>
                    </a:lnTo>
                    <a:lnTo>
                      <a:pt x="428" y="112"/>
                    </a:lnTo>
                    <a:lnTo>
                      <a:pt x="426" y="112"/>
                    </a:lnTo>
                    <a:lnTo>
                      <a:pt x="426" y="116"/>
                    </a:lnTo>
                    <a:lnTo>
                      <a:pt x="422" y="116"/>
                    </a:lnTo>
                    <a:lnTo>
                      <a:pt x="422" y="112"/>
                    </a:lnTo>
                    <a:lnTo>
                      <a:pt x="422" y="116"/>
                    </a:lnTo>
                    <a:lnTo>
                      <a:pt x="418" y="116"/>
                    </a:lnTo>
                    <a:lnTo>
                      <a:pt x="418" y="120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0" y="120"/>
                    </a:lnTo>
                    <a:lnTo>
                      <a:pt x="41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3" name="Freeform 42">
                <a:extLst>
                  <a:ext uri="{FF2B5EF4-FFF2-40B4-BE49-F238E27FC236}">
                    <a16:creationId xmlns:a16="http://schemas.microsoft.com/office/drawing/2014/main" id="{87E8238F-9E07-4DFC-832F-73D7DA5C86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464300" y="3768793"/>
                <a:ext cx="200025" cy="520700"/>
              </a:xfrm>
              <a:custGeom>
                <a:avLst/>
                <a:gdLst>
                  <a:gd name="T0" fmla="*/ 88 w 126"/>
                  <a:gd name="T1" fmla="*/ 314 h 328"/>
                  <a:gd name="T2" fmla="*/ 88 w 126"/>
                  <a:gd name="T3" fmla="*/ 294 h 328"/>
                  <a:gd name="T4" fmla="*/ 88 w 126"/>
                  <a:gd name="T5" fmla="*/ 280 h 328"/>
                  <a:gd name="T6" fmla="*/ 86 w 126"/>
                  <a:gd name="T7" fmla="*/ 262 h 328"/>
                  <a:gd name="T8" fmla="*/ 78 w 126"/>
                  <a:gd name="T9" fmla="*/ 242 h 328"/>
                  <a:gd name="T10" fmla="*/ 78 w 126"/>
                  <a:gd name="T11" fmla="*/ 220 h 328"/>
                  <a:gd name="T12" fmla="*/ 72 w 126"/>
                  <a:gd name="T13" fmla="*/ 202 h 328"/>
                  <a:gd name="T14" fmla="*/ 64 w 126"/>
                  <a:gd name="T15" fmla="*/ 208 h 328"/>
                  <a:gd name="T16" fmla="*/ 56 w 126"/>
                  <a:gd name="T17" fmla="*/ 216 h 328"/>
                  <a:gd name="T18" fmla="*/ 42 w 126"/>
                  <a:gd name="T19" fmla="*/ 224 h 328"/>
                  <a:gd name="T20" fmla="*/ 38 w 126"/>
                  <a:gd name="T21" fmla="*/ 228 h 328"/>
                  <a:gd name="T22" fmla="*/ 34 w 126"/>
                  <a:gd name="T23" fmla="*/ 220 h 328"/>
                  <a:gd name="T24" fmla="*/ 30 w 126"/>
                  <a:gd name="T25" fmla="*/ 208 h 328"/>
                  <a:gd name="T26" fmla="*/ 30 w 126"/>
                  <a:gd name="T27" fmla="*/ 182 h 328"/>
                  <a:gd name="T28" fmla="*/ 22 w 126"/>
                  <a:gd name="T29" fmla="*/ 164 h 328"/>
                  <a:gd name="T30" fmla="*/ 18 w 126"/>
                  <a:gd name="T31" fmla="*/ 152 h 328"/>
                  <a:gd name="T32" fmla="*/ 12 w 126"/>
                  <a:gd name="T33" fmla="*/ 152 h 328"/>
                  <a:gd name="T34" fmla="*/ 12 w 126"/>
                  <a:gd name="T35" fmla="*/ 146 h 328"/>
                  <a:gd name="T36" fmla="*/ 8 w 126"/>
                  <a:gd name="T37" fmla="*/ 146 h 328"/>
                  <a:gd name="T38" fmla="*/ 4 w 126"/>
                  <a:gd name="T39" fmla="*/ 128 h 328"/>
                  <a:gd name="T40" fmla="*/ 12 w 126"/>
                  <a:gd name="T41" fmla="*/ 116 h 328"/>
                  <a:gd name="T42" fmla="*/ 12 w 126"/>
                  <a:gd name="T43" fmla="*/ 102 h 328"/>
                  <a:gd name="T44" fmla="*/ 16 w 126"/>
                  <a:gd name="T45" fmla="*/ 82 h 328"/>
                  <a:gd name="T46" fmla="*/ 30 w 126"/>
                  <a:gd name="T47" fmla="*/ 80 h 328"/>
                  <a:gd name="T48" fmla="*/ 38 w 126"/>
                  <a:gd name="T49" fmla="*/ 54 h 328"/>
                  <a:gd name="T50" fmla="*/ 46 w 126"/>
                  <a:gd name="T51" fmla="*/ 30 h 328"/>
                  <a:gd name="T52" fmla="*/ 72 w 126"/>
                  <a:gd name="T53" fmla="*/ 26 h 328"/>
                  <a:gd name="T54" fmla="*/ 72 w 126"/>
                  <a:gd name="T55" fmla="*/ 4 h 328"/>
                  <a:gd name="T56" fmla="*/ 86 w 126"/>
                  <a:gd name="T57" fmla="*/ 12 h 328"/>
                  <a:gd name="T58" fmla="*/ 92 w 126"/>
                  <a:gd name="T59" fmla="*/ 26 h 328"/>
                  <a:gd name="T60" fmla="*/ 92 w 126"/>
                  <a:gd name="T61" fmla="*/ 50 h 328"/>
                  <a:gd name="T62" fmla="*/ 78 w 126"/>
                  <a:gd name="T63" fmla="*/ 68 h 328"/>
                  <a:gd name="T64" fmla="*/ 78 w 126"/>
                  <a:gd name="T65" fmla="*/ 82 h 328"/>
                  <a:gd name="T66" fmla="*/ 92 w 126"/>
                  <a:gd name="T67" fmla="*/ 82 h 328"/>
                  <a:gd name="T68" fmla="*/ 104 w 126"/>
                  <a:gd name="T69" fmla="*/ 98 h 328"/>
                  <a:gd name="T70" fmla="*/ 104 w 126"/>
                  <a:gd name="T71" fmla="*/ 116 h 328"/>
                  <a:gd name="T72" fmla="*/ 122 w 126"/>
                  <a:gd name="T73" fmla="*/ 124 h 328"/>
                  <a:gd name="T74" fmla="*/ 114 w 126"/>
                  <a:gd name="T75" fmla="*/ 138 h 328"/>
                  <a:gd name="T76" fmla="*/ 104 w 126"/>
                  <a:gd name="T77" fmla="*/ 150 h 328"/>
                  <a:gd name="T78" fmla="*/ 88 w 126"/>
                  <a:gd name="T79" fmla="*/ 156 h 328"/>
                  <a:gd name="T80" fmla="*/ 78 w 126"/>
                  <a:gd name="T81" fmla="*/ 176 h 328"/>
                  <a:gd name="T82" fmla="*/ 78 w 126"/>
                  <a:gd name="T83" fmla="*/ 186 h 328"/>
                  <a:gd name="T84" fmla="*/ 88 w 126"/>
                  <a:gd name="T85" fmla="*/ 206 h 328"/>
                  <a:gd name="T86" fmla="*/ 88 w 126"/>
                  <a:gd name="T87" fmla="*/ 228 h 328"/>
                  <a:gd name="T88" fmla="*/ 88 w 126"/>
                  <a:gd name="T89" fmla="*/ 250 h 328"/>
                  <a:gd name="T90" fmla="*/ 100 w 126"/>
                  <a:gd name="T91" fmla="*/ 268 h 328"/>
                  <a:gd name="T92" fmla="*/ 104 w 126"/>
                  <a:gd name="T93" fmla="*/ 294 h 328"/>
                  <a:gd name="T94" fmla="*/ 92 w 126"/>
                  <a:gd name="T95" fmla="*/ 314 h 328"/>
                  <a:gd name="T96" fmla="*/ 22 w 126"/>
                  <a:gd name="T97" fmla="*/ 164 h 328"/>
                  <a:gd name="T98" fmla="*/ 8 w 126"/>
                  <a:gd name="T99" fmla="*/ 146 h 328"/>
                  <a:gd name="T100" fmla="*/ 26 w 126"/>
                  <a:gd name="T101" fmla="*/ 164 h 328"/>
                  <a:gd name="T102" fmla="*/ 74 w 126"/>
                  <a:gd name="T103" fmla="*/ 212 h 328"/>
                  <a:gd name="T104" fmla="*/ 34 w 126"/>
                  <a:gd name="T105" fmla="*/ 224 h 328"/>
                  <a:gd name="T106" fmla="*/ 82 w 126"/>
                  <a:gd name="T107" fmla="*/ 290 h 328"/>
                  <a:gd name="T108" fmla="*/ 86 w 126"/>
                  <a:gd name="T109" fmla="*/ 328 h 328"/>
                  <a:gd name="T110" fmla="*/ 86 w 126"/>
                  <a:gd name="T111" fmla="*/ 288 h 328"/>
                  <a:gd name="T112" fmla="*/ 82 w 126"/>
                  <a:gd name="T113" fmla="*/ 284 h 328"/>
                  <a:gd name="T114" fmla="*/ 88 w 126"/>
                  <a:gd name="T115" fmla="*/ 290 h 328"/>
                  <a:gd name="T116" fmla="*/ 86 w 126"/>
                  <a:gd name="T117" fmla="*/ 302 h 328"/>
                  <a:gd name="T118" fmla="*/ 82 w 126"/>
                  <a:gd name="T119" fmla="*/ 310 h 3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26" h="328">
                    <a:moveTo>
                      <a:pt x="92" y="314"/>
                    </a:moveTo>
                    <a:lnTo>
                      <a:pt x="92" y="318"/>
                    </a:lnTo>
                    <a:lnTo>
                      <a:pt x="92" y="320"/>
                    </a:lnTo>
                    <a:lnTo>
                      <a:pt x="88" y="324"/>
                    </a:lnTo>
                    <a:lnTo>
                      <a:pt x="88" y="328"/>
                    </a:lnTo>
                    <a:lnTo>
                      <a:pt x="88" y="324"/>
                    </a:lnTo>
                    <a:lnTo>
                      <a:pt x="88" y="320"/>
                    </a:lnTo>
                    <a:lnTo>
                      <a:pt x="88" y="314"/>
                    </a:lnTo>
                    <a:lnTo>
                      <a:pt x="92" y="310"/>
                    </a:lnTo>
                    <a:lnTo>
                      <a:pt x="92" y="306"/>
                    </a:lnTo>
                    <a:lnTo>
                      <a:pt x="92" y="302"/>
                    </a:lnTo>
                    <a:lnTo>
                      <a:pt x="92" y="298"/>
                    </a:lnTo>
                    <a:lnTo>
                      <a:pt x="92" y="294"/>
                    </a:lnTo>
                    <a:lnTo>
                      <a:pt x="92" y="298"/>
                    </a:lnTo>
                    <a:lnTo>
                      <a:pt x="88" y="298"/>
                    </a:lnTo>
                    <a:lnTo>
                      <a:pt x="88" y="294"/>
                    </a:lnTo>
                    <a:lnTo>
                      <a:pt x="92" y="290"/>
                    </a:lnTo>
                    <a:lnTo>
                      <a:pt x="88" y="290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92" y="288"/>
                    </a:lnTo>
                    <a:lnTo>
                      <a:pt x="88" y="288"/>
                    </a:lnTo>
                    <a:lnTo>
                      <a:pt x="88" y="284"/>
                    </a:lnTo>
                    <a:lnTo>
                      <a:pt x="88" y="280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8" y="268"/>
                    </a:lnTo>
                    <a:lnTo>
                      <a:pt x="88" y="264"/>
                    </a:lnTo>
                    <a:lnTo>
                      <a:pt x="86" y="264"/>
                    </a:lnTo>
                    <a:lnTo>
                      <a:pt x="86" y="262"/>
                    </a:lnTo>
                    <a:lnTo>
                      <a:pt x="86" y="258"/>
                    </a:lnTo>
                    <a:lnTo>
                      <a:pt x="86" y="262"/>
                    </a:lnTo>
                    <a:lnTo>
                      <a:pt x="86" y="264"/>
                    </a:lnTo>
                    <a:lnTo>
                      <a:pt x="82" y="264"/>
                    </a:lnTo>
                    <a:lnTo>
                      <a:pt x="82" y="262"/>
                    </a:lnTo>
                    <a:lnTo>
                      <a:pt x="82" y="258"/>
                    </a:lnTo>
                    <a:lnTo>
                      <a:pt x="82" y="254"/>
                    </a:lnTo>
                    <a:lnTo>
                      <a:pt x="82" y="250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8" y="234"/>
                    </a:lnTo>
                    <a:lnTo>
                      <a:pt x="78" y="232"/>
                    </a:lnTo>
                    <a:lnTo>
                      <a:pt x="78" y="228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4" y="220"/>
                    </a:lnTo>
                    <a:lnTo>
                      <a:pt x="78" y="220"/>
                    </a:lnTo>
                    <a:lnTo>
                      <a:pt x="78" y="216"/>
                    </a:lnTo>
                    <a:lnTo>
                      <a:pt x="74" y="216"/>
                    </a:lnTo>
                    <a:lnTo>
                      <a:pt x="78" y="212"/>
                    </a:lnTo>
                    <a:lnTo>
                      <a:pt x="74" y="212"/>
                    </a:lnTo>
                    <a:lnTo>
                      <a:pt x="72" y="212"/>
                    </a:lnTo>
                    <a:lnTo>
                      <a:pt x="72" y="208"/>
                    </a:lnTo>
                    <a:lnTo>
                      <a:pt x="72" y="206"/>
                    </a:lnTo>
                    <a:lnTo>
                      <a:pt x="72" y="202"/>
                    </a:lnTo>
                    <a:lnTo>
                      <a:pt x="68" y="202"/>
                    </a:lnTo>
                    <a:lnTo>
                      <a:pt x="68" y="198"/>
                    </a:lnTo>
                    <a:lnTo>
                      <a:pt x="68" y="202"/>
                    </a:lnTo>
                    <a:lnTo>
                      <a:pt x="68" y="206"/>
                    </a:lnTo>
                    <a:lnTo>
                      <a:pt x="64" y="206"/>
                    </a:lnTo>
                    <a:lnTo>
                      <a:pt x="64" y="208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56" y="212"/>
                    </a:lnTo>
                    <a:lnTo>
                      <a:pt x="56" y="208"/>
                    </a:lnTo>
                    <a:lnTo>
                      <a:pt x="56" y="212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2" y="220"/>
                    </a:lnTo>
                    <a:lnTo>
                      <a:pt x="48" y="220"/>
                    </a:lnTo>
                    <a:lnTo>
                      <a:pt x="48" y="224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46" y="220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6" y="224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42" y="224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8" y="220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8" y="220"/>
                    </a:lnTo>
                    <a:lnTo>
                      <a:pt x="34" y="220"/>
                    </a:lnTo>
                    <a:lnTo>
                      <a:pt x="34" y="224"/>
                    </a:lnTo>
                    <a:lnTo>
                      <a:pt x="34" y="220"/>
                    </a:lnTo>
                    <a:lnTo>
                      <a:pt x="34" y="216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34" y="202"/>
                    </a:lnTo>
                    <a:lnTo>
                      <a:pt x="34" y="198"/>
                    </a:lnTo>
                    <a:lnTo>
                      <a:pt x="34" y="194"/>
                    </a:lnTo>
                    <a:lnTo>
                      <a:pt x="34" y="190"/>
                    </a:lnTo>
                    <a:lnTo>
                      <a:pt x="30" y="186"/>
                    </a:lnTo>
                    <a:lnTo>
                      <a:pt x="34" y="186"/>
                    </a:lnTo>
                    <a:lnTo>
                      <a:pt x="30" y="182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26" y="172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6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18" y="156"/>
                    </a:lnTo>
                    <a:lnTo>
                      <a:pt x="22" y="152"/>
                    </a:lnTo>
                    <a:lnTo>
                      <a:pt x="22" y="156"/>
                    </a:lnTo>
                    <a:lnTo>
                      <a:pt x="22" y="152"/>
                    </a:lnTo>
                    <a:lnTo>
                      <a:pt x="18" y="152"/>
                    </a:lnTo>
                    <a:lnTo>
                      <a:pt x="18" y="156"/>
                    </a:lnTo>
                    <a:lnTo>
                      <a:pt x="18" y="152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6" y="152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12" y="152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6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12" y="146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0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16" y="98"/>
                    </a:lnTo>
                    <a:lnTo>
                      <a:pt x="16" y="102"/>
                    </a:lnTo>
                    <a:lnTo>
                      <a:pt x="16" y="98"/>
                    </a:lnTo>
                    <a:lnTo>
                      <a:pt x="16" y="94"/>
                    </a:lnTo>
                    <a:lnTo>
                      <a:pt x="18" y="90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0"/>
                    </a:lnTo>
                    <a:lnTo>
                      <a:pt x="16" y="82"/>
                    </a:lnTo>
                    <a:lnTo>
                      <a:pt x="18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6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38" y="54"/>
                    </a:lnTo>
                    <a:lnTo>
                      <a:pt x="42" y="54"/>
                    </a:lnTo>
                    <a:lnTo>
                      <a:pt x="42" y="50"/>
                    </a:lnTo>
                    <a:lnTo>
                      <a:pt x="42" y="46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26"/>
                    </a:lnTo>
                    <a:lnTo>
                      <a:pt x="56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6"/>
                    </a:lnTo>
                    <a:lnTo>
                      <a:pt x="72" y="26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4" y="4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6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42"/>
                    </a:lnTo>
                    <a:lnTo>
                      <a:pt x="92" y="46"/>
                    </a:lnTo>
                    <a:lnTo>
                      <a:pt x="88" y="46"/>
                    </a:lnTo>
                    <a:lnTo>
                      <a:pt x="88" y="50"/>
                    </a:lnTo>
                    <a:lnTo>
                      <a:pt x="92" y="50"/>
                    </a:lnTo>
                    <a:lnTo>
                      <a:pt x="88" y="50"/>
                    </a:lnTo>
                    <a:lnTo>
                      <a:pt x="88" y="54"/>
                    </a:lnTo>
                    <a:lnTo>
                      <a:pt x="86" y="54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78" y="60"/>
                    </a:lnTo>
                    <a:lnTo>
                      <a:pt x="78" y="64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6"/>
                    </a:lnTo>
                    <a:lnTo>
                      <a:pt x="78" y="76"/>
                    </a:lnTo>
                    <a:lnTo>
                      <a:pt x="78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88" y="80"/>
                    </a:lnTo>
                    <a:lnTo>
                      <a:pt x="92" y="80"/>
                    </a:lnTo>
                    <a:lnTo>
                      <a:pt x="92" y="82"/>
                    </a:lnTo>
                    <a:lnTo>
                      <a:pt x="88" y="82"/>
                    </a:lnTo>
                    <a:lnTo>
                      <a:pt x="92" y="86"/>
                    </a:lnTo>
                    <a:lnTo>
                      <a:pt x="92" y="90"/>
                    </a:lnTo>
                    <a:lnTo>
                      <a:pt x="92" y="94"/>
                    </a:lnTo>
                    <a:lnTo>
                      <a:pt x="92" y="98"/>
                    </a:lnTo>
                    <a:lnTo>
                      <a:pt x="96" y="98"/>
                    </a:ln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102"/>
                    </a:lnTo>
                    <a:lnTo>
                      <a:pt x="100" y="102"/>
                    </a:lnTo>
                    <a:lnTo>
                      <a:pt x="100" y="106"/>
                    </a:lnTo>
                    <a:lnTo>
                      <a:pt x="100" y="110"/>
                    </a:lnTo>
                    <a:lnTo>
                      <a:pt x="100" y="112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22" y="124"/>
                    </a:lnTo>
                    <a:lnTo>
                      <a:pt x="126" y="124"/>
                    </a:lnTo>
                    <a:lnTo>
                      <a:pt x="126" y="128"/>
                    </a:lnTo>
                    <a:lnTo>
                      <a:pt x="122" y="128"/>
                    </a:lnTo>
                    <a:lnTo>
                      <a:pt x="122" y="132"/>
                    </a:lnTo>
                    <a:lnTo>
                      <a:pt x="118" y="132"/>
                    </a:lnTo>
                    <a:lnTo>
                      <a:pt x="118" y="136"/>
                    </a:lnTo>
                    <a:lnTo>
                      <a:pt x="114" y="136"/>
                    </a:lnTo>
                    <a:lnTo>
                      <a:pt x="114" y="138"/>
                    </a:lnTo>
                    <a:lnTo>
                      <a:pt x="118" y="138"/>
                    </a:lnTo>
                    <a:lnTo>
                      <a:pt x="114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0" y="150"/>
                    </a:lnTo>
                    <a:lnTo>
                      <a:pt x="100" y="152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6" y="156"/>
                    </a:lnTo>
                    <a:lnTo>
                      <a:pt x="82" y="156"/>
                    </a:lnTo>
                    <a:lnTo>
                      <a:pt x="82" y="160"/>
                    </a:lnTo>
                    <a:lnTo>
                      <a:pt x="78" y="160"/>
                    </a:lnTo>
                    <a:lnTo>
                      <a:pt x="78" y="164"/>
                    </a:lnTo>
                    <a:lnTo>
                      <a:pt x="78" y="168"/>
                    </a:lnTo>
                    <a:lnTo>
                      <a:pt x="78" y="172"/>
                    </a:lnTo>
                    <a:lnTo>
                      <a:pt x="78" y="176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74" y="182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78" y="194"/>
                    </a:lnTo>
                    <a:lnTo>
                      <a:pt x="82" y="194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86" y="202"/>
                    </a:lnTo>
                    <a:lnTo>
                      <a:pt x="86" y="206"/>
                    </a:lnTo>
                    <a:lnTo>
                      <a:pt x="88" y="206"/>
                    </a:lnTo>
                    <a:lnTo>
                      <a:pt x="88" y="208"/>
                    </a:lnTo>
                    <a:lnTo>
                      <a:pt x="88" y="212"/>
                    </a:lnTo>
                    <a:lnTo>
                      <a:pt x="88" y="216"/>
                    </a:lnTo>
                    <a:lnTo>
                      <a:pt x="92" y="216"/>
                    </a:lnTo>
                    <a:lnTo>
                      <a:pt x="92" y="220"/>
                    </a:lnTo>
                    <a:lnTo>
                      <a:pt x="88" y="220"/>
                    </a:lnTo>
                    <a:lnTo>
                      <a:pt x="88" y="224"/>
                    </a:lnTo>
                    <a:lnTo>
                      <a:pt x="88" y="228"/>
                    </a:lnTo>
                    <a:lnTo>
                      <a:pt x="88" y="232"/>
                    </a:lnTo>
                    <a:lnTo>
                      <a:pt x="88" y="234"/>
                    </a:lnTo>
                    <a:lnTo>
                      <a:pt x="86" y="234"/>
                    </a:lnTo>
                    <a:lnTo>
                      <a:pt x="86" y="238"/>
                    </a:lnTo>
                    <a:lnTo>
                      <a:pt x="86" y="242"/>
                    </a:lnTo>
                    <a:lnTo>
                      <a:pt x="86" y="246"/>
                    </a:lnTo>
                    <a:lnTo>
                      <a:pt x="88" y="246"/>
                    </a:lnTo>
                    <a:lnTo>
                      <a:pt x="88" y="250"/>
                    </a:lnTo>
                    <a:lnTo>
                      <a:pt x="88" y="254"/>
                    </a:lnTo>
                    <a:lnTo>
                      <a:pt x="92" y="254"/>
                    </a:lnTo>
                    <a:lnTo>
                      <a:pt x="92" y="258"/>
                    </a:lnTo>
                    <a:lnTo>
                      <a:pt x="96" y="258"/>
                    </a:lnTo>
                    <a:lnTo>
                      <a:pt x="96" y="262"/>
                    </a:lnTo>
                    <a:lnTo>
                      <a:pt x="96" y="264"/>
                    </a:lnTo>
                    <a:lnTo>
                      <a:pt x="96" y="268"/>
                    </a:lnTo>
                    <a:lnTo>
                      <a:pt x="100" y="268"/>
                    </a:lnTo>
                    <a:lnTo>
                      <a:pt x="100" y="272"/>
                    </a:lnTo>
                    <a:lnTo>
                      <a:pt x="96" y="272"/>
                    </a:lnTo>
                    <a:lnTo>
                      <a:pt x="100" y="280"/>
                    </a:lnTo>
                    <a:lnTo>
                      <a:pt x="100" y="284"/>
                    </a:lnTo>
                    <a:lnTo>
                      <a:pt x="100" y="288"/>
                    </a:lnTo>
                    <a:lnTo>
                      <a:pt x="104" y="288"/>
                    </a:lnTo>
                    <a:lnTo>
                      <a:pt x="104" y="290"/>
                    </a:lnTo>
                    <a:lnTo>
                      <a:pt x="104" y="294"/>
                    </a:lnTo>
                    <a:lnTo>
                      <a:pt x="104" y="298"/>
                    </a:lnTo>
                    <a:lnTo>
                      <a:pt x="100" y="298"/>
                    </a:lnTo>
                    <a:lnTo>
                      <a:pt x="100" y="302"/>
                    </a:lnTo>
                    <a:lnTo>
                      <a:pt x="100" y="306"/>
                    </a:lnTo>
                    <a:lnTo>
                      <a:pt x="96" y="310"/>
                    </a:lnTo>
                    <a:lnTo>
                      <a:pt x="92" y="314"/>
                    </a:lnTo>
                    <a:lnTo>
                      <a:pt x="92" y="314"/>
                    </a:lnTo>
                    <a:lnTo>
                      <a:pt x="92" y="314"/>
                    </a:lnTo>
                    <a:close/>
                    <a:moveTo>
                      <a:pt x="22" y="164"/>
                    </a:move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8"/>
                    </a:lnTo>
                    <a:lnTo>
                      <a:pt x="22" y="164"/>
                    </a:lnTo>
                    <a:lnTo>
                      <a:pt x="22" y="164"/>
                    </a:lnTo>
                    <a:lnTo>
                      <a:pt x="22" y="164"/>
                    </a:lnTo>
                    <a:close/>
                    <a:moveTo>
                      <a:pt x="8" y="146"/>
                    </a:moveTo>
                    <a:lnTo>
                      <a:pt x="8" y="150"/>
                    </a:lnTo>
                    <a:lnTo>
                      <a:pt x="8" y="146"/>
                    </a:lnTo>
                    <a:lnTo>
                      <a:pt x="8" y="146"/>
                    </a:lnTo>
                    <a:lnTo>
                      <a:pt x="8" y="146"/>
                    </a:lnTo>
                    <a:close/>
                    <a:moveTo>
                      <a:pt x="18" y="152"/>
                    </a:moveTo>
                    <a:lnTo>
                      <a:pt x="18" y="156"/>
                    </a:lnTo>
                    <a:lnTo>
                      <a:pt x="16" y="152"/>
                    </a:lnTo>
                    <a:lnTo>
                      <a:pt x="18" y="152"/>
                    </a:lnTo>
                    <a:lnTo>
                      <a:pt x="18" y="152"/>
                    </a:lnTo>
                    <a:lnTo>
                      <a:pt x="18" y="152"/>
                    </a:lnTo>
                    <a:close/>
                    <a:moveTo>
                      <a:pt x="26" y="164"/>
                    </a:moveTo>
                    <a:lnTo>
                      <a:pt x="22" y="164"/>
                    </a:lnTo>
                    <a:lnTo>
                      <a:pt x="18" y="164"/>
                    </a:lnTo>
                    <a:lnTo>
                      <a:pt x="18" y="160"/>
                    </a:lnTo>
                    <a:lnTo>
                      <a:pt x="22" y="160"/>
                    </a:lnTo>
                    <a:lnTo>
                      <a:pt x="26" y="164"/>
                    </a:lnTo>
                    <a:lnTo>
                      <a:pt x="26" y="164"/>
                    </a:lnTo>
                    <a:lnTo>
                      <a:pt x="26" y="164"/>
                    </a:lnTo>
                    <a:close/>
                    <a:moveTo>
                      <a:pt x="74" y="212"/>
                    </a:moveTo>
                    <a:lnTo>
                      <a:pt x="74" y="216"/>
                    </a:lnTo>
                    <a:lnTo>
                      <a:pt x="74" y="220"/>
                    </a:lnTo>
                    <a:lnTo>
                      <a:pt x="74" y="216"/>
                    </a:lnTo>
                    <a:lnTo>
                      <a:pt x="74" y="212"/>
                    </a:lnTo>
                    <a:lnTo>
                      <a:pt x="74" y="212"/>
                    </a:lnTo>
                    <a:lnTo>
                      <a:pt x="74" y="212"/>
                    </a:lnTo>
                    <a:close/>
                    <a:moveTo>
                      <a:pt x="34" y="220"/>
                    </a:moveTo>
                    <a:lnTo>
                      <a:pt x="34" y="224"/>
                    </a:lnTo>
                    <a:lnTo>
                      <a:pt x="30" y="224"/>
                    </a:lnTo>
                    <a:lnTo>
                      <a:pt x="34" y="220"/>
                    </a:lnTo>
                    <a:lnTo>
                      <a:pt x="34" y="220"/>
                    </a:lnTo>
                    <a:lnTo>
                      <a:pt x="34" y="220"/>
                    </a:lnTo>
                    <a:close/>
                    <a:moveTo>
                      <a:pt x="82" y="290"/>
                    </a:moveTo>
                    <a:lnTo>
                      <a:pt x="82" y="288"/>
                    </a:lnTo>
                    <a:lnTo>
                      <a:pt x="82" y="290"/>
                    </a:lnTo>
                    <a:lnTo>
                      <a:pt x="82" y="290"/>
                    </a:lnTo>
                    <a:lnTo>
                      <a:pt x="82" y="290"/>
                    </a:lnTo>
                    <a:close/>
                    <a:moveTo>
                      <a:pt x="86" y="328"/>
                    </a:moveTo>
                    <a:lnTo>
                      <a:pt x="82" y="328"/>
                    </a:lnTo>
                    <a:lnTo>
                      <a:pt x="86" y="328"/>
                    </a:lnTo>
                    <a:lnTo>
                      <a:pt x="86" y="324"/>
                    </a:lnTo>
                    <a:lnTo>
                      <a:pt x="86" y="328"/>
                    </a:lnTo>
                    <a:lnTo>
                      <a:pt x="86" y="328"/>
                    </a:lnTo>
                    <a:lnTo>
                      <a:pt x="86" y="328"/>
                    </a:lnTo>
                    <a:close/>
                    <a:moveTo>
                      <a:pt x="18" y="172"/>
                    </a:moveTo>
                    <a:lnTo>
                      <a:pt x="22" y="172"/>
                    </a:lnTo>
                    <a:lnTo>
                      <a:pt x="22" y="176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close/>
                    <a:moveTo>
                      <a:pt x="86" y="288"/>
                    </a:moveTo>
                    <a:lnTo>
                      <a:pt x="86" y="284"/>
                    </a:lnTo>
                    <a:lnTo>
                      <a:pt x="86" y="280"/>
                    </a:lnTo>
                    <a:lnTo>
                      <a:pt x="88" y="284"/>
                    </a:lnTo>
                    <a:lnTo>
                      <a:pt x="86" y="288"/>
                    </a:lnTo>
                    <a:lnTo>
                      <a:pt x="86" y="288"/>
                    </a:lnTo>
                    <a:lnTo>
                      <a:pt x="86" y="288"/>
                    </a:lnTo>
                    <a:close/>
                    <a:moveTo>
                      <a:pt x="82" y="288"/>
                    </a:move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88"/>
                    </a:lnTo>
                    <a:lnTo>
                      <a:pt x="82" y="288"/>
                    </a:lnTo>
                    <a:close/>
                    <a:moveTo>
                      <a:pt x="88" y="290"/>
                    </a:moveTo>
                    <a:lnTo>
                      <a:pt x="88" y="294"/>
                    </a:lnTo>
                    <a:lnTo>
                      <a:pt x="88" y="290"/>
                    </a:lnTo>
                    <a:lnTo>
                      <a:pt x="88" y="290"/>
                    </a:lnTo>
                    <a:lnTo>
                      <a:pt x="88" y="290"/>
                    </a:lnTo>
                    <a:close/>
                    <a:moveTo>
                      <a:pt x="86" y="298"/>
                    </a:moveTo>
                    <a:lnTo>
                      <a:pt x="86" y="294"/>
                    </a:lnTo>
                    <a:lnTo>
                      <a:pt x="88" y="294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298"/>
                    </a:lnTo>
                    <a:lnTo>
                      <a:pt x="86" y="298"/>
                    </a:lnTo>
                    <a:close/>
                    <a:moveTo>
                      <a:pt x="86" y="302"/>
                    </a:moveTo>
                    <a:lnTo>
                      <a:pt x="86" y="298"/>
                    </a:lnTo>
                    <a:lnTo>
                      <a:pt x="86" y="294"/>
                    </a:lnTo>
                    <a:lnTo>
                      <a:pt x="86" y="298"/>
                    </a:lnTo>
                    <a:lnTo>
                      <a:pt x="86" y="302"/>
                    </a:lnTo>
                    <a:lnTo>
                      <a:pt x="86" y="302"/>
                    </a:lnTo>
                    <a:lnTo>
                      <a:pt x="86" y="302"/>
                    </a:lnTo>
                    <a:close/>
                    <a:moveTo>
                      <a:pt x="86" y="314"/>
                    </a:moveTo>
                    <a:lnTo>
                      <a:pt x="82" y="310"/>
                    </a:lnTo>
                    <a:lnTo>
                      <a:pt x="82" y="314"/>
                    </a:lnTo>
                    <a:lnTo>
                      <a:pt x="82" y="310"/>
                    </a:lnTo>
                    <a:lnTo>
                      <a:pt x="86" y="310"/>
                    </a:lnTo>
                    <a:lnTo>
                      <a:pt x="86" y="314"/>
                    </a:lnTo>
                    <a:lnTo>
                      <a:pt x="86" y="314"/>
                    </a:lnTo>
                    <a:lnTo>
                      <a:pt x="86" y="3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4" name="Freeform 43">
                <a:extLst>
                  <a:ext uri="{FF2B5EF4-FFF2-40B4-BE49-F238E27FC236}">
                    <a16:creationId xmlns:a16="http://schemas.microsoft.com/office/drawing/2014/main" id="{0A4D3136-D66F-44AA-95B8-D1C1415980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91250" y="3717993"/>
                <a:ext cx="184150" cy="117475"/>
              </a:xfrm>
              <a:custGeom>
                <a:avLst/>
                <a:gdLst>
                  <a:gd name="T0" fmla="*/ 34 w 116"/>
                  <a:gd name="T1" fmla="*/ 48 h 74"/>
                  <a:gd name="T2" fmla="*/ 30 w 116"/>
                  <a:gd name="T3" fmla="*/ 44 h 74"/>
                  <a:gd name="T4" fmla="*/ 26 w 116"/>
                  <a:gd name="T5" fmla="*/ 44 h 74"/>
                  <a:gd name="T6" fmla="*/ 20 w 116"/>
                  <a:gd name="T7" fmla="*/ 40 h 74"/>
                  <a:gd name="T8" fmla="*/ 16 w 116"/>
                  <a:gd name="T9" fmla="*/ 36 h 74"/>
                  <a:gd name="T10" fmla="*/ 8 w 116"/>
                  <a:gd name="T11" fmla="*/ 30 h 74"/>
                  <a:gd name="T12" fmla="*/ 4 w 116"/>
                  <a:gd name="T13" fmla="*/ 30 h 74"/>
                  <a:gd name="T14" fmla="*/ 0 w 116"/>
                  <a:gd name="T15" fmla="*/ 22 h 74"/>
                  <a:gd name="T16" fmla="*/ 0 w 116"/>
                  <a:gd name="T17" fmla="*/ 18 h 74"/>
                  <a:gd name="T18" fmla="*/ 4 w 116"/>
                  <a:gd name="T19" fmla="*/ 14 h 74"/>
                  <a:gd name="T20" fmla="*/ 8 w 116"/>
                  <a:gd name="T21" fmla="*/ 10 h 74"/>
                  <a:gd name="T22" fmla="*/ 8 w 116"/>
                  <a:gd name="T23" fmla="*/ 6 h 74"/>
                  <a:gd name="T24" fmla="*/ 16 w 116"/>
                  <a:gd name="T25" fmla="*/ 4 h 74"/>
                  <a:gd name="T26" fmla="*/ 16 w 116"/>
                  <a:gd name="T27" fmla="*/ 6 h 74"/>
                  <a:gd name="T28" fmla="*/ 20 w 116"/>
                  <a:gd name="T29" fmla="*/ 0 h 74"/>
                  <a:gd name="T30" fmla="*/ 20 w 116"/>
                  <a:gd name="T31" fmla="*/ 0 h 74"/>
                  <a:gd name="T32" fmla="*/ 26 w 116"/>
                  <a:gd name="T33" fmla="*/ 0 h 74"/>
                  <a:gd name="T34" fmla="*/ 34 w 116"/>
                  <a:gd name="T35" fmla="*/ 6 h 74"/>
                  <a:gd name="T36" fmla="*/ 42 w 116"/>
                  <a:gd name="T37" fmla="*/ 10 h 74"/>
                  <a:gd name="T38" fmla="*/ 46 w 116"/>
                  <a:gd name="T39" fmla="*/ 14 h 74"/>
                  <a:gd name="T40" fmla="*/ 48 w 116"/>
                  <a:gd name="T41" fmla="*/ 22 h 74"/>
                  <a:gd name="T42" fmla="*/ 52 w 116"/>
                  <a:gd name="T43" fmla="*/ 22 h 74"/>
                  <a:gd name="T44" fmla="*/ 56 w 116"/>
                  <a:gd name="T45" fmla="*/ 22 h 74"/>
                  <a:gd name="T46" fmla="*/ 60 w 116"/>
                  <a:gd name="T47" fmla="*/ 26 h 74"/>
                  <a:gd name="T48" fmla="*/ 64 w 116"/>
                  <a:gd name="T49" fmla="*/ 30 h 74"/>
                  <a:gd name="T50" fmla="*/ 68 w 116"/>
                  <a:gd name="T51" fmla="*/ 32 h 74"/>
                  <a:gd name="T52" fmla="*/ 72 w 116"/>
                  <a:gd name="T53" fmla="*/ 32 h 74"/>
                  <a:gd name="T54" fmla="*/ 72 w 116"/>
                  <a:gd name="T55" fmla="*/ 36 h 74"/>
                  <a:gd name="T56" fmla="*/ 74 w 116"/>
                  <a:gd name="T57" fmla="*/ 36 h 74"/>
                  <a:gd name="T58" fmla="*/ 82 w 116"/>
                  <a:gd name="T59" fmla="*/ 40 h 74"/>
                  <a:gd name="T60" fmla="*/ 82 w 116"/>
                  <a:gd name="T61" fmla="*/ 44 h 74"/>
                  <a:gd name="T62" fmla="*/ 86 w 116"/>
                  <a:gd name="T63" fmla="*/ 40 h 74"/>
                  <a:gd name="T64" fmla="*/ 90 w 116"/>
                  <a:gd name="T65" fmla="*/ 44 h 74"/>
                  <a:gd name="T66" fmla="*/ 94 w 116"/>
                  <a:gd name="T67" fmla="*/ 40 h 74"/>
                  <a:gd name="T68" fmla="*/ 98 w 116"/>
                  <a:gd name="T69" fmla="*/ 44 h 74"/>
                  <a:gd name="T70" fmla="*/ 100 w 116"/>
                  <a:gd name="T71" fmla="*/ 44 h 74"/>
                  <a:gd name="T72" fmla="*/ 108 w 116"/>
                  <a:gd name="T73" fmla="*/ 48 h 74"/>
                  <a:gd name="T74" fmla="*/ 108 w 116"/>
                  <a:gd name="T75" fmla="*/ 44 h 74"/>
                  <a:gd name="T76" fmla="*/ 112 w 116"/>
                  <a:gd name="T77" fmla="*/ 44 h 74"/>
                  <a:gd name="T78" fmla="*/ 116 w 116"/>
                  <a:gd name="T79" fmla="*/ 48 h 74"/>
                  <a:gd name="T80" fmla="*/ 112 w 116"/>
                  <a:gd name="T81" fmla="*/ 56 h 74"/>
                  <a:gd name="T82" fmla="*/ 112 w 116"/>
                  <a:gd name="T83" fmla="*/ 62 h 74"/>
                  <a:gd name="T84" fmla="*/ 112 w 116"/>
                  <a:gd name="T85" fmla="*/ 70 h 74"/>
                  <a:gd name="T86" fmla="*/ 112 w 116"/>
                  <a:gd name="T87" fmla="*/ 70 h 74"/>
                  <a:gd name="T88" fmla="*/ 108 w 116"/>
                  <a:gd name="T89" fmla="*/ 70 h 74"/>
                  <a:gd name="T90" fmla="*/ 104 w 116"/>
                  <a:gd name="T91" fmla="*/ 70 h 74"/>
                  <a:gd name="T92" fmla="*/ 98 w 116"/>
                  <a:gd name="T93" fmla="*/ 70 h 74"/>
                  <a:gd name="T94" fmla="*/ 90 w 116"/>
                  <a:gd name="T95" fmla="*/ 70 h 74"/>
                  <a:gd name="T96" fmla="*/ 86 w 116"/>
                  <a:gd name="T97" fmla="*/ 66 h 74"/>
                  <a:gd name="T98" fmla="*/ 78 w 116"/>
                  <a:gd name="T99" fmla="*/ 66 h 74"/>
                  <a:gd name="T100" fmla="*/ 78 w 116"/>
                  <a:gd name="T101" fmla="*/ 62 h 74"/>
                  <a:gd name="T102" fmla="*/ 74 w 116"/>
                  <a:gd name="T103" fmla="*/ 66 h 74"/>
                  <a:gd name="T104" fmla="*/ 68 w 116"/>
                  <a:gd name="T105" fmla="*/ 60 h 74"/>
                  <a:gd name="T106" fmla="*/ 64 w 116"/>
                  <a:gd name="T107" fmla="*/ 60 h 74"/>
                  <a:gd name="T108" fmla="*/ 64 w 116"/>
                  <a:gd name="T109" fmla="*/ 56 h 74"/>
                  <a:gd name="T110" fmla="*/ 56 w 116"/>
                  <a:gd name="T111" fmla="*/ 52 h 74"/>
                  <a:gd name="T112" fmla="*/ 52 w 116"/>
                  <a:gd name="T113" fmla="*/ 56 h 74"/>
                  <a:gd name="T114" fmla="*/ 48 w 116"/>
                  <a:gd name="T115" fmla="*/ 52 h 74"/>
                  <a:gd name="T116" fmla="*/ 46 w 116"/>
                  <a:gd name="T117" fmla="*/ 56 h 74"/>
                  <a:gd name="T118" fmla="*/ 46 w 116"/>
                  <a:gd name="T119" fmla="*/ 52 h 74"/>
                  <a:gd name="T120" fmla="*/ 38 w 116"/>
                  <a:gd name="T121" fmla="*/ 52 h 74"/>
                  <a:gd name="T122" fmla="*/ 38 w 116"/>
                  <a:gd name="T123" fmla="*/ 4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16" h="74">
                    <a:moveTo>
                      <a:pt x="38" y="48"/>
                    </a:moveTo>
                    <a:lnTo>
                      <a:pt x="38" y="48"/>
                    </a:lnTo>
                    <a:lnTo>
                      <a:pt x="38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6"/>
                    </a:lnTo>
                    <a:lnTo>
                      <a:pt x="30" y="4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0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0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0"/>
                    </a:lnTo>
                    <a:lnTo>
                      <a:pt x="86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4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2"/>
                    </a:lnTo>
                    <a:lnTo>
                      <a:pt x="116" y="62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12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8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4" y="70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66"/>
                    </a:lnTo>
                    <a:lnTo>
                      <a:pt x="82" y="70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6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4" y="62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4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68" y="62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6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5" name="Freeform 44">
                <a:extLst>
                  <a:ext uri="{FF2B5EF4-FFF2-40B4-BE49-F238E27FC236}">
                    <a16:creationId xmlns:a16="http://schemas.microsoft.com/office/drawing/2014/main" id="{69EE5195-0C77-4B91-94B0-512007C0AA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185025" y="3340168"/>
                <a:ext cx="142875" cy="158750"/>
              </a:xfrm>
              <a:custGeom>
                <a:avLst/>
                <a:gdLst>
                  <a:gd name="T0" fmla="*/ 46 w 90"/>
                  <a:gd name="T1" fmla="*/ 72 h 100"/>
                  <a:gd name="T2" fmla="*/ 52 w 90"/>
                  <a:gd name="T3" fmla="*/ 76 h 100"/>
                  <a:gd name="T4" fmla="*/ 56 w 90"/>
                  <a:gd name="T5" fmla="*/ 80 h 100"/>
                  <a:gd name="T6" fmla="*/ 56 w 90"/>
                  <a:gd name="T7" fmla="*/ 84 h 100"/>
                  <a:gd name="T8" fmla="*/ 56 w 90"/>
                  <a:gd name="T9" fmla="*/ 88 h 100"/>
                  <a:gd name="T10" fmla="*/ 52 w 90"/>
                  <a:gd name="T11" fmla="*/ 88 h 100"/>
                  <a:gd name="T12" fmla="*/ 42 w 90"/>
                  <a:gd name="T13" fmla="*/ 88 h 100"/>
                  <a:gd name="T14" fmla="*/ 38 w 90"/>
                  <a:gd name="T15" fmla="*/ 92 h 100"/>
                  <a:gd name="T16" fmla="*/ 34 w 90"/>
                  <a:gd name="T17" fmla="*/ 100 h 100"/>
                  <a:gd name="T18" fmla="*/ 26 w 90"/>
                  <a:gd name="T19" fmla="*/ 96 h 100"/>
                  <a:gd name="T20" fmla="*/ 22 w 90"/>
                  <a:gd name="T21" fmla="*/ 100 h 100"/>
                  <a:gd name="T22" fmla="*/ 20 w 90"/>
                  <a:gd name="T23" fmla="*/ 96 h 100"/>
                  <a:gd name="T24" fmla="*/ 20 w 90"/>
                  <a:gd name="T25" fmla="*/ 96 h 100"/>
                  <a:gd name="T26" fmla="*/ 16 w 90"/>
                  <a:gd name="T27" fmla="*/ 100 h 100"/>
                  <a:gd name="T28" fmla="*/ 16 w 90"/>
                  <a:gd name="T29" fmla="*/ 96 h 100"/>
                  <a:gd name="T30" fmla="*/ 12 w 90"/>
                  <a:gd name="T31" fmla="*/ 96 h 100"/>
                  <a:gd name="T32" fmla="*/ 12 w 90"/>
                  <a:gd name="T33" fmla="*/ 96 h 100"/>
                  <a:gd name="T34" fmla="*/ 12 w 90"/>
                  <a:gd name="T35" fmla="*/ 92 h 100"/>
                  <a:gd name="T36" fmla="*/ 4 w 90"/>
                  <a:gd name="T37" fmla="*/ 92 h 100"/>
                  <a:gd name="T38" fmla="*/ 8 w 90"/>
                  <a:gd name="T39" fmla="*/ 84 h 100"/>
                  <a:gd name="T40" fmla="*/ 16 w 90"/>
                  <a:gd name="T41" fmla="*/ 80 h 100"/>
                  <a:gd name="T42" fmla="*/ 20 w 90"/>
                  <a:gd name="T43" fmla="*/ 84 h 100"/>
                  <a:gd name="T44" fmla="*/ 12 w 90"/>
                  <a:gd name="T45" fmla="*/ 80 h 100"/>
                  <a:gd name="T46" fmla="*/ 12 w 90"/>
                  <a:gd name="T47" fmla="*/ 72 h 100"/>
                  <a:gd name="T48" fmla="*/ 16 w 90"/>
                  <a:gd name="T49" fmla="*/ 70 h 100"/>
                  <a:gd name="T50" fmla="*/ 16 w 90"/>
                  <a:gd name="T51" fmla="*/ 66 h 100"/>
                  <a:gd name="T52" fmla="*/ 4 w 90"/>
                  <a:gd name="T53" fmla="*/ 62 h 100"/>
                  <a:gd name="T54" fmla="*/ 4 w 90"/>
                  <a:gd name="T55" fmla="*/ 58 h 100"/>
                  <a:gd name="T56" fmla="*/ 0 w 90"/>
                  <a:gd name="T57" fmla="*/ 54 h 100"/>
                  <a:gd name="T58" fmla="*/ 4 w 90"/>
                  <a:gd name="T59" fmla="*/ 50 h 100"/>
                  <a:gd name="T60" fmla="*/ 12 w 90"/>
                  <a:gd name="T61" fmla="*/ 44 h 100"/>
                  <a:gd name="T62" fmla="*/ 20 w 90"/>
                  <a:gd name="T63" fmla="*/ 44 h 100"/>
                  <a:gd name="T64" fmla="*/ 26 w 90"/>
                  <a:gd name="T65" fmla="*/ 32 h 100"/>
                  <a:gd name="T66" fmla="*/ 30 w 90"/>
                  <a:gd name="T67" fmla="*/ 28 h 100"/>
                  <a:gd name="T68" fmla="*/ 34 w 90"/>
                  <a:gd name="T69" fmla="*/ 24 h 100"/>
                  <a:gd name="T70" fmla="*/ 38 w 90"/>
                  <a:gd name="T71" fmla="*/ 24 h 100"/>
                  <a:gd name="T72" fmla="*/ 48 w 90"/>
                  <a:gd name="T73" fmla="*/ 28 h 100"/>
                  <a:gd name="T74" fmla="*/ 52 w 90"/>
                  <a:gd name="T75" fmla="*/ 28 h 100"/>
                  <a:gd name="T76" fmla="*/ 56 w 90"/>
                  <a:gd name="T77" fmla="*/ 24 h 100"/>
                  <a:gd name="T78" fmla="*/ 56 w 90"/>
                  <a:gd name="T79" fmla="*/ 16 h 100"/>
                  <a:gd name="T80" fmla="*/ 60 w 90"/>
                  <a:gd name="T81" fmla="*/ 16 h 100"/>
                  <a:gd name="T82" fmla="*/ 68 w 90"/>
                  <a:gd name="T83" fmla="*/ 16 h 100"/>
                  <a:gd name="T84" fmla="*/ 72 w 90"/>
                  <a:gd name="T85" fmla="*/ 10 h 100"/>
                  <a:gd name="T86" fmla="*/ 74 w 90"/>
                  <a:gd name="T87" fmla="*/ 6 h 100"/>
                  <a:gd name="T88" fmla="*/ 78 w 90"/>
                  <a:gd name="T89" fmla="*/ 0 h 100"/>
                  <a:gd name="T90" fmla="*/ 82 w 90"/>
                  <a:gd name="T91" fmla="*/ 2 h 100"/>
                  <a:gd name="T92" fmla="*/ 90 w 90"/>
                  <a:gd name="T93" fmla="*/ 10 h 100"/>
                  <a:gd name="T94" fmla="*/ 90 w 90"/>
                  <a:gd name="T95" fmla="*/ 14 h 100"/>
                  <a:gd name="T96" fmla="*/ 82 w 90"/>
                  <a:gd name="T97" fmla="*/ 16 h 100"/>
                  <a:gd name="T98" fmla="*/ 74 w 90"/>
                  <a:gd name="T99" fmla="*/ 24 h 100"/>
                  <a:gd name="T100" fmla="*/ 74 w 90"/>
                  <a:gd name="T101" fmla="*/ 28 h 100"/>
                  <a:gd name="T102" fmla="*/ 74 w 90"/>
                  <a:gd name="T103" fmla="*/ 36 h 100"/>
                  <a:gd name="T104" fmla="*/ 74 w 90"/>
                  <a:gd name="T105" fmla="*/ 40 h 100"/>
                  <a:gd name="T106" fmla="*/ 68 w 90"/>
                  <a:gd name="T107" fmla="*/ 46 h 100"/>
                  <a:gd name="T108" fmla="*/ 64 w 90"/>
                  <a:gd name="T109" fmla="*/ 46 h 100"/>
                  <a:gd name="T110" fmla="*/ 52 w 90"/>
                  <a:gd name="T111" fmla="*/ 54 h 100"/>
                  <a:gd name="T112" fmla="*/ 48 w 90"/>
                  <a:gd name="T113" fmla="*/ 58 h 100"/>
                  <a:gd name="T114" fmla="*/ 46 w 90"/>
                  <a:gd name="T115" fmla="*/ 66 h 100"/>
                  <a:gd name="T116" fmla="*/ 46 w 90"/>
                  <a:gd name="T117" fmla="*/ 70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100">
                    <a:moveTo>
                      <a:pt x="46" y="70"/>
                    </a:moveTo>
                    <a:lnTo>
                      <a:pt x="46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48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6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42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88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8" y="92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100"/>
                    </a:lnTo>
                    <a:lnTo>
                      <a:pt x="22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0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6" y="36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42" y="24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2"/>
                    </a:lnTo>
                    <a:lnTo>
                      <a:pt x="78" y="2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6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2" y="14"/>
                    </a:lnTo>
                    <a:lnTo>
                      <a:pt x="82" y="16"/>
                    </a:lnTo>
                    <a:lnTo>
                      <a:pt x="78" y="16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8" y="20"/>
                    </a:lnTo>
                    <a:lnTo>
                      <a:pt x="74" y="20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4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4" y="28"/>
                    </a:lnTo>
                    <a:lnTo>
                      <a:pt x="78" y="28"/>
                    </a:lnTo>
                    <a:lnTo>
                      <a:pt x="78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36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74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4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8" y="58"/>
                    </a:lnTo>
                    <a:lnTo>
                      <a:pt x="46" y="58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2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6" y="66"/>
                    </a:lnTo>
                    <a:lnTo>
                      <a:pt x="46" y="70"/>
                    </a:lnTo>
                    <a:lnTo>
                      <a:pt x="46" y="70"/>
                    </a:lnTo>
                    <a:lnTo>
                      <a:pt x="46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6" name="Freeform 45">
                <a:extLst>
                  <a:ext uri="{FF2B5EF4-FFF2-40B4-BE49-F238E27FC236}">
                    <a16:creationId xmlns:a16="http://schemas.microsoft.com/office/drawing/2014/main" id="{35B562EC-2B31-407C-B0E8-9A07776E160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9425" y="3835468"/>
                <a:ext cx="177800" cy="273050"/>
              </a:xfrm>
              <a:custGeom>
                <a:avLst/>
                <a:gdLst>
                  <a:gd name="T0" fmla="*/ 62 w 112"/>
                  <a:gd name="T1" fmla="*/ 0 h 172"/>
                  <a:gd name="T2" fmla="*/ 62 w 112"/>
                  <a:gd name="T3" fmla="*/ 8 h 172"/>
                  <a:gd name="T4" fmla="*/ 60 w 112"/>
                  <a:gd name="T5" fmla="*/ 12 h 172"/>
                  <a:gd name="T6" fmla="*/ 60 w 112"/>
                  <a:gd name="T7" fmla="*/ 4 h 172"/>
                  <a:gd name="T8" fmla="*/ 60 w 112"/>
                  <a:gd name="T9" fmla="*/ 0 h 172"/>
                  <a:gd name="T10" fmla="*/ 62 w 112"/>
                  <a:gd name="T11" fmla="*/ 0 h 172"/>
                  <a:gd name="T12" fmla="*/ 48 w 112"/>
                  <a:gd name="T13" fmla="*/ 90 h 172"/>
                  <a:gd name="T14" fmla="*/ 48 w 112"/>
                  <a:gd name="T15" fmla="*/ 60 h 172"/>
                  <a:gd name="T16" fmla="*/ 48 w 112"/>
                  <a:gd name="T17" fmla="*/ 52 h 172"/>
                  <a:gd name="T18" fmla="*/ 52 w 112"/>
                  <a:gd name="T19" fmla="*/ 42 h 172"/>
                  <a:gd name="T20" fmla="*/ 56 w 112"/>
                  <a:gd name="T21" fmla="*/ 38 h 172"/>
                  <a:gd name="T22" fmla="*/ 56 w 112"/>
                  <a:gd name="T23" fmla="*/ 30 h 172"/>
                  <a:gd name="T24" fmla="*/ 56 w 112"/>
                  <a:gd name="T25" fmla="*/ 26 h 172"/>
                  <a:gd name="T26" fmla="*/ 60 w 112"/>
                  <a:gd name="T27" fmla="*/ 22 h 172"/>
                  <a:gd name="T28" fmla="*/ 60 w 112"/>
                  <a:gd name="T29" fmla="*/ 26 h 172"/>
                  <a:gd name="T30" fmla="*/ 62 w 112"/>
                  <a:gd name="T31" fmla="*/ 26 h 172"/>
                  <a:gd name="T32" fmla="*/ 62 w 112"/>
                  <a:gd name="T33" fmla="*/ 22 h 172"/>
                  <a:gd name="T34" fmla="*/ 66 w 112"/>
                  <a:gd name="T35" fmla="*/ 30 h 172"/>
                  <a:gd name="T36" fmla="*/ 70 w 112"/>
                  <a:gd name="T37" fmla="*/ 38 h 172"/>
                  <a:gd name="T38" fmla="*/ 74 w 112"/>
                  <a:gd name="T39" fmla="*/ 42 h 172"/>
                  <a:gd name="T40" fmla="*/ 86 w 112"/>
                  <a:gd name="T41" fmla="*/ 44 h 172"/>
                  <a:gd name="T42" fmla="*/ 88 w 112"/>
                  <a:gd name="T43" fmla="*/ 48 h 172"/>
                  <a:gd name="T44" fmla="*/ 92 w 112"/>
                  <a:gd name="T45" fmla="*/ 48 h 172"/>
                  <a:gd name="T46" fmla="*/ 100 w 112"/>
                  <a:gd name="T47" fmla="*/ 56 h 172"/>
                  <a:gd name="T48" fmla="*/ 104 w 112"/>
                  <a:gd name="T49" fmla="*/ 60 h 172"/>
                  <a:gd name="T50" fmla="*/ 108 w 112"/>
                  <a:gd name="T51" fmla="*/ 68 h 172"/>
                  <a:gd name="T52" fmla="*/ 112 w 112"/>
                  <a:gd name="T53" fmla="*/ 72 h 172"/>
                  <a:gd name="T54" fmla="*/ 108 w 112"/>
                  <a:gd name="T55" fmla="*/ 78 h 172"/>
                  <a:gd name="T56" fmla="*/ 104 w 112"/>
                  <a:gd name="T57" fmla="*/ 86 h 172"/>
                  <a:gd name="T58" fmla="*/ 96 w 112"/>
                  <a:gd name="T59" fmla="*/ 94 h 172"/>
                  <a:gd name="T60" fmla="*/ 92 w 112"/>
                  <a:gd name="T61" fmla="*/ 102 h 172"/>
                  <a:gd name="T62" fmla="*/ 88 w 112"/>
                  <a:gd name="T63" fmla="*/ 104 h 172"/>
                  <a:gd name="T64" fmla="*/ 88 w 112"/>
                  <a:gd name="T65" fmla="*/ 102 h 172"/>
                  <a:gd name="T66" fmla="*/ 86 w 112"/>
                  <a:gd name="T67" fmla="*/ 108 h 172"/>
                  <a:gd name="T68" fmla="*/ 82 w 112"/>
                  <a:gd name="T69" fmla="*/ 116 h 172"/>
                  <a:gd name="T70" fmla="*/ 82 w 112"/>
                  <a:gd name="T71" fmla="*/ 122 h 172"/>
                  <a:gd name="T72" fmla="*/ 82 w 112"/>
                  <a:gd name="T73" fmla="*/ 130 h 172"/>
                  <a:gd name="T74" fmla="*/ 74 w 112"/>
                  <a:gd name="T75" fmla="*/ 130 h 172"/>
                  <a:gd name="T76" fmla="*/ 70 w 112"/>
                  <a:gd name="T77" fmla="*/ 134 h 172"/>
                  <a:gd name="T78" fmla="*/ 66 w 112"/>
                  <a:gd name="T79" fmla="*/ 142 h 172"/>
                  <a:gd name="T80" fmla="*/ 62 w 112"/>
                  <a:gd name="T81" fmla="*/ 144 h 172"/>
                  <a:gd name="T82" fmla="*/ 60 w 112"/>
                  <a:gd name="T83" fmla="*/ 148 h 172"/>
                  <a:gd name="T84" fmla="*/ 52 w 112"/>
                  <a:gd name="T85" fmla="*/ 148 h 172"/>
                  <a:gd name="T86" fmla="*/ 48 w 112"/>
                  <a:gd name="T87" fmla="*/ 152 h 172"/>
                  <a:gd name="T88" fmla="*/ 48 w 112"/>
                  <a:gd name="T89" fmla="*/ 156 h 172"/>
                  <a:gd name="T90" fmla="*/ 44 w 112"/>
                  <a:gd name="T91" fmla="*/ 164 h 172"/>
                  <a:gd name="T92" fmla="*/ 36 w 112"/>
                  <a:gd name="T93" fmla="*/ 164 h 172"/>
                  <a:gd name="T94" fmla="*/ 30 w 112"/>
                  <a:gd name="T95" fmla="*/ 164 h 172"/>
                  <a:gd name="T96" fmla="*/ 22 w 112"/>
                  <a:gd name="T97" fmla="*/ 168 h 172"/>
                  <a:gd name="T98" fmla="*/ 10 w 112"/>
                  <a:gd name="T99" fmla="*/ 160 h 172"/>
                  <a:gd name="T100" fmla="*/ 96 w 112"/>
                  <a:gd name="T101" fmla="*/ 108 h 172"/>
                  <a:gd name="T102" fmla="*/ 96 w 112"/>
                  <a:gd name="T103" fmla="*/ 104 h 172"/>
                  <a:gd name="T104" fmla="*/ 96 w 112"/>
                  <a:gd name="T105" fmla="*/ 104 h 172"/>
                  <a:gd name="T106" fmla="*/ 100 w 112"/>
                  <a:gd name="T107" fmla="*/ 104 h 172"/>
                  <a:gd name="T108" fmla="*/ 96 w 112"/>
                  <a:gd name="T109" fmla="*/ 104 h 172"/>
                  <a:gd name="T110" fmla="*/ 96 w 112"/>
                  <a:gd name="T111" fmla="*/ 10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12" h="172">
                    <a:moveTo>
                      <a:pt x="62" y="0"/>
                    </a:move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2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close/>
                    <a:moveTo>
                      <a:pt x="48" y="90"/>
                    </a:moveTo>
                    <a:lnTo>
                      <a:pt x="52" y="7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2"/>
                    </a:lnTo>
                    <a:lnTo>
                      <a:pt x="112" y="74"/>
                    </a:lnTo>
                    <a:lnTo>
                      <a:pt x="112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8" y="82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4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98"/>
                    </a:lnTo>
                    <a:lnTo>
                      <a:pt x="96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2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8" y="102"/>
                    </a:lnTo>
                    <a:lnTo>
                      <a:pt x="86" y="102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6"/>
                    </a:lnTo>
                    <a:lnTo>
                      <a:pt x="82" y="118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70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38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2"/>
                    </a:lnTo>
                    <a:lnTo>
                      <a:pt x="66" y="144"/>
                    </a:lnTo>
                    <a:lnTo>
                      <a:pt x="66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4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2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6" y="148"/>
                    </a:lnTo>
                    <a:lnTo>
                      <a:pt x="52" y="148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48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56"/>
                    </a:lnTo>
                    <a:lnTo>
                      <a:pt x="48" y="160"/>
                    </a:lnTo>
                    <a:lnTo>
                      <a:pt x="48" y="160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4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30" y="164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22" y="168"/>
                    </a:lnTo>
                    <a:lnTo>
                      <a:pt x="18" y="168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8" y="172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0" y="130"/>
                    </a:lnTo>
                    <a:lnTo>
                      <a:pt x="44" y="112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close/>
                    <a:moveTo>
                      <a:pt x="96" y="108"/>
                    </a:move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2"/>
                    </a:lnTo>
                    <a:lnTo>
                      <a:pt x="96" y="102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7" name="Freeform 46">
                <a:extLst>
                  <a:ext uri="{FF2B5EF4-FFF2-40B4-BE49-F238E27FC236}">
                    <a16:creationId xmlns:a16="http://schemas.microsoft.com/office/drawing/2014/main" id="{0292516D-271E-4B37-B5ED-642AE935D5B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59450" y="3521143"/>
                <a:ext cx="374650" cy="384175"/>
              </a:xfrm>
              <a:custGeom>
                <a:avLst/>
                <a:gdLst>
                  <a:gd name="T0" fmla="*/ 54 w 236"/>
                  <a:gd name="T1" fmla="*/ 138 h 242"/>
                  <a:gd name="T2" fmla="*/ 76 w 236"/>
                  <a:gd name="T3" fmla="*/ 134 h 242"/>
                  <a:gd name="T4" fmla="*/ 80 w 236"/>
                  <a:gd name="T5" fmla="*/ 120 h 242"/>
                  <a:gd name="T6" fmla="*/ 86 w 236"/>
                  <a:gd name="T7" fmla="*/ 108 h 242"/>
                  <a:gd name="T8" fmla="*/ 98 w 236"/>
                  <a:gd name="T9" fmla="*/ 100 h 242"/>
                  <a:gd name="T10" fmla="*/ 116 w 236"/>
                  <a:gd name="T11" fmla="*/ 100 h 242"/>
                  <a:gd name="T12" fmla="*/ 120 w 236"/>
                  <a:gd name="T13" fmla="*/ 82 h 242"/>
                  <a:gd name="T14" fmla="*/ 128 w 236"/>
                  <a:gd name="T15" fmla="*/ 74 h 242"/>
                  <a:gd name="T16" fmla="*/ 132 w 236"/>
                  <a:gd name="T17" fmla="*/ 60 h 242"/>
                  <a:gd name="T18" fmla="*/ 142 w 236"/>
                  <a:gd name="T19" fmla="*/ 56 h 242"/>
                  <a:gd name="T20" fmla="*/ 146 w 236"/>
                  <a:gd name="T21" fmla="*/ 44 h 242"/>
                  <a:gd name="T22" fmla="*/ 154 w 236"/>
                  <a:gd name="T23" fmla="*/ 26 h 242"/>
                  <a:gd name="T24" fmla="*/ 146 w 236"/>
                  <a:gd name="T25" fmla="*/ 14 h 242"/>
                  <a:gd name="T26" fmla="*/ 166 w 236"/>
                  <a:gd name="T27" fmla="*/ 4 h 242"/>
                  <a:gd name="T28" fmla="*/ 188 w 236"/>
                  <a:gd name="T29" fmla="*/ 4 h 242"/>
                  <a:gd name="T30" fmla="*/ 206 w 236"/>
                  <a:gd name="T31" fmla="*/ 4 h 242"/>
                  <a:gd name="T32" fmla="*/ 212 w 236"/>
                  <a:gd name="T33" fmla="*/ 14 h 242"/>
                  <a:gd name="T34" fmla="*/ 224 w 236"/>
                  <a:gd name="T35" fmla="*/ 22 h 242"/>
                  <a:gd name="T36" fmla="*/ 236 w 236"/>
                  <a:gd name="T37" fmla="*/ 34 h 242"/>
                  <a:gd name="T38" fmla="*/ 228 w 236"/>
                  <a:gd name="T39" fmla="*/ 36 h 242"/>
                  <a:gd name="T40" fmla="*/ 216 w 236"/>
                  <a:gd name="T41" fmla="*/ 44 h 242"/>
                  <a:gd name="T42" fmla="*/ 196 w 236"/>
                  <a:gd name="T43" fmla="*/ 44 h 242"/>
                  <a:gd name="T44" fmla="*/ 188 w 236"/>
                  <a:gd name="T45" fmla="*/ 48 h 242"/>
                  <a:gd name="T46" fmla="*/ 188 w 236"/>
                  <a:gd name="T47" fmla="*/ 60 h 242"/>
                  <a:gd name="T48" fmla="*/ 192 w 236"/>
                  <a:gd name="T49" fmla="*/ 78 h 242"/>
                  <a:gd name="T50" fmla="*/ 206 w 236"/>
                  <a:gd name="T51" fmla="*/ 90 h 242"/>
                  <a:gd name="T52" fmla="*/ 196 w 236"/>
                  <a:gd name="T53" fmla="*/ 100 h 242"/>
                  <a:gd name="T54" fmla="*/ 196 w 236"/>
                  <a:gd name="T55" fmla="*/ 112 h 242"/>
                  <a:gd name="T56" fmla="*/ 188 w 236"/>
                  <a:gd name="T57" fmla="*/ 126 h 242"/>
                  <a:gd name="T58" fmla="*/ 172 w 236"/>
                  <a:gd name="T59" fmla="*/ 148 h 242"/>
                  <a:gd name="T60" fmla="*/ 162 w 236"/>
                  <a:gd name="T61" fmla="*/ 160 h 242"/>
                  <a:gd name="T62" fmla="*/ 146 w 236"/>
                  <a:gd name="T63" fmla="*/ 172 h 242"/>
                  <a:gd name="T64" fmla="*/ 136 w 236"/>
                  <a:gd name="T65" fmla="*/ 168 h 242"/>
                  <a:gd name="T66" fmla="*/ 124 w 236"/>
                  <a:gd name="T67" fmla="*/ 178 h 242"/>
                  <a:gd name="T68" fmla="*/ 132 w 236"/>
                  <a:gd name="T69" fmla="*/ 194 h 242"/>
                  <a:gd name="T70" fmla="*/ 138 w 236"/>
                  <a:gd name="T71" fmla="*/ 212 h 242"/>
                  <a:gd name="T72" fmla="*/ 142 w 236"/>
                  <a:gd name="T73" fmla="*/ 228 h 242"/>
                  <a:gd name="T74" fmla="*/ 138 w 236"/>
                  <a:gd name="T75" fmla="*/ 232 h 242"/>
                  <a:gd name="T76" fmla="*/ 120 w 236"/>
                  <a:gd name="T77" fmla="*/ 234 h 242"/>
                  <a:gd name="T78" fmla="*/ 110 w 236"/>
                  <a:gd name="T79" fmla="*/ 238 h 242"/>
                  <a:gd name="T80" fmla="*/ 102 w 236"/>
                  <a:gd name="T81" fmla="*/ 238 h 242"/>
                  <a:gd name="T82" fmla="*/ 90 w 236"/>
                  <a:gd name="T83" fmla="*/ 234 h 242"/>
                  <a:gd name="T84" fmla="*/ 82 w 236"/>
                  <a:gd name="T85" fmla="*/ 220 h 242"/>
                  <a:gd name="T86" fmla="*/ 80 w 236"/>
                  <a:gd name="T87" fmla="*/ 208 h 242"/>
                  <a:gd name="T88" fmla="*/ 60 w 236"/>
                  <a:gd name="T89" fmla="*/ 212 h 242"/>
                  <a:gd name="T90" fmla="*/ 50 w 236"/>
                  <a:gd name="T91" fmla="*/ 216 h 242"/>
                  <a:gd name="T92" fmla="*/ 38 w 236"/>
                  <a:gd name="T93" fmla="*/ 216 h 242"/>
                  <a:gd name="T94" fmla="*/ 16 w 236"/>
                  <a:gd name="T95" fmla="*/ 220 h 242"/>
                  <a:gd name="T96" fmla="*/ 16 w 236"/>
                  <a:gd name="T97" fmla="*/ 204 h 242"/>
                  <a:gd name="T98" fmla="*/ 20 w 236"/>
                  <a:gd name="T99" fmla="*/ 194 h 242"/>
                  <a:gd name="T100" fmla="*/ 34 w 236"/>
                  <a:gd name="T101" fmla="*/ 186 h 242"/>
                  <a:gd name="T102" fmla="*/ 26 w 236"/>
                  <a:gd name="T103" fmla="*/ 172 h 242"/>
                  <a:gd name="T104" fmla="*/ 16 w 236"/>
                  <a:gd name="T105" fmla="*/ 156 h 242"/>
                  <a:gd name="T106" fmla="*/ 0 w 236"/>
                  <a:gd name="T107" fmla="*/ 134 h 242"/>
                  <a:gd name="T108" fmla="*/ 34 w 236"/>
                  <a:gd name="T109" fmla="*/ 138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36" h="242">
                    <a:moveTo>
                      <a:pt x="34" y="138"/>
                    </a:moveTo>
                    <a:lnTo>
                      <a:pt x="38" y="138"/>
                    </a:lnTo>
                    <a:lnTo>
                      <a:pt x="42" y="138"/>
                    </a:lnTo>
                    <a:lnTo>
                      <a:pt x="46" y="142"/>
                    </a:lnTo>
                    <a:lnTo>
                      <a:pt x="50" y="138"/>
                    </a:lnTo>
                    <a:lnTo>
                      <a:pt x="54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80" y="130"/>
                    </a:lnTo>
                    <a:lnTo>
                      <a:pt x="76" y="130"/>
                    </a:lnTo>
                    <a:lnTo>
                      <a:pt x="76" y="126"/>
                    </a:lnTo>
                    <a:lnTo>
                      <a:pt x="80" y="126"/>
                    </a:lnTo>
                    <a:lnTo>
                      <a:pt x="80" y="122"/>
                    </a:lnTo>
                    <a:lnTo>
                      <a:pt x="80" y="120"/>
                    </a:lnTo>
                    <a:lnTo>
                      <a:pt x="80" y="112"/>
                    </a:lnTo>
                    <a:lnTo>
                      <a:pt x="82" y="112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6" y="104"/>
                    </a:lnTo>
                    <a:lnTo>
                      <a:pt x="86" y="108"/>
                    </a:lnTo>
                    <a:lnTo>
                      <a:pt x="90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8" y="104"/>
                    </a:lnTo>
                    <a:lnTo>
                      <a:pt x="94" y="100"/>
                    </a:lnTo>
                    <a:lnTo>
                      <a:pt x="98" y="100"/>
                    </a:lnTo>
                    <a:lnTo>
                      <a:pt x="102" y="100"/>
                    </a:lnTo>
                    <a:lnTo>
                      <a:pt x="106" y="96"/>
                    </a:lnTo>
                    <a:lnTo>
                      <a:pt x="110" y="96"/>
                    </a:lnTo>
                    <a:lnTo>
                      <a:pt x="112" y="96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96"/>
                    </a:lnTo>
                    <a:lnTo>
                      <a:pt x="120" y="96"/>
                    </a:lnTo>
                    <a:lnTo>
                      <a:pt x="120" y="92"/>
                    </a:lnTo>
                    <a:lnTo>
                      <a:pt x="120" y="90"/>
                    </a:lnTo>
                    <a:lnTo>
                      <a:pt x="120" y="86"/>
                    </a:lnTo>
                    <a:lnTo>
                      <a:pt x="120" y="82"/>
                    </a:lnTo>
                    <a:lnTo>
                      <a:pt x="124" y="82"/>
                    </a:lnTo>
                    <a:lnTo>
                      <a:pt x="124" y="78"/>
                    </a:lnTo>
                    <a:lnTo>
                      <a:pt x="120" y="78"/>
                    </a:lnTo>
                    <a:lnTo>
                      <a:pt x="124" y="78"/>
                    </a:lnTo>
                    <a:lnTo>
                      <a:pt x="124" y="74"/>
                    </a:lnTo>
                    <a:lnTo>
                      <a:pt x="128" y="74"/>
                    </a:lnTo>
                    <a:lnTo>
                      <a:pt x="132" y="70"/>
                    </a:lnTo>
                    <a:lnTo>
                      <a:pt x="136" y="70"/>
                    </a:lnTo>
                    <a:lnTo>
                      <a:pt x="136" y="66"/>
                    </a:lnTo>
                    <a:lnTo>
                      <a:pt x="132" y="66"/>
                    </a:lnTo>
                    <a:lnTo>
                      <a:pt x="132" y="62"/>
                    </a:lnTo>
                    <a:lnTo>
                      <a:pt x="132" y="60"/>
                    </a:lnTo>
                    <a:lnTo>
                      <a:pt x="128" y="60"/>
                    </a:lnTo>
                    <a:lnTo>
                      <a:pt x="128" y="56"/>
                    </a:lnTo>
                    <a:lnTo>
                      <a:pt x="132" y="56"/>
                    </a:lnTo>
                    <a:lnTo>
                      <a:pt x="136" y="56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6" y="56"/>
                    </a:lnTo>
                    <a:lnTo>
                      <a:pt x="146" y="52"/>
                    </a:lnTo>
                    <a:lnTo>
                      <a:pt x="146" y="48"/>
                    </a:lnTo>
                    <a:lnTo>
                      <a:pt x="142" y="48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0"/>
                    </a:lnTo>
                    <a:lnTo>
                      <a:pt x="150" y="40"/>
                    </a:lnTo>
                    <a:lnTo>
                      <a:pt x="150" y="36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0" y="22"/>
                    </a:lnTo>
                    <a:lnTo>
                      <a:pt x="150" y="18"/>
                    </a:lnTo>
                    <a:lnTo>
                      <a:pt x="146" y="18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0"/>
                    </a:lnTo>
                    <a:lnTo>
                      <a:pt x="158" y="6"/>
                    </a:lnTo>
                    <a:lnTo>
                      <a:pt x="162" y="6"/>
                    </a:lnTo>
                    <a:lnTo>
                      <a:pt x="162" y="4"/>
                    </a:lnTo>
                    <a:lnTo>
                      <a:pt x="166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80" y="0"/>
                    </a:lnTo>
                    <a:lnTo>
                      <a:pt x="184" y="0"/>
                    </a:lnTo>
                    <a:lnTo>
                      <a:pt x="188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8" y="0"/>
                    </a:lnTo>
                    <a:lnTo>
                      <a:pt x="202" y="0"/>
                    </a:lnTo>
                    <a:lnTo>
                      <a:pt x="206" y="6"/>
                    </a:lnTo>
                    <a:lnTo>
                      <a:pt x="206" y="4"/>
                    </a:lnTo>
                    <a:lnTo>
                      <a:pt x="208" y="8"/>
                    </a:lnTo>
                    <a:lnTo>
                      <a:pt x="210" y="10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6" y="14"/>
                    </a:lnTo>
                    <a:lnTo>
                      <a:pt x="212" y="14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2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2"/>
                    </a:lnTo>
                    <a:lnTo>
                      <a:pt x="236" y="34"/>
                    </a:lnTo>
                    <a:lnTo>
                      <a:pt x="236" y="34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28" y="36"/>
                    </a:lnTo>
                    <a:lnTo>
                      <a:pt x="228" y="40"/>
                    </a:lnTo>
                    <a:lnTo>
                      <a:pt x="228" y="44"/>
                    </a:lnTo>
                    <a:lnTo>
                      <a:pt x="224" y="44"/>
                    </a:lnTo>
                    <a:lnTo>
                      <a:pt x="224" y="40"/>
                    </a:lnTo>
                    <a:lnTo>
                      <a:pt x="220" y="40"/>
                    </a:lnTo>
                    <a:lnTo>
                      <a:pt x="216" y="44"/>
                    </a:lnTo>
                    <a:lnTo>
                      <a:pt x="212" y="44"/>
                    </a:lnTo>
                    <a:lnTo>
                      <a:pt x="210" y="48"/>
                    </a:lnTo>
                    <a:lnTo>
                      <a:pt x="210" y="44"/>
                    </a:lnTo>
                    <a:lnTo>
                      <a:pt x="206" y="44"/>
                    </a:lnTo>
                    <a:lnTo>
                      <a:pt x="202" y="44"/>
                    </a:lnTo>
                    <a:lnTo>
                      <a:pt x="196" y="44"/>
                    </a:lnTo>
                    <a:lnTo>
                      <a:pt x="196" y="40"/>
                    </a:lnTo>
                    <a:lnTo>
                      <a:pt x="192" y="40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4" y="48"/>
                    </a:lnTo>
                    <a:lnTo>
                      <a:pt x="188" y="48"/>
                    </a:lnTo>
                    <a:lnTo>
                      <a:pt x="188" y="52"/>
                    </a:lnTo>
                    <a:lnTo>
                      <a:pt x="184" y="56"/>
                    </a:lnTo>
                    <a:lnTo>
                      <a:pt x="188" y="56"/>
                    </a:lnTo>
                    <a:lnTo>
                      <a:pt x="192" y="56"/>
                    </a:lnTo>
                    <a:lnTo>
                      <a:pt x="192" y="60"/>
                    </a:lnTo>
                    <a:lnTo>
                      <a:pt x="188" y="60"/>
                    </a:lnTo>
                    <a:lnTo>
                      <a:pt x="188" y="62"/>
                    </a:lnTo>
                    <a:lnTo>
                      <a:pt x="192" y="62"/>
                    </a:lnTo>
                    <a:lnTo>
                      <a:pt x="188" y="66"/>
                    </a:lnTo>
                    <a:lnTo>
                      <a:pt x="188" y="70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6" y="78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6" y="92"/>
                    </a:lnTo>
                    <a:lnTo>
                      <a:pt x="196" y="96"/>
                    </a:lnTo>
                    <a:lnTo>
                      <a:pt x="196" y="100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8" y="108"/>
                    </a:lnTo>
                    <a:lnTo>
                      <a:pt x="196" y="112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20"/>
                    </a:lnTo>
                    <a:lnTo>
                      <a:pt x="184" y="122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30"/>
                    </a:lnTo>
                    <a:lnTo>
                      <a:pt x="180" y="130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72" y="146"/>
                    </a:lnTo>
                    <a:lnTo>
                      <a:pt x="172" y="148"/>
                    </a:lnTo>
                    <a:lnTo>
                      <a:pt x="168" y="148"/>
                    </a:lnTo>
                    <a:lnTo>
                      <a:pt x="166" y="148"/>
                    </a:lnTo>
                    <a:lnTo>
                      <a:pt x="166" y="152"/>
                    </a:lnTo>
                    <a:lnTo>
                      <a:pt x="162" y="152"/>
                    </a:lnTo>
                    <a:lnTo>
                      <a:pt x="162" y="156"/>
                    </a:lnTo>
                    <a:lnTo>
                      <a:pt x="162" y="160"/>
                    </a:lnTo>
                    <a:lnTo>
                      <a:pt x="158" y="164"/>
                    </a:lnTo>
                    <a:lnTo>
                      <a:pt x="158" y="168"/>
                    </a:lnTo>
                    <a:lnTo>
                      <a:pt x="154" y="168"/>
                    </a:lnTo>
                    <a:lnTo>
                      <a:pt x="150" y="168"/>
                    </a:lnTo>
                    <a:lnTo>
                      <a:pt x="146" y="168"/>
                    </a:lnTo>
                    <a:lnTo>
                      <a:pt x="146" y="172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8" y="168"/>
                    </a:lnTo>
                    <a:lnTo>
                      <a:pt x="138" y="164"/>
                    </a:lnTo>
                    <a:lnTo>
                      <a:pt x="136" y="164"/>
                    </a:lnTo>
                    <a:lnTo>
                      <a:pt x="136" y="168"/>
                    </a:lnTo>
                    <a:lnTo>
                      <a:pt x="132" y="168"/>
                    </a:lnTo>
                    <a:lnTo>
                      <a:pt x="132" y="172"/>
                    </a:lnTo>
                    <a:lnTo>
                      <a:pt x="132" y="176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4" y="190"/>
                    </a:lnTo>
                    <a:lnTo>
                      <a:pt x="128" y="190"/>
                    </a:lnTo>
                    <a:lnTo>
                      <a:pt x="132" y="190"/>
                    </a:lnTo>
                    <a:lnTo>
                      <a:pt x="132" y="194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32" y="204"/>
                    </a:lnTo>
                    <a:lnTo>
                      <a:pt x="136" y="208"/>
                    </a:lnTo>
                    <a:lnTo>
                      <a:pt x="138" y="208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42" y="216"/>
                    </a:lnTo>
                    <a:lnTo>
                      <a:pt x="142" y="220"/>
                    </a:lnTo>
                    <a:lnTo>
                      <a:pt x="142" y="224"/>
                    </a:lnTo>
                    <a:lnTo>
                      <a:pt x="146" y="228"/>
                    </a:lnTo>
                    <a:lnTo>
                      <a:pt x="142" y="228"/>
                    </a:lnTo>
                    <a:lnTo>
                      <a:pt x="142" y="232"/>
                    </a:lnTo>
                    <a:lnTo>
                      <a:pt x="146" y="232"/>
                    </a:lnTo>
                    <a:lnTo>
                      <a:pt x="142" y="232"/>
                    </a:lnTo>
                    <a:lnTo>
                      <a:pt x="142" y="234"/>
                    </a:lnTo>
                    <a:lnTo>
                      <a:pt x="138" y="234"/>
                    </a:lnTo>
                    <a:lnTo>
                      <a:pt x="138" y="232"/>
                    </a:lnTo>
                    <a:lnTo>
                      <a:pt x="136" y="232"/>
                    </a:lnTo>
                    <a:lnTo>
                      <a:pt x="132" y="232"/>
                    </a:lnTo>
                    <a:lnTo>
                      <a:pt x="132" y="234"/>
                    </a:lnTo>
                    <a:lnTo>
                      <a:pt x="128" y="234"/>
                    </a:lnTo>
                    <a:lnTo>
                      <a:pt x="124" y="234"/>
                    </a:lnTo>
                    <a:lnTo>
                      <a:pt x="120" y="234"/>
                    </a:lnTo>
                    <a:lnTo>
                      <a:pt x="116" y="234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4"/>
                    </a:lnTo>
                    <a:lnTo>
                      <a:pt x="112" y="238"/>
                    </a:lnTo>
                    <a:lnTo>
                      <a:pt x="110" y="238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6" y="238"/>
                    </a:lnTo>
                    <a:lnTo>
                      <a:pt x="106" y="242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102" y="242"/>
                    </a:lnTo>
                    <a:lnTo>
                      <a:pt x="102" y="238"/>
                    </a:lnTo>
                    <a:lnTo>
                      <a:pt x="98" y="242"/>
                    </a:lnTo>
                    <a:lnTo>
                      <a:pt x="94" y="242"/>
                    </a:lnTo>
                    <a:lnTo>
                      <a:pt x="94" y="238"/>
                    </a:lnTo>
                    <a:lnTo>
                      <a:pt x="90" y="234"/>
                    </a:lnTo>
                    <a:lnTo>
                      <a:pt x="90" y="232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0"/>
                    </a:lnTo>
                    <a:lnTo>
                      <a:pt x="82" y="216"/>
                    </a:lnTo>
                    <a:lnTo>
                      <a:pt x="82" y="212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80" y="208"/>
                    </a:lnTo>
                    <a:lnTo>
                      <a:pt x="80" y="212"/>
                    </a:lnTo>
                    <a:lnTo>
                      <a:pt x="76" y="212"/>
                    </a:lnTo>
                    <a:lnTo>
                      <a:pt x="72" y="212"/>
                    </a:lnTo>
                    <a:lnTo>
                      <a:pt x="68" y="212"/>
                    </a:lnTo>
                    <a:lnTo>
                      <a:pt x="64" y="212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6" y="216"/>
                    </a:lnTo>
                    <a:lnTo>
                      <a:pt x="54" y="216"/>
                    </a:lnTo>
                    <a:lnTo>
                      <a:pt x="50" y="216"/>
                    </a:lnTo>
                    <a:lnTo>
                      <a:pt x="46" y="216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8" y="212"/>
                    </a:lnTo>
                    <a:lnTo>
                      <a:pt x="38" y="216"/>
                    </a:lnTo>
                    <a:lnTo>
                      <a:pt x="34" y="216"/>
                    </a:lnTo>
                    <a:lnTo>
                      <a:pt x="30" y="216"/>
                    </a:lnTo>
                    <a:lnTo>
                      <a:pt x="26" y="216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16" y="220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12" y="204"/>
                    </a:lnTo>
                    <a:lnTo>
                      <a:pt x="16" y="204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90"/>
                    </a:lnTo>
                    <a:lnTo>
                      <a:pt x="34" y="186"/>
                    </a:lnTo>
                    <a:lnTo>
                      <a:pt x="34" y="182"/>
                    </a:lnTo>
                    <a:lnTo>
                      <a:pt x="34" y="178"/>
                    </a:lnTo>
                    <a:lnTo>
                      <a:pt x="30" y="178"/>
                    </a:lnTo>
                    <a:lnTo>
                      <a:pt x="26" y="178"/>
                    </a:lnTo>
                    <a:lnTo>
                      <a:pt x="26" y="176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6" y="164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0" y="156"/>
                    </a:lnTo>
                    <a:lnTo>
                      <a:pt x="16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4" y="134"/>
                    </a:lnTo>
                    <a:lnTo>
                      <a:pt x="12" y="138"/>
                    </a:lnTo>
                    <a:lnTo>
                      <a:pt x="16" y="138"/>
                    </a:lnTo>
                    <a:lnTo>
                      <a:pt x="20" y="138"/>
                    </a:lnTo>
                    <a:lnTo>
                      <a:pt x="24" y="142"/>
                    </a:lnTo>
                    <a:lnTo>
                      <a:pt x="34" y="138"/>
                    </a:lnTo>
                    <a:lnTo>
                      <a:pt x="34" y="138"/>
                    </a:lnTo>
                    <a:lnTo>
                      <a:pt x="34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8" name="Freeform 47">
                <a:extLst>
                  <a:ext uri="{FF2B5EF4-FFF2-40B4-BE49-F238E27FC236}">
                    <a16:creationId xmlns:a16="http://schemas.microsoft.com/office/drawing/2014/main" id="{9CF78FA2-960A-4844-882C-FB2FAEFE36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02450" y="4095818"/>
                <a:ext cx="22225" cy="15875"/>
              </a:xfrm>
              <a:custGeom>
                <a:avLst/>
                <a:gdLst>
                  <a:gd name="T0" fmla="*/ 8 w 14"/>
                  <a:gd name="T1" fmla="*/ 0 h 10"/>
                  <a:gd name="T2" fmla="*/ 8 w 14"/>
                  <a:gd name="T3" fmla="*/ 0 h 10"/>
                  <a:gd name="T4" fmla="*/ 8 w 14"/>
                  <a:gd name="T5" fmla="*/ 0 h 10"/>
                  <a:gd name="T6" fmla="*/ 8 w 14"/>
                  <a:gd name="T7" fmla="*/ 0 h 10"/>
                  <a:gd name="T8" fmla="*/ 8 w 14"/>
                  <a:gd name="T9" fmla="*/ 0 h 10"/>
                  <a:gd name="T10" fmla="*/ 8 w 14"/>
                  <a:gd name="T11" fmla="*/ 0 h 10"/>
                  <a:gd name="T12" fmla="*/ 8 w 14"/>
                  <a:gd name="T13" fmla="*/ 0 h 10"/>
                  <a:gd name="T14" fmla="*/ 8 w 14"/>
                  <a:gd name="T15" fmla="*/ 0 h 10"/>
                  <a:gd name="T16" fmla="*/ 8 w 14"/>
                  <a:gd name="T17" fmla="*/ 0 h 10"/>
                  <a:gd name="T18" fmla="*/ 8 w 14"/>
                  <a:gd name="T19" fmla="*/ 0 h 10"/>
                  <a:gd name="T20" fmla="*/ 14 w 14"/>
                  <a:gd name="T21" fmla="*/ 6 h 10"/>
                  <a:gd name="T22" fmla="*/ 14 w 14"/>
                  <a:gd name="T23" fmla="*/ 6 h 10"/>
                  <a:gd name="T24" fmla="*/ 14 w 14"/>
                  <a:gd name="T25" fmla="*/ 6 h 10"/>
                  <a:gd name="T26" fmla="*/ 14 w 14"/>
                  <a:gd name="T27" fmla="*/ 6 h 10"/>
                  <a:gd name="T28" fmla="*/ 14 w 14"/>
                  <a:gd name="T29" fmla="*/ 6 h 10"/>
                  <a:gd name="T30" fmla="*/ 14 w 14"/>
                  <a:gd name="T31" fmla="*/ 6 h 10"/>
                  <a:gd name="T32" fmla="*/ 14 w 14"/>
                  <a:gd name="T33" fmla="*/ 6 h 10"/>
                  <a:gd name="T34" fmla="*/ 0 w 14"/>
                  <a:gd name="T35" fmla="*/ 10 h 10"/>
                  <a:gd name="T36" fmla="*/ 0 w 14"/>
                  <a:gd name="T37" fmla="*/ 10 h 10"/>
                  <a:gd name="T38" fmla="*/ 0 w 14"/>
                  <a:gd name="T39" fmla="*/ 10 h 10"/>
                  <a:gd name="T40" fmla="*/ 0 w 14"/>
                  <a:gd name="T41" fmla="*/ 10 h 10"/>
                  <a:gd name="T42" fmla="*/ 0 w 14"/>
                  <a:gd name="T43" fmla="*/ 10 h 10"/>
                  <a:gd name="T44" fmla="*/ 0 w 14"/>
                  <a:gd name="T45" fmla="*/ 10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" h="10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  <a:moveTo>
                      <a:pt x="14" y="6"/>
                    </a:move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close/>
                    <a:moveTo>
                      <a:pt x="0" y="10"/>
                    </a:move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09" name="Freeform 48">
                <a:extLst>
                  <a:ext uri="{FF2B5EF4-FFF2-40B4-BE49-F238E27FC236}">
                    <a16:creationId xmlns:a16="http://schemas.microsoft.com/office/drawing/2014/main" id="{34307795-9C1B-41F7-9340-9A36907AC6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9925" y="4041843"/>
                <a:ext cx="212725" cy="377825"/>
              </a:xfrm>
              <a:custGeom>
                <a:avLst/>
                <a:gdLst>
                  <a:gd name="T0" fmla="*/ 78 w 134"/>
                  <a:gd name="T1" fmla="*/ 150 h 238"/>
                  <a:gd name="T2" fmla="*/ 94 w 134"/>
                  <a:gd name="T3" fmla="*/ 172 h 238"/>
                  <a:gd name="T4" fmla="*/ 0 w 134"/>
                  <a:gd name="T5" fmla="*/ 194 h 238"/>
                  <a:gd name="T6" fmla="*/ 50 w 134"/>
                  <a:gd name="T7" fmla="*/ 220 h 238"/>
                  <a:gd name="T8" fmla="*/ 42 w 134"/>
                  <a:gd name="T9" fmla="*/ 48 h 238"/>
                  <a:gd name="T10" fmla="*/ 50 w 134"/>
                  <a:gd name="T11" fmla="*/ 10 h 238"/>
                  <a:gd name="T12" fmla="*/ 74 w 134"/>
                  <a:gd name="T13" fmla="*/ 10 h 238"/>
                  <a:gd name="T14" fmla="*/ 70 w 134"/>
                  <a:gd name="T15" fmla="*/ 48 h 238"/>
                  <a:gd name="T16" fmla="*/ 66 w 134"/>
                  <a:gd name="T17" fmla="*/ 70 h 238"/>
                  <a:gd name="T18" fmla="*/ 78 w 134"/>
                  <a:gd name="T19" fmla="*/ 82 h 238"/>
                  <a:gd name="T20" fmla="*/ 94 w 134"/>
                  <a:gd name="T21" fmla="*/ 90 h 238"/>
                  <a:gd name="T22" fmla="*/ 100 w 134"/>
                  <a:gd name="T23" fmla="*/ 100 h 238"/>
                  <a:gd name="T24" fmla="*/ 90 w 134"/>
                  <a:gd name="T25" fmla="*/ 100 h 238"/>
                  <a:gd name="T26" fmla="*/ 78 w 134"/>
                  <a:gd name="T27" fmla="*/ 100 h 238"/>
                  <a:gd name="T28" fmla="*/ 52 w 134"/>
                  <a:gd name="T29" fmla="*/ 90 h 238"/>
                  <a:gd name="T30" fmla="*/ 46 w 134"/>
                  <a:gd name="T31" fmla="*/ 74 h 238"/>
                  <a:gd name="T32" fmla="*/ 70 w 134"/>
                  <a:gd name="T33" fmla="*/ 70 h 238"/>
                  <a:gd name="T34" fmla="*/ 74 w 134"/>
                  <a:gd name="T35" fmla="*/ 70 h 238"/>
                  <a:gd name="T36" fmla="*/ 100 w 134"/>
                  <a:gd name="T37" fmla="*/ 86 h 238"/>
                  <a:gd name="T38" fmla="*/ 66 w 134"/>
                  <a:gd name="T39" fmla="*/ 96 h 238"/>
                  <a:gd name="T40" fmla="*/ 50 w 134"/>
                  <a:gd name="T41" fmla="*/ 100 h 238"/>
                  <a:gd name="T42" fmla="*/ 60 w 134"/>
                  <a:gd name="T43" fmla="*/ 116 h 238"/>
                  <a:gd name="T44" fmla="*/ 70 w 134"/>
                  <a:gd name="T45" fmla="*/ 120 h 238"/>
                  <a:gd name="T46" fmla="*/ 94 w 134"/>
                  <a:gd name="T47" fmla="*/ 108 h 238"/>
                  <a:gd name="T48" fmla="*/ 100 w 134"/>
                  <a:gd name="T49" fmla="*/ 124 h 238"/>
                  <a:gd name="T50" fmla="*/ 104 w 134"/>
                  <a:gd name="T51" fmla="*/ 116 h 238"/>
                  <a:gd name="T52" fmla="*/ 122 w 134"/>
                  <a:gd name="T53" fmla="*/ 134 h 238"/>
                  <a:gd name="T54" fmla="*/ 108 w 134"/>
                  <a:gd name="T55" fmla="*/ 120 h 238"/>
                  <a:gd name="T56" fmla="*/ 42 w 134"/>
                  <a:gd name="T57" fmla="*/ 116 h 238"/>
                  <a:gd name="T58" fmla="*/ 46 w 134"/>
                  <a:gd name="T59" fmla="*/ 126 h 238"/>
                  <a:gd name="T60" fmla="*/ 70 w 134"/>
                  <a:gd name="T61" fmla="*/ 146 h 238"/>
                  <a:gd name="T62" fmla="*/ 82 w 134"/>
                  <a:gd name="T63" fmla="*/ 130 h 238"/>
                  <a:gd name="T64" fmla="*/ 104 w 134"/>
                  <a:gd name="T65" fmla="*/ 130 h 238"/>
                  <a:gd name="T66" fmla="*/ 108 w 134"/>
                  <a:gd name="T67" fmla="*/ 134 h 238"/>
                  <a:gd name="T68" fmla="*/ 112 w 134"/>
                  <a:gd name="T69" fmla="*/ 152 h 238"/>
                  <a:gd name="T70" fmla="*/ 38 w 134"/>
                  <a:gd name="T71" fmla="*/ 150 h 238"/>
                  <a:gd name="T72" fmla="*/ 12 w 134"/>
                  <a:gd name="T73" fmla="*/ 176 h 238"/>
                  <a:gd name="T74" fmla="*/ 26 w 134"/>
                  <a:gd name="T75" fmla="*/ 152 h 238"/>
                  <a:gd name="T76" fmla="*/ 34 w 134"/>
                  <a:gd name="T77" fmla="*/ 134 h 238"/>
                  <a:gd name="T78" fmla="*/ 94 w 134"/>
                  <a:gd name="T79" fmla="*/ 152 h 238"/>
                  <a:gd name="T80" fmla="*/ 96 w 134"/>
                  <a:gd name="T81" fmla="*/ 152 h 238"/>
                  <a:gd name="T82" fmla="*/ 90 w 134"/>
                  <a:gd name="T83" fmla="*/ 156 h 238"/>
                  <a:gd name="T84" fmla="*/ 74 w 134"/>
                  <a:gd name="T85" fmla="*/ 160 h 238"/>
                  <a:gd name="T86" fmla="*/ 90 w 134"/>
                  <a:gd name="T87" fmla="*/ 146 h 238"/>
                  <a:gd name="T88" fmla="*/ 108 w 134"/>
                  <a:gd name="T89" fmla="*/ 152 h 238"/>
                  <a:gd name="T90" fmla="*/ 116 w 134"/>
                  <a:gd name="T91" fmla="*/ 156 h 238"/>
                  <a:gd name="T92" fmla="*/ 74 w 134"/>
                  <a:gd name="T93" fmla="*/ 202 h 238"/>
                  <a:gd name="T94" fmla="*/ 86 w 134"/>
                  <a:gd name="T95" fmla="*/ 186 h 238"/>
                  <a:gd name="T96" fmla="*/ 100 w 134"/>
                  <a:gd name="T97" fmla="*/ 186 h 238"/>
                  <a:gd name="T98" fmla="*/ 116 w 134"/>
                  <a:gd name="T99" fmla="*/ 176 h 238"/>
                  <a:gd name="T100" fmla="*/ 130 w 134"/>
                  <a:gd name="T101" fmla="*/ 172 h 238"/>
                  <a:gd name="T102" fmla="*/ 134 w 134"/>
                  <a:gd name="T103" fmla="*/ 202 h 238"/>
                  <a:gd name="T104" fmla="*/ 126 w 134"/>
                  <a:gd name="T105" fmla="*/ 202 h 238"/>
                  <a:gd name="T106" fmla="*/ 120 w 134"/>
                  <a:gd name="T107" fmla="*/ 232 h 238"/>
                  <a:gd name="T108" fmla="*/ 100 w 134"/>
                  <a:gd name="T109" fmla="*/ 208 h 238"/>
                  <a:gd name="T110" fmla="*/ 94 w 134"/>
                  <a:gd name="T111" fmla="*/ 194 h 238"/>
                  <a:gd name="T112" fmla="*/ 82 w 134"/>
                  <a:gd name="T113" fmla="*/ 198 h 238"/>
                  <a:gd name="T114" fmla="*/ 108 w 134"/>
                  <a:gd name="T115" fmla="*/ 172 h 238"/>
                  <a:gd name="T116" fmla="*/ 66 w 134"/>
                  <a:gd name="T117" fmla="*/ 212 h 238"/>
                  <a:gd name="T118" fmla="*/ 60 w 134"/>
                  <a:gd name="T119" fmla="*/ 228 h 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238">
                    <a:moveTo>
                      <a:pt x="112" y="130"/>
                    </a:moveTo>
                    <a:lnTo>
                      <a:pt x="112" y="126"/>
                    </a:lnTo>
                    <a:lnTo>
                      <a:pt x="108" y="126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12" y="130"/>
                    </a:lnTo>
                    <a:lnTo>
                      <a:pt x="112" y="130"/>
                    </a:lnTo>
                    <a:close/>
                    <a:moveTo>
                      <a:pt x="78" y="150"/>
                    </a:moveTo>
                    <a:lnTo>
                      <a:pt x="78" y="146"/>
                    </a:lnTo>
                    <a:lnTo>
                      <a:pt x="78" y="142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50"/>
                    </a:lnTo>
                    <a:lnTo>
                      <a:pt x="78" y="150"/>
                    </a:lnTo>
                    <a:lnTo>
                      <a:pt x="78" y="150"/>
                    </a:lnTo>
                    <a:close/>
                    <a:moveTo>
                      <a:pt x="42" y="150"/>
                    </a:moveTo>
                    <a:lnTo>
                      <a:pt x="42" y="146"/>
                    </a:lnTo>
                    <a:lnTo>
                      <a:pt x="38" y="146"/>
                    </a:lnTo>
                    <a:lnTo>
                      <a:pt x="42" y="146"/>
                    </a:lnTo>
                    <a:lnTo>
                      <a:pt x="42" y="150"/>
                    </a:lnTo>
                    <a:lnTo>
                      <a:pt x="42" y="150"/>
                    </a:lnTo>
                    <a:lnTo>
                      <a:pt x="42" y="150"/>
                    </a:lnTo>
                    <a:close/>
                    <a:moveTo>
                      <a:pt x="94" y="172"/>
                    </a:moveTo>
                    <a:lnTo>
                      <a:pt x="94" y="168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4" y="186"/>
                    </a:moveTo>
                    <a:lnTo>
                      <a:pt x="4" y="182"/>
                    </a:lnTo>
                    <a:lnTo>
                      <a:pt x="4" y="186"/>
                    </a:lnTo>
                    <a:lnTo>
                      <a:pt x="4" y="186"/>
                    </a:lnTo>
                    <a:lnTo>
                      <a:pt x="4" y="186"/>
                    </a:lnTo>
                    <a:close/>
                    <a:moveTo>
                      <a:pt x="0" y="194"/>
                    </a:moveTo>
                    <a:lnTo>
                      <a:pt x="0" y="190"/>
                    </a:lnTo>
                    <a:lnTo>
                      <a:pt x="0" y="186"/>
                    </a:lnTo>
                    <a:lnTo>
                      <a:pt x="0" y="190"/>
                    </a:lnTo>
                    <a:lnTo>
                      <a:pt x="0" y="194"/>
                    </a:lnTo>
                    <a:lnTo>
                      <a:pt x="0" y="194"/>
                    </a:lnTo>
                    <a:lnTo>
                      <a:pt x="0" y="194"/>
                    </a:lnTo>
                    <a:close/>
                    <a:moveTo>
                      <a:pt x="82" y="202"/>
                    </a:moveTo>
                    <a:lnTo>
                      <a:pt x="82" y="198"/>
                    </a:lnTo>
                    <a:lnTo>
                      <a:pt x="86" y="198"/>
                    </a:lnTo>
                    <a:lnTo>
                      <a:pt x="86" y="202"/>
                    </a:lnTo>
                    <a:lnTo>
                      <a:pt x="82" y="202"/>
                    </a:lnTo>
                    <a:lnTo>
                      <a:pt x="82" y="202"/>
                    </a:lnTo>
                    <a:lnTo>
                      <a:pt x="82" y="202"/>
                    </a:lnTo>
                    <a:close/>
                    <a:moveTo>
                      <a:pt x="50" y="220"/>
                    </a:moveTo>
                    <a:lnTo>
                      <a:pt x="50" y="216"/>
                    </a:lnTo>
                    <a:lnTo>
                      <a:pt x="52" y="216"/>
                    </a:lnTo>
                    <a:lnTo>
                      <a:pt x="52" y="220"/>
                    </a:lnTo>
                    <a:lnTo>
                      <a:pt x="50" y="220"/>
                    </a:lnTo>
                    <a:lnTo>
                      <a:pt x="50" y="220"/>
                    </a:lnTo>
                    <a:lnTo>
                      <a:pt x="50" y="220"/>
                    </a:lnTo>
                    <a:close/>
                    <a:moveTo>
                      <a:pt x="66" y="4"/>
                    </a:moveTo>
                    <a:lnTo>
                      <a:pt x="66" y="0"/>
                    </a:lnTo>
                    <a:lnTo>
                      <a:pt x="70" y="0"/>
                    </a:lnTo>
                    <a:lnTo>
                      <a:pt x="66" y="4"/>
                    </a:lnTo>
                    <a:lnTo>
                      <a:pt x="66" y="4"/>
                    </a:lnTo>
                    <a:lnTo>
                      <a:pt x="66" y="4"/>
                    </a:lnTo>
                    <a:close/>
                    <a:moveTo>
                      <a:pt x="42" y="56"/>
                    </a:move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4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50" y="48"/>
                    </a:lnTo>
                    <a:lnTo>
                      <a:pt x="50" y="44"/>
                    </a:lnTo>
                    <a:lnTo>
                      <a:pt x="50" y="40"/>
                    </a:lnTo>
                    <a:lnTo>
                      <a:pt x="50" y="38"/>
                    </a:lnTo>
                    <a:lnTo>
                      <a:pt x="50" y="34"/>
                    </a:lnTo>
                    <a:lnTo>
                      <a:pt x="50" y="30"/>
                    </a:lnTo>
                    <a:lnTo>
                      <a:pt x="50" y="26"/>
                    </a:lnTo>
                    <a:lnTo>
                      <a:pt x="50" y="22"/>
                    </a:lnTo>
                    <a:lnTo>
                      <a:pt x="50" y="18"/>
                    </a:lnTo>
                    <a:lnTo>
                      <a:pt x="50" y="14"/>
                    </a:lnTo>
                    <a:lnTo>
                      <a:pt x="50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4" y="14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4" y="40"/>
                    </a:lnTo>
                    <a:lnTo>
                      <a:pt x="74" y="44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70" y="52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0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6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6" y="70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78"/>
                    </a:lnTo>
                    <a:lnTo>
                      <a:pt x="82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94"/>
                    </a:lnTo>
                    <a:lnTo>
                      <a:pt x="86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96" y="94"/>
                    </a:lnTo>
                    <a:lnTo>
                      <a:pt x="96" y="90"/>
                    </a:lnTo>
                    <a:lnTo>
                      <a:pt x="94" y="90"/>
                    </a:lnTo>
                    <a:lnTo>
                      <a:pt x="94" y="94"/>
                    </a:lnTo>
                    <a:lnTo>
                      <a:pt x="94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4"/>
                    </a:lnTo>
                    <a:lnTo>
                      <a:pt x="100" y="108"/>
                    </a:lnTo>
                    <a:lnTo>
                      <a:pt x="100" y="112"/>
                    </a:lnTo>
                    <a:lnTo>
                      <a:pt x="96" y="112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100" y="104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90" y="96"/>
                    </a:lnTo>
                    <a:lnTo>
                      <a:pt x="86" y="96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6"/>
                    </a:lnTo>
                    <a:lnTo>
                      <a:pt x="82" y="96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96"/>
                    </a:lnTo>
                    <a:lnTo>
                      <a:pt x="78" y="94"/>
                    </a:lnTo>
                    <a:lnTo>
                      <a:pt x="74" y="94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6" y="86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86"/>
                    </a:lnTo>
                    <a:lnTo>
                      <a:pt x="52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50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0" y="78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46" y="70"/>
                    </a:lnTo>
                    <a:lnTo>
                      <a:pt x="46" y="66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2" y="56"/>
                    </a:lnTo>
                    <a:lnTo>
                      <a:pt x="42" y="56"/>
                    </a:lnTo>
                    <a:close/>
                    <a:moveTo>
                      <a:pt x="70" y="74"/>
                    </a:moveTo>
                    <a:lnTo>
                      <a:pt x="70" y="70"/>
                    </a:lnTo>
                    <a:lnTo>
                      <a:pt x="66" y="70"/>
                    </a:lnTo>
                    <a:lnTo>
                      <a:pt x="66" y="66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66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70" y="74"/>
                    </a:lnTo>
                    <a:lnTo>
                      <a:pt x="70" y="74"/>
                    </a:lnTo>
                    <a:close/>
                    <a:moveTo>
                      <a:pt x="74" y="74"/>
                    </a:moveTo>
                    <a:lnTo>
                      <a:pt x="74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4"/>
                    </a:lnTo>
                    <a:close/>
                    <a:moveTo>
                      <a:pt x="74" y="86"/>
                    </a:moveTo>
                    <a:lnTo>
                      <a:pt x="70" y="86"/>
                    </a:lnTo>
                    <a:lnTo>
                      <a:pt x="70" y="82"/>
                    </a:lnTo>
                    <a:lnTo>
                      <a:pt x="70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86"/>
                    </a:lnTo>
                    <a:lnTo>
                      <a:pt x="104" y="86"/>
                    </a:lnTo>
                    <a:lnTo>
                      <a:pt x="104" y="90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46" y="94"/>
                    </a:moveTo>
                    <a:lnTo>
                      <a:pt x="46" y="90"/>
                    </a:lnTo>
                    <a:lnTo>
                      <a:pt x="46" y="94"/>
                    </a:lnTo>
                    <a:lnTo>
                      <a:pt x="46" y="94"/>
                    </a:lnTo>
                    <a:lnTo>
                      <a:pt x="46" y="94"/>
                    </a:lnTo>
                    <a:close/>
                    <a:moveTo>
                      <a:pt x="70" y="100"/>
                    </a:moveTo>
                    <a:lnTo>
                      <a:pt x="66" y="96"/>
                    </a:lnTo>
                    <a:lnTo>
                      <a:pt x="70" y="94"/>
                    </a:lnTo>
                    <a:lnTo>
                      <a:pt x="70" y="96"/>
                    </a:lnTo>
                    <a:lnTo>
                      <a:pt x="74" y="96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close/>
                    <a:moveTo>
                      <a:pt x="56" y="116"/>
                    </a:moveTo>
                    <a:lnTo>
                      <a:pt x="56" y="112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0" y="100"/>
                    </a:lnTo>
                    <a:lnTo>
                      <a:pt x="50" y="96"/>
                    </a:lnTo>
                    <a:lnTo>
                      <a:pt x="50" y="94"/>
                    </a:lnTo>
                    <a:lnTo>
                      <a:pt x="52" y="94"/>
                    </a:lnTo>
                    <a:lnTo>
                      <a:pt x="52" y="96"/>
                    </a:lnTo>
                    <a:lnTo>
                      <a:pt x="56" y="94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16"/>
                    </a:lnTo>
                    <a:lnTo>
                      <a:pt x="60" y="116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6"/>
                    </a:lnTo>
                    <a:close/>
                    <a:moveTo>
                      <a:pt x="90" y="108"/>
                    </a:moveTo>
                    <a:lnTo>
                      <a:pt x="90" y="104"/>
                    </a:lnTo>
                    <a:lnTo>
                      <a:pt x="86" y="104"/>
                    </a:lnTo>
                    <a:lnTo>
                      <a:pt x="86" y="100"/>
                    </a:lnTo>
                    <a:lnTo>
                      <a:pt x="86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08"/>
                    </a:lnTo>
                    <a:lnTo>
                      <a:pt x="90" y="108"/>
                    </a:lnTo>
                    <a:close/>
                    <a:moveTo>
                      <a:pt x="70" y="120"/>
                    </a:move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20"/>
                    </a:lnTo>
                    <a:lnTo>
                      <a:pt x="70" y="120"/>
                    </a:lnTo>
                    <a:lnTo>
                      <a:pt x="70" y="120"/>
                    </a:lnTo>
                    <a:close/>
                    <a:moveTo>
                      <a:pt x="96" y="116"/>
                    </a:moveTo>
                    <a:lnTo>
                      <a:pt x="96" y="112"/>
                    </a:lnTo>
                    <a:lnTo>
                      <a:pt x="94" y="112"/>
                    </a:lnTo>
                    <a:lnTo>
                      <a:pt x="94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close/>
                    <a:moveTo>
                      <a:pt x="86" y="124"/>
                    </a:moveTo>
                    <a:lnTo>
                      <a:pt x="90" y="120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94" y="112"/>
                    </a:lnTo>
                    <a:lnTo>
                      <a:pt x="94" y="116"/>
                    </a:lnTo>
                    <a:lnTo>
                      <a:pt x="96" y="116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6"/>
                    </a:lnTo>
                    <a:lnTo>
                      <a:pt x="100" y="124"/>
                    </a:lnTo>
                    <a:lnTo>
                      <a:pt x="96" y="124"/>
                    </a:lnTo>
                    <a:lnTo>
                      <a:pt x="94" y="120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0" y="124"/>
                    </a:lnTo>
                    <a:lnTo>
                      <a:pt x="86" y="124"/>
                    </a:lnTo>
                    <a:lnTo>
                      <a:pt x="86" y="124"/>
                    </a:lnTo>
                    <a:lnTo>
                      <a:pt x="86" y="124"/>
                    </a:lnTo>
                    <a:close/>
                    <a:moveTo>
                      <a:pt x="104" y="120"/>
                    </a:moveTo>
                    <a:lnTo>
                      <a:pt x="104" y="116"/>
                    </a:lnTo>
                    <a:lnTo>
                      <a:pt x="104" y="112"/>
                    </a:lnTo>
                    <a:lnTo>
                      <a:pt x="108" y="112"/>
                    </a:lnTo>
                    <a:lnTo>
                      <a:pt x="112" y="112"/>
                    </a:lnTo>
                    <a:lnTo>
                      <a:pt x="116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22" y="130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22" y="134"/>
                    </a:lnTo>
                    <a:lnTo>
                      <a:pt x="122" y="138"/>
                    </a:lnTo>
                    <a:lnTo>
                      <a:pt x="122" y="134"/>
                    </a:lnTo>
                    <a:lnTo>
                      <a:pt x="120" y="134"/>
                    </a:lnTo>
                    <a:lnTo>
                      <a:pt x="116" y="134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6" y="126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close/>
                    <a:moveTo>
                      <a:pt x="78" y="116"/>
                    </a:moveTo>
                    <a:lnTo>
                      <a:pt x="78" y="112"/>
                    </a:lnTo>
                    <a:lnTo>
                      <a:pt x="82" y="112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78" y="116"/>
                    </a:lnTo>
                    <a:lnTo>
                      <a:pt x="78" y="116"/>
                    </a:lnTo>
                    <a:close/>
                    <a:moveTo>
                      <a:pt x="46" y="120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6" y="120"/>
                    </a:lnTo>
                    <a:lnTo>
                      <a:pt x="46" y="120"/>
                    </a:lnTo>
                    <a:close/>
                    <a:moveTo>
                      <a:pt x="42" y="126"/>
                    </a:moveTo>
                    <a:lnTo>
                      <a:pt x="42" y="124"/>
                    </a:lnTo>
                    <a:lnTo>
                      <a:pt x="42" y="120"/>
                    </a:lnTo>
                    <a:lnTo>
                      <a:pt x="42" y="124"/>
                    </a:lnTo>
                    <a:lnTo>
                      <a:pt x="46" y="124"/>
                    </a:lnTo>
                    <a:lnTo>
                      <a:pt x="46" y="126"/>
                    </a:lnTo>
                    <a:lnTo>
                      <a:pt x="42" y="126"/>
                    </a:lnTo>
                    <a:lnTo>
                      <a:pt x="42" y="126"/>
                    </a:lnTo>
                    <a:lnTo>
                      <a:pt x="42" y="126"/>
                    </a:lnTo>
                    <a:close/>
                    <a:moveTo>
                      <a:pt x="86" y="134"/>
                    </a:moveTo>
                    <a:lnTo>
                      <a:pt x="86" y="138"/>
                    </a:lnTo>
                    <a:lnTo>
                      <a:pt x="82" y="138"/>
                    </a:lnTo>
                    <a:lnTo>
                      <a:pt x="82" y="142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46"/>
                    </a:lnTo>
                    <a:lnTo>
                      <a:pt x="70" y="146"/>
                    </a:lnTo>
                    <a:lnTo>
                      <a:pt x="70" y="150"/>
                    </a:lnTo>
                    <a:lnTo>
                      <a:pt x="70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0" y="126"/>
                    </a:lnTo>
                    <a:lnTo>
                      <a:pt x="70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6"/>
                    </a:lnTo>
                    <a:lnTo>
                      <a:pt x="78" y="130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close/>
                    <a:moveTo>
                      <a:pt x="104" y="130"/>
                    </a:move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4" y="130"/>
                    </a:lnTo>
                    <a:lnTo>
                      <a:pt x="104" y="130"/>
                    </a:lnTo>
                    <a:close/>
                    <a:moveTo>
                      <a:pt x="108" y="146"/>
                    </a:move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4" y="134"/>
                    </a:lnTo>
                    <a:lnTo>
                      <a:pt x="104" y="130"/>
                    </a:lnTo>
                    <a:lnTo>
                      <a:pt x="104" y="126"/>
                    </a:lnTo>
                    <a:lnTo>
                      <a:pt x="108" y="130"/>
                    </a:lnTo>
                    <a:lnTo>
                      <a:pt x="108" y="134"/>
                    </a:lnTo>
                    <a:lnTo>
                      <a:pt x="108" y="130"/>
                    </a:lnTo>
                    <a:lnTo>
                      <a:pt x="112" y="130"/>
                    </a:lnTo>
                    <a:lnTo>
                      <a:pt x="112" y="134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6" y="146"/>
                    </a:lnTo>
                    <a:lnTo>
                      <a:pt x="116" y="150"/>
                    </a:lnTo>
                    <a:lnTo>
                      <a:pt x="116" y="152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08" y="152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8" y="146"/>
                    </a:lnTo>
                    <a:lnTo>
                      <a:pt x="108" y="146"/>
                    </a:lnTo>
                    <a:close/>
                    <a:moveTo>
                      <a:pt x="42" y="130"/>
                    </a:moveTo>
                    <a:lnTo>
                      <a:pt x="38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0"/>
                    </a:lnTo>
                    <a:close/>
                    <a:moveTo>
                      <a:pt x="38" y="146"/>
                    </a:move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6"/>
                    </a:lnTo>
                    <a:lnTo>
                      <a:pt x="24" y="160"/>
                    </a:lnTo>
                    <a:lnTo>
                      <a:pt x="26" y="160"/>
                    </a:lnTo>
                    <a:lnTo>
                      <a:pt x="24" y="164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2" y="180"/>
                    </a:lnTo>
                    <a:lnTo>
                      <a:pt x="8" y="180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68"/>
                    </a:lnTo>
                    <a:lnTo>
                      <a:pt x="20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6" y="152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8" y="130"/>
                    </a:lnTo>
                    <a:lnTo>
                      <a:pt x="38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close/>
                    <a:moveTo>
                      <a:pt x="90" y="152"/>
                    </a:moveTo>
                    <a:lnTo>
                      <a:pt x="94" y="152"/>
                    </a:lnTo>
                    <a:lnTo>
                      <a:pt x="94" y="150"/>
                    </a:lnTo>
                    <a:lnTo>
                      <a:pt x="94" y="146"/>
                    </a:lnTo>
                    <a:lnTo>
                      <a:pt x="96" y="146"/>
                    </a:lnTo>
                    <a:lnTo>
                      <a:pt x="96" y="142"/>
                    </a:lnTo>
                    <a:lnTo>
                      <a:pt x="96" y="138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0" y="138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6" y="152"/>
                    </a:lnTo>
                    <a:lnTo>
                      <a:pt x="94" y="152"/>
                    </a:lnTo>
                    <a:lnTo>
                      <a:pt x="94" y="156"/>
                    </a:lnTo>
                    <a:lnTo>
                      <a:pt x="94" y="160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0"/>
                    </a:lnTo>
                    <a:lnTo>
                      <a:pt x="90" y="156"/>
                    </a:lnTo>
                    <a:lnTo>
                      <a:pt x="90" y="152"/>
                    </a:lnTo>
                    <a:lnTo>
                      <a:pt x="90" y="152"/>
                    </a:lnTo>
                    <a:lnTo>
                      <a:pt x="90" y="152"/>
                    </a:lnTo>
                    <a:close/>
                    <a:moveTo>
                      <a:pt x="90" y="150"/>
                    </a:moveTo>
                    <a:lnTo>
                      <a:pt x="90" y="152"/>
                    </a:lnTo>
                    <a:lnTo>
                      <a:pt x="90" y="156"/>
                    </a:lnTo>
                    <a:lnTo>
                      <a:pt x="86" y="156"/>
                    </a:lnTo>
                    <a:lnTo>
                      <a:pt x="86" y="160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82" y="168"/>
                    </a:lnTo>
                    <a:lnTo>
                      <a:pt x="82" y="164"/>
                    </a:lnTo>
                    <a:lnTo>
                      <a:pt x="78" y="164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8" y="160"/>
                    </a:lnTo>
                    <a:lnTo>
                      <a:pt x="78" y="156"/>
                    </a:lnTo>
                    <a:lnTo>
                      <a:pt x="82" y="156"/>
                    </a:lnTo>
                    <a:lnTo>
                      <a:pt x="82" y="152"/>
                    </a:lnTo>
                    <a:lnTo>
                      <a:pt x="82" y="150"/>
                    </a:lnTo>
                    <a:lnTo>
                      <a:pt x="82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42"/>
                    </a:lnTo>
                    <a:lnTo>
                      <a:pt x="94" y="146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0" y="150"/>
                    </a:lnTo>
                    <a:lnTo>
                      <a:pt x="90" y="150"/>
                    </a:lnTo>
                    <a:close/>
                    <a:moveTo>
                      <a:pt x="122" y="156"/>
                    </a:moveTo>
                    <a:lnTo>
                      <a:pt x="120" y="152"/>
                    </a:lnTo>
                    <a:lnTo>
                      <a:pt x="120" y="150"/>
                    </a:lnTo>
                    <a:lnTo>
                      <a:pt x="122" y="146"/>
                    </a:lnTo>
                    <a:lnTo>
                      <a:pt x="122" y="150"/>
                    </a:lnTo>
                    <a:lnTo>
                      <a:pt x="122" y="152"/>
                    </a:lnTo>
                    <a:lnTo>
                      <a:pt x="122" y="156"/>
                    </a:lnTo>
                    <a:lnTo>
                      <a:pt x="122" y="156"/>
                    </a:lnTo>
                    <a:lnTo>
                      <a:pt x="122" y="156"/>
                    </a:lnTo>
                    <a:close/>
                    <a:moveTo>
                      <a:pt x="108" y="152"/>
                    </a:moveTo>
                    <a:lnTo>
                      <a:pt x="108" y="156"/>
                    </a:lnTo>
                    <a:lnTo>
                      <a:pt x="108" y="160"/>
                    </a:lnTo>
                    <a:lnTo>
                      <a:pt x="104" y="160"/>
                    </a:lnTo>
                    <a:lnTo>
                      <a:pt x="100" y="160"/>
                    </a:lnTo>
                    <a:lnTo>
                      <a:pt x="96" y="160"/>
                    </a:lnTo>
                    <a:lnTo>
                      <a:pt x="96" y="156"/>
                    </a:lnTo>
                    <a:lnTo>
                      <a:pt x="100" y="156"/>
                    </a:lnTo>
                    <a:lnTo>
                      <a:pt x="100" y="152"/>
                    </a:lnTo>
                    <a:lnTo>
                      <a:pt x="104" y="152"/>
                    </a:lnTo>
                    <a:lnTo>
                      <a:pt x="108" y="152"/>
                    </a:lnTo>
                    <a:lnTo>
                      <a:pt x="108" y="152"/>
                    </a:lnTo>
                    <a:lnTo>
                      <a:pt x="108" y="152"/>
                    </a:lnTo>
                    <a:close/>
                    <a:moveTo>
                      <a:pt x="116" y="156"/>
                    </a:moveTo>
                    <a:lnTo>
                      <a:pt x="116" y="152"/>
                    </a:lnTo>
                    <a:lnTo>
                      <a:pt x="116" y="156"/>
                    </a:lnTo>
                    <a:lnTo>
                      <a:pt x="116" y="156"/>
                    </a:lnTo>
                    <a:lnTo>
                      <a:pt x="116" y="156"/>
                    </a:lnTo>
                    <a:close/>
                    <a:moveTo>
                      <a:pt x="126" y="160"/>
                    </a:moveTo>
                    <a:lnTo>
                      <a:pt x="126" y="156"/>
                    </a:lnTo>
                    <a:lnTo>
                      <a:pt x="126" y="152"/>
                    </a:lnTo>
                    <a:lnTo>
                      <a:pt x="130" y="156"/>
                    </a:lnTo>
                    <a:lnTo>
                      <a:pt x="130" y="160"/>
                    </a:lnTo>
                    <a:lnTo>
                      <a:pt x="126" y="160"/>
                    </a:lnTo>
                    <a:lnTo>
                      <a:pt x="126" y="160"/>
                    </a:lnTo>
                    <a:lnTo>
                      <a:pt x="126" y="160"/>
                    </a:lnTo>
                    <a:close/>
                    <a:moveTo>
                      <a:pt x="74" y="202"/>
                    </a:moveTo>
                    <a:lnTo>
                      <a:pt x="74" y="206"/>
                    </a:lnTo>
                    <a:lnTo>
                      <a:pt x="74" y="208"/>
                    </a:lnTo>
                    <a:lnTo>
                      <a:pt x="70" y="208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0" y="198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8" y="186"/>
                    </a:lnTo>
                    <a:lnTo>
                      <a:pt x="78" y="190"/>
                    </a:lnTo>
                    <a:lnTo>
                      <a:pt x="82" y="186"/>
                    </a:lnTo>
                    <a:lnTo>
                      <a:pt x="86" y="186"/>
                    </a:lnTo>
                    <a:lnTo>
                      <a:pt x="86" y="182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76"/>
                    </a:lnTo>
                    <a:lnTo>
                      <a:pt x="94" y="180"/>
                    </a:lnTo>
                    <a:lnTo>
                      <a:pt x="96" y="180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100" y="186"/>
                    </a:lnTo>
                    <a:lnTo>
                      <a:pt x="104" y="186"/>
                    </a:lnTo>
                    <a:lnTo>
                      <a:pt x="104" y="182"/>
                    </a:lnTo>
                    <a:lnTo>
                      <a:pt x="100" y="182"/>
                    </a:lnTo>
                    <a:lnTo>
                      <a:pt x="104" y="182"/>
                    </a:lnTo>
                    <a:lnTo>
                      <a:pt x="104" y="180"/>
                    </a:lnTo>
                    <a:lnTo>
                      <a:pt x="108" y="180"/>
                    </a:lnTo>
                    <a:lnTo>
                      <a:pt x="108" y="182"/>
                    </a:lnTo>
                    <a:lnTo>
                      <a:pt x="108" y="180"/>
                    </a:lnTo>
                    <a:lnTo>
                      <a:pt x="108" y="176"/>
                    </a:lnTo>
                    <a:lnTo>
                      <a:pt x="112" y="176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16" y="176"/>
                    </a:lnTo>
                    <a:lnTo>
                      <a:pt x="116" y="172"/>
                    </a:lnTo>
                    <a:lnTo>
                      <a:pt x="120" y="172"/>
                    </a:lnTo>
                    <a:lnTo>
                      <a:pt x="120" y="168"/>
                    </a:lnTo>
                    <a:lnTo>
                      <a:pt x="120" y="164"/>
                    </a:lnTo>
                    <a:lnTo>
                      <a:pt x="120" y="160"/>
                    </a:lnTo>
                    <a:lnTo>
                      <a:pt x="120" y="156"/>
                    </a:lnTo>
                    <a:lnTo>
                      <a:pt x="120" y="160"/>
                    </a:lnTo>
                    <a:lnTo>
                      <a:pt x="122" y="160"/>
                    </a:lnTo>
                    <a:lnTo>
                      <a:pt x="122" y="164"/>
                    </a:lnTo>
                    <a:lnTo>
                      <a:pt x="126" y="164"/>
                    </a:lnTo>
                    <a:lnTo>
                      <a:pt x="126" y="168"/>
                    </a:lnTo>
                    <a:lnTo>
                      <a:pt x="130" y="168"/>
                    </a:lnTo>
                    <a:lnTo>
                      <a:pt x="130" y="172"/>
                    </a:lnTo>
                    <a:lnTo>
                      <a:pt x="130" y="176"/>
                    </a:lnTo>
                    <a:lnTo>
                      <a:pt x="130" y="180"/>
                    </a:lnTo>
                    <a:lnTo>
                      <a:pt x="126" y="180"/>
                    </a:lnTo>
                    <a:lnTo>
                      <a:pt x="130" y="180"/>
                    </a:lnTo>
                    <a:lnTo>
                      <a:pt x="134" y="180"/>
                    </a:lnTo>
                    <a:lnTo>
                      <a:pt x="134" y="182"/>
                    </a:lnTo>
                    <a:lnTo>
                      <a:pt x="130" y="182"/>
                    </a:lnTo>
                    <a:lnTo>
                      <a:pt x="130" y="186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4"/>
                    </a:lnTo>
                    <a:lnTo>
                      <a:pt x="134" y="198"/>
                    </a:lnTo>
                    <a:lnTo>
                      <a:pt x="134" y="202"/>
                    </a:lnTo>
                    <a:lnTo>
                      <a:pt x="134" y="206"/>
                    </a:lnTo>
                    <a:lnTo>
                      <a:pt x="130" y="206"/>
                    </a:lnTo>
                    <a:lnTo>
                      <a:pt x="130" y="208"/>
                    </a:lnTo>
                    <a:lnTo>
                      <a:pt x="130" y="212"/>
                    </a:lnTo>
                    <a:lnTo>
                      <a:pt x="130" y="216"/>
                    </a:lnTo>
                    <a:lnTo>
                      <a:pt x="130" y="220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6" y="212"/>
                    </a:lnTo>
                    <a:lnTo>
                      <a:pt x="130" y="212"/>
                    </a:lnTo>
                    <a:lnTo>
                      <a:pt x="126" y="208"/>
                    </a:lnTo>
                    <a:lnTo>
                      <a:pt x="126" y="206"/>
                    </a:lnTo>
                    <a:lnTo>
                      <a:pt x="126" y="202"/>
                    </a:lnTo>
                    <a:lnTo>
                      <a:pt x="122" y="202"/>
                    </a:lnTo>
                    <a:lnTo>
                      <a:pt x="122" y="206"/>
                    </a:lnTo>
                    <a:lnTo>
                      <a:pt x="120" y="206"/>
                    </a:lnTo>
                    <a:lnTo>
                      <a:pt x="120" y="208"/>
                    </a:lnTo>
                    <a:lnTo>
                      <a:pt x="120" y="212"/>
                    </a:lnTo>
                    <a:lnTo>
                      <a:pt x="122" y="216"/>
                    </a:lnTo>
                    <a:lnTo>
                      <a:pt x="122" y="220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20" y="232"/>
                    </a:lnTo>
                    <a:lnTo>
                      <a:pt x="116" y="228"/>
                    </a:lnTo>
                    <a:lnTo>
                      <a:pt x="116" y="224"/>
                    </a:lnTo>
                    <a:lnTo>
                      <a:pt x="116" y="220"/>
                    </a:lnTo>
                    <a:lnTo>
                      <a:pt x="116" y="224"/>
                    </a:lnTo>
                    <a:lnTo>
                      <a:pt x="116" y="228"/>
                    </a:lnTo>
                    <a:lnTo>
                      <a:pt x="112" y="228"/>
                    </a:lnTo>
                    <a:lnTo>
                      <a:pt x="108" y="224"/>
                    </a:lnTo>
                    <a:lnTo>
                      <a:pt x="104" y="224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96" y="208"/>
                    </a:lnTo>
                    <a:lnTo>
                      <a:pt x="100" y="206"/>
                    </a:lnTo>
                    <a:lnTo>
                      <a:pt x="104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0" y="194"/>
                    </a:lnTo>
                    <a:lnTo>
                      <a:pt x="96" y="194"/>
                    </a:lnTo>
                    <a:lnTo>
                      <a:pt x="94" y="194"/>
                    </a:lnTo>
                    <a:lnTo>
                      <a:pt x="94" y="190"/>
                    </a:lnTo>
                    <a:lnTo>
                      <a:pt x="94" y="194"/>
                    </a:lnTo>
                    <a:lnTo>
                      <a:pt x="90" y="194"/>
                    </a:lnTo>
                    <a:lnTo>
                      <a:pt x="94" y="194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4" y="202"/>
                    </a:lnTo>
                    <a:lnTo>
                      <a:pt x="90" y="202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86" y="198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82" y="198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2"/>
                    </a:lnTo>
                    <a:lnTo>
                      <a:pt x="74" y="202"/>
                    </a:lnTo>
                    <a:close/>
                    <a:moveTo>
                      <a:pt x="126" y="164"/>
                    </a:moveTo>
                    <a:lnTo>
                      <a:pt x="126" y="160"/>
                    </a:lnTo>
                    <a:lnTo>
                      <a:pt x="126" y="164"/>
                    </a:lnTo>
                    <a:lnTo>
                      <a:pt x="126" y="164"/>
                    </a:lnTo>
                    <a:lnTo>
                      <a:pt x="126" y="164"/>
                    </a:lnTo>
                    <a:close/>
                    <a:moveTo>
                      <a:pt x="108" y="172"/>
                    </a:moveTo>
                    <a:lnTo>
                      <a:pt x="108" y="168"/>
                    </a:lnTo>
                    <a:lnTo>
                      <a:pt x="112" y="168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8" y="172"/>
                    </a:lnTo>
                    <a:lnTo>
                      <a:pt x="108" y="172"/>
                    </a:lnTo>
                    <a:close/>
                    <a:moveTo>
                      <a:pt x="122" y="208"/>
                    </a:moveTo>
                    <a:lnTo>
                      <a:pt x="122" y="206"/>
                    </a:lnTo>
                    <a:lnTo>
                      <a:pt x="122" y="208"/>
                    </a:lnTo>
                    <a:lnTo>
                      <a:pt x="122" y="208"/>
                    </a:lnTo>
                    <a:lnTo>
                      <a:pt x="122" y="208"/>
                    </a:lnTo>
                    <a:close/>
                    <a:moveTo>
                      <a:pt x="70" y="216"/>
                    </a:moveTo>
                    <a:lnTo>
                      <a:pt x="66" y="212"/>
                    </a:lnTo>
                    <a:lnTo>
                      <a:pt x="70" y="212"/>
                    </a:lnTo>
                    <a:lnTo>
                      <a:pt x="74" y="212"/>
                    </a:lnTo>
                    <a:lnTo>
                      <a:pt x="74" y="216"/>
                    </a:lnTo>
                    <a:lnTo>
                      <a:pt x="70" y="216"/>
                    </a:lnTo>
                    <a:lnTo>
                      <a:pt x="70" y="216"/>
                    </a:lnTo>
                    <a:lnTo>
                      <a:pt x="70" y="216"/>
                    </a:lnTo>
                    <a:close/>
                    <a:moveTo>
                      <a:pt x="60" y="228"/>
                    </a:moveTo>
                    <a:lnTo>
                      <a:pt x="60" y="224"/>
                    </a:lnTo>
                    <a:lnTo>
                      <a:pt x="56" y="228"/>
                    </a:lnTo>
                    <a:lnTo>
                      <a:pt x="56" y="224"/>
                    </a:lnTo>
                    <a:lnTo>
                      <a:pt x="60" y="224"/>
                    </a:lnTo>
                    <a:lnTo>
                      <a:pt x="64" y="224"/>
                    </a:lnTo>
                    <a:lnTo>
                      <a:pt x="60" y="228"/>
                    </a:lnTo>
                    <a:lnTo>
                      <a:pt x="60" y="228"/>
                    </a:lnTo>
                    <a:lnTo>
                      <a:pt x="60" y="228"/>
                    </a:lnTo>
                    <a:close/>
                    <a:moveTo>
                      <a:pt x="42" y="238"/>
                    </a:moveTo>
                    <a:lnTo>
                      <a:pt x="42" y="236"/>
                    </a:lnTo>
                    <a:lnTo>
                      <a:pt x="46" y="236"/>
                    </a:lnTo>
                    <a:lnTo>
                      <a:pt x="46" y="238"/>
                    </a:lnTo>
                    <a:lnTo>
                      <a:pt x="42" y="238"/>
                    </a:lnTo>
                    <a:lnTo>
                      <a:pt x="42" y="238"/>
                    </a:lnTo>
                    <a:lnTo>
                      <a:pt x="42" y="2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0" name="Freeform 49">
                <a:extLst>
                  <a:ext uri="{FF2B5EF4-FFF2-40B4-BE49-F238E27FC236}">
                    <a16:creationId xmlns:a16="http://schemas.microsoft.com/office/drawing/2014/main" id="{A515269B-A11E-4730-9590-52E7D7DD7F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37200" y="3841818"/>
                <a:ext cx="15875" cy="41275"/>
              </a:xfrm>
              <a:custGeom>
                <a:avLst/>
                <a:gdLst>
                  <a:gd name="T0" fmla="*/ 6 w 10"/>
                  <a:gd name="T1" fmla="*/ 26 h 26"/>
                  <a:gd name="T2" fmla="*/ 6 w 10"/>
                  <a:gd name="T3" fmla="*/ 26 h 26"/>
                  <a:gd name="T4" fmla="*/ 6 w 10"/>
                  <a:gd name="T5" fmla="*/ 26 h 26"/>
                  <a:gd name="T6" fmla="*/ 6 w 10"/>
                  <a:gd name="T7" fmla="*/ 26 h 26"/>
                  <a:gd name="T8" fmla="*/ 4 w 10"/>
                  <a:gd name="T9" fmla="*/ 26 h 26"/>
                  <a:gd name="T10" fmla="*/ 4 w 10"/>
                  <a:gd name="T11" fmla="*/ 26 h 26"/>
                  <a:gd name="T12" fmla="*/ 0 w 10"/>
                  <a:gd name="T13" fmla="*/ 26 h 26"/>
                  <a:gd name="T14" fmla="*/ 0 w 10"/>
                  <a:gd name="T15" fmla="*/ 22 h 26"/>
                  <a:gd name="T16" fmla="*/ 0 w 10"/>
                  <a:gd name="T17" fmla="*/ 22 h 26"/>
                  <a:gd name="T18" fmla="*/ 0 w 10"/>
                  <a:gd name="T19" fmla="*/ 22 h 26"/>
                  <a:gd name="T20" fmla="*/ 0 w 10"/>
                  <a:gd name="T21" fmla="*/ 18 h 26"/>
                  <a:gd name="T22" fmla="*/ 0 w 10"/>
                  <a:gd name="T23" fmla="*/ 14 h 26"/>
                  <a:gd name="T24" fmla="*/ 0 w 10"/>
                  <a:gd name="T25" fmla="*/ 10 h 26"/>
                  <a:gd name="T26" fmla="*/ 0 w 10"/>
                  <a:gd name="T27" fmla="*/ 10 h 26"/>
                  <a:gd name="T28" fmla="*/ 0 w 10"/>
                  <a:gd name="T29" fmla="*/ 10 h 26"/>
                  <a:gd name="T30" fmla="*/ 0 w 10"/>
                  <a:gd name="T31" fmla="*/ 10 h 26"/>
                  <a:gd name="T32" fmla="*/ 0 w 10"/>
                  <a:gd name="T33" fmla="*/ 6 h 26"/>
                  <a:gd name="T34" fmla="*/ 0 w 10"/>
                  <a:gd name="T35" fmla="*/ 6 h 26"/>
                  <a:gd name="T36" fmla="*/ 0 w 10"/>
                  <a:gd name="T37" fmla="*/ 6 h 26"/>
                  <a:gd name="T38" fmla="*/ 0 w 10"/>
                  <a:gd name="T39" fmla="*/ 6 h 26"/>
                  <a:gd name="T40" fmla="*/ 0 w 10"/>
                  <a:gd name="T41" fmla="*/ 6 h 26"/>
                  <a:gd name="T42" fmla="*/ 0 w 10"/>
                  <a:gd name="T43" fmla="*/ 2 h 26"/>
                  <a:gd name="T44" fmla="*/ 0 w 10"/>
                  <a:gd name="T45" fmla="*/ 2 h 26"/>
                  <a:gd name="T46" fmla="*/ 0 w 10"/>
                  <a:gd name="T47" fmla="*/ 2 h 26"/>
                  <a:gd name="T48" fmla="*/ 0 w 10"/>
                  <a:gd name="T49" fmla="*/ 2 h 26"/>
                  <a:gd name="T50" fmla="*/ 4 w 10"/>
                  <a:gd name="T51" fmla="*/ 0 h 26"/>
                  <a:gd name="T52" fmla="*/ 4 w 10"/>
                  <a:gd name="T53" fmla="*/ 0 h 26"/>
                  <a:gd name="T54" fmla="*/ 6 w 10"/>
                  <a:gd name="T55" fmla="*/ 0 h 26"/>
                  <a:gd name="T56" fmla="*/ 6 w 10"/>
                  <a:gd name="T57" fmla="*/ 0 h 26"/>
                  <a:gd name="T58" fmla="*/ 6 w 10"/>
                  <a:gd name="T59" fmla="*/ 2 h 26"/>
                  <a:gd name="T60" fmla="*/ 6 w 10"/>
                  <a:gd name="T61" fmla="*/ 2 h 26"/>
                  <a:gd name="T62" fmla="*/ 10 w 10"/>
                  <a:gd name="T63" fmla="*/ 2 h 26"/>
                  <a:gd name="T64" fmla="*/ 10 w 10"/>
                  <a:gd name="T65" fmla="*/ 6 h 26"/>
                  <a:gd name="T66" fmla="*/ 10 w 10"/>
                  <a:gd name="T67" fmla="*/ 6 h 26"/>
                  <a:gd name="T68" fmla="*/ 6 w 10"/>
                  <a:gd name="T69" fmla="*/ 6 h 26"/>
                  <a:gd name="T70" fmla="*/ 6 w 10"/>
                  <a:gd name="T71" fmla="*/ 10 h 26"/>
                  <a:gd name="T72" fmla="*/ 6 w 10"/>
                  <a:gd name="T73" fmla="*/ 10 h 26"/>
                  <a:gd name="T74" fmla="*/ 10 w 10"/>
                  <a:gd name="T75" fmla="*/ 10 h 26"/>
                  <a:gd name="T76" fmla="*/ 6 w 10"/>
                  <a:gd name="T77" fmla="*/ 14 h 26"/>
                  <a:gd name="T78" fmla="*/ 10 w 10"/>
                  <a:gd name="T79" fmla="*/ 14 h 26"/>
                  <a:gd name="T80" fmla="*/ 10 w 10"/>
                  <a:gd name="T81" fmla="*/ 14 h 26"/>
                  <a:gd name="T82" fmla="*/ 10 w 10"/>
                  <a:gd name="T83" fmla="*/ 14 h 26"/>
                  <a:gd name="T84" fmla="*/ 10 w 10"/>
                  <a:gd name="T85" fmla="*/ 22 h 26"/>
                  <a:gd name="T86" fmla="*/ 6 w 10"/>
                  <a:gd name="T87" fmla="*/ 22 h 26"/>
                  <a:gd name="T88" fmla="*/ 6 w 10"/>
                  <a:gd name="T89" fmla="*/ 22 h 26"/>
                  <a:gd name="T90" fmla="*/ 6 w 10"/>
                  <a:gd name="T91" fmla="*/ 22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0" h="26">
                    <a:moveTo>
                      <a:pt x="6" y="22"/>
                    </a:move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2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1" name="Freeform 50">
                <a:extLst>
                  <a:ext uri="{FF2B5EF4-FFF2-40B4-BE49-F238E27FC236}">
                    <a16:creationId xmlns:a16="http://schemas.microsoft.com/office/drawing/2014/main" id="{28F4F0E5-9FCA-4AD4-ACFF-2B6239ADC26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68900" y="3664018"/>
                <a:ext cx="473075" cy="447675"/>
              </a:xfrm>
              <a:custGeom>
                <a:avLst/>
                <a:gdLst>
                  <a:gd name="T0" fmla="*/ 232 w 298"/>
                  <a:gd name="T1" fmla="*/ 240 h 282"/>
                  <a:gd name="T2" fmla="*/ 186 w 298"/>
                  <a:gd name="T3" fmla="*/ 264 h 282"/>
                  <a:gd name="T4" fmla="*/ 172 w 298"/>
                  <a:gd name="T5" fmla="*/ 268 h 282"/>
                  <a:gd name="T6" fmla="*/ 142 w 298"/>
                  <a:gd name="T7" fmla="*/ 264 h 282"/>
                  <a:gd name="T8" fmla="*/ 130 w 298"/>
                  <a:gd name="T9" fmla="*/ 264 h 282"/>
                  <a:gd name="T10" fmla="*/ 122 w 298"/>
                  <a:gd name="T11" fmla="*/ 270 h 282"/>
                  <a:gd name="T12" fmla="*/ 120 w 298"/>
                  <a:gd name="T13" fmla="*/ 282 h 282"/>
                  <a:gd name="T14" fmla="*/ 112 w 298"/>
                  <a:gd name="T15" fmla="*/ 274 h 282"/>
                  <a:gd name="T16" fmla="*/ 112 w 298"/>
                  <a:gd name="T17" fmla="*/ 268 h 282"/>
                  <a:gd name="T18" fmla="*/ 104 w 298"/>
                  <a:gd name="T19" fmla="*/ 256 h 282"/>
                  <a:gd name="T20" fmla="*/ 96 w 298"/>
                  <a:gd name="T21" fmla="*/ 248 h 282"/>
                  <a:gd name="T22" fmla="*/ 96 w 298"/>
                  <a:gd name="T23" fmla="*/ 238 h 282"/>
                  <a:gd name="T24" fmla="*/ 90 w 298"/>
                  <a:gd name="T25" fmla="*/ 226 h 282"/>
                  <a:gd name="T26" fmla="*/ 82 w 298"/>
                  <a:gd name="T27" fmla="*/ 218 h 282"/>
                  <a:gd name="T28" fmla="*/ 74 w 298"/>
                  <a:gd name="T29" fmla="*/ 212 h 282"/>
                  <a:gd name="T30" fmla="*/ 66 w 298"/>
                  <a:gd name="T31" fmla="*/ 204 h 282"/>
                  <a:gd name="T32" fmla="*/ 64 w 298"/>
                  <a:gd name="T33" fmla="*/ 190 h 282"/>
                  <a:gd name="T34" fmla="*/ 64 w 298"/>
                  <a:gd name="T35" fmla="*/ 174 h 282"/>
                  <a:gd name="T36" fmla="*/ 64 w 298"/>
                  <a:gd name="T37" fmla="*/ 168 h 282"/>
                  <a:gd name="T38" fmla="*/ 56 w 298"/>
                  <a:gd name="T39" fmla="*/ 152 h 282"/>
                  <a:gd name="T40" fmla="*/ 44 w 298"/>
                  <a:gd name="T41" fmla="*/ 142 h 282"/>
                  <a:gd name="T42" fmla="*/ 40 w 298"/>
                  <a:gd name="T43" fmla="*/ 138 h 282"/>
                  <a:gd name="T44" fmla="*/ 36 w 298"/>
                  <a:gd name="T45" fmla="*/ 126 h 282"/>
                  <a:gd name="T46" fmla="*/ 34 w 298"/>
                  <a:gd name="T47" fmla="*/ 118 h 282"/>
                  <a:gd name="T48" fmla="*/ 26 w 298"/>
                  <a:gd name="T49" fmla="*/ 112 h 282"/>
                  <a:gd name="T50" fmla="*/ 22 w 298"/>
                  <a:gd name="T51" fmla="*/ 96 h 282"/>
                  <a:gd name="T52" fmla="*/ 14 w 298"/>
                  <a:gd name="T53" fmla="*/ 90 h 282"/>
                  <a:gd name="T54" fmla="*/ 10 w 298"/>
                  <a:gd name="T55" fmla="*/ 78 h 282"/>
                  <a:gd name="T56" fmla="*/ 4 w 298"/>
                  <a:gd name="T57" fmla="*/ 70 h 282"/>
                  <a:gd name="T58" fmla="*/ 4 w 298"/>
                  <a:gd name="T59" fmla="*/ 56 h 282"/>
                  <a:gd name="T60" fmla="*/ 22 w 298"/>
                  <a:gd name="T61" fmla="*/ 56 h 282"/>
                  <a:gd name="T62" fmla="*/ 36 w 298"/>
                  <a:gd name="T63" fmla="*/ 40 h 282"/>
                  <a:gd name="T64" fmla="*/ 44 w 298"/>
                  <a:gd name="T65" fmla="*/ 22 h 282"/>
                  <a:gd name="T66" fmla="*/ 36 w 298"/>
                  <a:gd name="T67" fmla="*/ 10 h 282"/>
                  <a:gd name="T68" fmla="*/ 56 w 298"/>
                  <a:gd name="T69" fmla="*/ 8 h 282"/>
                  <a:gd name="T70" fmla="*/ 78 w 298"/>
                  <a:gd name="T71" fmla="*/ 4 h 282"/>
                  <a:gd name="T72" fmla="*/ 120 w 298"/>
                  <a:gd name="T73" fmla="*/ 30 h 282"/>
                  <a:gd name="T74" fmla="*/ 164 w 298"/>
                  <a:gd name="T75" fmla="*/ 56 h 282"/>
                  <a:gd name="T76" fmla="*/ 182 w 298"/>
                  <a:gd name="T77" fmla="*/ 60 h 282"/>
                  <a:gd name="T78" fmla="*/ 198 w 298"/>
                  <a:gd name="T79" fmla="*/ 66 h 282"/>
                  <a:gd name="T80" fmla="*/ 202 w 298"/>
                  <a:gd name="T81" fmla="*/ 78 h 282"/>
                  <a:gd name="T82" fmla="*/ 206 w 298"/>
                  <a:gd name="T83" fmla="*/ 86 h 282"/>
                  <a:gd name="T84" fmla="*/ 206 w 298"/>
                  <a:gd name="T85" fmla="*/ 86 h 282"/>
                  <a:gd name="T86" fmla="*/ 212 w 298"/>
                  <a:gd name="T87" fmla="*/ 96 h 282"/>
                  <a:gd name="T88" fmla="*/ 220 w 298"/>
                  <a:gd name="T89" fmla="*/ 104 h 282"/>
                  <a:gd name="T90" fmla="*/ 220 w 298"/>
                  <a:gd name="T91" fmla="*/ 112 h 282"/>
                  <a:gd name="T92" fmla="*/ 224 w 298"/>
                  <a:gd name="T93" fmla="*/ 122 h 282"/>
                  <a:gd name="T94" fmla="*/ 232 w 298"/>
                  <a:gd name="T95" fmla="*/ 134 h 282"/>
                  <a:gd name="T96" fmla="*/ 238 w 298"/>
                  <a:gd name="T97" fmla="*/ 142 h 282"/>
                  <a:gd name="T98" fmla="*/ 242 w 298"/>
                  <a:gd name="T99" fmla="*/ 144 h 282"/>
                  <a:gd name="T100" fmla="*/ 294 w 298"/>
                  <a:gd name="T101" fmla="*/ 198 h 282"/>
                  <a:gd name="T102" fmla="*/ 104 w 298"/>
                  <a:gd name="T103" fmla="*/ 270 h 282"/>
                  <a:gd name="T104" fmla="*/ 104 w 298"/>
                  <a:gd name="T105" fmla="*/ 270 h 282"/>
                  <a:gd name="T106" fmla="*/ 100 w 298"/>
                  <a:gd name="T107" fmla="*/ 274 h 282"/>
                  <a:gd name="T108" fmla="*/ 108 w 298"/>
                  <a:gd name="T109" fmla="*/ 274 h 2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98" h="282">
                    <a:moveTo>
                      <a:pt x="290" y="218"/>
                    </a:moveTo>
                    <a:lnTo>
                      <a:pt x="246" y="238"/>
                    </a:lnTo>
                    <a:lnTo>
                      <a:pt x="236" y="238"/>
                    </a:lnTo>
                    <a:lnTo>
                      <a:pt x="232" y="240"/>
                    </a:lnTo>
                    <a:lnTo>
                      <a:pt x="206" y="240"/>
                    </a:lnTo>
                    <a:lnTo>
                      <a:pt x="194" y="252"/>
                    </a:lnTo>
                    <a:lnTo>
                      <a:pt x="190" y="260"/>
                    </a:lnTo>
                    <a:lnTo>
                      <a:pt x="186" y="264"/>
                    </a:lnTo>
                    <a:lnTo>
                      <a:pt x="182" y="270"/>
                    </a:lnTo>
                    <a:lnTo>
                      <a:pt x="180" y="270"/>
                    </a:lnTo>
                    <a:lnTo>
                      <a:pt x="176" y="270"/>
                    </a:lnTo>
                    <a:lnTo>
                      <a:pt x="172" y="268"/>
                    </a:lnTo>
                    <a:lnTo>
                      <a:pt x="168" y="268"/>
                    </a:lnTo>
                    <a:lnTo>
                      <a:pt x="164" y="268"/>
                    </a:lnTo>
                    <a:lnTo>
                      <a:pt x="152" y="264"/>
                    </a:lnTo>
                    <a:lnTo>
                      <a:pt x="142" y="264"/>
                    </a:lnTo>
                    <a:lnTo>
                      <a:pt x="138" y="264"/>
                    </a:lnTo>
                    <a:lnTo>
                      <a:pt x="134" y="264"/>
                    </a:lnTo>
                    <a:lnTo>
                      <a:pt x="134" y="268"/>
                    </a:lnTo>
                    <a:lnTo>
                      <a:pt x="130" y="264"/>
                    </a:lnTo>
                    <a:lnTo>
                      <a:pt x="126" y="264"/>
                    </a:lnTo>
                    <a:lnTo>
                      <a:pt x="122" y="264"/>
                    </a:lnTo>
                    <a:lnTo>
                      <a:pt x="122" y="268"/>
                    </a:lnTo>
                    <a:lnTo>
                      <a:pt x="122" y="270"/>
                    </a:lnTo>
                    <a:lnTo>
                      <a:pt x="122" y="274"/>
                    </a:lnTo>
                    <a:lnTo>
                      <a:pt x="122" y="278"/>
                    </a:lnTo>
                    <a:lnTo>
                      <a:pt x="120" y="278"/>
                    </a:lnTo>
                    <a:lnTo>
                      <a:pt x="120" y="282"/>
                    </a:lnTo>
                    <a:lnTo>
                      <a:pt x="116" y="282"/>
                    </a:lnTo>
                    <a:lnTo>
                      <a:pt x="116" y="278"/>
                    </a:lnTo>
                    <a:lnTo>
                      <a:pt x="116" y="274"/>
                    </a:lnTo>
                    <a:lnTo>
                      <a:pt x="112" y="274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70"/>
                    </a:lnTo>
                    <a:lnTo>
                      <a:pt x="112" y="268"/>
                    </a:lnTo>
                    <a:lnTo>
                      <a:pt x="112" y="264"/>
                    </a:lnTo>
                    <a:lnTo>
                      <a:pt x="108" y="264"/>
                    </a:lnTo>
                    <a:lnTo>
                      <a:pt x="108" y="260"/>
                    </a:lnTo>
                    <a:lnTo>
                      <a:pt x="104" y="256"/>
                    </a:lnTo>
                    <a:lnTo>
                      <a:pt x="100" y="256"/>
                    </a:lnTo>
                    <a:lnTo>
                      <a:pt x="100" y="252"/>
                    </a:lnTo>
                    <a:lnTo>
                      <a:pt x="100" y="248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96" y="238"/>
                    </a:lnTo>
                    <a:lnTo>
                      <a:pt x="92" y="238"/>
                    </a:lnTo>
                    <a:lnTo>
                      <a:pt x="92" y="234"/>
                    </a:lnTo>
                    <a:lnTo>
                      <a:pt x="90" y="230"/>
                    </a:lnTo>
                    <a:lnTo>
                      <a:pt x="90" y="226"/>
                    </a:lnTo>
                    <a:lnTo>
                      <a:pt x="90" y="222"/>
                    </a:lnTo>
                    <a:lnTo>
                      <a:pt x="86" y="222"/>
                    </a:lnTo>
                    <a:lnTo>
                      <a:pt x="86" y="218"/>
                    </a:lnTo>
                    <a:lnTo>
                      <a:pt x="82" y="218"/>
                    </a:lnTo>
                    <a:lnTo>
                      <a:pt x="82" y="214"/>
                    </a:lnTo>
                    <a:lnTo>
                      <a:pt x="78" y="214"/>
                    </a:lnTo>
                    <a:lnTo>
                      <a:pt x="74" y="214"/>
                    </a:lnTo>
                    <a:lnTo>
                      <a:pt x="74" y="212"/>
                    </a:lnTo>
                    <a:lnTo>
                      <a:pt x="70" y="212"/>
                    </a:lnTo>
                    <a:lnTo>
                      <a:pt x="70" y="208"/>
                    </a:lnTo>
                    <a:lnTo>
                      <a:pt x="70" y="204"/>
                    </a:lnTo>
                    <a:lnTo>
                      <a:pt x="66" y="204"/>
                    </a:lnTo>
                    <a:lnTo>
                      <a:pt x="66" y="200"/>
                    </a:lnTo>
                    <a:lnTo>
                      <a:pt x="64" y="198"/>
                    </a:lnTo>
                    <a:lnTo>
                      <a:pt x="66" y="194"/>
                    </a:lnTo>
                    <a:lnTo>
                      <a:pt x="64" y="190"/>
                    </a:lnTo>
                    <a:lnTo>
                      <a:pt x="64" y="186"/>
                    </a:lnTo>
                    <a:lnTo>
                      <a:pt x="64" y="182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4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0" y="164"/>
                    </a:lnTo>
                    <a:lnTo>
                      <a:pt x="60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36" y="138"/>
                    </a:lnTo>
                    <a:lnTo>
                      <a:pt x="36" y="134"/>
                    </a:lnTo>
                    <a:lnTo>
                      <a:pt x="36" y="130"/>
                    </a:lnTo>
                    <a:lnTo>
                      <a:pt x="36" y="126"/>
                    </a:lnTo>
                    <a:lnTo>
                      <a:pt x="36" y="122"/>
                    </a:lnTo>
                    <a:lnTo>
                      <a:pt x="34" y="118"/>
                    </a:lnTo>
                    <a:lnTo>
                      <a:pt x="34" y="116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0" y="116"/>
                    </a:lnTo>
                    <a:lnTo>
                      <a:pt x="30" y="112"/>
                    </a:lnTo>
                    <a:lnTo>
                      <a:pt x="26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6"/>
                    </a:lnTo>
                    <a:lnTo>
                      <a:pt x="18" y="96"/>
                    </a:lnTo>
                    <a:lnTo>
                      <a:pt x="18" y="92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6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22" y="56"/>
                    </a:lnTo>
                    <a:lnTo>
                      <a:pt x="26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6" y="40"/>
                    </a:lnTo>
                    <a:lnTo>
                      <a:pt x="40" y="40"/>
                    </a:lnTo>
                    <a:lnTo>
                      <a:pt x="44" y="34"/>
                    </a:lnTo>
                    <a:lnTo>
                      <a:pt x="48" y="30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4" y="10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96" y="14"/>
                    </a:lnTo>
                    <a:lnTo>
                      <a:pt x="108" y="18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30" y="40"/>
                    </a:lnTo>
                    <a:lnTo>
                      <a:pt x="146" y="56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72" y="56"/>
                    </a:lnTo>
                    <a:lnTo>
                      <a:pt x="176" y="56"/>
                    </a:lnTo>
                    <a:lnTo>
                      <a:pt x="182" y="60"/>
                    </a:lnTo>
                    <a:lnTo>
                      <a:pt x="186" y="64"/>
                    </a:lnTo>
                    <a:lnTo>
                      <a:pt x="186" y="66"/>
                    </a:lnTo>
                    <a:lnTo>
                      <a:pt x="194" y="66"/>
                    </a:lnTo>
                    <a:lnTo>
                      <a:pt x="198" y="66"/>
                    </a:lnTo>
                    <a:lnTo>
                      <a:pt x="198" y="70"/>
                    </a:lnTo>
                    <a:lnTo>
                      <a:pt x="198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6" y="86"/>
                    </a:lnTo>
                    <a:lnTo>
                      <a:pt x="206" y="82"/>
                    </a:lnTo>
                    <a:lnTo>
                      <a:pt x="206" y="86"/>
                    </a:lnTo>
                    <a:lnTo>
                      <a:pt x="210" y="86"/>
                    </a:lnTo>
                    <a:lnTo>
                      <a:pt x="206" y="86"/>
                    </a:lnTo>
                    <a:lnTo>
                      <a:pt x="210" y="90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16" y="96"/>
                    </a:lnTo>
                    <a:lnTo>
                      <a:pt x="220" y="96"/>
                    </a:lnTo>
                    <a:lnTo>
                      <a:pt x="220" y="100"/>
                    </a:lnTo>
                    <a:lnTo>
                      <a:pt x="220" y="104"/>
                    </a:lnTo>
                    <a:lnTo>
                      <a:pt x="224" y="108"/>
                    </a:lnTo>
                    <a:lnTo>
                      <a:pt x="220" y="112"/>
                    </a:lnTo>
                    <a:lnTo>
                      <a:pt x="220" y="108"/>
                    </a:lnTo>
                    <a:lnTo>
                      <a:pt x="220" y="112"/>
                    </a:lnTo>
                    <a:lnTo>
                      <a:pt x="220" y="116"/>
                    </a:lnTo>
                    <a:lnTo>
                      <a:pt x="224" y="118"/>
                    </a:lnTo>
                    <a:lnTo>
                      <a:pt x="220" y="118"/>
                    </a:lnTo>
                    <a:lnTo>
                      <a:pt x="224" y="122"/>
                    </a:lnTo>
                    <a:lnTo>
                      <a:pt x="228" y="122"/>
                    </a:lnTo>
                    <a:lnTo>
                      <a:pt x="228" y="126"/>
                    </a:lnTo>
                    <a:lnTo>
                      <a:pt x="228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6" y="138"/>
                    </a:lnTo>
                    <a:lnTo>
                      <a:pt x="238" y="138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38" y="142"/>
                    </a:lnTo>
                    <a:lnTo>
                      <a:pt x="238" y="144"/>
                    </a:lnTo>
                    <a:lnTo>
                      <a:pt x="242" y="144"/>
                    </a:lnTo>
                    <a:lnTo>
                      <a:pt x="256" y="168"/>
                    </a:lnTo>
                    <a:lnTo>
                      <a:pt x="290" y="172"/>
                    </a:lnTo>
                    <a:lnTo>
                      <a:pt x="298" y="182"/>
                    </a:lnTo>
                    <a:lnTo>
                      <a:pt x="294" y="198"/>
                    </a:lnTo>
                    <a:lnTo>
                      <a:pt x="290" y="218"/>
                    </a:lnTo>
                    <a:lnTo>
                      <a:pt x="290" y="218"/>
                    </a:lnTo>
                    <a:lnTo>
                      <a:pt x="290" y="218"/>
                    </a:lnTo>
                    <a:close/>
                    <a:moveTo>
                      <a:pt x="104" y="270"/>
                    </a:moveTo>
                    <a:lnTo>
                      <a:pt x="104" y="274"/>
                    </a:lnTo>
                    <a:lnTo>
                      <a:pt x="104" y="270"/>
                    </a:lnTo>
                    <a:lnTo>
                      <a:pt x="104" y="270"/>
                    </a:lnTo>
                    <a:lnTo>
                      <a:pt x="104" y="270"/>
                    </a:lnTo>
                    <a:close/>
                    <a:moveTo>
                      <a:pt x="108" y="278"/>
                    </a:moveTo>
                    <a:lnTo>
                      <a:pt x="104" y="278"/>
                    </a:lnTo>
                    <a:lnTo>
                      <a:pt x="104" y="274"/>
                    </a:lnTo>
                    <a:lnTo>
                      <a:pt x="100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4" y="274"/>
                    </a:lnTo>
                    <a:lnTo>
                      <a:pt x="108" y="274"/>
                    </a:lnTo>
                    <a:lnTo>
                      <a:pt x="108" y="278"/>
                    </a:lnTo>
                    <a:lnTo>
                      <a:pt x="108" y="278"/>
                    </a:lnTo>
                    <a:lnTo>
                      <a:pt x="108" y="27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2" name="Freeform 51">
                <a:extLst>
                  <a:ext uri="{FF2B5EF4-FFF2-40B4-BE49-F238E27FC236}">
                    <a16:creationId xmlns:a16="http://schemas.microsoft.com/office/drawing/2014/main" id="{EABE87F2-E2F0-40D7-BF34-B14327058F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18300" y="4521268"/>
                <a:ext cx="12700" cy="6350"/>
              </a:xfrm>
              <a:custGeom>
                <a:avLst/>
                <a:gdLst>
                  <a:gd name="T0" fmla="*/ 8 w 8"/>
                  <a:gd name="T1" fmla="*/ 0 h 4"/>
                  <a:gd name="T2" fmla="*/ 8 w 8"/>
                  <a:gd name="T3" fmla="*/ 0 h 4"/>
                  <a:gd name="T4" fmla="*/ 8 w 8"/>
                  <a:gd name="T5" fmla="*/ 0 h 4"/>
                  <a:gd name="T6" fmla="*/ 8 w 8"/>
                  <a:gd name="T7" fmla="*/ 0 h 4"/>
                  <a:gd name="T8" fmla="*/ 8 w 8"/>
                  <a:gd name="T9" fmla="*/ 0 h 4"/>
                  <a:gd name="T10" fmla="*/ 4 w 8"/>
                  <a:gd name="T11" fmla="*/ 4 h 4"/>
                  <a:gd name="T12" fmla="*/ 4 w 8"/>
                  <a:gd name="T13" fmla="*/ 4 h 4"/>
                  <a:gd name="T14" fmla="*/ 0 w 8"/>
                  <a:gd name="T15" fmla="*/ 4 h 4"/>
                  <a:gd name="T16" fmla="*/ 0 w 8"/>
                  <a:gd name="T17" fmla="*/ 0 h 4"/>
                  <a:gd name="T18" fmla="*/ 0 w 8"/>
                  <a:gd name="T19" fmla="*/ 0 h 4"/>
                  <a:gd name="T20" fmla="*/ 0 w 8"/>
                  <a:gd name="T21" fmla="*/ 0 h 4"/>
                  <a:gd name="T22" fmla="*/ 0 w 8"/>
                  <a:gd name="T23" fmla="*/ 0 h 4"/>
                  <a:gd name="T24" fmla="*/ 0 w 8"/>
                  <a:gd name="T25" fmla="*/ 0 h 4"/>
                  <a:gd name="T26" fmla="*/ 4 w 8"/>
                  <a:gd name="T27" fmla="*/ 0 h 4"/>
                  <a:gd name="T28" fmla="*/ 4 w 8"/>
                  <a:gd name="T29" fmla="*/ 0 h 4"/>
                  <a:gd name="T30" fmla="*/ 4 w 8"/>
                  <a:gd name="T31" fmla="*/ 0 h 4"/>
                  <a:gd name="T32" fmla="*/ 4 w 8"/>
                  <a:gd name="T33" fmla="*/ 0 h 4"/>
                  <a:gd name="T34" fmla="*/ 4 w 8"/>
                  <a:gd name="T35" fmla="*/ 0 h 4"/>
                  <a:gd name="T36" fmla="*/ 4 w 8"/>
                  <a:gd name="T37" fmla="*/ 0 h 4"/>
                  <a:gd name="T38" fmla="*/ 4 w 8"/>
                  <a:gd name="T39" fmla="*/ 0 h 4"/>
                  <a:gd name="T40" fmla="*/ 4 w 8"/>
                  <a:gd name="T41" fmla="*/ 0 h 4"/>
                  <a:gd name="T42" fmla="*/ 8 w 8"/>
                  <a:gd name="T43" fmla="*/ 0 h 4"/>
                  <a:gd name="T44" fmla="*/ 8 w 8"/>
                  <a:gd name="T45" fmla="*/ 0 h 4"/>
                  <a:gd name="T46" fmla="*/ 8 w 8"/>
                  <a:gd name="T47" fmla="*/ 0 h 4"/>
                  <a:gd name="T48" fmla="*/ 8 w 8"/>
                  <a:gd name="T49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8" h="4">
                    <a:moveTo>
                      <a:pt x="8" y="0"/>
                    </a:move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3" name="Freeform 52">
                <a:extLst>
                  <a:ext uri="{FF2B5EF4-FFF2-40B4-BE49-F238E27FC236}">
                    <a16:creationId xmlns:a16="http://schemas.microsoft.com/office/drawing/2014/main" id="{D6118F88-A4DF-410A-9210-4CE69636B2D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26300" y="3473518"/>
                <a:ext cx="76200" cy="158750"/>
              </a:xfrm>
              <a:custGeom>
                <a:avLst/>
                <a:gdLst>
                  <a:gd name="T0" fmla="*/ 4 w 48"/>
                  <a:gd name="T1" fmla="*/ 40 h 100"/>
                  <a:gd name="T2" fmla="*/ 0 w 48"/>
                  <a:gd name="T3" fmla="*/ 34 h 100"/>
                  <a:gd name="T4" fmla="*/ 0 w 48"/>
                  <a:gd name="T5" fmla="*/ 38 h 100"/>
                  <a:gd name="T6" fmla="*/ 0 w 48"/>
                  <a:gd name="T7" fmla="*/ 34 h 100"/>
                  <a:gd name="T8" fmla="*/ 0 w 48"/>
                  <a:gd name="T9" fmla="*/ 30 h 100"/>
                  <a:gd name="T10" fmla="*/ 4 w 48"/>
                  <a:gd name="T11" fmla="*/ 30 h 100"/>
                  <a:gd name="T12" fmla="*/ 12 w 48"/>
                  <a:gd name="T13" fmla="*/ 34 h 100"/>
                  <a:gd name="T14" fmla="*/ 8 w 48"/>
                  <a:gd name="T15" fmla="*/ 26 h 100"/>
                  <a:gd name="T16" fmla="*/ 4 w 48"/>
                  <a:gd name="T17" fmla="*/ 18 h 100"/>
                  <a:gd name="T18" fmla="*/ 8 w 48"/>
                  <a:gd name="T19" fmla="*/ 10 h 100"/>
                  <a:gd name="T20" fmla="*/ 16 w 48"/>
                  <a:gd name="T21" fmla="*/ 4 h 100"/>
                  <a:gd name="T22" fmla="*/ 26 w 48"/>
                  <a:gd name="T23" fmla="*/ 4 h 100"/>
                  <a:gd name="T24" fmla="*/ 34 w 48"/>
                  <a:gd name="T25" fmla="*/ 4 h 100"/>
                  <a:gd name="T26" fmla="*/ 38 w 48"/>
                  <a:gd name="T27" fmla="*/ 14 h 100"/>
                  <a:gd name="T28" fmla="*/ 44 w 48"/>
                  <a:gd name="T29" fmla="*/ 22 h 100"/>
                  <a:gd name="T30" fmla="*/ 44 w 48"/>
                  <a:gd name="T31" fmla="*/ 34 h 100"/>
                  <a:gd name="T32" fmla="*/ 44 w 48"/>
                  <a:gd name="T33" fmla="*/ 48 h 100"/>
                  <a:gd name="T34" fmla="*/ 44 w 48"/>
                  <a:gd name="T35" fmla="*/ 60 h 100"/>
                  <a:gd name="T36" fmla="*/ 38 w 48"/>
                  <a:gd name="T37" fmla="*/ 64 h 100"/>
                  <a:gd name="T38" fmla="*/ 30 w 48"/>
                  <a:gd name="T39" fmla="*/ 66 h 100"/>
                  <a:gd name="T40" fmla="*/ 30 w 48"/>
                  <a:gd name="T41" fmla="*/ 70 h 100"/>
                  <a:gd name="T42" fmla="*/ 26 w 48"/>
                  <a:gd name="T43" fmla="*/ 70 h 100"/>
                  <a:gd name="T44" fmla="*/ 18 w 48"/>
                  <a:gd name="T45" fmla="*/ 66 h 100"/>
                  <a:gd name="T46" fmla="*/ 18 w 48"/>
                  <a:gd name="T47" fmla="*/ 74 h 100"/>
                  <a:gd name="T48" fmla="*/ 16 w 48"/>
                  <a:gd name="T49" fmla="*/ 74 h 100"/>
                  <a:gd name="T50" fmla="*/ 16 w 48"/>
                  <a:gd name="T51" fmla="*/ 74 h 100"/>
                  <a:gd name="T52" fmla="*/ 16 w 48"/>
                  <a:gd name="T53" fmla="*/ 70 h 100"/>
                  <a:gd name="T54" fmla="*/ 8 w 48"/>
                  <a:gd name="T55" fmla="*/ 78 h 100"/>
                  <a:gd name="T56" fmla="*/ 4 w 48"/>
                  <a:gd name="T57" fmla="*/ 82 h 100"/>
                  <a:gd name="T58" fmla="*/ 0 w 48"/>
                  <a:gd name="T59" fmla="*/ 74 h 100"/>
                  <a:gd name="T60" fmla="*/ 4 w 48"/>
                  <a:gd name="T61" fmla="*/ 70 h 100"/>
                  <a:gd name="T62" fmla="*/ 4 w 48"/>
                  <a:gd name="T63" fmla="*/ 66 h 100"/>
                  <a:gd name="T64" fmla="*/ 4 w 48"/>
                  <a:gd name="T65" fmla="*/ 66 h 100"/>
                  <a:gd name="T66" fmla="*/ 4 w 48"/>
                  <a:gd name="T67" fmla="*/ 56 h 100"/>
                  <a:gd name="T68" fmla="*/ 8 w 48"/>
                  <a:gd name="T69" fmla="*/ 52 h 100"/>
                  <a:gd name="T70" fmla="*/ 4 w 48"/>
                  <a:gd name="T71" fmla="*/ 48 h 100"/>
                  <a:gd name="T72" fmla="*/ 8 w 48"/>
                  <a:gd name="T73" fmla="*/ 48 h 100"/>
                  <a:gd name="T74" fmla="*/ 4 w 48"/>
                  <a:gd name="T75" fmla="*/ 14 h 100"/>
                  <a:gd name="T76" fmla="*/ 4 w 48"/>
                  <a:gd name="T77" fmla="*/ 40 h 100"/>
                  <a:gd name="T78" fmla="*/ 4 w 48"/>
                  <a:gd name="T79" fmla="*/ 38 h 100"/>
                  <a:gd name="T80" fmla="*/ 4 w 48"/>
                  <a:gd name="T81" fmla="*/ 40 h 100"/>
                  <a:gd name="T82" fmla="*/ 34 w 48"/>
                  <a:gd name="T83" fmla="*/ 70 h 100"/>
                  <a:gd name="T84" fmla="*/ 38 w 48"/>
                  <a:gd name="T85" fmla="*/ 66 h 100"/>
                  <a:gd name="T86" fmla="*/ 22 w 48"/>
                  <a:gd name="T87" fmla="*/ 70 h 100"/>
                  <a:gd name="T88" fmla="*/ 22 w 48"/>
                  <a:gd name="T89" fmla="*/ 70 h 100"/>
                  <a:gd name="T90" fmla="*/ 26 w 48"/>
                  <a:gd name="T91" fmla="*/ 66 h 100"/>
                  <a:gd name="T92" fmla="*/ 0 w 48"/>
                  <a:gd name="T93" fmla="*/ 78 h 100"/>
                  <a:gd name="T94" fmla="*/ 4 w 48"/>
                  <a:gd name="T95" fmla="*/ 78 h 100"/>
                  <a:gd name="T96" fmla="*/ 12 w 48"/>
                  <a:gd name="T97" fmla="*/ 94 h 100"/>
                  <a:gd name="T98" fmla="*/ 8 w 48"/>
                  <a:gd name="T99" fmla="*/ 100 h 100"/>
                  <a:gd name="T100" fmla="*/ 0 w 48"/>
                  <a:gd name="T101" fmla="*/ 96 h 100"/>
                  <a:gd name="T102" fmla="*/ 8 w 48"/>
                  <a:gd name="T103" fmla="*/ 94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48" h="100">
                    <a:moveTo>
                      <a:pt x="8" y="48"/>
                    </a:moveTo>
                    <a:lnTo>
                      <a:pt x="4" y="44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40" y="14"/>
                    </a:lnTo>
                    <a:lnTo>
                      <a:pt x="40" y="18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8"/>
                    </a:lnTo>
                    <a:lnTo>
                      <a:pt x="48" y="48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0" y="64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8" y="66"/>
                    </a:lnTo>
                    <a:lnTo>
                      <a:pt x="34" y="64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2" y="66"/>
                    </a:lnTo>
                    <a:lnTo>
                      <a:pt x="18" y="66"/>
                    </a:lnTo>
                    <a:lnTo>
                      <a:pt x="18" y="70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0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8" y="74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8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8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4" y="66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close/>
                    <a:moveTo>
                      <a:pt x="4" y="14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close/>
                    <a:moveTo>
                      <a:pt x="4" y="40"/>
                    </a:moveTo>
                    <a:lnTo>
                      <a:pt x="0" y="40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  <a:moveTo>
                      <a:pt x="38" y="66"/>
                    </a:moveTo>
                    <a:lnTo>
                      <a:pt x="38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6"/>
                    </a:lnTo>
                    <a:lnTo>
                      <a:pt x="38" y="66"/>
                    </a:lnTo>
                    <a:close/>
                    <a:moveTo>
                      <a:pt x="26" y="66"/>
                    </a:moveTo>
                    <a:lnTo>
                      <a:pt x="22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close/>
                    <a:moveTo>
                      <a:pt x="4" y="78"/>
                    </a:moveTo>
                    <a:lnTo>
                      <a:pt x="0" y="78"/>
                    </a:lnTo>
                    <a:lnTo>
                      <a:pt x="0" y="74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close/>
                    <a:moveTo>
                      <a:pt x="8" y="94"/>
                    </a:moveTo>
                    <a:lnTo>
                      <a:pt x="12" y="94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4" y="96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4" name="Freeform 53">
                <a:extLst>
                  <a:ext uri="{FF2B5EF4-FFF2-40B4-BE49-F238E27FC236}">
                    <a16:creationId xmlns:a16="http://schemas.microsoft.com/office/drawing/2014/main" id="{DC76E803-9180-43BB-9AF8-95B8CB89891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78550" y="4289493"/>
                <a:ext cx="53975" cy="107950"/>
              </a:xfrm>
              <a:custGeom>
                <a:avLst/>
                <a:gdLst>
                  <a:gd name="T0" fmla="*/ 4 w 34"/>
                  <a:gd name="T1" fmla="*/ 16 h 68"/>
                  <a:gd name="T2" fmla="*/ 0 w 34"/>
                  <a:gd name="T3" fmla="*/ 16 h 68"/>
                  <a:gd name="T4" fmla="*/ 4 w 34"/>
                  <a:gd name="T5" fmla="*/ 16 h 68"/>
                  <a:gd name="T6" fmla="*/ 30 w 34"/>
                  <a:gd name="T7" fmla="*/ 56 h 68"/>
                  <a:gd name="T8" fmla="*/ 30 w 34"/>
                  <a:gd name="T9" fmla="*/ 60 h 68"/>
                  <a:gd name="T10" fmla="*/ 20 w 34"/>
                  <a:gd name="T11" fmla="*/ 68 h 68"/>
                  <a:gd name="T12" fmla="*/ 20 w 34"/>
                  <a:gd name="T13" fmla="*/ 68 h 68"/>
                  <a:gd name="T14" fmla="*/ 12 w 34"/>
                  <a:gd name="T15" fmla="*/ 68 h 68"/>
                  <a:gd name="T16" fmla="*/ 8 w 34"/>
                  <a:gd name="T17" fmla="*/ 64 h 68"/>
                  <a:gd name="T18" fmla="*/ 4 w 34"/>
                  <a:gd name="T19" fmla="*/ 56 h 68"/>
                  <a:gd name="T20" fmla="*/ 4 w 34"/>
                  <a:gd name="T21" fmla="*/ 52 h 68"/>
                  <a:gd name="T22" fmla="*/ 4 w 34"/>
                  <a:gd name="T23" fmla="*/ 48 h 68"/>
                  <a:gd name="T24" fmla="*/ 4 w 34"/>
                  <a:gd name="T25" fmla="*/ 42 h 68"/>
                  <a:gd name="T26" fmla="*/ 4 w 34"/>
                  <a:gd name="T27" fmla="*/ 34 h 68"/>
                  <a:gd name="T28" fmla="*/ 4 w 34"/>
                  <a:gd name="T29" fmla="*/ 34 h 68"/>
                  <a:gd name="T30" fmla="*/ 0 w 34"/>
                  <a:gd name="T31" fmla="*/ 30 h 68"/>
                  <a:gd name="T32" fmla="*/ 4 w 34"/>
                  <a:gd name="T33" fmla="*/ 34 h 68"/>
                  <a:gd name="T34" fmla="*/ 4 w 34"/>
                  <a:gd name="T35" fmla="*/ 34 h 68"/>
                  <a:gd name="T36" fmla="*/ 4 w 34"/>
                  <a:gd name="T37" fmla="*/ 34 h 68"/>
                  <a:gd name="T38" fmla="*/ 4 w 34"/>
                  <a:gd name="T39" fmla="*/ 22 h 68"/>
                  <a:gd name="T40" fmla="*/ 4 w 34"/>
                  <a:gd name="T41" fmla="*/ 16 h 68"/>
                  <a:gd name="T42" fmla="*/ 8 w 34"/>
                  <a:gd name="T43" fmla="*/ 16 h 68"/>
                  <a:gd name="T44" fmla="*/ 8 w 34"/>
                  <a:gd name="T45" fmla="*/ 12 h 68"/>
                  <a:gd name="T46" fmla="*/ 8 w 34"/>
                  <a:gd name="T47" fmla="*/ 8 h 68"/>
                  <a:gd name="T48" fmla="*/ 8 w 34"/>
                  <a:gd name="T49" fmla="*/ 8 h 68"/>
                  <a:gd name="T50" fmla="*/ 8 w 34"/>
                  <a:gd name="T51" fmla="*/ 8 h 68"/>
                  <a:gd name="T52" fmla="*/ 16 w 34"/>
                  <a:gd name="T53" fmla="*/ 8 h 68"/>
                  <a:gd name="T54" fmla="*/ 16 w 34"/>
                  <a:gd name="T55" fmla="*/ 8 h 68"/>
                  <a:gd name="T56" fmla="*/ 12 w 34"/>
                  <a:gd name="T57" fmla="*/ 8 h 68"/>
                  <a:gd name="T58" fmla="*/ 8 w 34"/>
                  <a:gd name="T59" fmla="*/ 4 h 68"/>
                  <a:gd name="T60" fmla="*/ 8 w 34"/>
                  <a:gd name="T61" fmla="*/ 4 h 68"/>
                  <a:gd name="T62" fmla="*/ 8 w 34"/>
                  <a:gd name="T63" fmla="*/ 4 h 68"/>
                  <a:gd name="T64" fmla="*/ 4 w 34"/>
                  <a:gd name="T65" fmla="*/ 0 h 68"/>
                  <a:gd name="T66" fmla="*/ 8 w 34"/>
                  <a:gd name="T67" fmla="*/ 4 h 68"/>
                  <a:gd name="T68" fmla="*/ 8 w 34"/>
                  <a:gd name="T69" fmla="*/ 4 h 68"/>
                  <a:gd name="T70" fmla="*/ 12 w 34"/>
                  <a:gd name="T71" fmla="*/ 4 h 68"/>
                  <a:gd name="T72" fmla="*/ 8 w 34"/>
                  <a:gd name="T73" fmla="*/ 4 h 68"/>
                  <a:gd name="T74" fmla="*/ 12 w 34"/>
                  <a:gd name="T75" fmla="*/ 0 h 68"/>
                  <a:gd name="T76" fmla="*/ 12 w 34"/>
                  <a:gd name="T77" fmla="*/ 4 h 68"/>
                  <a:gd name="T78" fmla="*/ 16 w 34"/>
                  <a:gd name="T79" fmla="*/ 8 h 68"/>
                  <a:gd name="T80" fmla="*/ 16 w 34"/>
                  <a:gd name="T81" fmla="*/ 8 h 68"/>
                  <a:gd name="T82" fmla="*/ 20 w 34"/>
                  <a:gd name="T83" fmla="*/ 12 h 68"/>
                  <a:gd name="T84" fmla="*/ 20 w 34"/>
                  <a:gd name="T85" fmla="*/ 16 h 68"/>
                  <a:gd name="T86" fmla="*/ 20 w 34"/>
                  <a:gd name="T87" fmla="*/ 18 h 68"/>
                  <a:gd name="T88" fmla="*/ 24 w 34"/>
                  <a:gd name="T89" fmla="*/ 22 h 68"/>
                  <a:gd name="T90" fmla="*/ 24 w 34"/>
                  <a:gd name="T91" fmla="*/ 22 h 68"/>
                  <a:gd name="T92" fmla="*/ 24 w 34"/>
                  <a:gd name="T93" fmla="*/ 26 h 68"/>
                  <a:gd name="T94" fmla="*/ 26 w 34"/>
                  <a:gd name="T95" fmla="*/ 26 h 68"/>
                  <a:gd name="T96" fmla="*/ 26 w 34"/>
                  <a:gd name="T97" fmla="*/ 30 h 68"/>
                  <a:gd name="T98" fmla="*/ 30 w 34"/>
                  <a:gd name="T99" fmla="*/ 38 h 68"/>
                  <a:gd name="T100" fmla="*/ 30 w 34"/>
                  <a:gd name="T101" fmla="*/ 38 h 68"/>
                  <a:gd name="T102" fmla="*/ 30 w 34"/>
                  <a:gd name="T103" fmla="*/ 42 h 68"/>
                  <a:gd name="T104" fmla="*/ 30 w 34"/>
                  <a:gd name="T105" fmla="*/ 42 h 68"/>
                  <a:gd name="T106" fmla="*/ 34 w 34"/>
                  <a:gd name="T107" fmla="*/ 46 h 68"/>
                  <a:gd name="T108" fmla="*/ 34 w 34"/>
                  <a:gd name="T109" fmla="*/ 48 h 68"/>
                  <a:gd name="T110" fmla="*/ 30 w 34"/>
                  <a:gd name="T111" fmla="*/ 56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34" h="68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0" y="56"/>
                    </a:move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5" name="Freeform 54">
                <a:extLst>
                  <a:ext uri="{FF2B5EF4-FFF2-40B4-BE49-F238E27FC236}">
                    <a16:creationId xmlns:a16="http://schemas.microsoft.com/office/drawing/2014/main" id="{76879E7A-3F14-41F8-89F1-A751EEDFB9F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91125" y="3508443"/>
                <a:ext cx="155575" cy="149225"/>
              </a:xfrm>
              <a:custGeom>
                <a:avLst/>
                <a:gdLst>
                  <a:gd name="T0" fmla="*/ 0 w 98"/>
                  <a:gd name="T1" fmla="*/ 78 h 94"/>
                  <a:gd name="T2" fmla="*/ 4 w 98"/>
                  <a:gd name="T3" fmla="*/ 76 h 94"/>
                  <a:gd name="T4" fmla="*/ 4 w 98"/>
                  <a:gd name="T5" fmla="*/ 76 h 94"/>
                  <a:gd name="T6" fmla="*/ 4 w 98"/>
                  <a:gd name="T7" fmla="*/ 72 h 94"/>
                  <a:gd name="T8" fmla="*/ 12 w 98"/>
                  <a:gd name="T9" fmla="*/ 68 h 94"/>
                  <a:gd name="T10" fmla="*/ 12 w 98"/>
                  <a:gd name="T11" fmla="*/ 68 h 94"/>
                  <a:gd name="T12" fmla="*/ 16 w 98"/>
                  <a:gd name="T13" fmla="*/ 60 h 94"/>
                  <a:gd name="T14" fmla="*/ 12 w 98"/>
                  <a:gd name="T15" fmla="*/ 56 h 94"/>
                  <a:gd name="T16" fmla="*/ 12 w 98"/>
                  <a:gd name="T17" fmla="*/ 52 h 94"/>
                  <a:gd name="T18" fmla="*/ 8 w 98"/>
                  <a:gd name="T19" fmla="*/ 52 h 94"/>
                  <a:gd name="T20" fmla="*/ 4 w 98"/>
                  <a:gd name="T21" fmla="*/ 52 h 94"/>
                  <a:gd name="T22" fmla="*/ 4 w 98"/>
                  <a:gd name="T23" fmla="*/ 44 h 94"/>
                  <a:gd name="T24" fmla="*/ 4 w 98"/>
                  <a:gd name="T25" fmla="*/ 42 h 94"/>
                  <a:gd name="T26" fmla="*/ 4 w 98"/>
                  <a:gd name="T27" fmla="*/ 34 h 94"/>
                  <a:gd name="T28" fmla="*/ 4 w 98"/>
                  <a:gd name="T29" fmla="*/ 26 h 94"/>
                  <a:gd name="T30" fmla="*/ 8 w 98"/>
                  <a:gd name="T31" fmla="*/ 30 h 94"/>
                  <a:gd name="T32" fmla="*/ 8 w 98"/>
                  <a:gd name="T33" fmla="*/ 26 h 94"/>
                  <a:gd name="T34" fmla="*/ 12 w 98"/>
                  <a:gd name="T35" fmla="*/ 22 h 94"/>
                  <a:gd name="T36" fmla="*/ 16 w 98"/>
                  <a:gd name="T37" fmla="*/ 22 h 94"/>
                  <a:gd name="T38" fmla="*/ 16 w 98"/>
                  <a:gd name="T39" fmla="*/ 18 h 94"/>
                  <a:gd name="T40" fmla="*/ 16 w 98"/>
                  <a:gd name="T41" fmla="*/ 12 h 94"/>
                  <a:gd name="T42" fmla="*/ 24 w 98"/>
                  <a:gd name="T43" fmla="*/ 14 h 94"/>
                  <a:gd name="T44" fmla="*/ 30 w 98"/>
                  <a:gd name="T45" fmla="*/ 12 h 94"/>
                  <a:gd name="T46" fmla="*/ 34 w 98"/>
                  <a:gd name="T47" fmla="*/ 12 h 94"/>
                  <a:gd name="T48" fmla="*/ 34 w 98"/>
                  <a:gd name="T49" fmla="*/ 12 h 94"/>
                  <a:gd name="T50" fmla="*/ 42 w 98"/>
                  <a:gd name="T51" fmla="*/ 8 h 94"/>
                  <a:gd name="T52" fmla="*/ 46 w 98"/>
                  <a:gd name="T53" fmla="*/ 12 h 94"/>
                  <a:gd name="T54" fmla="*/ 50 w 98"/>
                  <a:gd name="T55" fmla="*/ 12 h 94"/>
                  <a:gd name="T56" fmla="*/ 52 w 98"/>
                  <a:gd name="T57" fmla="*/ 14 h 94"/>
                  <a:gd name="T58" fmla="*/ 60 w 98"/>
                  <a:gd name="T59" fmla="*/ 12 h 94"/>
                  <a:gd name="T60" fmla="*/ 68 w 98"/>
                  <a:gd name="T61" fmla="*/ 8 h 94"/>
                  <a:gd name="T62" fmla="*/ 72 w 98"/>
                  <a:gd name="T63" fmla="*/ 8 h 94"/>
                  <a:gd name="T64" fmla="*/ 76 w 98"/>
                  <a:gd name="T65" fmla="*/ 4 h 94"/>
                  <a:gd name="T66" fmla="*/ 82 w 98"/>
                  <a:gd name="T67" fmla="*/ 4 h 94"/>
                  <a:gd name="T68" fmla="*/ 90 w 98"/>
                  <a:gd name="T69" fmla="*/ 4 h 94"/>
                  <a:gd name="T70" fmla="*/ 94 w 98"/>
                  <a:gd name="T71" fmla="*/ 0 h 94"/>
                  <a:gd name="T72" fmla="*/ 98 w 98"/>
                  <a:gd name="T73" fmla="*/ 4 h 94"/>
                  <a:gd name="T74" fmla="*/ 82 w 98"/>
                  <a:gd name="T75" fmla="*/ 18 h 94"/>
                  <a:gd name="T76" fmla="*/ 82 w 98"/>
                  <a:gd name="T77" fmla="*/ 30 h 94"/>
                  <a:gd name="T78" fmla="*/ 82 w 98"/>
                  <a:gd name="T79" fmla="*/ 38 h 94"/>
                  <a:gd name="T80" fmla="*/ 80 w 98"/>
                  <a:gd name="T81" fmla="*/ 42 h 94"/>
                  <a:gd name="T82" fmla="*/ 80 w 98"/>
                  <a:gd name="T83" fmla="*/ 44 h 94"/>
                  <a:gd name="T84" fmla="*/ 80 w 98"/>
                  <a:gd name="T85" fmla="*/ 56 h 94"/>
                  <a:gd name="T86" fmla="*/ 60 w 98"/>
                  <a:gd name="T87" fmla="*/ 68 h 94"/>
                  <a:gd name="T88" fmla="*/ 46 w 98"/>
                  <a:gd name="T89" fmla="*/ 76 h 94"/>
                  <a:gd name="T90" fmla="*/ 30 w 98"/>
                  <a:gd name="T91" fmla="*/ 86 h 94"/>
                  <a:gd name="T92" fmla="*/ 20 w 98"/>
                  <a:gd name="T93" fmla="*/ 94 h 94"/>
                  <a:gd name="T94" fmla="*/ 12 w 98"/>
                  <a:gd name="T95" fmla="*/ 94 h 94"/>
                  <a:gd name="T96" fmla="*/ 8 w 98"/>
                  <a:gd name="T97" fmla="*/ 90 h 94"/>
                  <a:gd name="T98" fmla="*/ 4 w 98"/>
                  <a:gd name="T99" fmla="*/ 86 h 94"/>
                  <a:gd name="T100" fmla="*/ 0 w 98"/>
                  <a:gd name="T101" fmla="*/ 86 h 94"/>
                  <a:gd name="T102" fmla="*/ 0 w 98"/>
                  <a:gd name="T103" fmla="*/ 86 h 94"/>
                  <a:gd name="T104" fmla="*/ 0 w 98"/>
                  <a:gd name="T105" fmla="*/ 82 h 94"/>
                  <a:gd name="T106" fmla="*/ 0 w 98"/>
                  <a:gd name="T107" fmla="*/ 78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98" h="94">
                    <a:moveTo>
                      <a:pt x="0" y="78"/>
                    </a:move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0" y="14"/>
                    </a:lnTo>
                    <a:lnTo>
                      <a:pt x="82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2" y="38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2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72"/>
                    </a:lnTo>
                    <a:lnTo>
                      <a:pt x="50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82"/>
                    </a:lnTo>
                    <a:lnTo>
                      <a:pt x="30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4" y="90"/>
                    </a:lnTo>
                    <a:lnTo>
                      <a:pt x="20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6" name="Freeform 55">
                <a:extLst>
                  <a:ext uri="{FF2B5EF4-FFF2-40B4-BE49-F238E27FC236}">
                    <a16:creationId xmlns:a16="http://schemas.microsoft.com/office/drawing/2014/main" id="{30620182-4667-466C-84E7-D46B804A2D1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908675" y="3394143"/>
                <a:ext cx="171450" cy="139700"/>
              </a:xfrm>
              <a:custGeom>
                <a:avLst/>
                <a:gdLst>
                  <a:gd name="T0" fmla="*/ 100 w 108"/>
                  <a:gd name="T1" fmla="*/ 72 h 88"/>
                  <a:gd name="T2" fmla="*/ 90 w 108"/>
                  <a:gd name="T3" fmla="*/ 76 h 88"/>
                  <a:gd name="T4" fmla="*/ 90 w 108"/>
                  <a:gd name="T5" fmla="*/ 72 h 88"/>
                  <a:gd name="T6" fmla="*/ 82 w 108"/>
                  <a:gd name="T7" fmla="*/ 72 h 88"/>
                  <a:gd name="T8" fmla="*/ 74 w 108"/>
                  <a:gd name="T9" fmla="*/ 76 h 88"/>
                  <a:gd name="T10" fmla="*/ 68 w 108"/>
                  <a:gd name="T11" fmla="*/ 80 h 88"/>
                  <a:gd name="T12" fmla="*/ 60 w 108"/>
                  <a:gd name="T13" fmla="*/ 84 h 88"/>
                  <a:gd name="T14" fmla="*/ 56 w 108"/>
                  <a:gd name="T15" fmla="*/ 72 h 88"/>
                  <a:gd name="T16" fmla="*/ 60 w 108"/>
                  <a:gd name="T17" fmla="*/ 64 h 88"/>
                  <a:gd name="T18" fmla="*/ 52 w 108"/>
                  <a:gd name="T19" fmla="*/ 60 h 88"/>
                  <a:gd name="T20" fmla="*/ 52 w 108"/>
                  <a:gd name="T21" fmla="*/ 54 h 88"/>
                  <a:gd name="T22" fmla="*/ 44 w 108"/>
                  <a:gd name="T23" fmla="*/ 58 h 88"/>
                  <a:gd name="T24" fmla="*/ 38 w 108"/>
                  <a:gd name="T25" fmla="*/ 64 h 88"/>
                  <a:gd name="T26" fmla="*/ 38 w 108"/>
                  <a:gd name="T27" fmla="*/ 68 h 88"/>
                  <a:gd name="T28" fmla="*/ 26 w 108"/>
                  <a:gd name="T29" fmla="*/ 72 h 88"/>
                  <a:gd name="T30" fmla="*/ 22 w 108"/>
                  <a:gd name="T31" fmla="*/ 72 h 88"/>
                  <a:gd name="T32" fmla="*/ 12 w 108"/>
                  <a:gd name="T33" fmla="*/ 76 h 88"/>
                  <a:gd name="T34" fmla="*/ 4 w 108"/>
                  <a:gd name="T35" fmla="*/ 76 h 88"/>
                  <a:gd name="T36" fmla="*/ 8 w 108"/>
                  <a:gd name="T37" fmla="*/ 68 h 88"/>
                  <a:gd name="T38" fmla="*/ 12 w 108"/>
                  <a:gd name="T39" fmla="*/ 58 h 88"/>
                  <a:gd name="T40" fmla="*/ 12 w 108"/>
                  <a:gd name="T41" fmla="*/ 54 h 88"/>
                  <a:gd name="T42" fmla="*/ 12 w 108"/>
                  <a:gd name="T43" fmla="*/ 46 h 88"/>
                  <a:gd name="T44" fmla="*/ 4 w 108"/>
                  <a:gd name="T45" fmla="*/ 42 h 88"/>
                  <a:gd name="T46" fmla="*/ 0 w 108"/>
                  <a:gd name="T47" fmla="*/ 34 h 88"/>
                  <a:gd name="T48" fmla="*/ 8 w 108"/>
                  <a:gd name="T49" fmla="*/ 28 h 88"/>
                  <a:gd name="T50" fmla="*/ 14 w 108"/>
                  <a:gd name="T51" fmla="*/ 30 h 88"/>
                  <a:gd name="T52" fmla="*/ 18 w 108"/>
                  <a:gd name="T53" fmla="*/ 24 h 88"/>
                  <a:gd name="T54" fmla="*/ 18 w 108"/>
                  <a:gd name="T55" fmla="*/ 20 h 88"/>
                  <a:gd name="T56" fmla="*/ 18 w 108"/>
                  <a:gd name="T57" fmla="*/ 16 h 88"/>
                  <a:gd name="T58" fmla="*/ 26 w 108"/>
                  <a:gd name="T59" fmla="*/ 12 h 88"/>
                  <a:gd name="T60" fmla="*/ 30 w 108"/>
                  <a:gd name="T61" fmla="*/ 4 h 88"/>
                  <a:gd name="T62" fmla="*/ 38 w 108"/>
                  <a:gd name="T63" fmla="*/ 8 h 88"/>
                  <a:gd name="T64" fmla="*/ 42 w 108"/>
                  <a:gd name="T65" fmla="*/ 0 h 88"/>
                  <a:gd name="T66" fmla="*/ 48 w 108"/>
                  <a:gd name="T67" fmla="*/ 4 h 88"/>
                  <a:gd name="T68" fmla="*/ 44 w 108"/>
                  <a:gd name="T69" fmla="*/ 12 h 88"/>
                  <a:gd name="T70" fmla="*/ 44 w 108"/>
                  <a:gd name="T71" fmla="*/ 16 h 88"/>
                  <a:gd name="T72" fmla="*/ 44 w 108"/>
                  <a:gd name="T73" fmla="*/ 20 h 88"/>
                  <a:gd name="T74" fmla="*/ 44 w 108"/>
                  <a:gd name="T75" fmla="*/ 24 h 88"/>
                  <a:gd name="T76" fmla="*/ 38 w 108"/>
                  <a:gd name="T77" fmla="*/ 16 h 88"/>
                  <a:gd name="T78" fmla="*/ 30 w 108"/>
                  <a:gd name="T79" fmla="*/ 24 h 88"/>
                  <a:gd name="T80" fmla="*/ 26 w 108"/>
                  <a:gd name="T81" fmla="*/ 24 h 88"/>
                  <a:gd name="T82" fmla="*/ 30 w 108"/>
                  <a:gd name="T83" fmla="*/ 30 h 88"/>
                  <a:gd name="T84" fmla="*/ 42 w 108"/>
                  <a:gd name="T85" fmla="*/ 30 h 88"/>
                  <a:gd name="T86" fmla="*/ 44 w 108"/>
                  <a:gd name="T87" fmla="*/ 30 h 88"/>
                  <a:gd name="T88" fmla="*/ 52 w 108"/>
                  <a:gd name="T89" fmla="*/ 30 h 88"/>
                  <a:gd name="T90" fmla="*/ 60 w 108"/>
                  <a:gd name="T91" fmla="*/ 30 h 88"/>
                  <a:gd name="T92" fmla="*/ 60 w 108"/>
                  <a:gd name="T93" fmla="*/ 34 h 88"/>
                  <a:gd name="T94" fmla="*/ 68 w 108"/>
                  <a:gd name="T95" fmla="*/ 38 h 88"/>
                  <a:gd name="T96" fmla="*/ 74 w 108"/>
                  <a:gd name="T97" fmla="*/ 34 h 88"/>
                  <a:gd name="T98" fmla="*/ 82 w 108"/>
                  <a:gd name="T99" fmla="*/ 30 h 88"/>
                  <a:gd name="T100" fmla="*/ 90 w 108"/>
                  <a:gd name="T101" fmla="*/ 34 h 88"/>
                  <a:gd name="T102" fmla="*/ 90 w 108"/>
                  <a:gd name="T103" fmla="*/ 42 h 88"/>
                  <a:gd name="T104" fmla="*/ 94 w 108"/>
                  <a:gd name="T105" fmla="*/ 50 h 88"/>
                  <a:gd name="T106" fmla="*/ 100 w 108"/>
                  <a:gd name="T107" fmla="*/ 50 h 88"/>
                  <a:gd name="T108" fmla="*/ 104 w 108"/>
                  <a:gd name="T109" fmla="*/ 58 h 88"/>
                  <a:gd name="T110" fmla="*/ 108 w 108"/>
                  <a:gd name="T111" fmla="*/ 64 h 88"/>
                  <a:gd name="T112" fmla="*/ 108 w 108"/>
                  <a:gd name="T113" fmla="*/ 68 h 88"/>
                  <a:gd name="T114" fmla="*/ 104 w 108"/>
                  <a:gd name="T115" fmla="*/ 76 h 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08" h="88">
                    <a:moveTo>
                      <a:pt x="104" y="76"/>
                    </a:moveTo>
                    <a:lnTo>
                      <a:pt x="104" y="72"/>
                    </a:lnTo>
                    <a:lnTo>
                      <a:pt x="100" y="72"/>
                    </a:lnTo>
                    <a:lnTo>
                      <a:pt x="98" y="72"/>
                    </a:lnTo>
                    <a:lnTo>
                      <a:pt x="94" y="72"/>
                    </a:lnTo>
                    <a:lnTo>
                      <a:pt x="90" y="76"/>
                    </a:lnTo>
                    <a:lnTo>
                      <a:pt x="86" y="76"/>
                    </a:lnTo>
                    <a:lnTo>
                      <a:pt x="86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2" y="72"/>
                    </a:lnTo>
                    <a:lnTo>
                      <a:pt x="78" y="72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68" y="80"/>
                    </a:lnTo>
                    <a:lnTo>
                      <a:pt x="64" y="84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48" y="50"/>
                    </a:lnTo>
                    <a:lnTo>
                      <a:pt x="44" y="54"/>
                    </a:lnTo>
                    <a:lnTo>
                      <a:pt x="44" y="58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42" y="64"/>
                    </a:lnTo>
                    <a:lnTo>
                      <a:pt x="42" y="68"/>
                    </a:lnTo>
                    <a:lnTo>
                      <a:pt x="38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8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lnTo>
                      <a:pt x="12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28"/>
                    </a:lnTo>
                    <a:lnTo>
                      <a:pt x="14" y="24"/>
                    </a:lnTo>
                    <a:lnTo>
                      <a:pt x="18" y="24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4" y="24"/>
                    </a:lnTo>
                    <a:lnTo>
                      <a:pt x="42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2" y="20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28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4"/>
                    </a:lnTo>
                    <a:lnTo>
                      <a:pt x="90" y="38"/>
                    </a:lnTo>
                    <a:lnTo>
                      <a:pt x="90" y="42"/>
                    </a:lnTo>
                    <a:lnTo>
                      <a:pt x="90" y="46"/>
                    </a:lnTo>
                    <a:lnTo>
                      <a:pt x="90" y="50"/>
                    </a:lnTo>
                    <a:lnTo>
                      <a:pt x="94" y="50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100" y="50"/>
                    </a:lnTo>
                    <a:lnTo>
                      <a:pt x="104" y="50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7" name="Freeform 56">
                <a:extLst>
                  <a:ext uri="{FF2B5EF4-FFF2-40B4-BE49-F238E27FC236}">
                    <a16:creationId xmlns:a16="http://schemas.microsoft.com/office/drawing/2014/main" id="{C40F21DC-072E-4831-86C7-03ED353660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78600" y="4000568"/>
                <a:ext cx="187325" cy="409575"/>
              </a:xfrm>
              <a:custGeom>
                <a:avLst/>
                <a:gdLst>
                  <a:gd name="T0" fmla="*/ 54 w 118"/>
                  <a:gd name="T1" fmla="*/ 258 h 258"/>
                  <a:gd name="T2" fmla="*/ 50 w 118"/>
                  <a:gd name="T3" fmla="*/ 246 h 258"/>
                  <a:gd name="T4" fmla="*/ 40 w 118"/>
                  <a:gd name="T5" fmla="*/ 242 h 258"/>
                  <a:gd name="T6" fmla="*/ 36 w 118"/>
                  <a:gd name="T7" fmla="*/ 232 h 258"/>
                  <a:gd name="T8" fmla="*/ 24 w 118"/>
                  <a:gd name="T9" fmla="*/ 220 h 258"/>
                  <a:gd name="T10" fmla="*/ 18 w 118"/>
                  <a:gd name="T11" fmla="*/ 212 h 258"/>
                  <a:gd name="T12" fmla="*/ 14 w 118"/>
                  <a:gd name="T13" fmla="*/ 202 h 258"/>
                  <a:gd name="T14" fmla="*/ 18 w 118"/>
                  <a:gd name="T15" fmla="*/ 182 h 258"/>
                  <a:gd name="T16" fmla="*/ 28 w 118"/>
                  <a:gd name="T17" fmla="*/ 160 h 258"/>
                  <a:gd name="T18" fmla="*/ 32 w 118"/>
                  <a:gd name="T19" fmla="*/ 142 h 258"/>
                  <a:gd name="T20" fmla="*/ 28 w 118"/>
                  <a:gd name="T21" fmla="*/ 122 h 258"/>
                  <a:gd name="T22" fmla="*/ 20 w 118"/>
                  <a:gd name="T23" fmla="*/ 108 h 258"/>
                  <a:gd name="T24" fmla="*/ 14 w 118"/>
                  <a:gd name="T25" fmla="*/ 94 h 258"/>
                  <a:gd name="T26" fmla="*/ 18 w 118"/>
                  <a:gd name="T27" fmla="*/ 74 h 258"/>
                  <a:gd name="T28" fmla="*/ 18 w 118"/>
                  <a:gd name="T29" fmla="*/ 60 h 258"/>
                  <a:gd name="T30" fmla="*/ 6 w 118"/>
                  <a:gd name="T31" fmla="*/ 48 h 258"/>
                  <a:gd name="T32" fmla="*/ 4 w 118"/>
                  <a:gd name="T33" fmla="*/ 34 h 258"/>
                  <a:gd name="T34" fmla="*/ 6 w 118"/>
                  <a:gd name="T35" fmla="*/ 22 h 258"/>
                  <a:gd name="T36" fmla="*/ 18 w 118"/>
                  <a:gd name="T37" fmla="*/ 12 h 258"/>
                  <a:gd name="T38" fmla="*/ 28 w 118"/>
                  <a:gd name="T39" fmla="*/ 8 h 258"/>
                  <a:gd name="T40" fmla="*/ 40 w 118"/>
                  <a:gd name="T41" fmla="*/ 4 h 258"/>
                  <a:gd name="T42" fmla="*/ 44 w 118"/>
                  <a:gd name="T43" fmla="*/ 12 h 258"/>
                  <a:gd name="T44" fmla="*/ 54 w 118"/>
                  <a:gd name="T45" fmla="*/ 22 h 258"/>
                  <a:gd name="T46" fmla="*/ 54 w 118"/>
                  <a:gd name="T47" fmla="*/ 38 h 258"/>
                  <a:gd name="T48" fmla="*/ 54 w 118"/>
                  <a:gd name="T49" fmla="*/ 52 h 258"/>
                  <a:gd name="T50" fmla="*/ 66 w 118"/>
                  <a:gd name="T51" fmla="*/ 40 h 258"/>
                  <a:gd name="T52" fmla="*/ 76 w 118"/>
                  <a:gd name="T53" fmla="*/ 44 h 258"/>
                  <a:gd name="T54" fmla="*/ 88 w 118"/>
                  <a:gd name="T55" fmla="*/ 38 h 258"/>
                  <a:gd name="T56" fmla="*/ 102 w 118"/>
                  <a:gd name="T57" fmla="*/ 48 h 258"/>
                  <a:gd name="T58" fmla="*/ 106 w 118"/>
                  <a:gd name="T59" fmla="*/ 64 h 258"/>
                  <a:gd name="T60" fmla="*/ 110 w 118"/>
                  <a:gd name="T61" fmla="*/ 78 h 258"/>
                  <a:gd name="T62" fmla="*/ 114 w 118"/>
                  <a:gd name="T63" fmla="*/ 94 h 258"/>
                  <a:gd name="T64" fmla="*/ 110 w 118"/>
                  <a:gd name="T65" fmla="*/ 104 h 258"/>
                  <a:gd name="T66" fmla="*/ 96 w 118"/>
                  <a:gd name="T67" fmla="*/ 104 h 258"/>
                  <a:gd name="T68" fmla="*/ 80 w 118"/>
                  <a:gd name="T69" fmla="*/ 112 h 258"/>
                  <a:gd name="T70" fmla="*/ 70 w 118"/>
                  <a:gd name="T71" fmla="*/ 122 h 258"/>
                  <a:gd name="T72" fmla="*/ 76 w 118"/>
                  <a:gd name="T73" fmla="*/ 142 h 258"/>
                  <a:gd name="T74" fmla="*/ 76 w 118"/>
                  <a:gd name="T75" fmla="*/ 146 h 258"/>
                  <a:gd name="T76" fmla="*/ 66 w 118"/>
                  <a:gd name="T77" fmla="*/ 134 h 258"/>
                  <a:gd name="T78" fmla="*/ 50 w 118"/>
                  <a:gd name="T79" fmla="*/ 134 h 258"/>
                  <a:gd name="T80" fmla="*/ 50 w 118"/>
                  <a:gd name="T81" fmla="*/ 120 h 258"/>
                  <a:gd name="T82" fmla="*/ 40 w 118"/>
                  <a:gd name="T83" fmla="*/ 126 h 258"/>
                  <a:gd name="T84" fmla="*/ 36 w 118"/>
                  <a:gd name="T85" fmla="*/ 148 h 258"/>
                  <a:gd name="T86" fmla="*/ 28 w 118"/>
                  <a:gd name="T87" fmla="*/ 168 h 258"/>
                  <a:gd name="T88" fmla="*/ 28 w 118"/>
                  <a:gd name="T89" fmla="*/ 190 h 258"/>
                  <a:gd name="T90" fmla="*/ 36 w 118"/>
                  <a:gd name="T91" fmla="*/ 204 h 258"/>
                  <a:gd name="T92" fmla="*/ 44 w 118"/>
                  <a:gd name="T93" fmla="*/ 212 h 258"/>
                  <a:gd name="T94" fmla="*/ 46 w 118"/>
                  <a:gd name="T95" fmla="*/ 232 h 258"/>
                  <a:gd name="T96" fmla="*/ 40 w 118"/>
                  <a:gd name="T97" fmla="*/ 224 h 258"/>
                  <a:gd name="T98" fmla="*/ 46 w 118"/>
                  <a:gd name="T99" fmla="*/ 232 h 258"/>
                  <a:gd name="T100" fmla="*/ 58 w 118"/>
                  <a:gd name="T101" fmla="*/ 234 h 258"/>
                  <a:gd name="T102" fmla="*/ 66 w 118"/>
                  <a:gd name="T103" fmla="*/ 254 h 258"/>
                  <a:gd name="T104" fmla="*/ 18 w 118"/>
                  <a:gd name="T105" fmla="*/ 212 h 258"/>
                  <a:gd name="T106" fmla="*/ 32 w 118"/>
                  <a:gd name="T107" fmla="*/ 238 h 258"/>
                  <a:gd name="T108" fmla="*/ 72 w 118"/>
                  <a:gd name="T109" fmla="*/ 146 h 258"/>
                  <a:gd name="T110" fmla="*/ 72 w 118"/>
                  <a:gd name="T111" fmla="*/ 148 h 258"/>
                  <a:gd name="T112" fmla="*/ 40 w 118"/>
                  <a:gd name="T113" fmla="*/ 190 h 258"/>
                  <a:gd name="T114" fmla="*/ 14 w 118"/>
                  <a:gd name="T115" fmla="*/ 216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8" h="258">
                    <a:moveTo>
                      <a:pt x="62" y="254"/>
                    </a:moveTo>
                    <a:lnTo>
                      <a:pt x="62" y="250"/>
                    </a:lnTo>
                    <a:lnTo>
                      <a:pt x="58" y="250"/>
                    </a:lnTo>
                    <a:lnTo>
                      <a:pt x="58" y="254"/>
                    </a:lnTo>
                    <a:lnTo>
                      <a:pt x="54" y="254"/>
                    </a:lnTo>
                    <a:lnTo>
                      <a:pt x="54" y="258"/>
                    </a:lnTo>
                    <a:lnTo>
                      <a:pt x="54" y="254"/>
                    </a:lnTo>
                    <a:lnTo>
                      <a:pt x="50" y="254"/>
                    </a:lnTo>
                    <a:lnTo>
                      <a:pt x="50" y="250"/>
                    </a:lnTo>
                    <a:lnTo>
                      <a:pt x="54" y="250"/>
                    </a:lnTo>
                    <a:lnTo>
                      <a:pt x="54" y="246"/>
                    </a:lnTo>
                    <a:lnTo>
                      <a:pt x="50" y="246"/>
                    </a:lnTo>
                    <a:lnTo>
                      <a:pt x="50" y="242"/>
                    </a:lnTo>
                    <a:lnTo>
                      <a:pt x="46" y="242"/>
                    </a:lnTo>
                    <a:lnTo>
                      <a:pt x="44" y="242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32" y="234"/>
                    </a:lnTo>
                    <a:lnTo>
                      <a:pt x="32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32" y="228"/>
                    </a:lnTo>
                    <a:lnTo>
                      <a:pt x="28" y="228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0" y="216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8" y="208"/>
                    </a:lnTo>
                    <a:lnTo>
                      <a:pt x="18" y="212"/>
                    </a:lnTo>
                    <a:lnTo>
                      <a:pt x="14" y="212"/>
                    </a:lnTo>
                    <a:lnTo>
                      <a:pt x="14" y="208"/>
                    </a:lnTo>
                    <a:lnTo>
                      <a:pt x="14" y="204"/>
                    </a:lnTo>
                    <a:lnTo>
                      <a:pt x="14" y="202"/>
                    </a:lnTo>
                    <a:lnTo>
                      <a:pt x="14" y="198"/>
                    </a:lnTo>
                    <a:lnTo>
                      <a:pt x="14" y="194"/>
                    </a:lnTo>
                    <a:lnTo>
                      <a:pt x="14" y="190"/>
                    </a:lnTo>
                    <a:lnTo>
                      <a:pt x="18" y="190"/>
                    </a:lnTo>
                    <a:lnTo>
                      <a:pt x="18" y="186"/>
                    </a:lnTo>
                    <a:lnTo>
                      <a:pt x="18" y="182"/>
                    </a:lnTo>
                    <a:lnTo>
                      <a:pt x="20" y="178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4" y="164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2" y="146"/>
                    </a:lnTo>
                    <a:lnTo>
                      <a:pt x="32" y="142"/>
                    </a:lnTo>
                    <a:lnTo>
                      <a:pt x="28" y="142"/>
                    </a:lnTo>
                    <a:lnTo>
                      <a:pt x="28" y="138"/>
                    </a:lnTo>
                    <a:lnTo>
                      <a:pt x="28" y="134"/>
                    </a:lnTo>
                    <a:lnTo>
                      <a:pt x="24" y="126"/>
                    </a:lnTo>
                    <a:lnTo>
                      <a:pt x="28" y="126"/>
                    </a:lnTo>
                    <a:lnTo>
                      <a:pt x="28" y="122"/>
                    </a:lnTo>
                    <a:lnTo>
                      <a:pt x="24" y="122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8" y="108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4" y="100"/>
                    </a:lnTo>
                    <a:lnTo>
                      <a:pt x="14" y="96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4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4" y="12"/>
                    </a:lnTo>
                    <a:lnTo>
                      <a:pt x="44" y="14"/>
                    </a:lnTo>
                    <a:lnTo>
                      <a:pt x="46" y="14"/>
                    </a:lnTo>
                    <a:lnTo>
                      <a:pt x="50" y="14"/>
                    </a:lnTo>
                    <a:lnTo>
                      <a:pt x="54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4" y="30"/>
                    </a:lnTo>
                    <a:lnTo>
                      <a:pt x="54" y="34"/>
                    </a:lnTo>
                    <a:lnTo>
                      <a:pt x="54" y="38"/>
                    </a:lnTo>
                    <a:lnTo>
                      <a:pt x="54" y="40"/>
                    </a:lnTo>
                    <a:lnTo>
                      <a:pt x="54" y="44"/>
                    </a:lnTo>
                    <a:lnTo>
                      <a:pt x="50" y="44"/>
                    </a:lnTo>
                    <a:lnTo>
                      <a:pt x="50" y="48"/>
                    </a:lnTo>
                    <a:lnTo>
                      <a:pt x="50" y="52"/>
                    </a:lnTo>
                    <a:lnTo>
                      <a:pt x="54" y="52"/>
                    </a:lnTo>
                    <a:lnTo>
                      <a:pt x="54" y="48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0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4" y="38"/>
                    </a:lnTo>
                    <a:lnTo>
                      <a:pt x="84" y="34"/>
                    </a:lnTo>
                    <a:lnTo>
                      <a:pt x="88" y="34"/>
                    </a:lnTo>
                    <a:lnTo>
                      <a:pt x="88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98" y="44"/>
                    </a:lnTo>
                    <a:lnTo>
                      <a:pt x="98" y="48"/>
                    </a:lnTo>
                    <a:lnTo>
                      <a:pt x="102" y="48"/>
                    </a:lnTo>
                    <a:lnTo>
                      <a:pt x="102" y="52"/>
                    </a:lnTo>
                    <a:lnTo>
                      <a:pt x="106" y="52"/>
                    </a:lnTo>
                    <a:lnTo>
                      <a:pt x="106" y="56"/>
                    </a:lnTo>
                    <a:lnTo>
                      <a:pt x="106" y="60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06" y="66"/>
                    </a:lnTo>
                    <a:lnTo>
                      <a:pt x="102" y="66"/>
                    </a:lnTo>
                    <a:lnTo>
                      <a:pt x="106" y="66"/>
                    </a:lnTo>
                    <a:lnTo>
                      <a:pt x="106" y="70"/>
                    </a:lnTo>
                    <a:lnTo>
                      <a:pt x="110" y="74"/>
                    </a:lnTo>
                    <a:lnTo>
                      <a:pt x="110" y="78"/>
                    </a:lnTo>
                    <a:lnTo>
                      <a:pt x="114" y="78"/>
                    </a:lnTo>
                    <a:lnTo>
                      <a:pt x="114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90"/>
                    </a:lnTo>
                    <a:lnTo>
                      <a:pt x="114" y="94"/>
                    </a:lnTo>
                    <a:lnTo>
                      <a:pt x="118" y="94"/>
                    </a:lnTo>
                    <a:lnTo>
                      <a:pt x="118" y="96"/>
                    </a:lnTo>
                    <a:lnTo>
                      <a:pt x="114" y="96"/>
                    </a:lnTo>
                    <a:lnTo>
                      <a:pt x="114" y="100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8"/>
                    </a:lnTo>
                    <a:lnTo>
                      <a:pt x="106" y="108"/>
                    </a:lnTo>
                    <a:lnTo>
                      <a:pt x="106" y="104"/>
                    </a:lnTo>
                    <a:lnTo>
                      <a:pt x="102" y="104"/>
                    </a:lnTo>
                    <a:lnTo>
                      <a:pt x="98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76" y="112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0" y="120"/>
                    </a:lnTo>
                    <a:lnTo>
                      <a:pt x="70" y="122"/>
                    </a:lnTo>
                    <a:lnTo>
                      <a:pt x="72" y="126"/>
                    </a:lnTo>
                    <a:lnTo>
                      <a:pt x="72" y="130"/>
                    </a:lnTo>
                    <a:lnTo>
                      <a:pt x="72" y="134"/>
                    </a:lnTo>
                    <a:lnTo>
                      <a:pt x="72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6"/>
                    </a:lnTo>
                    <a:lnTo>
                      <a:pt x="76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76" y="148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6"/>
                    </a:lnTo>
                    <a:lnTo>
                      <a:pt x="70" y="142"/>
                    </a:lnTo>
                    <a:lnTo>
                      <a:pt x="70" y="138"/>
                    </a:lnTo>
                    <a:lnTo>
                      <a:pt x="66" y="138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58" y="134"/>
                    </a:lnTo>
                    <a:lnTo>
                      <a:pt x="58" y="138"/>
                    </a:lnTo>
                    <a:lnTo>
                      <a:pt x="58" y="134"/>
                    </a:lnTo>
                    <a:lnTo>
                      <a:pt x="54" y="134"/>
                    </a:lnTo>
                    <a:lnTo>
                      <a:pt x="50" y="134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46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40" y="126"/>
                    </a:lnTo>
                    <a:lnTo>
                      <a:pt x="40" y="130"/>
                    </a:lnTo>
                    <a:lnTo>
                      <a:pt x="36" y="134"/>
                    </a:lnTo>
                    <a:lnTo>
                      <a:pt x="36" y="138"/>
                    </a:lnTo>
                    <a:lnTo>
                      <a:pt x="40" y="142"/>
                    </a:lnTo>
                    <a:lnTo>
                      <a:pt x="36" y="146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2" y="152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2" y="164"/>
                    </a:lnTo>
                    <a:lnTo>
                      <a:pt x="28" y="168"/>
                    </a:lnTo>
                    <a:lnTo>
                      <a:pt x="28" y="172"/>
                    </a:lnTo>
                    <a:lnTo>
                      <a:pt x="24" y="176"/>
                    </a:lnTo>
                    <a:lnTo>
                      <a:pt x="24" y="178"/>
                    </a:lnTo>
                    <a:lnTo>
                      <a:pt x="24" y="182"/>
                    </a:lnTo>
                    <a:lnTo>
                      <a:pt x="24" y="186"/>
                    </a:lnTo>
                    <a:lnTo>
                      <a:pt x="28" y="190"/>
                    </a:lnTo>
                    <a:lnTo>
                      <a:pt x="28" y="194"/>
                    </a:lnTo>
                    <a:lnTo>
                      <a:pt x="32" y="194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6" y="202"/>
                    </a:lnTo>
                    <a:lnTo>
                      <a:pt x="36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44" y="208"/>
                    </a:lnTo>
                    <a:lnTo>
                      <a:pt x="44" y="212"/>
                    </a:lnTo>
                    <a:lnTo>
                      <a:pt x="44" y="216"/>
                    </a:lnTo>
                    <a:lnTo>
                      <a:pt x="44" y="220"/>
                    </a:lnTo>
                    <a:lnTo>
                      <a:pt x="44" y="224"/>
                    </a:lnTo>
                    <a:lnTo>
                      <a:pt x="44" y="228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4" y="228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24"/>
                    </a:lnTo>
                    <a:lnTo>
                      <a:pt x="40" y="228"/>
                    </a:lnTo>
                    <a:lnTo>
                      <a:pt x="44" y="228"/>
                    </a:lnTo>
                    <a:lnTo>
                      <a:pt x="44" y="232"/>
                    </a:lnTo>
                    <a:lnTo>
                      <a:pt x="46" y="232"/>
                    </a:lnTo>
                    <a:lnTo>
                      <a:pt x="46" y="228"/>
                    </a:lnTo>
                    <a:lnTo>
                      <a:pt x="46" y="232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54" y="234"/>
                    </a:lnTo>
                    <a:lnTo>
                      <a:pt x="58" y="234"/>
                    </a:lnTo>
                    <a:lnTo>
                      <a:pt x="62" y="234"/>
                    </a:lnTo>
                    <a:lnTo>
                      <a:pt x="62" y="238"/>
                    </a:lnTo>
                    <a:lnTo>
                      <a:pt x="62" y="242"/>
                    </a:lnTo>
                    <a:lnTo>
                      <a:pt x="66" y="246"/>
                    </a:lnTo>
                    <a:lnTo>
                      <a:pt x="66" y="250"/>
                    </a:lnTo>
                    <a:lnTo>
                      <a:pt x="66" y="254"/>
                    </a:lnTo>
                    <a:lnTo>
                      <a:pt x="62" y="254"/>
                    </a:lnTo>
                    <a:lnTo>
                      <a:pt x="62" y="254"/>
                    </a:lnTo>
                    <a:lnTo>
                      <a:pt x="62" y="254"/>
                    </a:lnTo>
                    <a:close/>
                    <a:moveTo>
                      <a:pt x="18" y="212"/>
                    </a:moveTo>
                    <a:lnTo>
                      <a:pt x="18" y="216"/>
                    </a:lnTo>
                    <a:lnTo>
                      <a:pt x="18" y="212"/>
                    </a:lnTo>
                    <a:lnTo>
                      <a:pt x="18" y="212"/>
                    </a:lnTo>
                    <a:lnTo>
                      <a:pt x="18" y="212"/>
                    </a:lnTo>
                    <a:close/>
                    <a:moveTo>
                      <a:pt x="32" y="238"/>
                    </a:moveTo>
                    <a:lnTo>
                      <a:pt x="32" y="242"/>
                    </a:lnTo>
                    <a:lnTo>
                      <a:pt x="32" y="238"/>
                    </a:lnTo>
                    <a:lnTo>
                      <a:pt x="32" y="238"/>
                    </a:lnTo>
                    <a:lnTo>
                      <a:pt x="32" y="238"/>
                    </a:lnTo>
                    <a:close/>
                    <a:moveTo>
                      <a:pt x="72" y="146"/>
                    </a:moveTo>
                    <a:lnTo>
                      <a:pt x="72" y="148"/>
                    </a:lnTo>
                    <a:lnTo>
                      <a:pt x="70" y="148"/>
                    </a:lnTo>
                    <a:lnTo>
                      <a:pt x="70" y="146"/>
                    </a:lnTo>
                    <a:lnTo>
                      <a:pt x="72" y="146"/>
                    </a:lnTo>
                    <a:lnTo>
                      <a:pt x="72" y="146"/>
                    </a:lnTo>
                    <a:lnTo>
                      <a:pt x="72" y="146"/>
                    </a:lnTo>
                    <a:close/>
                    <a:moveTo>
                      <a:pt x="72" y="148"/>
                    </a:move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8"/>
                    </a:lnTo>
                    <a:lnTo>
                      <a:pt x="72" y="148"/>
                    </a:lnTo>
                    <a:close/>
                    <a:moveTo>
                      <a:pt x="40" y="190"/>
                    </a:moveTo>
                    <a:lnTo>
                      <a:pt x="36" y="190"/>
                    </a:lnTo>
                    <a:lnTo>
                      <a:pt x="40" y="186"/>
                    </a:lnTo>
                    <a:lnTo>
                      <a:pt x="40" y="190"/>
                    </a:lnTo>
                    <a:lnTo>
                      <a:pt x="40" y="190"/>
                    </a:lnTo>
                    <a:lnTo>
                      <a:pt x="40" y="190"/>
                    </a:lnTo>
                    <a:close/>
                    <a:moveTo>
                      <a:pt x="14" y="212"/>
                    </a:moveTo>
                    <a:lnTo>
                      <a:pt x="14" y="216"/>
                    </a:lnTo>
                    <a:lnTo>
                      <a:pt x="18" y="216"/>
                    </a:lnTo>
                    <a:lnTo>
                      <a:pt x="14" y="220"/>
                    </a:lnTo>
                    <a:lnTo>
                      <a:pt x="14" y="216"/>
                    </a:lnTo>
                    <a:lnTo>
                      <a:pt x="14" y="212"/>
                    </a:lnTo>
                    <a:lnTo>
                      <a:pt x="14" y="212"/>
                    </a:lnTo>
                    <a:lnTo>
                      <a:pt x="14" y="2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8" name="Freeform 57">
                <a:extLst>
                  <a:ext uri="{FF2B5EF4-FFF2-40B4-BE49-F238E27FC236}">
                    <a16:creationId xmlns:a16="http://schemas.microsoft.com/office/drawing/2014/main" id="{0FB200E6-B893-42F3-B20B-5B56FC46B8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178675" y="4781618"/>
                <a:ext cx="69850" cy="34925"/>
              </a:xfrm>
              <a:custGeom>
                <a:avLst/>
                <a:gdLst>
                  <a:gd name="T0" fmla="*/ 22 w 44"/>
                  <a:gd name="T1" fmla="*/ 4 h 22"/>
                  <a:gd name="T2" fmla="*/ 18 w 44"/>
                  <a:gd name="T3" fmla="*/ 4 h 22"/>
                  <a:gd name="T4" fmla="*/ 18 w 44"/>
                  <a:gd name="T5" fmla="*/ 0 h 22"/>
                  <a:gd name="T6" fmla="*/ 22 w 44"/>
                  <a:gd name="T7" fmla="*/ 0 h 22"/>
                  <a:gd name="T8" fmla="*/ 22 w 44"/>
                  <a:gd name="T9" fmla="*/ 0 h 22"/>
                  <a:gd name="T10" fmla="*/ 44 w 44"/>
                  <a:gd name="T11" fmla="*/ 4 h 22"/>
                  <a:gd name="T12" fmla="*/ 44 w 44"/>
                  <a:gd name="T13" fmla="*/ 4 h 22"/>
                  <a:gd name="T14" fmla="*/ 42 w 44"/>
                  <a:gd name="T15" fmla="*/ 8 h 22"/>
                  <a:gd name="T16" fmla="*/ 42 w 44"/>
                  <a:gd name="T17" fmla="*/ 10 h 22"/>
                  <a:gd name="T18" fmla="*/ 38 w 44"/>
                  <a:gd name="T19" fmla="*/ 10 h 22"/>
                  <a:gd name="T20" fmla="*/ 34 w 44"/>
                  <a:gd name="T21" fmla="*/ 10 h 22"/>
                  <a:gd name="T22" fmla="*/ 34 w 44"/>
                  <a:gd name="T23" fmla="*/ 10 h 22"/>
                  <a:gd name="T24" fmla="*/ 34 w 44"/>
                  <a:gd name="T25" fmla="*/ 14 h 22"/>
                  <a:gd name="T26" fmla="*/ 30 w 44"/>
                  <a:gd name="T27" fmla="*/ 14 h 22"/>
                  <a:gd name="T28" fmla="*/ 30 w 44"/>
                  <a:gd name="T29" fmla="*/ 14 h 22"/>
                  <a:gd name="T30" fmla="*/ 30 w 44"/>
                  <a:gd name="T31" fmla="*/ 14 h 22"/>
                  <a:gd name="T32" fmla="*/ 26 w 44"/>
                  <a:gd name="T33" fmla="*/ 14 h 22"/>
                  <a:gd name="T34" fmla="*/ 26 w 44"/>
                  <a:gd name="T35" fmla="*/ 14 h 22"/>
                  <a:gd name="T36" fmla="*/ 22 w 44"/>
                  <a:gd name="T37" fmla="*/ 14 h 22"/>
                  <a:gd name="T38" fmla="*/ 18 w 44"/>
                  <a:gd name="T39" fmla="*/ 18 h 22"/>
                  <a:gd name="T40" fmla="*/ 16 w 44"/>
                  <a:gd name="T41" fmla="*/ 18 h 22"/>
                  <a:gd name="T42" fmla="*/ 16 w 44"/>
                  <a:gd name="T43" fmla="*/ 22 h 22"/>
                  <a:gd name="T44" fmla="*/ 16 w 44"/>
                  <a:gd name="T45" fmla="*/ 22 h 22"/>
                  <a:gd name="T46" fmla="*/ 12 w 44"/>
                  <a:gd name="T47" fmla="*/ 18 h 22"/>
                  <a:gd name="T48" fmla="*/ 12 w 44"/>
                  <a:gd name="T49" fmla="*/ 18 h 22"/>
                  <a:gd name="T50" fmla="*/ 16 w 44"/>
                  <a:gd name="T51" fmla="*/ 14 h 22"/>
                  <a:gd name="T52" fmla="*/ 16 w 44"/>
                  <a:gd name="T53" fmla="*/ 14 h 22"/>
                  <a:gd name="T54" fmla="*/ 12 w 44"/>
                  <a:gd name="T55" fmla="*/ 14 h 22"/>
                  <a:gd name="T56" fmla="*/ 16 w 44"/>
                  <a:gd name="T57" fmla="*/ 10 h 22"/>
                  <a:gd name="T58" fmla="*/ 16 w 44"/>
                  <a:gd name="T59" fmla="*/ 8 h 22"/>
                  <a:gd name="T60" fmla="*/ 16 w 44"/>
                  <a:gd name="T61" fmla="*/ 8 h 22"/>
                  <a:gd name="T62" fmla="*/ 16 w 44"/>
                  <a:gd name="T63" fmla="*/ 8 h 22"/>
                  <a:gd name="T64" fmla="*/ 18 w 44"/>
                  <a:gd name="T65" fmla="*/ 8 h 22"/>
                  <a:gd name="T66" fmla="*/ 22 w 44"/>
                  <a:gd name="T67" fmla="*/ 8 h 22"/>
                  <a:gd name="T68" fmla="*/ 22 w 44"/>
                  <a:gd name="T69" fmla="*/ 4 h 22"/>
                  <a:gd name="T70" fmla="*/ 26 w 44"/>
                  <a:gd name="T71" fmla="*/ 4 h 22"/>
                  <a:gd name="T72" fmla="*/ 26 w 44"/>
                  <a:gd name="T73" fmla="*/ 4 h 22"/>
                  <a:gd name="T74" fmla="*/ 26 w 44"/>
                  <a:gd name="T75" fmla="*/ 8 h 22"/>
                  <a:gd name="T76" fmla="*/ 26 w 44"/>
                  <a:gd name="T77" fmla="*/ 8 h 22"/>
                  <a:gd name="T78" fmla="*/ 30 w 44"/>
                  <a:gd name="T79" fmla="*/ 4 h 22"/>
                  <a:gd name="T80" fmla="*/ 34 w 44"/>
                  <a:gd name="T81" fmla="*/ 4 h 22"/>
                  <a:gd name="T82" fmla="*/ 34 w 44"/>
                  <a:gd name="T83" fmla="*/ 4 h 22"/>
                  <a:gd name="T84" fmla="*/ 34 w 44"/>
                  <a:gd name="T85" fmla="*/ 4 h 22"/>
                  <a:gd name="T86" fmla="*/ 38 w 44"/>
                  <a:gd name="T87" fmla="*/ 4 h 22"/>
                  <a:gd name="T88" fmla="*/ 42 w 44"/>
                  <a:gd name="T89" fmla="*/ 4 h 22"/>
                  <a:gd name="T90" fmla="*/ 44 w 44"/>
                  <a:gd name="T91" fmla="*/ 4 h 22"/>
                  <a:gd name="T92" fmla="*/ 44 w 44"/>
                  <a:gd name="T93" fmla="*/ 4 h 22"/>
                  <a:gd name="T94" fmla="*/ 0 w 44"/>
                  <a:gd name="T95" fmla="*/ 18 h 22"/>
                  <a:gd name="T96" fmla="*/ 0 w 44"/>
                  <a:gd name="T97" fmla="*/ 18 h 22"/>
                  <a:gd name="T98" fmla="*/ 4 w 44"/>
                  <a:gd name="T99" fmla="*/ 18 h 22"/>
                  <a:gd name="T100" fmla="*/ 4 w 44"/>
                  <a:gd name="T101" fmla="*/ 22 h 22"/>
                  <a:gd name="T102" fmla="*/ 4 w 44"/>
                  <a:gd name="T103" fmla="*/ 22 h 22"/>
                  <a:gd name="T104" fmla="*/ 0 w 44"/>
                  <a:gd name="T105" fmla="*/ 22 h 22"/>
                  <a:gd name="T106" fmla="*/ 0 w 44"/>
                  <a:gd name="T107" fmla="*/ 18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4" h="22">
                    <a:moveTo>
                      <a:pt x="22" y="0"/>
                    </a:move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  <a:moveTo>
                      <a:pt x="44" y="4"/>
                    </a:move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close/>
                    <a:moveTo>
                      <a:pt x="0" y="18"/>
                    </a:move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19" name="Freeform 58">
                <a:extLst>
                  <a:ext uri="{FF2B5EF4-FFF2-40B4-BE49-F238E27FC236}">
                    <a16:creationId xmlns:a16="http://schemas.microsoft.com/office/drawing/2014/main" id="{9C37CCCF-92BC-4C41-86D0-274DE46C47F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968875" y="3359218"/>
                <a:ext cx="431800" cy="196850"/>
              </a:xfrm>
              <a:custGeom>
                <a:avLst/>
                <a:gdLst>
                  <a:gd name="T0" fmla="*/ 22 w 272"/>
                  <a:gd name="T1" fmla="*/ 4 h 124"/>
                  <a:gd name="T2" fmla="*/ 34 w 272"/>
                  <a:gd name="T3" fmla="*/ 8 h 124"/>
                  <a:gd name="T4" fmla="*/ 48 w 272"/>
                  <a:gd name="T5" fmla="*/ 24 h 124"/>
                  <a:gd name="T6" fmla="*/ 26 w 272"/>
                  <a:gd name="T7" fmla="*/ 24 h 124"/>
                  <a:gd name="T8" fmla="*/ 14 w 272"/>
                  <a:gd name="T9" fmla="*/ 38 h 124"/>
                  <a:gd name="T10" fmla="*/ 8 w 272"/>
                  <a:gd name="T11" fmla="*/ 38 h 124"/>
                  <a:gd name="T12" fmla="*/ 14 w 272"/>
                  <a:gd name="T13" fmla="*/ 30 h 124"/>
                  <a:gd name="T14" fmla="*/ 10 w 272"/>
                  <a:gd name="T15" fmla="*/ 20 h 124"/>
                  <a:gd name="T16" fmla="*/ 10 w 272"/>
                  <a:gd name="T17" fmla="*/ 12 h 124"/>
                  <a:gd name="T18" fmla="*/ 10 w 272"/>
                  <a:gd name="T19" fmla="*/ 42 h 124"/>
                  <a:gd name="T20" fmla="*/ 26 w 272"/>
                  <a:gd name="T21" fmla="*/ 34 h 124"/>
                  <a:gd name="T22" fmla="*/ 34 w 272"/>
                  <a:gd name="T23" fmla="*/ 38 h 124"/>
                  <a:gd name="T24" fmla="*/ 48 w 272"/>
                  <a:gd name="T25" fmla="*/ 38 h 124"/>
                  <a:gd name="T26" fmla="*/ 50 w 272"/>
                  <a:gd name="T27" fmla="*/ 30 h 124"/>
                  <a:gd name="T28" fmla="*/ 54 w 272"/>
                  <a:gd name="T29" fmla="*/ 26 h 124"/>
                  <a:gd name="T30" fmla="*/ 58 w 272"/>
                  <a:gd name="T31" fmla="*/ 20 h 124"/>
                  <a:gd name="T32" fmla="*/ 78 w 272"/>
                  <a:gd name="T33" fmla="*/ 24 h 124"/>
                  <a:gd name="T34" fmla="*/ 92 w 272"/>
                  <a:gd name="T35" fmla="*/ 12 h 124"/>
                  <a:gd name="T36" fmla="*/ 106 w 272"/>
                  <a:gd name="T37" fmla="*/ 4 h 124"/>
                  <a:gd name="T38" fmla="*/ 130 w 272"/>
                  <a:gd name="T39" fmla="*/ 4 h 124"/>
                  <a:gd name="T40" fmla="*/ 144 w 272"/>
                  <a:gd name="T41" fmla="*/ 12 h 124"/>
                  <a:gd name="T42" fmla="*/ 152 w 272"/>
                  <a:gd name="T43" fmla="*/ 20 h 124"/>
                  <a:gd name="T44" fmla="*/ 162 w 272"/>
                  <a:gd name="T45" fmla="*/ 24 h 124"/>
                  <a:gd name="T46" fmla="*/ 182 w 272"/>
                  <a:gd name="T47" fmla="*/ 26 h 124"/>
                  <a:gd name="T48" fmla="*/ 200 w 272"/>
                  <a:gd name="T49" fmla="*/ 24 h 124"/>
                  <a:gd name="T50" fmla="*/ 220 w 272"/>
                  <a:gd name="T51" fmla="*/ 20 h 124"/>
                  <a:gd name="T52" fmla="*/ 238 w 272"/>
                  <a:gd name="T53" fmla="*/ 16 h 124"/>
                  <a:gd name="T54" fmla="*/ 252 w 272"/>
                  <a:gd name="T55" fmla="*/ 20 h 124"/>
                  <a:gd name="T56" fmla="*/ 252 w 272"/>
                  <a:gd name="T57" fmla="*/ 38 h 124"/>
                  <a:gd name="T58" fmla="*/ 272 w 272"/>
                  <a:gd name="T59" fmla="*/ 50 h 124"/>
                  <a:gd name="T60" fmla="*/ 260 w 272"/>
                  <a:gd name="T61" fmla="*/ 54 h 124"/>
                  <a:gd name="T62" fmla="*/ 264 w 272"/>
                  <a:gd name="T63" fmla="*/ 76 h 124"/>
                  <a:gd name="T64" fmla="*/ 268 w 272"/>
                  <a:gd name="T65" fmla="*/ 94 h 124"/>
                  <a:gd name="T66" fmla="*/ 264 w 272"/>
                  <a:gd name="T67" fmla="*/ 98 h 124"/>
                  <a:gd name="T68" fmla="*/ 248 w 272"/>
                  <a:gd name="T69" fmla="*/ 94 h 124"/>
                  <a:gd name="T70" fmla="*/ 234 w 272"/>
                  <a:gd name="T71" fmla="*/ 94 h 124"/>
                  <a:gd name="T72" fmla="*/ 216 w 272"/>
                  <a:gd name="T73" fmla="*/ 98 h 124"/>
                  <a:gd name="T74" fmla="*/ 196 w 272"/>
                  <a:gd name="T75" fmla="*/ 106 h 124"/>
                  <a:gd name="T76" fmla="*/ 178 w 272"/>
                  <a:gd name="T77" fmla="*/ 102 h 124"/>
                  <a:gd name="T78" fmla="*/ 162 w 272"/>
                  <a:gd name="T79" fmla="*/ 106 h 124"/>
                  <a:gd name="T80" fmla="*/ 152 w 272"/>
                  <a:gd name="T81" fmla="*/ 116 h 124"/>
                  <a:gd name="T82" fmla="*/ 148 w 272"/>
                  <a:gd name="T83" fmla="*/ 120 h 124"/>
                  <a:gd name="T84" fmla="*/ 148 w 272"/>
                  <a:gd name="T85" fmla="*/ 102 h 124"/>
                  <a:gd name="T86" fmla="*/ 134 w 272"/>
                  <a:gd name="T87" fmla="*/ 106 h 124"/>
                  <a:gd name="T88" fmla="*/ 118 w 272"/>
                  <a:gd name="T89" fmla="*/ 116 h 124"/>
                  <a:gd name="T90" fmla="*/ 104 w 272"/>
                  <a:gd name="T91" fmla="*/ 120 h 124"/>
                  <a:gd name="T92" fmla="*/ 92 w 272"/>
                  <a:gd name="T93" fmla="*/ 110 h 124"/>
                  <a:gd name="T94" fmla="*/ 74 w 272"/>
                  <a:gd name="T95" fmla="*/ 106 h 124"/>
                  <a:gd name="T96" fmla="*/ 66 w 272"/>
                  <a:gd name="T97" fmla="*/ 114 h 124"/>
                  <a:gd name="T98" fmla="*/ 50 w 272"/>
                  <a:gd name="T99" fmla="*/ 114 h 124"/>
                  <a:gd name="T100" fmla="*/ 44 w 272"/>
                  <a:gd name="T101" fmla="*/ 106 h 124"/>
                  <a:gd name="T102" fmla="*/ 36 w 272"/>
                  <a:gd name="T103" fmla="*/ 110 h 124"/>
                  <a:gd name="T104" fmla="*/ 34 w 272"/>
                  <a:gd name="T105" fmla="*/ 106 h 124"/>
                  <a:gd name="T106" fmla="*/ 36 w 272"/>
                  <a:gd name="T107" fmla="*/ 102 h 124"/>
                  <a:gd name="T108" fmla="*/ 30 w 272"/>
                  <a:gd name="T109" fmla="*/ 98 h 124"/>
                  <a:gd name="T110" fmla="*/ 22 w 272"/>
                  <a:gd name="T111" fmla="*/ 86 h 124"/>
                  <a:gd name="T112" fmla="*/ 10 w 272"/>
                  <a:gd name="T113" fmla="*/ 80 h 124"/>
                  <a:gd name="T114" fmla="*/ 14 w 272"/>
                  <a:gd name="T115" fmla="*/ 76 h 124"/>
                  <a:gd name="T116" fmla="*/ 18 w 272"/>
                  <a:gd name="T117" fmla="*/ 68 h 124"/>
                  <a:gd name="T118" fmla="*/ 18 w 272"/>
                  <a:gd name="T119" fmla="*/ 54 h 124"/>
                  <a:gd name="T120" fmla="*/ 30 w 272"/>
                  <a:gd name="T121" fmla="*/ 30 h 124"/>
                  <a:gd name="T122" fmla="*/ 4 w 272"/>
                  <a:gd name="T123" fmla="*/ 38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72" h="124">
                    <a:moveTo>
                      <a:pt x="10" y="12"/>
                    </a:moveTo>
                    <a:lnTo>
                      <a:pt x="10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4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8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4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14" y="54"/>
                    </a:moveTo>
                    <a:lnTo>
                      <a:pt x="8" y="54"/>
                    </a:lnTo>
                    <a:lnTo>
                      <a:pt x="8" y="50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0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0" y="30"/>
                    </a:lnTo>
                    <a:lnTo>
                      <a:pt x="54" y="30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4" y="26"/>
                    </a:lnTo>
                    <a:lnTo>
                      <a:pt x="50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50" y="20"/>
                    </a:lnTo>
                    <a:lnTo>
                      <a:pt x="54" y="20"/>
                    </a:lnTo>
                    <a:lnTo>
                      <a:pt x="58" y="20"/>
                    </a:lnTo>
                    <a:lnTo>
                      <a:pt x="62" y="24"/>
                    </a:lnTo>
                    <a:lnTo>
                      <a:pt x="66" y="20"/>
                    </a:lnTo>
                    <a:lnTo>
                      <a:pt x="70" y="20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92" y="12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4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8" y="4"/>
                    </a:lnTo>
                    <a:lnTo>
                      <a:pt x="122" y="4"/>
                    </a:lnTo>
                    <a:lnTo>
                      <a:pt x="126" y="4"/>
                    </a:lnTo>
                    <a:lnTo>
                      <a:pt x="130" y="4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6" y="8"/>
                    </a:lnTo>
                    <a:lnTo>
                      <a:pt x="136" y="12"/>
                    </a:lnTo>
                    <a:lnTo>
                      <a:pt x="140" y="12"/>
                    </a:lnTo>
                    <a:lnTo>
                      <a:pt x="144" y="12"/>
                    </a:lnTo>
                    <a:lnTo>
                      <a:pt x="144" y="8"/>
                    </a:lnTo>
                    <a:lnTo>
                      <a:pt x="148" y="8"/>
                    </a:lnTo>
                    <a:lnTo>
                      <a:pt x="148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2" y="20"/>
                    </a:lnTo>
                    <a:lnTo>
                      <a:pt x="162" y="24"/>
                    </a:lnTo>
                    <a:lnTo>
                      <a:pt x="166" y="24"/>
                    </a:lnTo>
                    <a:lnTo>
                      <a:pt x="170" y="24"/>
                    </a:lnTo>
                    <a:lnTo>
                      <a:pt x="174" y="24"/>
                    </a:lnTo>
                    <a:lnTo>
                      <a:pt x="178" y="24"/>
                    </a:lnTo>
                    <a:lnTo>
                      <a:pt x="178" y="26"/>
                    </a:lnTo>
                    <a:lnTo>
                      <a:pt x="182" y="26"/>
                    </a:lnTo>
                    <a:lnTo>
                      <a:pt x="186" y="26"/>
                    </a:lnTo>
                    <a:lnTo>
                      <a:pt x="186" y="24"/>
                    </a:lnTo>
                    <a:lnTo>
                      <a:pt x="190" y="24"/>
                    </a:lnTo>
                    <a:lnTo>
                      <a:pt x="192" y="24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204" y="26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6" y="24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2" y="16"/>
                    </a:lnTo>
                    <a:lnTo>
                      <a:pt x="226" y="12"/>
                    </a:lnTo>
                    <a:lnTo>
                      <a:pt x="226" y="16"/>
                    </a:lnTo>
                    <a:lnTo>
                      <a:pt x="230" y="16"/>
                    </a:lnTo>
                    <a:lnTo>
                      <a:pt x="234" y="16"/>
                    </a:lnTo>
                    <a:lnTo>
                      <a:pt x="238" y="16"/>
                    </a:lnTo>
                    <a:lnTo>
                      <a:pt x="242" y="16"/>
                    </a:lnTo>
                    <a:lnTo>
                      <a:pt x="242" y="12"/>
                    </a:lnTo>
                    <a:lnTo>
                      <a:pt x="246" y="12"/>
                    </a:lnTo>
                    <a:lnTo>
                      <a:pt x="246" y="16"/>
                    </a:lnTo>
                    <a:lnTo>
                      <a:pt x="248" y="20"/>
                    </a:lnTo>
                    <a:lnTo>
                      <a:pt x="252" y="20"/>
                    </a:lnTo>
                    <a:lnTo>
                      <a:pt x="252" y="24"/>
                    </a:lnTo>
                    <a:lnTo>
                      <a:pt x="256" y="26"/>
                    </a:lnTo>
                    <a:lnTo>
                      <a:pt x="256" y="30"/>
                    </a:lnTo>
                    <a:lnTo>
                      <a:pt x="256" y="34"/>
                    </a:lnTo>
                    <a:lnTo>
                      <a:pt x="252" y="34"/>
                    </a:lnTo>
                    <a:lnTo>
                      <a:pt x="252" y="38"/>
                    </a:lnTo>
                    <a:lnTo>
                      <a:pt x="256" y="38"/>
                    </a:lnTo>
                    <a:lnTo>
                      <a:pt x="256" y="42"/>
                    </a:lnTo>
                    <a:lnTo>
                      <a:pt x="260" y="42"/>
                    </a:lnTo>
                    <a:lnTo>
                      <a:pt x="264" y="42"/>
                    </a:lnTo>
                    <a:lnTo>
                      <a:pt x="268" y="46"/>
                    </a:lnTo>
                    <a:lnTo>
                      <a:pt x="272" y="50"/>
                    </a:lnTo>
                    <a:lnTo>
                      <a:pt x="268" y="50"/>
                    </a:lnTo>
                    <a:lnTo>
                      <a:pt x="268" y="54"/>
                    </a:lnTo>
                    <a:lnTo>
                      <a:pt x="264" y="54"/>
                    </a:lnTo>
                    <a:lnTo>
                      <a:pt x="264" y="56"/>
                    </a:lnTo>
                    <a:lnTo>
                      <a:pt x="264" y="54"/>
                    </a:lnTo>
                    <a:lnTo>
                      <a:pt x="260" y="54"/>
                    </a:lnTo>
                    <a:lnTo>
                      <a:pt x="260" y="56"/>
                    </a:lnTo>
                    <a:lnTo>
                      <a:pt x="264" y="60"/>
                    </a:lnTo>
                    <a:lnTo>
                      <a:pt x="264" y="64"/>
                    </a:lnTo>
                    <a:lnTo>
                      <a:pt x="264" y="68"/>
                    </a:lnTo>
                    <a:lnTo>
                      <a:pt x="264" y="72"/>
                    </a:lnTo>
                    <a:lnTo>
                      <a:pt x="264" y="76"/>
                    </a:lnTo>
                    <a:lnTo>
                      <a:pt x="268" y="76"/>
                    </a:lnTo>
                    <a:lnTo>
                      <a:pt x="264" y="80"/>
                    </a:lnTo>
                    <a:lnTo>
                      <a:pt x="264" y="84"/>
                    </a:lnTo>
                    <a:lnTo>
                      <a:pt x="268" y="86"/>
                    </a:lnTo>
                    <a:lnTo>
                      <a:pt x="268" y="90"/>
                    </a:lnTo>
                    <a:lnTo>
                      <a:pt x="268" y="94"/>
                    </a:lnTo>
                    <a:lnTo>
                      <a:pt x="272" y="94"/>
                    </a:lnTo>
                    <a:lnTo>
                      <a:pt x="272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4" y="102"/>
                    </a:lnTo>
                    <a:lnTo>
                      <a:pt x="264" y="98"/>
                    </a:lnTo>
                    <a:lnTo>
                      <a:pt x="264" y="94"/>
                    </a:lnTo>
                    <a:lnTo>
                      <a:pt x="260" y="94"/>
                    </a:lnTo>
                    <a:lnTo>
                      <a:pt x="260" y="98"/>
                    </a:lnTo>
                    <a:lnTo>
                      <a:pt x="256" y="98"/>
                    </a:lnTo>
                    <a:lnTo>
                      <a:pt x="252" y="98"/>
                    </a:lnTo>
                    <a:lnTo>
                      <a:pt x="248" y="94"/>
                    </a:lnTo>
                    <a:lnTo>
                      <a:pt x="246" y="94"/>
                    </a:lnTo>
                    <a:lnTo>
                      <a:pt x="242" y="94"/>
                    </a:lnTo>
                    <a:lnTo>
                      <a:pt x="242" y="98"/>
                    </a:lnTo>
                    <a:lnTo>
                      <a:pt x="238" y="98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34" y="98"/>
                    </a:lnTo>
                    <a:lnTo>
                      <a:pt x="230" y="98"/>
                    </a:lnTo>
                    <a:lnTo>
                      <a:pt x="226" y="98"/>
                    </a:lnTo>
                    <a:lnTo>
                      <a:pt x="222" y="98"/>
                    </a:lnTo>
                    <a:lnTo>
                      <a:pt x="220" y="98"/>
                    </a:lnTo>
                    <a:lnTo>
                      <a:pt x="216" y="98"/>
                    </a:lnTo>
                    <a:lnTo>
                      <a:pt x="212" y="98"/>
                    </a:lnTo>
                    <a:lnTo>
                      <a:pt x="212" y="102"/>
                    </a:lnTo>
                    <a:lnTo>
                      <a:pt x="208" y="102"/>
                    </a:lnTo>
                    <a:lnTo>
                      <a:pt x="204" y="106"/>
                    </a:lnTo>
                    <a:lnTo>
                      <a:pt x="200" y="106"/>
                    </a:lnTo>
                    <a:lnTo>
                      <a:pt x="196" y="106"/>
                    </a:lnTo>
                    <a:lnTo>
                      <a:pt x="192" y="110"/>
                    </a:lnTo>
                    <a:lnTo>
                      <a:pt x="190" y="106"/>
                    </a:lnTo>
                    <a:lnTo>
                      <a:pt x="186" y="106"/>
                    </a:lnTo>
                    <a:lnTo>
                      <a:pt x="182" y="106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8" y="106"/>
                    </a:lnTo>
                    <a:lnTo>
                      <a:pt x="174" y="106"/>
                    </a:lnTo>
                    <a:lnTo>
                      <a:pt x="170" y="106"/>
                    </a:lnTo>
                    <a:lnTo>
                      <a:pt x="166" y="110"/>
                    </a:lnTo>
                    <a:lnTo>
                      <a:pt x="162" y="110"/>
                    </a:lnTo>
                    <a:lnTo>
                      <a:pt x="162" y="106"/>
                    </a:lnTo>
                    <a:lnTo>
                      <a:pt x="160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14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20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8" y="120"/>
                    </a:lnTo>
                    <a:lnTo>
                      <a:pt x="144" y="120"/>
                    </a:lnTo>
                    <a:lnTo>
                      <a:pt x="144" y="116"/>
                    </a:lnTo>
                    <a:lnTo>
                      <a:pt x="144" y="114"/>
                    </a:lnTo>
                    <a:lnTo>
                      <a:pt x="148" y="110"/>
                    </a:lnTo>
                    <a:lnTo>
                      <a:pt x="148" y="106"/>
                    </a:lnTo>
                    <a:lnTo>
                      <a:pt x="148" y="102"/>
                    </a:lnTo>
                    <a:lnTo>
                      <a:pt x="144" y="102"/>
                    </a:lnTo>
                    <a:lnTo>
                      <a:pt x="144" y="106"/>
                    </a:lnTo>
                    <a:lnTo>
                      <a:pt x="140" y="106"/>
                    </a:lnTo>
                    <a:lnTo>
                      <a:pt x="140" y="110"/>
                    </a:lnTo>
                    <a:lnTo>
                      <a:pt x="136" y="110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6" y="106"/>
                    </a:lnTo>
                    <a:lnTo>
                      <a:pt x="122" y="110"/>
                    </a:lnTo>
                    <a:lnTo>
                      <a:pt x="122" y="114"/>
                    </a:lnTo>
                    <a:lnTo>
                      <a:pt x="118" y="114"/>
                    </a:lnTo>
                    <a:lnTo>
                      <a:pt x="118" y="116"/>
                    </a:lnTo>
                    <a:lnTo>
                      <a:pt x="118" y="114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06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4"/>
                    </a:lnTo>
                    <a:lnTo>
                      <a:pt x="92" y="110"/>
                    </a:lnTo>
                    <a:lnTo>
                      <a:pt x="88" y="110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0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0" y="102"/>
                    </a:lnTo>
                    <a:lnTo>
                      <a:pt x="70" y="106"/>
                    </a:lnTo>
                    <a:lnTo>
                      <a:pt x="70" y="110"/>
                    </a:lnTo>
                    <a:lnTo>
                      <a:pt x="70" y="114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6"/>
                    </a:lnTo>
                    <a:lnTo>
                      <a:pt x="58" y="116"/>
                    </a:lnTo>
                    <a:lnTo>
                      <a:pt x="54" y="116"/>
                    </a:lnTo>
                    <a:lnTo>
                      <a:pt x="50" y="116"/>
                    </a:lnTo>
                    <a:lnTo>
                      <a:pt x="50" y="114"/>
                    </a:lnTo>
                    <a:lnTo>
                      <a:pt x="48" y="114"/>
                    </a:lnTo>
                    <a:lnTo>
                      <a:pt x="50" y="110"/>
                    </a:lnTo>
                    <a:lnTo>
                      <a:pt x="48" y="110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06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36" y="106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6" y="106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10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6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2" y="84"/>
                    </a:lnTo>
                    <a:lnTo>
                      <a:pt x="26" y="84"/>
                    </a:lnTo>
                    <a:lnTo>
                      <a:pt x="22" y="84"/>
                    </a:lnTo>
                    <a:lnTo>
                      <a:pt x="18" y="80"/>
                    </a:lnTo>
                    <a:lnTo>
                      <a:pt x="14" y="80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72"/>
                    </a:lnTo>
                    <a:lnTo>
                      <a:pt x="14" y="76"/>
                    </a:lnTo>
                    <a:lnTo>
                      <a:pt x="18" y="76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18" y="72"/>
                    </a:lnTo>
                    <a:lnTo>
                      <a:pt x="14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4"/>
                    </a:lnTo>
                    <a:close/>
                    <a:moveTo>
                      <a:pt x="30" y="30"/>
                    </a:move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  <a:moveTo>
                      <a:pt x="4" y="42"/>
                    </a:move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0" name="Freeform 59">
                <a:extLst>
                  <a:ext uri="{FF2B5EF4-FFF2-40B4-BE49-F238E27FC236}">
                    <a16:creationId xmlns:a16="http://schemas.microsoft.com/office/drawing/2014/main" id="{CEC0D750-A7F6-4CCB-8828-FECF76D3917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543550" y="3343343"/>
                <a:ext cx="346075" cy="231775"/>
              </a:xfrm>
              <a:custGeom>
                <a:avLst/>
                <a:gdLst>
                  <a:gd name="T0" fmla="*/ 208 w 218"/>
                  <a:gd name="T1" fmla="*/ 100 h 146"/>
                  <a:gd name="T2" fmla="*/ 200 w 218"/>
                  <a:gd name="T3" fmla="*/ 108 h 146"/>
                  <a:gd name="T4" fmla="*/ 192 w 218"/>
                  <a:gd name="T5" fmla="*/ 116 h 146"/>
                  <a:gd name="T6" fmla="*/ 188 w 218"/>
                  <a:gd name="T7" fmla="*/ 126 h 146"/>
                  <a:gd name="T8" fmla="*/ 178 w 218"/>
                  <a:gd name="T9" fmla="*/ 130 h 146"/>
                  <a:gd name="T10" fmla="*/ 170 w 218"/>
                  <a:gd name="T11" fmla="*/ 134 h 146"/>
                  <a:gd name="T12" fmla="*/ 166 w 218"/>
                  <a:gd name="T13" fmla="*/ 142 h 146"/>
                  <a:gd name="T14" fmla="*/ 156 w 218"/>
                  <a:gd name="T15" fmla="*/ 146 h 146"/>
                  <a:gd name="T16" fmla="*/ 144 w 218"/>
                  <a:gd name="T17" fmla="*/ 142 h 146"/>
                  <a:gd name="T18" fmla="*/ 140 w 218"/>
                  <a:gd name="T19" fmla="*/ 130 h 146"/>
                  <a:gd name="T20" fmla="*/ 136 w 218"/>
                  <a:gd name="T21" fmla="*/ 118 h 146"/>
                  <a:gd name="T22" fmla="*/ 126 w 218"/>
                  <a:gd name="T23" fmla="*/ 112 h 146"/>
                  <a:gd name="T24" fmla="*/ 114 w 218"/>
                  <a:gd name="T25" fmla="*/ 100 h 146"/>
                  <a:gd name="T26" fmla="*/ 106 w 218"/>
                  <a:gd name="T27" fmla="*/ 100 h 146"/>
                  <a:gd name="T28" fmla="*/ 92 w 218"/>
                  <a:gd name="T29" fmla="*/ 92 h 146"/>
                  <a:gd name="T30" fmla="*/ 84 w 218"/>
                  <a:gd name="T31" fmla="*/ 88 h 146"/>
                  <a:gd name="T32" fmla="*/ 74 w 218"/>
                  <a:gd name="T33" fmla="*/ 86 h 146"/>
                  <a:gd name="T34" fmla="*/ 62 w 218"/>
                  <a:gd name="T35" fmla="*/ 88 h 146"/>
                  <a:gd name="T36" fmla="*/ 54 w 218"/>
                  <a:gd name="T37" fmla="*/ 96 h 146"/>
                  <a:gd name="T38" fmla="*/ 44 w 218"/>
                  <a:gd name="T39" fmla="*/ 104 h 146"/>
                  <a:gd name="T40" fmla="*/ 28 w 218"/>
                  <a:gd name="T41" fmla="*/ 100 h 146"/>
                  <a:gd name="T42" fmla="*/ 18 w 218"/>
                  <a:gd name="T43" fmla="*/ 96 h 146"/>
                  <a:gd name="T44" fmla="*/ 10 w 218"/>
                  <a:gd name="T45" fmla="*/ 88 h 146"/>
                  <a:gd name="T46" fmla="*/ 4 w 218"/>
                  <a:gd name="T47" fmla="*/ 74 h 146"/>
                  <a:gd name="T48" fmla="*/ 6 w 218"/>
                  <a:gd name="T49" fmla="*/ 58 h 146"/>
                  <a:gd name="T50" fmla="*/ 6 w 218"/>
                  <a:gd name="T51" fmla="*/ 40 h 146"/>
                  <a:gd name="T52" fmla="*/ 6 w 218"/>
                  <a:gd name="T53" fmla="*/ 26 h 146"/>
                  <a:gd name="T54" fmla="*/ 20 w 218"/>
                  <a:gd name="T55" fmla="*/ 14 h 146"/>
                  <a:gd name="T56" fmla="*/ 32 w 218"/>
                  <a:gd name="T57" fmla="*/ 10 h 146"/>
                  <a:gd name="T58" fmla="*/ 44 w 218"/>
                  <a:gd name="T59" fmla="*/ 10 h 146"/>
                  <a:gd name="T60" fmla="*/ 54 w 218"/>
                  <a:gd name="T61" fmla="*/ 22 h 146"/>
                  <a:gd name="T62" fmla="*/ 62 w 218"/>
                  <a:gd name="T63" fmla="*/ 30 h 146"/>
                  <a:gd name="T64" fmla="*/ 74 w 218"/>
                  <a:gd name="T65" fmla="*/ 30 h 146"/>
                  <a:gd name="T66" fmla="*/ 84 w 218"/>
                  <a:gd name="T67" fmla="*/ 26 h 146"/>
                  <a:gd name="T68" fmla="*/ 80 w 218"/>
                  <a:gd name="T69" fmla="*/ 14 h 146"/>
                  <a:gd name="T70" fmla="*/ 92 w 218"/>
                  <a:gd name="T71" fmla="*/ 10 h 146"/>
                  <a:gd name="T72" fmla="*/ 100 w 218"/>
                  <a:gd name="T73" fmla="*/ 6 h 146"/>
                  <a:gd name="T74" fmla="*/ 102 w 218"/>
                  <a:gd name="T75" fmla="*/ 4 h 146"/>
                  <a:gd name="T76" fmla="*/ 110 w 218"/>
                  <a:gd name="T77" fmla="*/ 4 h 146"/>
                  <a:gd name="T78" fmla="*/ 122 w 218"/>
                  <a:gd name="T79" fmla="*/ 6 h 146"/>
                  <a:gd name="T80" fmla="*/ 128 w 218"/>
                  <a:gd name="T81" fmla="*/ 18 h 146"/>
                  <a:gd name="T82" fmla="*/ 128 w 218"/>
                  <a:gd name="T83" fmla="*/ 26 h 146"/>
                  <a:gd name="T84" fmla="*/ 140 w 218"/>
                  <a:gd name="T85" fmla="*/ 30 h 146"/>
                  <a:gd name="T86" fmla="*/ 152 w 218"/>
                  <a:gd name="T87" fmla="*/ 36 h 146"/>
                  <a:gd name="T88" fmla="*/ 158 w 218"/>
                  <a:gd name="T89" fmla="*/ 44 h 146"/>
                  <a:gd name="T90" fmla="*/ 162 w 218"/>
                  <a:gd name="T91" fmla="*/ 56 h 146"/>
                  <a:gd name="T92" fmla="*/ 174 w 218"/>
                  <a:gd name="T93" fmla="*/ 62 h 146"/>
                  <a:gd name="T94" fmla="*/ 182 w 218"/>
                  <a:gd name="T95" fmla="*/ 70 h 146"/>
                  <a:gd name="T96" fmla="*/ 188 w 218"/>
                  <a:gd name="T97" fmla="*/ 78 h 146"/>
                  <a:gd name="T98" fmla="*/ 204 w 218"/>
                  <a:gd name="T99" fmla="*/ 86 h 146"/>
                  <a:gd name="T100" fmla="*/ 210 w 218"/>
                  <a:gd name="T101" fmla="*/ 88 h 146"/>
                  <a:gd name="T102" fmla="*/ 218 w 218"/>
                  <a:gd name="T103" fmla="*/ 96 h 146"/>
                  <a:gd name="T104" fmla="*/ 214 w 218"/>
                  <a:gd name="T105" fmla="*/ 104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8" h="146">
                    <a:moveTo>
                      <a:pt x="214" y="104"/>
                    </a:moveTo>
                    <a:lnTo>
                      <a:pt x="210" y="104"/>
                    </a:lnTo>
                    <a:lnTo>
                      <a:pt x="208" y="104"/>
                    </a:lnTo>
                    <a:lnTo>
                      <a:pt x="208" y="100"/>
                    </a:lnTo>
                    <a:lnTo>
                      <a:pt x="204" y="100"/>
                    </a:lnTo>
                    <a:lnTo>
                      <a:pt x="204" y="104"/>
                    </a:lnTo>
                    <a:lnTo>
                      <a:pt x="204" y="108"/>
                    </a:lnTo>
                    <a:lnTo>
                      <a:pt x="200" y="108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92" y="112"/>
                    </a:lnTo>
                    <a:lnTo>
                      <a:pt x="192" y="116"/>
                    </a:lnTo>
                    <a:lnTo>
                      <a:pt x="188" y="116"/>
                    </a:lnTo>
                    <a:lnTo>
                      <a:pt x="188" y="118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4" y="126"/>
                    </a:lnTo>
                    <a:lnTo>
                      <a:pt x="182" y="126"/>
                    </a:lnTo>
                    <a:lnTo>
                      <a:pt x="182" y="130"/>
                    </a:lnTo>
                    <a:lnTo>
                      <a:pt x="178" y="130"/>
                    </a:lnTo>
                    <a:lnTo>
                      <a:pt x="174" y="130"/>
                    </a:lnTo>
                    <a:lnTo>
                      <a:pt x="170" y="134"/>
                    </a:lnTo>
                    <a:lnTo>
                      <a:pt x="166" y="134"/>
                    </a:lnTo>
                    <a:lnTo>
                      <a:pt x="170" y="134"/>
                    </a:lnTo>
                    <a:lnTo>
                      <a:pt x="170" y="138"/>
                    </a:lnTo>
                    <a:lnTo>
                      <a:pt x="166" y="138"/>
                    </a:lnTo>
                    <a:lnTo>
                      <a:pt x="170" y="138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58" y="146"/>
                    </a:lnTo>
                    <a:lnTo>
                      <a:pt x="156" y="146"/>
                    </a:lnTo>
                    <a:lnTo>
                      <a:pt x="156" y="142"/>
                    </a:lnTo>
                    <a:lnTo>
                      <a:pt x="152" y="142"/>
                    </a:lnTo>
                    <a:lnTo>
                      <a:pt x="148" y="142"/>
                    </a:lnTo>
                    <a:lnTo>
                      <a:pt x="144" y="142"/>
                    </a:lnTo>
                    <a:lnTo>
                      <a:pt x="144" y="138"/>
                    </a:lnTo>
                    <a:lnTo>
                      <a:pt x="140" y="138"/>
                    </a:lnTo>
                    <a:lnTo>
                      <a:pt x="140" y="134"/>
                    </a:lnTo>
                    <a:lnTo>
                      <a:pt x="140" y="130"/>
                    </a:ln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36" y="118"/>
                    </a:lnTo>
                    <a:lnTo>
                      <a:pt x="132" y="118"/>
                    </a:lnTo>
                    <a:lnTo>
                      <a:pt x="128" y="118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4" y="104"/>
                    </a:lnTo>
                    <a:lnTo>
                      <a:pt x="114" y="100"/>
                    </a:lnTo>
                    <a:lnTo>
                      <a:pt x="110" y="100"/>
                    </a:lnTo>
                    <a:lnTo>
                      <a:pt x="110" y="96"/>
                    </a:lnTo>
                    <a:lnTo>
                      <a:pt x="106" y="96"/>
                    </a:lnTo>
                    <a:lnTo>
                      <a:pt x="106" y="100"/>
                    </a:lnTo>
                    <a:lnTo>
                      <a:pt x="106" y="96"/>
                    </a:lnTo>
                    <a:lnTo>
                      <a:pt x="102" y="100"/>
                    </a:lnTo>
                    <a:lnTo>
                      <a:pt x="100" y="96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4" y="86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4" y="86"/>
                    </a:lnTo>
                    <a:lnTo>
                      <a:pt x="74" y="88"/>
                    </a:lnTo>
                    <a:lnTo>
                      <a:pt x="70" y="88"/>
                    </a:lnTo>
                    <a:lnTo>
                      <a:pt x="66" y="88"/>
                    </a:lnTo>
                    <a:lnTo>
                      <a:pt x="62" y="88"/>
                    </a:lnTo>
                    <a:lnTo>
                      <a:pt x="58" y="88"/>
                    </a:lnTo>
                    <a:lnTo>
                      <a:pt x="58" y="92"/>
                    </a:lnTo>
                    <a:lnTo>
                      <a:pt x="54" y="92"/>
                    </a:lnTo>
                    <a:lnTo>
                      <a:pt x="54" y="96"/>
                    </a:lnTo>
                    <a:lnTo>
                      <a:pt x="50" y="96"/>
                    </a:lnTo>
                    <a:lnTo>
                      <a:pt x="50" y="100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2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18" y="96"/>
                    </a:lnTo>
                    <a:lnTo>
                      <a:pt x="14" y="96"/>
                    </a:lnTo>
                    <a:lnTo>
                      <a:pt x="14" y="92"/>
                    </a:lnTo>
                    <a:lnTo>
                      <a:pt x="10" y="92"/>
                    </a:lnTo>
                    <a:lnTo>
                      <a:pt x="10" y="88"/>
                    </a:lnTo>
                    <a:lnTo>
                      <a:pt x="6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6" y="66"/>
                    </a:lnTo>
                    <a:lnTo>
                      <a:pt x="6" y="62"/>
                    </a:lnTo>
                    <a:lnTo>
                      <a:pt x="6" y="58"/>
                    </a:lnTo>
                    <a:lnTo>
                      <a:pt x="6" y="56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36"/>
                    </a:lnTo>
                    <a:lnTo>
                      <a:pt x="4" y="32"/>
                    </a:lnTo>
                    <a:lnTo>
                      <a:pt x="0" y="30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20" y="14"/>
                    </a:lnTo>
                    <a:lnTo>
                      <a:pt x="24" y="14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32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50" y="14"/>
                    </a:lnTo>
                    <a:lnTo>
                      <a:pt x="54" y="18"/>
                    </a:lnTo>
                    <a:lnTo>
                      <a:pt x="54" y="22"/>
                    </a:lnTo>
                    <a:lnTo>
                      <a:pt x="58" y="22"/>
                    </a:lnTo>
                    <a:lnTo>
                      <a:pt x="58" y="26"/>
                    </a:lnTo>
                    <a:lnTo>
                      <a:pt x="58" y="30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6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4"/>
                    </a:lnTo>
                    <a:lnTo>
                      <a:pt x="84" y="14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100" y="6"/>
                    </a:lnTo>
                    <a:lnTo>
                      <a:pt x="102" y="6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2" y="4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28" y="18"/>
                    </a:lnTo>
                    <a:lnTo>
                      <a:pt x="126" y="18"/>
                    </a:lnTo>
                    <a:lnTo>
                      <a:pt x="126" y="22"/>
                    </a:lnTo>
                    <a:lnTo>
                      <a:pt x="126" y="26"/>
                    </a:lnTo>
                    <a:lnTo>
                      <a:pt x="128" y="26"/>
                    </a:lnTo>
                    <a:lnTo>
                      <a:pt x="128" y="30"/>
                    </a:lnTo>
                    <a:lnTo>
                      <a:pt x="132" y="30"/>
                    </a:lnTo>
                    <a:lnTo>
                      <a:pt x="136" y="30"/>
                    </a:lnTo>
                    <a:lnTo>
                      <a:pt x="140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52" y="32"/>
                    </a:lnTo>
                    <a:lnTo>
                      <a:pt x="152" y="36"/>
                    </a:lnTo>
                    <a:lnTo>
                      <a:pt x="152" y="40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8" y="44"/>
                    </a:lnTo>
                    <a:lnTo>
                      <a:pt x="158" y="48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62" y="56"/>
                    </a:lnTo>
                    <a:lnTo>
                      <a:pt x="162" y="58"/>
                    </a:lnTo>
                    <a:lnTo>
                      <a:pt x="166" y="58"/>
                    </a:lnTo>
                    <a:lnTo>
                      <a:pt x="170" y="62"/>
                    </a:lnTo>
                    <a:lnTo>
                      <a:pt x="174" y="62"/>
                    </a:lnTo>
                    <a:lnTo>
                      <a:pt x="174" y="66"/>
                    </a:lnTo>
                    <a:lnTo>
                      <a:pt x="178" y="66"/>
                    </a:lnTo>
                    <a:lnTo>
                      <a:pt x="178" y="70"/>
                    </a:lnTo>
                    <a:lnTo>
                      <a:pt x="182" y="70"/>
                    </a:lnTo>
                    <a:lnTo>
                      <a:pt x="182" y="74"/>
                    </a:lnTo>
                    <a:lnTo>
                      <a:pt x="184" y="74"/>
                    </a:lnTo>
                    <a:lnTo>
                      <a:pt x="188" y="74"/>
                    </a:lnTo>
                    <a:lnTo>
                      <a:pt x="188" y="78"/>
                    </a:lnTo>
                    <a:lnTo>
                      <a:pt x="192" y="78"/>
                    </a:lnTo>
                    <a:lnTo>
                      <a:pt x="196" y="82"/>
                    </a:lnTo>
                    <a:lnTo>
                      <a:pt x="200" y="86"/>
                    </a:lnTo>
                    <a:lnTo>
                      <a:pt x="204" y="86"/>
                    </a:lnTo>
                    <a:lnTo>
                      <a:pt x="204" y="88"/>
                    </a:lnTo>
                    <a:lnTo>
                      <a:pt x="208" y="88"/>
                    </a:lnTo>
                    <a:lnTo>
                      <a:pt x="208" y="86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4" y="92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4" y="100"/>
                    </a:lnTo>
                    <a:lnTo>
                      <a:pt x="214" y="104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4" y="104"/>
                    </a:lnTo>
                    <a:lnTo>
                      <a:pt x="214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1" name="Freeform 60">
                <a:extLst>
                  <a:ext uri="{FF2B5EF4-FFF2-40B4-BE49-F238E27FC236}">
                    <a16:creationId xmlns:a16="http://schemas.microsoft.com/office/drawing/2014/main" id="{1B99951B-8878-497D-B656-E5C1A3BE9C2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553075" y="3841818"/>
                <a:ext cx="104775" cy="95250"/>
              </a:xfrm>
              <a:custGeom>
                <a:avLst/>
                <a:gdLst>
                  <a:gd name="T0" fmla="*/ 66 w 66"/>
                  <a:gd name="T1" fmla="*/ 14 h 60"/>
                  <a:gd name="T2" fmla="*/ 66 w 66"/>
                  <a:gd name="T3" fmla="*/ 18 h 60"/>
                  <a:gd name="T4" fmla="*/ 66 w 66"/>
                  <a:gd name="T5" fmla="*/ 18 h 60"/>
                  <a:gd name="T6" fmla="*/ 66 w 66"/>
                  <a:gd name="T7" fmla="*/ 22 h 60"/>
                  <a:gd name="T8" fmla="*/ 62 w 66"/>
                  <a:gd name="T9" fmla="*/ 22 h 60"/>
                  <a:gd name="T10" fmla="*/ 62 w 66"/>
                  <a:gd name="T11" fmla="*/ 22 h 60"/>
                  <a:gd name="T12" fmla="*/ 62 w 66"/>
                  <a:gd name="T13" fmla="*/ 22 h 60"/>
                  <a:gd name="T14" fmla="*/ 62 w 66"/>
                  <a:gd name="T15" fmla="*/ 18 h 60"/>
                  <a:gd name="T16" fmla="*/ 60 w 66"/>
                  <a:gd name="T17" fmla="*/ 18 h 60"/>
                  <a:gd name="T18" fmla="*/ 60 w 66"/>
                  <a:gd name="T19" fmla="*/ 22 h 60"/>
                  <a:gd name="T20" fmla="*/ 60 w 66"/>
                  <a:gd name="T21" fmla="*/ 26 h 60"/>
                  <a:gd name="T22" fmla="*/ 60 w 66"/>
                  <a:gd name="T23" fmla="*/ 30 h 60"/>
                  <a:gd name="T24" fmla="*/ 60 w 66"/>
                  <a:gd name="T25" fmla="*/ 34 h 60"/>
                  <a:gd name="T26" fmla="*/ 62 w 66"/>
                  <a:gd name="T27" fmla="*/ 36 h 60"/>
                  <a:gd name="T28" fmla="*/ 56 w 66"/>
                  <a:gd name="T29" fmla="*/ 36 h 60"/>
                  <a:gd name="T30" fmla="*/ 56 w 66"/>
                  <a:gd name="T31" fmla="*/ 40 h 60"/>
                  <a:gd name="T32" fmla="*/ 52 w 66"/>
                  <a:gd name="T33" fmla="*/ 48 h 60"/>
                  <a:gd name="T34" fmla="*/ 52 w 66"/>
                  <a:gd name="T35" fmla="*/ 52 h 60"/>
                  <a:gd name="T36" fmla="*/ 52 w 66"/>
                  <a:gd name="T37" fmla="*/ 56 h 60"/>
                  <a:gd name="T38" fmla="*/ 48 w 66"/>
                  <a:gd name="T39" fmla="*/ 60 h 60"/>
                  <a:gd name="T40" fmla="*/ 0 w 66"/>
                  <a:gd name="T41" fmla="*/ 34 h 60"/>
                  <a:gd name="T42" fmla="*/ 0 w 66"/>
                  <a:gd name="T43" fmla="*/ 34 h 60"/>
                  <a:gd name="T44" fmla="*/ 4 w 66"/>
                  <a:gd name="T45" fmla="*/ 36 h 60"/>
                  <a:gd name="T46" fmla="*/ 6 w 66"/>
                  <a:gd name="T47" fmla="*/ 36 h 60"/>
                  <a:gd name="T48" fmla="*/ 10 w 66"/>
                  <a:gd name="T49" fmla="*/ 34 h 60"/>
                  <a:gd name="T50" fmla="*/ 14 w 66"/>
                  <a:gd name="T51" fmla="*/ 34 h 60"/>
                  <a:gd name="T52" fmla="*/ 18 w 66"/>
                  <a:gd name="T53" fmla="*/ 34 h 60"/>
                  <a:gd name="T54" fmla="*/ 26 w 66"/>
                  <a:gd name="T55" fmla="*/ 34 h 60"/>
                  <a:gd name="T56" fmla="*/ 26 w 66"/>
                  <a:gd name="T57" fmla="*/ 36 h 60"/>
                  <a:gd name="T58" fmla="*/ 36 w 66"/>
                  <a:gd name="T59" fmla="*/ 34 h 60"/>
                  <a:gd name="T60" fmla="*/ 40 w 66"/>
                  <a:gd name="T61" fmla="*/ 30 h 60"/>
                  <a:gd name="T62" fmla="*/ 40 w 66"/>
                  <a:gd name="T63" fmla="*/ 30 h 60"/>
                  <a:gd name="T64" fmla="*/ 40 w 66"/>
                  <a:gd name="T65" fmla="*/ 22 h 60"/>
                  <a:gd name="T66" fmla="*/ 48 w 66"/>
                  <a:gd name="T67" fmla="*/ 18 h 60"/>
                  <a:gd name="T68" fmla="*/ 48 w 66"/>
                  <a:gd name="T69" fmla="*/ 14 h 60"/>
                  <a:gd name="T70" fmla="*/ 52 w 66"/>
                  <a:gd name="T71" fmla="*/ 14 h 60"/>
                  <a:gd name="T72" fmla="*/ 52 w 66"/>
                  <a:gd name="T73" fmla="*/ 14 h 60"/>
                  <a:gd name="T74" fmla="*/ 52 w 66"/>
                  <a:gd name="T75" fmla="*/ 10 h 60"/>
                  <a:gd name="T76" fmla="*/ 56 w 66"/>
                  <a:gd name="T77" fmla="*/ 10 h 60"/>
                  <a:gd name="T78" fmla="*/ 56 w 66"/>
                  <a:gd name="T79" fmla="*/ 6 h 60"/>
                  <a:gd name="T80" fmla="*/ 56 w 66"/>
                  <a:gd name="T81" fmla="*/ 6 h 60"/>
                  <a:gd name="T82" fmla="*/ 60 w 66"/>
                  <a:gd name="T83" fmla="*/ 6 h 60"/>
                  <a:gd name="T84" fmla="*/ 62 w 66"/>
                  <a:gd name="T85" fmla="*/ 0 h 60"/>
                  <a:gd name="T86" fmla="*/ 62 w 66"/>
                  <a:gd name="T87" fmla="*/ 2 h 60"/>
                  <a:gd name="T88" fmla="*/ 62 w 66"/>
                  <a:gd name="T89" fmla="*/ 6 h 60"/>
                  <a:gd name="T90" fmla="*/ 66 w 66"/>
                  <a:gd name="T91" fmla="*/ 6 h 60"/>
                  <a:gd name="T92" fmla="*/ 66 w 66"/>
                  <a:gd name="T93" fmla="*/ 10 h 60"/>
                  <a:gd name="T94" fmla="*/ 36 w 66"/>
                  <a:gd name="T95" fmla="*/ 26 h 60"/>
                  <a:gd name="T96" fmla="*/ 30 w 66"/>
                  <a:gd name="T97" fmla="*/ 34 h 60"/>
                  <a:gd name="T98" fmla="*/ 30 w 66"/>
                  <a:gd name="T99" fmla="*/ 34 h 60"/>
                  <a:gd name="T100" fmla="*/ 30 w 66"/>
                  <a:gd name="T101" fmla="*/ 34 h 60"/>
                  <a:gd name="T102" fmla="*/ 32 w 66"/>
                  <a:gd name="T103" fmla="*/ 34 h 60"/>
                  <a:gd name="T104" fmla="*/ 30 w 66"/>
                  <a:gd name="T105" fmla="*/ 34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6" h="60">
                    <a:moveTo>
                      <a:pt x="66" y="10"/>
                    </a:moveTo>
                    <a:lnTo>
                      <a:pt x="66" y="10"/>
                    </a:lnTo>
                    <a:lnTo>
                      <a:pt x="66" y="10"/>
                    </a:lnTo>
                    <a:lnTo>
                      <a:pt x="66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18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2" y="36"/>
                    </a:lnTo>
                    <a:lnTo>
                      <a:pt x="62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14" y="5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6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2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66" y="10"/>
                    </a:lnTo>
                    <a:close/>
                    <a:moveTo>
                      <a:pt x="40" y="30"/>
                    </a:moveTo>
                    <a:lnTo>
                      <a:pt x="36" y="30"/>
                    </a:lnTo>
                    <a:lnTo>
                      <a:pt x="36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close/>
                    <a:moveTo>
                      <a:pt x="30" y="34"/>
                    </a:move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2" name="Freeform 61">
                <a:extLst>
                  <a:ext uri="{FF2B5EF4-FFF2-40B4-BE49-F238E27FC236}">
                    <a16:creationId xmlns:a16="http://schemas.microsoft.com/office/drawing/2014/main" id="{86DDD765-D086-4EFC-98AF-FC83BC8AFA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651500" y="3254443"/>
                <a:ext cx="387350" cy="260350"/>
              </a:xfrm>
              <a:custGeom>
                <a:avLst/>
                <a:gdLst>
                  <a:gd name="T0" fmla="*/ 168 w 244"/>
                  <a:gd name="T1" fmla="*/ 118 h 164"/>
                  <a:gd name="T2" fmla="*/ 162 w 244"/>
                  <a:gd name="T3" fmla="*/ 126 h 164"/>
                  <a:gd name="T4" fmla="*/ 172 w 244"/>
                  <a:gd name="T5" fmla="*/ 134 h 164"/>
                  <a:gd name="T6" fmla="*/ 176 w 244"/>
                  <a:gd name="T7" fmla="*/ 144 h 164"/>
                  <a:gd name="T8" fmla="*/ 166 w 244"/>
                  <a:gd name="T9" fmla="*/ 156 h 164"/>
                  <a:gd name="T10" fmla="*/ 158 w 244"/>
                  <a:gd name="T11" fmla="*/ 164 h 164"/>
                  <a:gd name="T12" fmla="*/ 146 w 244"/>
                  <a:gd name="T13" fmla="*/ 156 h 164"/>
                  <a:gd name="T14" fmla="*/ 142 w 244"/>
                  <a:gd name="T15" fmla="*/ 144 h 164"/>
                  <a:gd name="T16" fmla="*/ 132 w 244"/>
                  <a:gd name="T17" fmla="*/ 142 h 164"/>
                  <a:gd name="T18" fmla="*/ 116 w 244"/>
                  <a:gd name="T19" fmla="*/ 130 h 164"/>
                  <a:gd name="T20" fmla="*/ 106 w 244"/>
                  <a:gd name="T21" fmla="*/ 122 h 164"/>
                  <a:gd name="T22" fmla="*/ 94 w 244"/>
                  <a:gd name="T23" fmla="*/ 112 h 164"/>
                  <a:gd name="T24" fmla="*/ 86 w 244"/>
                  <a:gd name="T25" fmla="*/ 100 h 164"/>
                  <a:gd name="T26" fmla="*/ 80 w 244"/>
                  <a:gd name="T27" fmla="*/ 86 h 164"/>
                  <a:gd name="T28" fmla="*/ 60 w 244"/>
                  <a:gd name="T29" fmla="*/ 86 h 164"/>
                  <a:gd name="T30" fmla="*/ 60 w 244"/>
                  <a:gd name="T31" fmla="*/ 74 h 164"/>
                  <a:gd name="T32" fmla="*/ 50 w 244"/>
                  <a:gd name="T33" fmla="*/ 62 h 164"/>
                  <a:gd name="T34" fmla="*/ 38 w 244"/>
                  <a:gd name="T35" fmla="*/ 56 h 164"/>
                  <a:gd name="T36" fmla="*/ 34 w 244"/>
                  <a:gd name="T37" fmla="*/ 62 h 164"/>
                  <a:gd name="T38" fmla="*/ 24 w 244"/>
                  <a:gd name="T39" fmla="*/ 66 h 164"/>
                  <a:gd name="T40" fmla="*/ 12 w 244"/>
                  <a:gd name="T41" fmla="*/ 74 h 164"/>
                  <a:gd name="T42" fmla="*/ 12 w 244"/>
                  <a:gd name="T43" fmla="*/ 86 h 164"/>
                  <a:gd name="T44" fmla="*/ 0 w 244"/>
                  <a:gd name="T45" fmla="*/ 78 h 164"/>
                  <a:gd name="T46" fmla="*/ 0 w 244"/>
                  <a:gd name="T47" fmla="*/ 52 h 164"/>
                  <a:gd name="T48" fmla="*/ 0 w 244"/>
                  <a:gd name="T49" fmla="*/ 22 h 164"/>
                  <a:gd name="T50" fmla="*/ 16 w 244"/>
                  <a:gd name="T51" fmla="*/ 8 h 164"/>
                  <a:gd name="T52" fmla="*/ 34 w 244"/>
                  <a:gd name="T53" fmla="*/ 0 h 164"/>
                  <a:gd name="T54" fmla="*/ 82 w 244"/>
                  <a:gd name="T55" fmla="*/ 38 h 164"/>
                  <a:gd name="T56" fmla="*/ 106 w 244"/>
                  <a:gd name="T57" fmla="*/ 38 h 164"/>
                  <a:gd name="T58" fmla="*/ 128 w 244"/>
                  <a:gd name="T59" fmla="*/ 38 h 164"/>
                  <a:gd name="T60" fmla="*/ 136 w 244"/>
                  <a:gd name="T61" fmla="*/ 48 h 164"/>
                  <a:gd name="T62" fmla="*/ 142 w 244"/>
                  <a:gd name="T63" fmla="*/ 62 h 164"/>
                  <a:gd name="T64" fmla="*/ 150 w 244"/>
                  <a:gd name="T65" fmla="*/ 82 h 164"/>
                  <a:gd name="T66" fmla="*/ 166 w 244"/>
                  <a:gd name="T67" fmla="*/ 86 h 164"/>
                  <a:gd name="T68" fmla="*/ 172 w 244"/>
                  <a:gd name="T69" fmla="*/ 96 h 164"/>
                  <a:gd name="T70" fmla="*/ 180 w 244"/>
                  <a:gd name="T71" fmla="*/ 92 h 164"/>
                  <a:gd name="T72" fmla="*/ 192 w 244"/>
                  <a:gd name="T73" fmla="*/ 78 h 164"/>
                  <a:gd name="T74" fmla="*/ 206 w 244"/>
                  <a:gd name="T75" fmla="*/ 70 h 164"/>
                  <a:gd name="T76" fmla="*/ 210 w 244"/>
                  <a:gd name="T77" fmla="*/ 70 h 164"/>
                  <a:gd name="T78" fmla="*/ 198 w 244"/>
                  <a:gd name="T79" fmla="*/ 78 h 164"/>
                  <a:gd name="T80" fmla="*/ 210 w 244"/>
                  <a:gd name="T81" fmla="*/ 86 h 164"/>
                  <a:gd name="T82" fmla="*/ 218 w 244"/>
                  <a:gd name="T83" fmla="*/ 86 h 164"/>
                  <a:gd name="T84" fmla="*/ 224 w 244"/>
                  <a:gd name="T85" fmla="*/ 86 h 164"/>
                  <a:gd name="T86" fmla="*/ 240 w 244"/>
                  <a:gd name="T87" fmla="*/ 92 h 164"/>
                  <a:gd name="T88" fmla="*/ 236 w 244"/>
                  <a:gd name="T89" fmla="*/ 100 h 164"/>
                  <a:gd name="T90" fmla="*/ 224 w 244"/>
                  <a:gd name="T91" fmla="*/ 104 h 164"/>
                  <a:gd name="T92" fmla="*/ 206 w 244"/>
                  <a:gd name="T93" fmla="*/ 104 h 164"/>
                  <a:gd name="T94" fmla="*/ 210 w 244"/>
                  <a:gd name="T95" fmla="*/ 96 h 164"/>
                  <a:gd name="T96" fmla="*/ 202 w 244"/>
                  <a:gd name="T97" fmla="*/ 92 h 164"/>
                  <a:gd name="T98" fmla="*/ 192 w 244"/>
                  <a:gd name="T99" fmla="*/ 92 h 164"/>
                  <a:gd name="T100" fmla="*/ 184 w 244"/>
                  <a:gd name="T101" fmla="*/ 104 h 164"/>
                  <a:gd name="T102" fmla="*/ 184 w 244"/>
                  <a:gd name="T103" fmla="*/ 108 h 164"/>
                  <a:gd name="T104" fmla="*/ 176 w 244"/>
                  <a:gd name="T105" fmla="*/ 112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44" h="164">
                    <a:moveTo>
                      <a:pt x="176" y="112"/>
                    </a:moveTo>
                    <a:lnTo>
                      <a:pt x="176" y="116"/>
                    </a:lnTo>
                    <a:lnTo>
                      <a:pt x="176" y="118"/>
                    </a:lnTo>
                    <a:lnTo>
                      <a:pt x="172" y="118"/>
                    </a:lnTo>
                    <a:lnTo>
                      <a:pt x="168" y="118"/>
                    </a:lnTo>
                    <a:lnTo>
                      <a:pt x="168" y="116"/>
                    </a:lnTo>
                    <a:lnTo>
                      <a:pt x="166" y="116"/>
                    </a:lnTo>
                    <a:lnTo>
                      <a:pt x="162" y="118"/>
                    </a:lnTo>
                    <a:lnTo>
                      <a:pt x="162" y="122"/>
                    </a:lnTo>
                    <a:lnTo>
                      <a:pt x="162" y="126"/>
                    </a:lnTo>
                    <a:lnTo>
                      <a:pt x="166" y="126"/>
                    </a:lnTo>
                    <a:lnTo>
                      <a:pt x="166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72" y="134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2" y="144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8"/>
                    </a:lnTo>
                    <a:lnTo>
                      <a:pt x="168" y="152"/>
                    </a:lnTo>
                    <a:lnTo>
                      <a:pt x="168" y="156"/>
                    </a:lnTo>
                    <a:lnTo>
                      <a:pt x="166" y="156"/>
                    </a:lnTo>
                    <a:lnTo>
                      <a:pt x="166" y="160"/>
                    </a:lnTo>
                    <a:lnTo>
                      <a:pt x="166" y="16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58" y="164"/>
                    </a:lnTo>
                    <a:lnTo>
                      <a:pt x="158" y="160"/>
                    </a:lnTo>
                    <a:lnTo>
                      <a:pt x="154" y="160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6" y="156"/>
                    </a:lnTo>
                    <a:lnTo>
                      <a:pt x="150" y="152"/>
                    </a:lnTo>
                    <a:lnTo>
                      <a:pt x="150" y="148"/>
                    </a:lnTo>
                    <a:lnTo>
                      <a:pt x="146" y="148"/>
                    </a:lnTo>
                    <a:lnTo>
                      <a:pt x="146" y="144"/>
                    </a:lnTo>
                    <a:lnTo>
                      <a:pt x="142" y="144"/>
                    </a:lnTo>
                    <a:lnTo>
                      <a:pt x="138" y="142"/>
                    </a:lnTo>
                    <a:lnTo>
                      <a:pt x="138" y="144"/>
                    </a:lnTo>
                    <a:lnTo>
                      <a:pt x="136" y="144"/>
                    </a:lnTo>
                    <a:lnTo>
                      <a:pt x="136" y="142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4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30"/>
                    </a:lnTo>
                    <a:lnTo>
                      <a:pt x="112" y="126"/>
                    </a:lnTo>
                    <a:lnTo>
                      <a:pt x="110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18"/>
                    </a:lnTo>
                    <a:lnTo>
                      <a:pt x="102" y="118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2"/>
                    </a:lnTo>
                    <a:lnTo>
                      <a:pt x="90" y="112"/>
                    </a:lnTo>
                    <a:lnTo>
                      <a:pt x="90" y="108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100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2" y="88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4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62"/>
                    </a:lnTo>
                    <a:lnTo>
                      <a:pt x="50" y="62"/>
                    </a:lnTo>
                    <a:lnTo>
                      <a:pt x="46" y="62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56"/>
                    </a:lnTo>
                    <a:lnTo>
                      <a:pt x="30" y="60"/>
                    </a:lnTo>
                    <a:lnTo>
                      <a:pt x="34" y="62"/>
                    </a:lnTo>
                    <a:lnTo>
                      <a:pt x="30" y="62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4" y="66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66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2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50" y="12"/>
                    </a:lnTo>
                    <a:lnTo>
                      <a:pt x="72" y="26"/>
                    </a:lnTo>
                    <a:lnTo>
                      <a:pt x="76" y="30"/>
                    </a:lnTo>
                    <a:lnTo>
                      <a:pt x="80" y="34"/>
                    </a:lnTo>
                    <a:lnTo>
                      <a:pt x="82" y="38"/>
                    </a:lnTo>
                    <a:lnTo>
                      <a:pt x="82" y="42"/>
                    </a:lnTo>
                    <a:lnTo>
                      <a:pt x="90" y="42"/>
                    </a:lnTo>
                    <a:lnTo>
                      <a:pt x="94" y="42"/>
                    </a:lnTo>
                    <a:lnTo>
                      <a:pt x="102" y="38"/>
                    </a:lnTo>
                    <a:lnTo>
                      <a:pt x="106" y="38"/>
                    </a:lnTo>
                    <a:lnTo>
                      <a:pt x="110" y="42"/>
                    </a:lnTo>
                    <a:lnTo>
                      <a:pt x="112" y="42"/>
                    </a:lnTo>
                    <a:lnTo>
                      <a:pt x="120" y="42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2" y="46"/>
                    </a:lnTo>
                    <a:lnTo>
                      <a:pt x="136" y="46"/>
                    </a:lnTo>
                    <a:lnTo>
                      <a:pt x="136" y="48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2" y="70"/>
                    </a:lnTo>
                    <a:lnTo>
                      <a:pt x="146" y="70"/>
                    </a:lnTo>
                    <a:lnTo>
                      <a:pt x="150" y="74"/>
                    </a:lnTo>
                    <a:lnTo>
                      <a:pt x="150" y="82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6" y="86"/>
                    </a:lnTo>
                    <a:lnTo>
                      <a:pt x="168" y="86"/>
                    </a:lnTo>
                    <a:lnTo>
                      <a:pt x="168" y="88"/>
                    </a:lnTo>
                    <a:lnTo>
                      <a:pt x="172" y="88"/>
                    </a:lnTo>
                    <a:lnTo>
                      <a:pt x="168" y="92"/>
                    </a:lnTo>
                    <a:lnTo>
                      <a:pt x="172" y="96"/>
                    </a:lnTo>
                    <a:lnTo>
                      <a:pt x="176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92"/>
                    </a:lnTo>
                    <a:lnTo>
                      <a:pt x="180" y="92"/>
                    </a:lnTo>
                    <a:lnTo>
                      <a:pt x="180" y="88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92" y="78"/>
                    </a:lnTo>
                    <a:lnTo>
                      <a:pt x="194" y="78"/>
                    </a:lnTo>
                    <a:lnTo>
                      <a:pt x="198" y="74"/>
                    </a:lnTo>
                    <a:lnTo>
                      <a:pt x="202" y="70"/>
                    </a:lnTo>
                    <a:lnTo>
                      <a:pt x="202" y="66"/>
                    </a:lnTo>
                    <a:lnTo>
                      <a:pt x="206" y="70"/>
                    </a:lnTo>
                    <a:lnTo>
                      <a:pt x="206" y="66"/>
                    </a:lnTo>
                    <a:lnTo>
                      <a:pt x="210" y="66"/>
                    </a:lnTo>
                    <a:lnTo>
                      <a:pt x="214" y="62"/>
                    </a:lnTo>
                    <a:lnTo>
                      <a:pt x="214" y="66"/>
                    </a:lnTo>
                    <a:lnTo>
                      <a:pt x="210" y="70"/>
                    </a:lnTo>
                    <a:lnTo>
                      <a:pt x="206" y="70"/>
                    </a:lnTo>
                    <a:lnTo>
                      <a:pt x="206" y="74"/>
                    </a:lnTo>
                    <a:lnTo>
                      <a:pt x="202" y="74"/>
                    </a:lnTo>
                    <a:lnTo>
                      <a:pt x="202" y="78"/>
                    </a:lnTo>
                    <a:lnTo>
                      <a:pt x="198" y="78"/>
                    </a:lnTo>
                    <a:lnTo>
                      <a:pt x="198" y="82"/>
                    </a:lnTo>
                    <a:lnTo>
                      <a:pt x="202" y="82"/>
                    </a:lnTo>
                    <a:lnTo>
                      <a:pt x="206" y="82"/>
                    </a:lnTo>
                    <a:lnTo>
                      <a:pt x="210" y="82"/>
                    </a:lnTo>
                    <a:lnTo>
                      <a:pt x="210" y="86"/>
                    </a:lnTo>
                    <a:lnTo>
                      <a:pt x="214" y="86"/>
                    </a:lnTo>
                    <a:lnTo>
                      <a:pt x="218" y="88"/>
                    </a:lnTo>
                    <a:lnTo>
                      <a:pt x="218" y="86"/>
                    </a:lnTo>
                    <a:lnTo>
                      <a:pt x="218" y="82"/>
                    </a:lnTo>
                    <a:lnTo>
                      <a:pt x="218" y="86"/>
                    </a:lnTo>
                    <a:lnTo>
                      <a:pt x="222" y="86"/>
                    </a:lnTo>
                    <a:lnTo>
                      <a:pt x="222" y="82"/>
                    </a:lnTo>
                    <a:lnTo>
                      <a:pt x="222" y="78"/>
                    </a:lnTo>
                    <a:lnTo>
                      <a:pt x="224" y="82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28" y="88"/>
                    </a:lnTo>
                    <a:lnTo>
                      <a:pt x="232" y="88"/>
                    </a:lnTo>
                    <a:lnTo>
                      <a:pt x="236" y="92"/>
                    </a:lnTo>
                    <a:lnTo>
                      <a:pt x="240" y="92"/>
                    </a:lnTo>
                    <a:lnTo>
                      <a:pt x="244" y="92"/>
                    </a:lnTo>
                    <a:lnTo>
                      <a:pt x="240" y="92"/>
                    </a:lnTo>
                    <a:lnTo>
                      <a:pt x="240" y="96"/>
                    </a:lnTo>
                    <a:lnTo>
                      <a:pt x="236" y="96"/>
                    </a:lnTo>
                    <a:lnTo>
                      <a:pt x="236" y="100"/>
                    </a:lnTo>
                    <a:lnTo>
                      <a:pt x="232" y="100"/>
                    </a:lnTo>
                    <a:lnTo>
                      <a:pt x="232" y="96"/>
                    </a:lnTo>
                    <a:lnTo>
                      <a:pt x="232" y="100"/>
                    </a:lnTo>
                    <a:lnTo>
                      <a:pt x="228" y="100"/>
                    </a:lnTo>
                    <a:lnTo>
                      <a:pt x="224" y="104"/>
                    </a:lnTo>
                    <a:lnTo>
                      <a:pt x="222" y="108"/>
                    </a:lnTo>
                    <a:lnTo>
                      <a:pt x="218" y="104"/>
                    </a:lnTo>
                    <a:lnTo>
                      <a:pt x="214" y="104"/>
                    </a:lnTo>
                    <a:lnTo>
                      <a:pt x="210" y="104"/>
                    </a:lnTo>
                    <a:lnTo>
                      <a:pt x="206" y="104"/>
                    </a:lnTo>
                    <a:lnTo>
                      <a:pt x="202" y="104"/>
                    </a:lnTo>
                    <a:lnTo>
                      <a:pt x="202" y="100"/>
                    </a:lnTo>
                    <a:lnTo>
                      <a:pt x="206" y="100"/>
                    </a:lnTo>
                    <a:lnTo>
                      <a:pt x="206" y="96"/>
                    </a:lnTo>
                    <a:lnTo>
                      <a:pt x="210" y="96"/>
                    </a:lnTo>
                    <a:lnTo>
                      <a:pt x="210" y="92"/>
                    </a:lnTo>
                    <a:lnTo>
                      <a:pt x="206" y="92"/>
                    </a:lnTo>
                    <a:lnTo>
                      <a:pt x="206" y="88"/>
                    </a:lnTo>
                    <a:lnTo>
                      <a:pt x="202" y="88"/>
                    </a:lnTo>
                    <a:lnTo>
                      <a:pt x="202" y="92"/>
                    </a:lnTo>
                    <a:lnTo>
                      <a:pt x="198" y="92"/>
                    </a:lnTo>
                    <a:lnTo>
                      <a:pt x="198" y="96"/>
                    </a:lnTo>
                    <a:lnTo>
                      <a:pt x="194" y="96"/>
                    </a:lnTo>
                    <a:lnTo>
                      <a:pt x="192" y="96"/>
                    </a:lnTo>
                    <a:lnTo>
                      <a:pt x="192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88" y="100"/>
                    </a:lnTo>
                    <a:lnTo>
                      <a:pt x="188" y="104"/>
                    </a:lnTo>
                    <a:lnTo>
                      <a:pt x="184" y="104"/>
                    </a:lnTo>
                    <a:lnTo>
                      <a:pt x="180" y="104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80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80" y="112"/>
                    </a:lnTo>
                    <a:lnTo>
                      <a:pt x="176" y="112"/>
                    </a:lnTo>
                    <a:lnTo>
                      <a:pt x="176" y="112"/>
                    </a:lnTo>
                    <a:lnTo>
                      <a:pt x="176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3" name="Freeform 62">
                <a:extLst>
                  <a:ext uri="{FF2B5EF4-FFF2-40B4-BE49-F238E27FC236}">
                    <a16:creationId xmlns:a16="http://schemas.microsoft.com/office/drawing/2014/main" id="{1909C589-A827-4790-A80A-F8FAB98CBA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689725" y="3918018"/>
                <a:ext cx="158750" cy="409575"/>
              </a:xfrm>
              <a:custGeom>
                <a:avLst/>
                <a:gdLst>
                  <a:gd name="T0" fmla="*/ 78 w 100"/>
                  <a:gd name="T1" fmla="*/ 122 h 258"/>
                  <a:gd name="T2" fmla="*/ 86 w 100"/>
                  <a:gd name="T3" fmla="*/ 130 h 258"/>
                  <a:gd name="T4" fmla="*/ 92 w 100"/>
                  <a:gd name="T5" fmla="*/ 138 h 258"/>
                  <a:gd name="T6" fmla="*/ 96 w 100"/>
                  <a:gd name="T7" fmla="*/ 148 h 258"/>
                  <a:gd name="T8" fmla="*/ 96 w 100"/>
                  <a:gd name="T9" fmla="*/ 168 h 258"/>
                  <a:gd name="T10" fmla="*/ 100 w 100"/>
                  <a:gd name="T11" fmla="*/ 178 h 258"/>
                  <a:gd name="T12" fmla="*/ 100 w 100"/>
                  <a:gd name="T13" fmla="*/ 194 h 258"/>
                  <a:gd name="T14" fmla="*/ 96 w 100"/>
                  <a:gd name="T15" fmla="*/ 198 h 258"/>
                  <a:gd name="T16" fmla="*/ 92 w 100"/>
                  <a:gd name="T17" fmla="*/ 212 h 258"/>
                  <a:gd name="T18" fmla="*/ 78 w 100"/>
                  <a:gd name="T19" fmla="*/ 220 h 258"/>
                  <a:gd name="T20" fmla="*/ 62 w 100"/>
                  <a:gd name="T21" fmla="*/ 220 h 258"/>
                  <a:gd name="T22" fmla="*/ 62 w 100"/>
                  <a:gd name="T23" fmla="*/ 228 h 258"/>
                  <a:gd name="T24" fmla="*/ 60 w 100"/>
                  <a:gd name="T25" fmla="*/ 232 h 258"/>
                  <a:gd name="T26" fmla="*/ 56 w 100"/>
                  <a:gd name="T27" fmla="*/ 232 h 258"/>
                  <a:gd name="T28" fmla="*/ 52 w 100"/>
                  <a:gd name="T29" fmla="*/ 234 h 258"/>
                  <a:gd name="T30" fmla="*/ 48 w 100"/>
                  <a:gd name="T31" fmla="*/ 246 h 258"/>
                  <a:gd name="T32" fmla="*/ 34 w 100"/>
                  <a:gd name="T33" fmla="*/ 258 h 258"/>
                  <a:gd name="T34" fmla="*/ 36 w 100"/>
                  <a:gd name="T35" fmla="*/ 238 h 258"/>
                  <a:gd name="T36" fmla="*/ 34 w 100"/>
                  <a:gd name="T37" fmla="*/ 228 h 258"/>
                  <a:gd name="T38" fmla="*/ 40 w 100"/>
                  <a:gd name="T39" fmla="*/ 216 h 258"/>
                  <a:gd name="T40" fmla="*/ 56 w 100"/>
                  <a:gd name="T41" fmla="*/ 216 h 258"/>
                  <a:gd name="T42" fmla="*/ 56 w 100"/>
                  <a:gd name="T43" fmla="*/ 204 h 258"/>
                  <a:gd name="T44" fmla="*/ 62 w 100"/>
                  <a:gd name="T45" fmla="*/ 198 h 258"/>
                  <a:gd name="T46" fmla="*/ 74 w 100"/>
                  <a:gd name="T47" fmla="*/ 186 h 258"/>
                  <a:gd name="T48" fmla="*/ 70 w 100"/>
                  <a:gd name="T49" fmla="*/ 164 h 258"/>
                  <a:gd name="T50" fmla="*/ 74 w 100"/>
                  <a:gd name="T51" fmla="*/ 148 h 258"/>
                  <a:gd name="T52" fmla="*/ 70 w 100"/>
                  <a:gd name="T53" fmla="*/ 134 h 258"/>
                  <a:gd name="T54" fmla="*/ 66 w 100"/>
                  <a:gd name="T55" fmla="*/ 122 h 258"/>
                  <a:gd name="T56" fmla="*/ 60 w 100"/>
                  <a:gd name="T57" fmla="*/ 112 h 258"/>
                  <a:gd name="T58" fmla="*/ 48 w 100"/>
                  <a:gd name="T59" fmla="*/ 100 h 258"/>
                  <a:gd name="T60" fmla="*/ 40 w 100"/>
                  <a:gd name="T61" fmla="*/ 86 h 258"/>
                  <a:gd name="T62" fmla="*/ 26 w 100"/>
                  <a:gd name="T63" fmla="*/ 74 h 258"/>
                  <a:gd name="T64" fmla="*/ 26 w 100"/>
                  <a:gd name="T65" fmla="*/ 62 h 258"/>
                  <a:gd name="T66" fmla="*/ 36 w 100"/>
                  <a:gd name="T67" fmla="*/ 58 h 258"/>
                  <a:gd name="T68" fmla="*/ 26 w 100"/>
                  <a:gd name="T69" fmla="*/ 42 h 258"/>
                  <a:gd name="T70" fmla="*/ 10 w 100"/>
                  <a:gd name="T71" fmla="*/ 44 h 258"/>
                  <a:gd name="T72" fmla="*/ 10 w 100"/>
                  <a:gd name="T73" fmla="*/ 34 h 258"/>
                  <a:gd name="T74" fmla="*/ 0 w 100"/>
                  <a:gd name="T75" fmla="*/ 18 h 258"/>
                  <a:gd name="T76" fmla="*/ 10 w 100"/>
                  <a:gd name="T77" fmla="*/ 14 h 258"/>
                  <a:gd name="T78" fmla="*/ 22 w 100"/>
                  <a:gd name="T79" fmla="*/ 12 h 258"/>
                  <a:gd name="T80" fmla="*/ 36 w 100"/>
                  <a:gd name="T81" fmla="*/ 8 h 258"/>
                  <a:gd name="T82" fmla="*/ 48 w 100"/>
                  <a:gd name="T83" fmla="*/ 8 h 258"/>
                  <a:gd name="T84" fmla="*/ 62 w 100"/>
                  <a:gd name="T85" fmla="*/ 14 h 258"/>
                  <a:gd name="T86" fmla="*/ 70 w 100"/>
                  <a:gd name="T87" fmla="*/ 30 h 258"/>
                  <a:gd name="T88" fmla="*/ 74 w 100"/>
                  <a:gd name="T89" fmla="*/ 38 h 258"/>
                  <a:gd name="T90" fmla="*/ 70 w 100"/>
                  <a:gd name="T91" fmla="*/ 42 h 258"/>
                  <a:gd name="T92" fmla="*/ 62 w 100"/>
                  <a:gd name="T93" fmla="*/ 48 h 258"/>
                  <a:gd name="T94" fmla="*/ 56 w 100"/>
                  <a:gd name="T95" fmla="*/ 58 h 258"/>
                  <a:gd name="T96" fmla="*/ 52 w 100"/>
                  <a:gd name="T97" fmla="*/ 70 h 258"/>
                  <a:gd name="T98" fmla="*/ 52 w 100"/>
                  <a:gd name="T99" fmla="*/ 88 h 258"/>
                  <a:gd name="T100" fmla="*/ 62 w 100"/>
                  <a:gd name="T101" fmla="*/ 108 h 258"/>
                  <a:gd name="T102" fmla="*/ 66 w 100"/>
                  <a:gd name="T103" fmla="*/ 224 h 258"/>
                  <a:gd name="T104" fmla="*/ 62 w 100"/>
                  <a:gd name="T105" fmla="*/ 224 h 258"/>
                  <a:gd name="T106" fmla="*/ 74 w 100"/>
                  <a:gd name="T107" fmla="*/ 38 h 258"/>
                  <a:gd name="T108" fmla="*/ 66 w 100"/>
                  <a:gd name="T109" fmla="*/ 44 h 258"/>
                  <a:gd name="T110" fmla="*/ 26 w 100"/>
                  <a:gd name="T111" fmla="*/ 228 h 2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" h="258">
                    <a:moveTo>
                      <a:pt x="66" y="112"/>
                    </a:moveTo>
                    <a:lnTo>
                      <a:pt x="70" y="112"/>
                    </a:lnTo>
                    <a:lnTo>
                      <a:pt x="70" y="116"/>
                    </a:lnTo>
                    <a:lnTo>
                      <a:pt x="74" y="118"/>
                    </a:lnTo>
                    <a:lnTo>
                      <a:pt x="78" y="118"/>
                    </a:lnTo>
                    <a:lnTo>
                      <a:pt x="78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2" y="126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26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0" y="138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38"/>
                    </a:lnTo>
                    <a:lnTo>
                      <a:pt x="92" y="142"/>
                    </a:lnTo>
                    <a:lnTo>
                      <a:pt x="92" y="146"/>
                    </a:lnTo>
                    <a:lnTo>
                      <a:pt x="92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96" y="168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4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96" y="186"/>
                    </a:lnTo>
                    <a:lnTo>
                      <a:pt x="96" y="190"/>
                    </a:lnTo>
                    <a:lnTo>
                      <a:pt x="100" y="190"/>
                    </a:lnTo>
                    <a:lnTo>
                      <a:pt x="100" y="194"/>
                    </a:lnTo>
                    <a:lnTo>
                      <a:pt x="100" y="190"/>
                    </a:lnTo>
                    <a:lnTo>
                      <a:pt x="96" y="190"/>
                    </a:lnTo>
                    <a:lnTo>
                      <a:pt x="96" y="194"/>
                    </a:lnTo>
                    <a:lnTo>
                      <a:pt x="96" y="198"/>
                    </a:lnTo>
                    <a:lnTo>
                      <a:pt x="100" y="202"/>
                    </a:lnTo>
                    <a:lnTo>
                      <a:pt x="96" y="198"/>
                    </a:lnTo>
                    <a:lnTo>
                      <a:pt x="96" y="202"/>
                    </a:lnTo>
                    <a:lnTo>
                      <a:pt x="96" y="204"/>
                    </a:lnTo>
                    <a:lnTo>
                      <a:pt x="96" y="208"/>
                    </a:lnTo>
                    <a:lnTo>
                      <a:pt x="92" y="212"/>
                    </a:lnTo>
                    <a:lnTo>
                      <a:pt x="92" y="208"/>
                    </a:lnTo>
                    <a:lnTo>
                      <a:pt x="92" y="212"/>
                    </a:lnTo>
                    <a:lnTo>
                      <a:pt x="90" y="212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8" y="224"/>
                    </a:lnTo>
                    <a:lnTo>
                      <a:pt x="74" y="224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66" y="224"/>
                    </a:lnTo>
                    <a:lnTo>
                      <a:pt x="62" y="220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8"/>
                    </a:lnTo>
                    <a:lnTo>
                      <a:pt x="60" y="228"/>
                    </a:lnTo>
                    <a:lnTo>
                      <a:pt x="62" y="228"/>
                    </a:lnTo>
                    <a:lnTo>
                      <a:pt x="62" y="232"/>
                    </a:lnTo>
                    <a:lnTo>
                      <a:pt x="62" y="234"/>
                    </a:lnTo>
                    <a:lnTo>
                      <a:pt x="60" y="232"/>
                    </a:lnTo>
                    <a:lnTo>
                      <a:pt x="60" y="228"/>
                    </a:lnTo>
                    <a:lnTo>
                      <a:pt x="56" y="228"/>
                    </a:lnTo>
                    <a:lnTo>
                      <a:pt x="60" y="232"/>
                    </a:lnTo>
                    <a:lnTo>
                      <a:pt x="60" y="234"/>
                    </a:lnTo>
                    <a:lnTo>
                      <a:pt x="62" y="234"/>
                    </a:lnTo>
                    <a:lnTo>
                      <a:pt x="60" y="234"/>
                    </a:lnTo>
                    <a:lnTo>
                      <a:pt x="56" y="232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6" y="234"/>
                    </a:lnTo>
                    <a:lnTo>
                      <a:pt x="60" y="234"/>
                    </a:lnTo>
                    <a:lnTo>
                      <a:pt x="60" y="238"/>
                    </a:lnTo>
                    <a:lnTo>
                      <a:pt x="60" y="242"/>
                    </a:lnTo>
                    <a:lnTo>
                      <a:pt x="56" y="238"/>
                    </a:lnTo>
                    <a:lnTo>
                      <a:pt x="52" y="234"/>
                    </a:lnTo>
                    <a:lnTo>
                      <a:pt x="52" y="238"/>
                    </a:lnTo>
                    <a:lnTo>
                      <a:pt x="56" y="238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50"/>
                    </a:lnTo>
                    <a:lnTo>
                      <a:pt x="44" y="250"/>
                    </a:lnTo>
                    <a:lnTo>
                      <a:pt x="44" y="254"/>
                    </a:lnTo>
                    <a:lnTo>
                      <a:pt x="40" y="258"/>
                    </a:lnTo>
                    <a:lnTo>
                      <a:pt x="36" y="258"/>
                    </a:lnTo>
                    <a:lnTo>
                      <a:pt x="34" y="258"/>
                    </a:lnTo>
                    <a:lnTo>
                      <a:pt x="36" y="258"/>
                    </a:lnTo>
                    <a:lnTo>
                      <a:pt x="36" y="254"/>
                    </a:lnTo>
                    <a:lnTo>
                      <a:pt x="36" y="250"/>
                    </a:lnTo>
                    <a:lnTo>
                      <a:pt x="36" y="246"/>
                    </a:lnTo>
                    <a:lnTo>
                      <a:pt x="36" y="242"/>
                    </a:lnTo>
                    <a:lnTo>
                      <a:pt x="36" y="238"/>
                    </a:lnTo>
                    <a:lnTo>
                      <a:pt x="36" y="234"/>
                    </a:lnTo>
                    <a:lnTo>
                      <a:pt x="40" y="234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4" y="232"/>
                    </a:lnTo>
                    <a:lnTo>
                      <a:pt x="34" y="228"/>
                    </a:lnTo>
                    <a:lnTo>
                      <a:pt x="30" y="228"/>
                    </a:lnTo>
                    <a:lnTo>
                      <a:pt x="34" y="228"/>
                    </a:lnTo>
                    <a:lnTo>
                      <a:pt x="34" y="224"/>
                    </a:lnTo>
                    <a:lnTo>
                      <a:pt x="36" y="224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20"/>
                    </a:lnTo>
                    <a:lnTo>
                      <a:pt x="44" y="216"/>
                    </a:lnTo>
                    <a:lnTo>
                      <a:pt x="48" y="216"/>
                    </a:lnTo>
                    <a:lnTo>
                      <a:pt x="52" y="216"/>
                    </a:lnTo>
                    <a:lnTo>
                      <a:pt x="56" y="220"/>
                    </a:lnTo>
                    <a:lnTo>
                      <a:pt x="56" y="216"/>
                    </a:lnTo>
                    <a:lnTo>
                      <a:pt x="52" y="212"/>
                    </a:lnTo>
                    <a:lnTo>
                      <a:pt x="52" y="208"/>
                    </a:lnTo>
                    <a:lnTo>
                      <a:pt x="52" y="204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6" y="204"/>
                    </a:lnTo>
                    <a:lnTo>
                      <a:pt x="60" y="204"/>
                    </a:lnTo>
                    <a:lnTo>
                      <a:pt x="60" y="202"/>
                    </a:lnTo>
                    <a:lnTo>
                      <a:pt x="60" y="198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198"/>
                    </a:lnTo>
                    <a:lnTo>
                      <a:pt x="66" y="198"/>
                    </a:lnTo>
                    <a:lnTo>
                      <a:pt x="66" y="194"/>
                    </a:lnTo>
                    <a:lnTo>
                      <a:pt x="70" y="194"/>
                    </a:lnTo>
                    <a:lnTo>
                      <a:pt x="74" y="194"/>
                    </a:lnTo>
                    <a:lnTo>
                      <a:pt x="74" y="190"/>
                    </a:lnTo>
                    <a:lnTo>
                      <a:pt x="74" y="186"/>
                    </a:lnTo>
                    <a:lnTo>
                      <a:pt x="74" y="182"/>
                    </a:lnTo>
                    <a:lnTo>
                      <a:pt x="74" y="174"/>
                    </a:lnTo>
                    <a:lnTo>
                      <a:pt x="74" y="172"/>
                    </a:lnTo>
                    <a:lnTo>
                      <a:pt x="74" y="168"/>
                    </a:lnTo>
                    <a:lnTo>
                      <a:pt x="74" y="164"/>
                    </a:lnTo>
                    <a:lnTo>
                      <a:pt x="70" y="164"/>
                    </a:lnTo>
                    <a:lnTo>
                      <a:pt x="70" y="160"/>
                    </a:lnTo>
                    <a:lnTo>
                      <a:pt x="74" y="160"/>
                    </a:lnTo>
                    <a:lnTo>
                      <a:pt x="70" y="156"/>
                    </a:lnTo>
                    <a:lnTo>
                      <a:pt x="74" y="156"/>
                    </a:lnTo>
                    <a:lnTo>
                      <a:pt x="74" y="152"/>
                    </a:lnTo>
                    <a:lnTo>
                      <a:pt x="74" y="148"/>
                    </a:lnTo>
                    <a:lnTo>
                      <a:pt x="74" y="146"/>
                    </a:lnTo>
                    <a:lnTo>
                      <a:pt x="78" y="142"/>
                    </a:lnTo>
                    <a:lnTo>
                      <a:pt x="74" y="142"/>
                    </a:lnTo>
                    <a:lnTo>
                      <a:pt x="74" y="138"/>
                    </a:lnTo>
                    <a:lnTo>
                      <a:pt x="70" y="138"/>
                    </a:lnTo>
                    <a:lnTo>
                      <a:pt x="70" y="134"/>
                    </a:lnTo>
                    <a:lnTo>
                      <a:pt x="70" y="130"/>
                    </a:lnTo>
                    <a:lnTo>
                      <a:pt x="74" y="130"/>
                    </a:lnTo>
                    <a:lnTo>
                      <a:pt x="74" y="126"/>
                    </a:lnTo>
                    <a:lnTo>
                      <a:pt x="70" y="126"/>
                    </a:lnTo>
                    <a:lnTo>
                      <a:pt x="70" y="122"/>
                    </a:lnTo>
                    <a:lnTo>
                      <a:pt x="66" y="122"/>
                    </a:lnTo>
                    <a:lnTo>
                      <a:pt x="66" y="118"/>
                    </a:lnTo>
                    <a:lnTo>
                      <a:pt x="62" y="118"/>
                    </a:lnTo>
                    <a:lnTo>
                      <a:pt x="62" y="122"/>
                    </a:lnTo>
                    <a:lnTo>
                      <a:pt x="60" y="118"/>
                    </a:lnTo>
                    <a:lnTo>
                      <a:pt x="60" y="116"/>
                    </a:lnTo>
                    <a:lnTo>
                      <a:pt x="60" y="112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48" y="100"/>
                    </a:lnTo>
                    <a:lnTo>
                      <a:pt x="48" y="96"/>
                    </a:lnTo>
                    <a:lnTo>
                      <a:pt x="48" y="92"/>
                    </a:lnTo>
                    <a:lnTo>
                      <a:pt x="44" y="92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86"/>
                    </a:lnTo>
                    <a:lnTo>
                      <a:pt x="40" y="82"/>
                    </a:lnTo>
                    <a:lnTo>
                      <a:pt x="36" y="82"/>
                    </a:lnTo>
                    <a:lnTo>
                      <a:pt x="34" y="82"/>
                    </a:lnTo>
                    <a:lnTo>
                      <a:pt x="34" y="78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6" y="70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26" y="66"/>
                    </a:lnTo>
                    <a:lnTo>
                      <a:pt x="26" y="62"/>
                    </a:lnTo>
                    <a:lnTo>
                      <a:pt x="30" y="62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6" y="62"/>
                    </a:lnTo>
                    <a:lnTo>
                      <a:pt x="36" y="58"/>
                    </a:lnTo>
                    <a:lnTo>
                      <a:pt x="36" y="56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0" y="44"/>
                    </a:lnTo>
                    <a:lnTo>
                      <a:pt x="26" y="42"/>
                    </a:lnTo>
                    <a:lnTo>
                      <a:pt x="22" y="44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6" y="38"/>
                    </a:lnTo>
                    <a:lnTo>
                      <a:pt x="10" y="34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6" y="12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4"/>
                    </a:lnTo>
                    <a:lnTo>
                      <a:pt x="26" y="14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4"/>
                    </a:lnTo>
                    <a:lnTo>
                      <a:pt x="60" y="14"/>
                    </a:lnTo>
                    <a:lnTo>
                      <a:pt x="60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6" y="26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78" y="34"/>
                    </a:lnTo>
                    <a:lnTo>
                      <a:pt x="74" y="38"/>
                    </a:lnTo>
                    <a:lnTo>
                      <a:pt x="70" y="38"/>
                    </a:lnTo>
                    <a:lnTo>
                      <a:pt x="74" y="42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66" y="42"/>
                    </a:lnTo>
                    <a:lnTo>
                      <a:pt x="70" y="42"/>
                    </a:lnTo>
                    <a:lnTo>
                      <a:pt x="66" y="42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2" y="44"/>
                    </a:lnTo>
                    <a:lnTo>
                      <a:pt x="62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8"/>
                    </a:lnTo>
                    <a:lnTo>
                      <a:pt x="52" y="58"/>
                    </a:lnTo>
                    <a:lnTo>
                      <a:pt x="52" y="62"/>
                    </a:lnTo>
                    <a:lnTo>
                      <a:pt x="52" y="66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6" y="112"/>
                    </a:lnTo>
                    <a:lnTo>
                      <a:pt x="66" y="112"/>
                    </a:lnTo>
                    <a:close/>
                    <a:moveTo>
                      <a:pt x="62" y="224"/>
                    </a:moveTo>
                    <a:lnTo>
                      <a:pt x="66" y="224"/>
                    </a:lnTo>
                    <a:lnTo>
                      <a:pt x="62" y="224"/>
                    </a:lnTo>
                    <a:lnTo>
                      <a:pt x="66" y="224"/>
                    </a:lnTo>
                    <a:lnTo>
                      <a:pt x="66" y="228"/>
                    </a:lnTo>
                    <a:lnTo>
                      <a:pt x="62" y="228"/>
                    </a:lnTo>
                    <a:lnTo>
                      <a:pt x="62" y="224"/>
                    </a:lnTo>
                    <a:lnTo>
                      <a:pt x="62" y="224"/>
                    </a:lnTo>
                    <a:lnTo>
                      <a:pt x="62" y="224"/>
                    </a:lnTo>
                    <a:close/>
                    <a:moveTo>
                      <a:pt x="74" y="38"/>
                    </a:moveTo>
                    <a:lnTo>
                      <a:pt x="74" y="42"/>
                    </a:lnTo>
                    <a:lnTo>
                      <a:pt x="70" y="42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close/>
                    <a:moveTo>
                      <a:pt x="66" y="44"/>
                    </a:moveTo>
                    <a:lnTo>
                      <a:pt x="66" y="48"/>
                    </a:lnTo>
                    <a:lnTo>
                      <a:pt x="66" y="44"/>
                    </a:lnTo>
                    <a:lnTo>
                      <a:pt x="66" y="44"/>
                    </a:lnTo>
                    <a:lnTo>
                      <a:pt x="66" y="44"/>
                    </a:lnTo>
                    <a:close/>
                    <a:moveTo>
                      <a:pt x="26" y="228"/>
                    </a:moveTo>
                    <a:lnTo>
                      <a:pt x="26" y="232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8"/>
                    </a:lnTo>
                    <a:lnTo>
                      <a:pt x="26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4" name="Freeform 63">
                <a:extLst>
                  <a:ext uri="{FF2B5EF4-FFF2-40B4-BE49-F238E27FC236}">
                    <a16:creationId xmlns:a16="http://schemas.microsoft.com/office/drawing/2014/main" id="{F993B337-BCD4-4A73-AD83-C1BD6EC3F24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75250" y="3651318"/>
                <a:ext cx="15875" cy="34925"/>
              </a:xfrm>
              <a:custGeom>
                <a:avLst/>
                <a:gdLst>
                  <a:gd name="T0" fmla="*/ 10 w 10"/>
                  <a:gd name="T1" fmla="*/ 12 h 22"/>
                  <a:gd name="T2" fmla="*/ 10 w 10"/>
                  <a:gd name="T3" fmla="*/ 12 h 22"/>
                  <a:gd name="T4" fmla="*/ 10 w 10"/>
                  <a:gd name="T5" fmla="*/ 14 h 22"/>
                  <a:gd name="T6" fmla="*/ 10 w 10"/>
                  <a:gd name="T7" fmla="*/ 14 h 22"/>
                  <a:gd name="T8" fmla="*/ 10 w 10"/>
                  <a:gd name="T9" fmla="*/ 18 h 22"/>
                  <a:gd name="T10" fmla="*/ 10 w 10"/>
                  <a:gd name="T11" fmla="*/ 18 h 22"/>
                  <a:gd name="T12" fmla="*/ 10 w 10"/>
                  <a:gd name="T13" fmla="*/ 18 h 22"/>
                  <a:gd name="T14" fmla="*/ 6 w 10"/>
                  <a:gd name="T15" fmla="*/ 22 h 22"/>
                  <a:gd name="T16" fmla="*/ 6 w 10"/>
                  <a:gd name="T17" fmla="*/ 22 h 22"/>
                  <a:gd name="T18" fmla="*/ 4 w 10"/>
                  <a:gd name="T19" fmla="*/ 22 h 22"/>
                  <a:gd name="T20" fmla="*/ 0 w 10"/>
                  <a:gd name="T21" fmla="*/ 22 h 22"/>
                  <a:gd name="T22" fmla="*/ 0 w 10"/>
                  <a:gd name="T23" fmla="*/ 22 h 22"/>
                  <a:gd name="T24" fmla="*/ 4 w 10"/>
                  <a:gd name="T25" fmla="*/ 22 h 22"/>
                  <a:gd name="T26" fmla="*/ 4 w 10"/>
                  <a:gd name="T27" fmla="*/ 18 h 22"/>
                  <a:gd name="T28" fmla="*/ 4 w 10"/>
                  <a:gd name="T29" fmla="*/ 18 h 22"/>
                  <a:gd name="T30" fmla="*/ 4 w 10"/>
                  <a:gd name="T31" fmla="*/ 18 h 22"/>
                  <a:gd name="T32" fmla="*/ 4 w 10"/>
                  <a:gd name="T33" fmla="*/ 14 h 22"/>
                  <a:gd name="T34" fmla="*/ 6 w 10"/>
                  <a:gd name="T35" fmla="*/ 14 h 22"/>
                  <a:gd name="T36" fmla="*/ 4 w 10"/>
                  <a:gd name="T37" fmla="*/ 14 h 22"/>
                  <a:gd name="T38" fmla="*/ 4 w 10"/>
                  <a:gd name="T39" fmla="*/ 14 h 22"/>
                  <a:gd name="T40" fmla="*/ 4 w 10"/>
                  <a:gd name="T41" fmla="*/ 14 h 22"/>
                  <a:gd name="T42" fmla="*/ 4 w 10"/>
                  <a:gd name="T43" fmla="*/ 12 h 22"/>
                  <a:gd name="T44" fmla="*/ 4 w 10"/>
                  <a:gd name="T45" fmla="*/ 12 h 22"/>
                  <a:gd name="T46" fmla="*/ 4 w 10"/>
                  <a:gd name="T47" fmla="*/ 8 h 22"/>
                  <a:gd name="T48" fmla="*/ 4 w 10"/>
                  <a:gd name="T49" fmla="*/ 8 h 22"/>
                  <a:gd name="T50" fmla="*/ 4 w 10"/>
                  <a:gd name="T51" fmla="*/ 4 h 22"/>
                  <a:gd name="T52" fmla="*/ 4 w 10"/>
                  <a:gd name="T53" fmla="*/ 4 h 22"/>
                  <a:gd name="T54" fmla="*/ 4 w 10"/>
                  <a:gd name="T55" fmla="*/ 4 h 22"/>
                  <a:gd name="T56" fmla="*/ 6 w 10"/>
                  <a:gd name="T57" fmla="*/ 0 h 22"/>
                  <a:gd name="T58" fmla="*/ 6 w 10"/>
                  <a:gd name="T59" fmla="*/ 0 h 22"/>
                  <a:gd name="T60" fmla="*/ 6 w 10"/>
                  <a:gd name="T61" fmla="*/ 0 h 22"/>
                  <a:gd name="T62" fmla="*/ 6 w 10"/>
                  <a:gd name="T63" fmla="*/ 4 h 22"/>
                  <a:gd name="T64" fmla="*/ 10 w 10"/>
                  <a:gd name="T65" fmla="*/ 4 h 22"/>
                  <a:gd name="T66" fmla="*/ 10 w 10"/>
                  <a:gd name="T67" fmla="*/ 8 h 22"/>
                  <a:gd name="T68" fmla="*/ 10 w 10"/>
                  <a:gd name="T69" fmla="*/ 8 h 22"/>
                  <a:gd name="T70" fmla="*/ 6 w 10"/>
                  <a:gd name="T71" fmla="*/ 14 h 22"/>
                  <a:gd name="T72" fmla="*/ 6 w 10"/>
                  <a:gd name="T73" fmla="*/ 14 h 22"/>
                  <a:gd name="T74" fmla="*/ 6 w 10"/>
                  <a:gd name="T75" fmla="*/ 14 h 22"/>
                  <a:gd name="T76" fmla="*/ 6 w 10"/>
                  <a:gd name="T77" fmla="*/ 14 h 22"/>
                  <a:gd name="T78" fmla="*/ 6 w 10"/>
                  <a:gd name="T79" fmla="*/ 14 h 22"/>
                  <a:gd name="T80" fmla="*/ 6 w 10"/>
                  <a:gd name="T81" fmla="*/ 14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0" h="22">
                    <a:moveTo>
                      <a:pt x="10" y="8"/>
                    </a:move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6" y="18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5" name="Freeform 64">
                <a:extLst>
                  <a:ext uri="{FF2B5EF4-FFF2-40B4-BE49-F238E27FC236}">
                    <a16:creationId xmlns:a16="http://schemas.microsoft.com/office/drawing/2014/main" id="{E7B8450C-CF37-426C-9DCB-E8B2E79454A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46700" y="4041843"/>
                <a:ext cx="269875" cy="187325"/>
              </a:xfrm>
              <a:custGeom>
                <a:avLst/>
                <a:gdLst>
                  <a:gd name="T0" fmla="*/ 64 w 170"/>
                  <a:gd name="T1" fmla="*/ 92 h 118"/>
                  <a:gd name="T2" fmla="*/ 56 w 170"/>
                  <a:gd name="T3" fmla="*/ 96 h 118"/>
                  <a:gd name="T4" fmla="*/ 44 w 170"/>
                  <a:gd name="T5" fmla="*/ 96 h 118"/>
                  <a:gd name="T6" fmla="*/ 40 w 170"/>
                  <a:gd name="T7" fmla="*/ 100 h 118"/>
                  <a:gd name="T8" fmla="*/ 40 w 170"/>
                  <a:gd name="T9" fmla="*/ 104 h 118"/>
                  <a:gd name="T10" fmla="*/ 38 w 170"/>
                  <a:gd name="T11" fmla="*/ 108 h 118"/>
                  <a:gd name="T12" fmla="*/ 34 w 170"/>
                  <a:gd name="T13" fmla="*/ 108 h 118"/>
                  <a:gd name="T14" fmla="*/ 30 w 170"/>
                  <a:gd name="T15" fmla="*/ 108 h 118"/>
                  <a:gd name="T16" fmla="*/ 26 w 170"/>
                  <a:gd name="T17" fmla="*/ 108 h 118"/>
                  <a:gd name="T18" fmla="*/ 18 w 170"/>
                  <a:gd name="T19" fmla="*/ 108 h 118"/>
                  <a:gd name="T20" fmla="*/ 14 w 170"/>
                  <a:gd name="T21" fmla="*/ 108 h 118"/>
                  <a:gd name="T22" fmla="*/ 14 w 170"/>
                  <a:gd name="T23" fmla="*/ 100 h 118"/>
                  <a:gd name="T24" fmla="*/ 10 w 170"/>
                  <a:gd name="T25" fmla="*/ 92 h 118"/>
                  <a:gd name="T26" fmla="*/ 10 w 170"/>
                  <a:gd name="T27" fmla="*/ 90 h 118"/>
                  <a:gd name="T28" fmla="*/ 10 w 170"/>
                  <a:gd name="T29" fmla="*/ 82 h 118"/>
                  <a:gd name="T30" fmla="*/ 8 w 170"/>
                  <a:gd name="T31" fmla="*/ 70 h 118"/>
                  <a:gd name="T32" fmla="*/ 8 w 170"/>
                  <a:gd name="T33" fmla="*/ 66 h 118"/>
                  <a:gd name="T34" fmla="*/ 4 w 170"/>
                  <a:gd name="T35" fmla="*/ 62 h 118"/>
                  <a:gd name="T36" fmla="*/ 4 w 170"/>
                  <a:gd name="T37" fmla="*/ 60 h 118"/>
                  <a:gd name="T38" fmla="*/ 4 w 170"/>
                  <a:gd name="T39" fmla="*/ 56 h 118"/>
                  <a:gd name="T40" fmla="*/ 8 w 170"/>
                  <a:gd name="T41" fmla="*/ 48 h 118"/>
                  <a:gd name="T42" fmla="*/ 8 w 170"/>
                  <a:gd name="T43" fmla="*/ 44 h 118"/>
                  <a:gd name="T44" fmla="*/ 10 w 170"/>
                  <a:gd name="T45" fmla="*/ 40 h 118"/>
                  <a:gd name="T46" fmla="*/ 10 w 170"/>
                  <a:gd name="T47" fmla="*/ 26 h 118"/>
                  <a:gd name="T48" fmla="*/ 14 w 170"/>
                  <a:gd name="T49" fmla="*/ 26 h 118"/>
                  <a:gd name="T50" fmla="*/ 18 w 170"/>
                  <a:gd name="T51" fmla="*/ 26 h 118"/>
                  <a:gd name="T52" fmla="*/ 30 w 170"/>
                  <a:gd name="T53" fmla="*/ 26 h 118"/>
                  <a:gd name="T54" fmla="*/ 60 w 170"/>
                  <a:gd name="T55" fmla="*/ 30 h 118"/>
                  <a:gd name="T56" fmla="*/ 78 w 170"/>
                  <a:gd name="T57" fmla="*/ 22 h 118"/>
                  <a:gd name="T58" fmla="*/ 144 w 170"/>
                  <a:gd name="T59" fmla="*/ 26 h 118"/>
                  <a:gd name="T60" fmla="*/ 148 w 170"/>
                  <a:gd name="T61" fmla="*/ 40 h 118"/>
                  <a:gd name="T62" fmla="*/ 140 w 170"/>
                  <a:gd name="T63" fmla="*/ 44 h 118"/>
                  <a:gd name="T64" fmla="*/ 136 w 170"/>
                  <a:gd name="T65" fmla="*/ 48 h 118"/>
                  <a:gd name="T66" fmla="*/ 134 w 170"/>
                  <a:gd name="T67" fmla="*/ 60 h 118"/>
                  <a:gd name="T68" fmla="*/ 126 w 170"/>
                  <a:gd name="T69" fmla="*/ 62 h 118"/>
                  <a:gd name="T70" fmla="*/ 120 w 170"/>
                  <a:gd name="T71" fmla="*/ 66 h 118"/>
                  <a:gd name="T72" fmla="*/ 112 w 170"/>
                  <a:gd name="T73" fmla="*/ 66 h 118"/>
                  <a:gd name="T74" fmla="*/ 104 w 170"/>
                  <a:gd name="T75" fmla="*/ 70 h 118"/>
                  <a:gd name="T76" fmla="*/ 94 w 170"/>
                  <a:gd name="T77" fmla="*/ 78 h 118"/>
                  <a:gd name="T78" fmla="*/ 90 w 170"/>
                  <a:gd name="T79" fmla="*/ 86 h 118"/>
                  <a:gd name="T80" fmla="*/ 82 w 170"/>
                  <a:gd name="T81" fmla="*/ 86 h 118"/>
                  <a:gd name="T82" fmla="*/ 78 w 170"/>
                  <a:gd name="T83" fmla="*/ 86 h 118"/>
                  <a:gd name="T84" fmla="*/ 78 w 170"/>
                  <a:gd name="T85" fmla="*/ 86 h 118"/>
                  <a:gd name="T86" fmla="*/ 74 w 170"/>
                  <a:gd name="T87" fmla="*/ 90 h 118"/>
                  <a:gd name="T88" fmla="*/ 66 w 170"/>
                  <a:gd name="T89" fmla="*/ 92 h 118"/>
                  <a:gd name="T90" fmla="*/ 136 w 170"/>
                  <a:gd name="T91" fmla="*/ 118 h 118"/>
                  <a:gd name="T92" fmla="*/ 136 w 170"/>
                  <a:gd name="T93" fmla="*/ 116 h 118"/>
                  <a:gd name="T94" fmla="*/ 136 w 170"/>
                  <a:gd name="T95" fmla="*/ 116 h 118"/>
                  <a:gd name="T96" fmla="*/ 140 w 170"/>
                  <a:gd name="T97" fmla="*/ 118 h 118"/>
                  <a:gd name="T98" fmla="*/ 4 w 170"/>
                  <a:gd name="T99" fmla="*/ 62 h 118"/>
                  <a:gd name="T100" fmla="*/ 4 w 170"/>
                  <a:gd name="T101" fmla="*/ 60 h 118"/>
                  <a:gd name="T102" fmla="*/ 4 w 170"/>
                  <a:gd name="T103" fmla="*/ 62 h 118"/>
                  <a:gd name="T104" fmla="*/ 4 w 170"/>
                  <a:gd name="T105" fmla="*/ 86 h 118"/>
                  <a:gd name="T106" fmla="*/ 4 w 170"/>
                  <a:gd name="T107" fmla="*/ 86 h 118"/>
                  <a:gd name="T108" fmla="*/ 170 w 170"/>
                  <a:gd name="T109" fmla="*/ 112 h 118"/>
                  <a:gd name="T110" fmla="*/ 164 w 170"/>
                  <a:gd name="T111" fmla="*/ 116 h 118"/>
                  <a:gd name="T112" fmla="*/ 156 w 170"/>
                  <a:gd name="T113" fmla="*/ 116 h 118"/>
                  <a:gd name="T114" fmla="*/ 156 w 170"/>
                  <a:gd name="T115" fmla="*/ 108 h 118"/>
                  <a:gd name="T116" fmla="*/ 160 w 170"/>
                  <a:gd name="T117" fmla="*/ 112 h 118"/>
                  <a:gd name="T118" fmla="*/ 166 w 170"/>
                  <a:gd name="T119" fmla="*/ 108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70" h="118">
                    <a:moveTo>
                      <a:pt x="66" y="92"/>
                    </a:moveTo>
                    <a:lnTo>
                      <a:pt x="66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4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30" y="108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6"/>
                    </a:lnTo>
                    <a:lnTo>
                      <a:pt x="8" y="66"/>
                    </a:lnTo>
                    <a:lnTo>
                      <a:pt x="4" y="66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4" y="26"/>
                    </a:lnTo>
                    <a:lnTo>
                      <a:pt x="78" y="22"/>
                    </a:lnTo>
                    <a:lnTo>
                      <a:pt x="82" y="14"/>
                    </a:lnTo>
                    <a:lnTo>
                      <a:pt x="94" y="4"/>
                    </a:lnTo>
                    <a:lnTo>
                      <a:pt x="120" y="4"/>
                    </a:lnTo>
                    <a:lnTo>
                      <a:pt x="122" y="0"/>
                    </a:lnTo>
                    <a:lnTo>
                      <a:pt x="134" y="0"/>
                    </a:lnTo>
                    <a:lnTo>
                      <a:pt x="144" y="26"/>
                    </a:lnTo>
                    <a:lnTo>
                      <a:pt x="144" y="3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8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4" y="40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40" y="44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36" y="52"/>
                    </a:lnTo>
                    <a:lnTo>
                      <a:pt x="136" y="56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0" y="60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2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2" y="66"/>
                    </a:lnTo>
                    <a:lnTo>
                      <a:pt x="120" y="66"/>
                    </a:lnTo>
                    <a:lnTo>
                      <a:pt x="120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6" y="66"/>
                    </a:lnTo>
                    <a:lnTo>
                      <a:pt x="112" y="66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4" y="70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96" y="74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70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lnTo>
                      <a:pt x="66" y="92"/>
                    </a:lnTo>
                    <a:close/>
                    <a:moveTo>
                      <a:pt x="140" y="118"/>
                    </a:moveTo>
                    <a:lnTo>
                      <a:pt x="136" y="118"/>
                    </a:lnTo>
                    <a:lnTo>
                      <a:pt x="136" y="118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40" y="116"/>
                    </a:lnTo>
                    <a:lnTo>
                      <a:pt x="140" y="116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lnTo>
                      <a:pt x="140" y="118"/>
                    </a:lnTo>
                    <a:close/>
                    <a:moveTo>
                      <a:pt x="4" y="62"/>
                    </a:move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close/>
                    <a:moveTo>
                      <a:pt x="4" y="86"/>
                    </a:move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66" y="108"/>
                    </a:moveTo>
                    <a:lnTo>
                      <a:pt x="166" y="108"/>
                    </a:lnTo>
                    <a:lnTo>
                      <a:pt x="170" y="112"/>
                    </a:lnTo>
                    <a:lnTo>
                      <a:pt x="170" y="112"/>
                    </a:lnTo>
                    <a:lnTo>
                      <a:pt x="166" y="112"/>
                    </a:lnTo>
                    <a:lnTo>
                      <a:pt x="166" y="112"/>
                    </a:lnTo>
                    <a:lnTo>
                      <a:pt x="166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4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16"/>
                    </a:lnTo>
                    <a:lnTo>
                      <a:pt x="156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12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56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4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lnTo>
                      <a:pt x="166" y="1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6" name="Freeform 65">
                <a:extLst>
                  <a:ext uri="{FF2B5EF4-FFF2-40B4-BE49-F238E27FC236}">
                    <a16:creationId xmlns:a16="http://schemas.microsoft.com/office/drawing/2014/main" id="{0FED84D0-E1DD-4210-89F2-521E6A38CF0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19400" y="4213293"/>
                <a:ext cx="6350" cy="6350"/>
              </a:xfrm>
              <a:custGeom>
                <a:avLst/>
                <a:gdLst>
                  <a:gd name="T0" fmla="*/ 4 w 4"/>
                  <a:gd name="T1" fmla="*/ 4 h 4"/>
                  <a:gd name="T2" fmla="*/ 4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4 w 4"/>
                  <a:gd name="T11" fmla="*/ 4 h 4"/>
                  <a:gd name="T12" fmla="*/ 4 w 4"/>
                  <a:gd name="T13" fmla="*/ 4 h 4"/>
                  <a:gd name="T14" fmla="*/ 4 w 4"/>
                  <a:gd name="T15" fmla="*/ 4 h 4"/>
                  <a:gd name="T16" fmla="*/ 4 w 4"/>
                  <a:gd name="T17" fmla="*/ 4 h 4"/>
                  <a:gd name="T18" fmla="*/ 4 w 4"/>
                  <a:gd name="T19" fmla="*/ 4 h 4"/>
                  <a:gd name="T20" fmla="*/ 4 w 4"/>
                  <a:gd name="T21" fmla="*/ 4 h 4"/>
                  <a:gd name="T22" fmla="*/ 4 w 4"/>
                  <a:gd name="T23" fmla="*/ 4 h 4"/>
                  <a:gd name="T24" fmla="*/ 4 w 4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7" name="Freeform 66">
                <a:extLst>
                  <a:ext uri="{FF2B5EF4-FFF2-40B4-BE49-F238E27FC236}">
                    <a16:creationId xmlns:a16="http://schemas.microsoft.com/office/drawing/2014/main" id="{D981B0BD-F0DD-4913-B7BF-58BACBBF1B5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054543"/>
                <a:ext cx="31750" cy="69850"/>
              </a:xfrm>
              <a:custGeom>
                <a:avLst/>
                <a:gdLst>
                  <a:gd name="T0" fmla="*/ 14 w 20"/>
                  <a:gd name="T1" fmla="*/ 0 h 44"/>
                  <a:gd name="T2" fmla="*/ 14 w 20"/>
                  <a:gd name="T3" fmla="*/ 4 h 44"/>
                  <a:gd name="T4" fmla="*/ 16 w 20"/>
                  <a:gd name="T5" fmla="*/ 4 h 44"/>
                  <a:gd name="T6" fmla="*/ 16 w 20"/>
                  <a:gd name="T7" fmla="*/ 4 h 44"/>
                  <a:gd name="T8" fmla="*/ 16 w 20"/>
                  <a:gd name="T9" fmla="*/ 6 h 44"/>
                  <a:gd name="T10" fmla="*/ 14 w 20"/>
                  <a:gd name="T11" fmla="*/ 10 h 44"/>
                  <a:gd name="T12" fmla="*/ 14 w 20"/>
                  <a:gd name="T13" fmla="*/ 10 h 44"/>
                  <a:gd name="T14" fmla="*/ 14 w 20"/>
                  <a:gd name="T15" fmla="*/ 10 h 44"/>
                  <a:gd name="T16" fmla="*/ 14 w 20"/>
                  <a:gd name="T17" fmla="*/ 14 h 44"/>
                  <a:gd name="T18" fmla="*/ 14 w 20"/>
                  <a:gd name="T19" fmla="*/ 14 h 44"/>
                  <a:gd name="T20" fmla="*/ 14 w 20"/>
                  <a:gd name="T21" fmla="*/ 14 h 44"/>
                  <a:gd name="T22" fmla="*/ 14 w 20"/>
                  <a:gd name="T23" fmla="*/ 18 h 44"/>
                  <a:gd name="T24" fmla="*/ 14 w 20"/>
                  <a:gd name="T25" fmla="*/ 22 h 44"/>
                  <a:gd name="T26" fmla="*/ 14 w 20"/>
                  <a:gd name="T27" fmla="*/ 22 h 44"/>
                  <a:gd name="T28" fmla="*/ 14 w 20"/>
                  <a:gd name="T29" fmla="*/ 22 h 44"/>
                  <a:gd name="T30" fmla="*/ 14 w 20"/>
                  <a:gd name="T31" fmla="*/ 26 h 44"/>
                  <a:gd name="T32" fmla="*/ 14 w 20"/>
                  <a:gd name="T33" fmla="*/ 26 h 44"/>
                  <a:gd name="T34" fmla="*/ 14 w 20"/>
                  <a:gd name="T35" fmla="*/ 26 h 44"/>
                  <a:gd name="T36" fmla="*/ 14 w 20"/>
                  <a:gd name="T37" fmla="*/ 28 h 44"/>
                  <a:gd name="T38" fmla="*/ 14 w 20"/>
                  <a:gd name="T39" fmla="*/ 32 h 44"/>
                  <a:gd name="T40" fmla="*/ 14 w 20"/>
                  <a:gd name="T41" fmla="*/ 32 h 44"/>
                  <a:gd name="T42" fmla="*/ 14 w 20"/>
                  <a:gd name="T43" fmla="*/ 32 h 44"/>
                  <a:gd name="T44" fmla="*/ 10 w 20"/>
                  <a:gd name="T45" fmla="*/ 36 h 44"/>
                  <a:gd name="T46" fmla="*/ 6 w 20"/>
                  <a:gd name="T47" fmla="*/ 40 h 44"/>
                  <a:gd name="T48" fmla="*/ 6 w 20"/>
                  <a:gd name="T49" fmla="*/ 40 h 44"/>
                  <a:gd name="T50" fmla="*/ 6 w 20"/>
                  <a:gd name="T51" fmla="*/ 44 h 44"/>
                  <a:gd name="T52" fmla="*/ 6 w 20"/>
                  <a:gd name="T53" fmla="*/ 44 h 44"/>
                  <a:gd name="T54" fmla="*/ 2 w 20"/>
                  <a:gd name="T55" fmla="*/ 44 h 44"/>
                  <a:gd name="T56" fmla="*/ 0 w 20"/>
                  <a:gd name="T57" fmla="*/ 44 h 44"/>
                  <a:gd name="T58" fmla="*/ 0 w 20"/>
                  <a:gd name="T59" fmla="*/ 40 h 44"/>
                  <a:gd name="T60" fmla="*/ 2 w 20"/>
                  <a:gd name="T61" fmla="*/ 26 h 44"/>
                  <a:gd name="T62" fmla="*/ 2 w 20"/>
                  <a:gd name="T63" fmla="*/ 14 h 44"/>
                  <a:gd name="T64" fmla="*/ 2 w 20"/>
                  <a:gd name="T65" fmla="*/ 10 h 44"/>
                  <a:gd name="T66" fmla="*/ 2 w 20"/>
                  <a:gd name="T67" fmla="*/ 6 h 44"/>
                  <a:gd name="T68" fmla="*/ 2 w 20"/>
                  <a:gd name="T69" fmla="*/ 6 h 44"/>
                  <a:gd name="T70" fmla="*/ 6 w 20"/>
                  <a:gd name="T71" fmla="*/ 10 h 44"/>
                  <a:gd name="T72" fmla="*/ 6 w 20"/>
                  <a:gd name="T73" fmla="*/ 6 h 44"/>
                  <a:gd name="T74" fmla="*/ 6 w 20"/>
                  <a:gd name="T75" fmla="*/ 6 h 44"/>
                  <a:gd name="T76" fmla="*/ 10 w 20"/>
                  <a:gd name="T77" fmla="*/ 4 h 44"/>
                  <a:gd name="T78" fmla="*/ 10 w 20"/>
                  <a:gd name="T79" fmla="*/ 0 h 44"/>
                  <a:gd name="T80" fmla="*/ 10 w 20"/>
                  <a:gd name="T81" fmla="*/ 0 h 44"/>
                  <a:gd name="T82" fmla="*/ 14 w 20"/>
                  <a:gd name="T83" fmla="*/ 0 h 44"/>
                  <a:gd name="T84" fmla="*/ 14 w 20"/>
                  <a:gd name="T85" fmla="*/ 0 h 44"/>
                  <a:gd name="T86" fmla="*/ 14 w 20"/>
                  <a:gd name="T87" fmla="*/ 0 h 44"/>
                  <a:gd name="T88" fmla="*/ 16 w 20"/>
                  <a:gd name="T89" fmla="*/ 6 h 44"/>
                  <a:gd name="T90" fmla="*/ 16 w 20"/>
                  <a:gd name="T91" fmla="*/ 10 h 44"/>
                  <a:gd name="T92" fmla="*/ 16 w 20"/>
                  <a:gd name="T93" fmla="*/ 10 h 44"/>
                  <a:gd name="T94" fmla="*/ 16 w 20"/>
                  <a:gd name="T95" fmla="*/ 10 h 44"/>
                  <a:gd name="T96" fmla="*/ 16 w 20"/>
                  <a:gd name="T97" fmla="*/ 10 h 44"/>
                  <a:gd name="T98" fmla="*/ 20 w 20"/>
                  <a:gd name="T99" fmla="*/ 6 h 44"/>
                  <a:gd name="T100" fmla="*/ 20 w 20"/>
                  <a:gd name="T101" fmla="*/ 6 h 44"/>
                  <a:gd name="T102" fmla="*/ 16 w 20"/>
                  <a:gd name="T103" fmla="*/ 6 h 44"/>
                  <a:gd name="T104" fmla="*/ 16 w 20"/>
                  <a:gd name="T105" fmla="*/ 6 h 44"/>
                  <a:gd name="T106" fmla="*/ 16 w 20"/>
                  <a:gd name="T107" fmla="*/ 22 h 44"/>
                  <a:gd name="T108" fmla="*/ 16 w 20"/>
                  <a:gd name="T109" fmla="*/ 22 h 44"/>
                  <a:gd name="T110" fmla="*/ 20 w 20"/>
                  <a:gd name="T111" fmla="*/ 14 h 44"/>
                  <a:gd name="T112" fmla="*/ 20 w 20"/>
                  <a:gd name="T113" fmla="*/ 18 h 44"/>
                  <a:gd name="T114" fmla="*/ 20 w 20"/>
                  <a:gd name="T115" fmla="*/ 18 h 44"/>
                  <a:gd name="T116" fmla="*/ 20 w 20"/>
                  <a:gd name="T117" fmla="*/ 18 h 44"/>
                  <a:gd name="T118" fmla="*/ 20 w 20"/>
                  <a:gd name="T119" fmla="*/ 18 h 44"/>
                  <a:gd name="T120" fmla="*/ 16 w 20"/>
                  <a:gd name="T121" fmla="*/ 18 h 44"/>
                  <a:gd name="T122" fmla="*/ 16 w 20"/>
                  <a:gd name="T123" fmla="*/ 22 h 44"/>
                  <a:gd name="T124" fmla="*/ 16 w 20"/>
                  <a:gd name="T125" fmla="*/ 22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0" h="44">
                    <a:moveTo>
                      <a:pt x="14" y="0"/>
                    </a:move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2" y="36"/>
                    </a:lnTo>
                    <a:lnTo>
                      <a:pt x="2" y="26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  <a:moveTo>
                      <a:pt x="16" y="6"/>
                    </a:moveTo>
                    <a:lnTo>
                      <a:pt x="16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lnTo>
                      <a:pt x="16" y="6"/>
                    </a:lnTo>
                    <a:close/>
                    <a:moveTo>
                      <a:pt x="16" y="22"/>
                    </a:move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8" name="Freeform 67">
                <a:extLst>
                  <a:ext uri="{FF2B5EF4-FFF2-40B4-BE49-F238E27FC236}">
                    <a16:creationId xmlns:a16="http://schemas.microsoft.com/office/drawing/2014/main" id="{414FCD62-293E-49E9-8B3D-18F6B1BC04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36875" y="3657668"/>
                <a:ext cx="6350" cy="6350"/>
              </a:xfrm>
              <a:custGeom>
                <a:avLst/>
                <a:gdLst>
                  <a:gd name="T0" fmla="*/ 0 w 4"/>
                  <a:gd name="T1" fmla="*/ 4 h 4"/>
                  <a:gd name="T2" fmla="*/ 0 w 4"/>
                  <a:gd name="T3" fmla="*/ 4 h 4"/>
                  <a:gd name="T4" fmla="*/ 0 w 4"/>
                  <a:gd name="T5" fmla="*/ 4 h 4"/>
                  <a:gd name="T6" fmla="*/ 0 w 4"/>
                  <a:gd name="T7" fmla="*/ 0 h 4"/>
                  <a:gd name="T8" fmla="*/ 0 w 4"/>
                  <a:gd name="T9" fmla="*/ 0 h 4"/>
                  <a:gd name="T10" fmla="*/ 0 w 4"/>
                  <a:gd name="T11" fmla="*/ 0 h 4"/>
                  <a:gd name="T12" fmla="*/ 4 w 4"/>
                  <a:gd name="T13" fmla="*/ 0 h 4"/>
                  <a:gd name="T14" fmla="*/ 0 w 4"/>
                  <a:gd name="T15" fmla="*/ 0 h 4"/>
                  <a:gd name="T16" fmla="*/ 0 w 4"/>
                  <a:gd name="T17" fmla="*/ 0 h 4"/>
                  <a:gd name="T18" fmla="*/ 0 w 4"/>
                  <a:gd name="T19" fmla="*/ 4 h 4"/>
                  <a:gd name="T20" fmla="*/ 0 w 4"/>
                  <a:gd name="T21" fmla="*/ 4 h 4"/>
                  <a:gd name="T22" fmla="*/ 0 w 4"/>
                  <a:gd name="T23" fmla="*/ 4 h 4"/>
                  <a:gd name="T24" fmla="*/ 0 w 4"/>
                  <a:gd name="T25" fmla="*/ 4 h 4"/>
                  <a:gd name="T26" fmla="*/ 0 w 4"/>
                  <a:gd name="T27" fmla="*/ 4 h 4"/>
                  <a:gd name="T28" fmla="*/ 0 w 4"/>
                  <a:gd name="T29" fmla="*/ 4 h 4"/>
                  <a:gd name="T30" fmla="*/ 0 w 4"/>
                  <a:gd name="T31" fmla="*/ 4 h 4"/>
                  <a:gd name="T32" fmla="*/ 0 w 4"/>
                  <a:gd name="T33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4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29" name="Freeform 68">
                <a:extLst>
                  <a:ext uri="{FF2B5EF4-FFF2-40B4-BE49-F238E27FC236}">
                    <a16:creationId xmlns:a16="http://schemas.microsoft.com/office/drawing/2014/main" id="{D7B3C953-8A43-47B4-919F-96BE74FB532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28725" y="1803468"/>
                <a:ext cx="1981200" cy="1574800"/>
              </a:xfrm>
              <a:custGeom>
                <a:avLst/>
                <a:gdLst>
                  <a:gd name="T0" fmla="*/ 682 w 1248"/>
                  <a:gd name="T1" fmla="*/ 556 h 992"/>
                  <a:gd name="T2" fmla="*/ 876 w 1248"/>
                  <a:gd name="T3" fmla="*/ 788 h 992"/>
                  <a:gd name="T4" fmla="*/ 1006 w 1248"/>
                  <a:gd name="T5" fmla="*/ 590 h 992"/>
                  <a:gd name="T6" fmla="*/ 1106 w 1248"/>
                  <a:gd name="T7" fmla="*/ 642 h 992"/>
                  <a:gd name="T8" fmla="*/ 1144 w 1248"/>
                  <a:gd name="T9" fmla="*/ 754 h 992"/>
                  <a:gd name="T10" fmla="*/ 1018 w 1248"/>
                  <a:gd name="T11" fmla="*/ 862 h 992"/>
                  <a:gd name="T12" fmla="*/ 1080 w 1248"/>
                  <a:gd name="T13" fmla="*/ 910 h 992"/>
                  <a:gd name="T14" fmla="*/ 672 w 1248"/>
                  <a:gd name="T15" fmla="*/ 854 h 992"/>
                  <a:gd name="T16" fmla="*/ 194 w 1248"/>
                  <a:gd name="T17" fmla="*/ 802 h 992"/>
                  <a:gd name="T18" fmla="*/ 100 w 1248"/>
                  <a:gd name="T19" fmla="*/ 638 h 992"/>
                  <a:gd name="T20" fmla="*/ 124 w 1248"/>
                  <a:gd name="T21" fmla="*/ 396 h 992"/>
                  <a:gd name="T22" fmla="*/ 384 w 1248"/>
                  <a:gd name="T23" fmla="*/ 422 h 992"/>
                  <a:gd name="T24" fmla="*/ 596 w 1248"/>
                  <a:gd name="T25" fmla="*/ 418 h 992"/>
                  <a:gd name="T26" fmla="*/ 646 w 1248"/>
                  <a:gd name="T27" fmla="*/ 332 h 992"/>
                  <a:gd name="T28" fmla="*/ 790 w 1248"/>
                  <a:gd name="T29" fmla="*/ 374 h 992"/>
                  <a:gd name="T30" fmla="*/ 992 w 1248"/>
                  <a:gd name="T31" fmla="*/ 550 h 992"/>
                  <a:gd name="T32" fmla="*/ 790 w 1248"/>
                  <a:gd name="T33" fmla="*/ 124 h 992"/>
                  <a:gd name="T34" fmla="*/ 336 w 1248"/>
                  <a:gd name="T35" fmla="*/ 350 h 992"/>
                  <a:gd name="T36" fmla="*/ 1104 w 1248"/>
                  <a:gd name="T37" fmla="*/ 440 h 992"/>
                  <a:gd name="T38" fmla="*/ 206 w 1248"/>
                  <a:gd name="T39" fmla="*/ 806 h 992"/>
                  <a:gd name="T40" fmla="*/ 698 w 1248"/>
                  <a:gd name="T41" fmla="*/ 116 h 992"/>
                  <a:gd name="T42" fmla="*/ 694 w 1248"/>
                  <a:gd name="T43" fmla="*/ 64 h 992"/>
                  <a:gd name="T44" fmla="*/ 578 w 1248"/>
                  <a:gd name="T45" fmla="*/ 132 h 992"/>
                  <a:gd name="T46" fmla="*/ 536 w 1248"/>
                  <a:gd name="T47" fmla="*/ 142 h 992"/>
                  <a:gd name="T48" fmla="*/ 280 w 1248"/>
                  <a:gd name="T49" fmla="*/ 208 h 992"/>
                  <a:gd name="T50" fmla="*/ 820 w 1248"/>
                  <a:gd name="T51" fmla="*/ 246 h 992"/>
                  <a:gd name="T52" fmla="*/ 734 w 1248"/>
                  <a:gd name="T53" fmla="*/ 202 h 992"/>
                  <a:gd name="T54" fmla="*/ 352 w 1248"/>
                  <a:gd name="T55" fmla="*/ 216 h 992"/>
                  <a:gd name="T56" fmla="*/ 418 w 1248"/>
                  <a:gd name="T57" fmla="*/ 246 h 992"/>
                  <a:gd name="T58" fmla="*/ 552 w 1248"/>
                  <a:gd name="T59" fmla="*/ 202 h 992"/>
                  <a:gd name="T60" fmla="*/ 544 w 1248"/>
                  <a:gd name="T61" fmla="*/ 208 h 992"/>
                  <a:gd name="T62" fmla="*/ 284 w 1248"/>
                  <a:gd name="T63" fmla="*/ 250 h 992"/>
                  <a:gd name="T64" fmla="*/ 620 w 1248"/>
                  <a:gd name="T65" fmla="*/ 280 h 992"/>
                  <a:gd name="T66" fmla="*/ 988 w 1248"/>
                  <a:gd name="T67" fmla="*/ 522 h 992"/>
                  <a:gd name="T68" fmla="*/ 924 w 1248"/>
                  <a:gd name="T69" fmla="*/ 396 h 992"/>
                  <a:gd name="T70" fmla="*/ 756 w 1248"/>
                  <a:gd name="T71" fmla="*/ 340 h 992"/>
                  <a:gd name="T72" fmla="*/ 802 w 1248"/>
                  <a:gd name="T73" fmla="*/ 288 h 992"/>
                  <a:gd name="T74" fmla="*/ 948 w 1248"/>
                  <a:gd name="T75" fmla="*/ 314 h 992"/>
                  <a:gd name="T76" fmla="*/ 1014 w 1248"/>
                  <a:gd name="T77" fmla="*/ 362 h 992"/>
                  <a:gd name="T78" fmla="*/ 1056 w 1248"/>
                  <a:gd name="T79" fmla="*/ 414 h 992"/>
                  <a:gd name="T80" fmla="*/ 1092 w 1248"/>
                  <a:gd name="T81" fmla="*/ 494 h 992"/>
                  <a:gd name="T82" fmla="*/ 1076 w 1248"/>
                  <a:gd name="T83" fmla="*/ 538 h 992"/>
                  <a:gd name="T84" fmla="*/ 508 w 1248"/>
                  <a:gd name="T85" fmla="*/ 292 h 992"/>
                  <a:gd name="T86" fmla="*/ 448 w 1248"/>
                  <a:gd name="T87" fmla="*/ 294 h 992"/>
                  <a:gd name="T88" fmla="*/ 444 w 1248"/>
                  <a:gd name="T89" fmla="*/ 400 h 992"/>
                  <a:gd name="T90" fmla="*/ 574 w 1248"/>
                  <a:gd name="T91" fmla="*/ 348 h 992"/>
                  <a:gd name="T92" fmla="*/ 94 w 1248"/>
                  <a:gd name="T93" fmla="*/ 388 h 992"/>
                  <a:gd name="T94" fmla="*/ 932 w 1248"/>
                  <a:gd name="T95" fmla="*/ 410 h 992"/>
                  <a:gd name="T96" fmla="*/ 842 w 1248"/>
                  <a:gd name="T97" fmla="*/ 512 h 992"/>
                  <a:gd name="T98" fmla="*/ 832 w 1248"/>
                  <a:gd name="T99" fmla="*/ 538 h 992"/>
                  <a:gd name="T100" fmla="*/ 872 w 1248"/>
                  <a:gd name="T101" fmla="*/ 698 h 992"/>
                  <a:gd name="T102" fmla="*/ 168 w 1248"/>
                  <a:gd name="T103" fmla="*/ 754 h 992"/>
                  <a:gd name="T104" fmla="*/ 1208 w 1248"/>
                  <a:gd name="T105" fmla="*/ 792 h 992"/>
                  <a:gd name="T106" fmla="*/ 1208 w 1248"/>
                  <a:gd name="T107" fmla="*/ 874 h 992"/>
                  <a:gd name="T108" fmla="*/ 246 w 1248"/>
                  <a:gd name="T109" fmla="*/ 852 h 992"/>
                  <a:gd name="T110" fmla="*/ 772 w 1248"/>
                  <a:gd name="T111" fmla="*/ 78 h 992"/>
                  <a:gd name="T112" fmla="*/ 786 w 1248"/>
                  <a:gd name="T113" fmla="*/ 34 h 992"/>
                  <a:gd name="T114" fmla="*/ 918 w 1248"/>
                  <a:gd name="T115" fmla="*/ 4 h 992"/>
                  <a:gd name="T116" fmla="*/ 1040 w 1248"/>
                  <a:gd name="T117" fmla="*/ 52 h 992"/>
                  <a:gd name="T118" fmla="*/ 918 w 1248"/>
                  <a:gd name="T119" fmla="*/ 116 h 992"/>
                  <a:gd name="T120" fmla="*/ 894 w 1248"/>
                  <a:gd name="T121" fmla="*/ 190 h 992"/>
                  <a:gd name="T122" fmla="*/ 820 w 1248"/>
                  <a:gd name="T123" fmla="*/ 158 h 992"/>
                  <a:gd name="T124" fmla="*/ 794 w 1248"/>
                  <a:gd name="T125" fmla="*/ 86 h 9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248" h="992">
                    <a:moveTo>
                      <a:pt x="600" y="254"/>
                    </a:moveTo>
                    <a:lnTo>
                      <a:pt x="596" y="254"/>
                    </a:lnTo>
                    <a:lnTo>
                      <a:pt x="600" y="250"/>
                    </a:lnTo>
                    <a:lnTo>
                      <a:pt x="600" y="254"/>
                    </a:lnTo>
                    <a:lnTo>
                      <a:pt x="600" y="254"/>
                    </a:lnTo>
                    <a:lnTo>
                      <a:pt x="600" y="254"/>
                    </a:lnTo>
                    <a:close/>
                    <a:moveTo>
                      <a:pt x="612" y="258"/>
                    </a:moveTo>
                    <a:lnTo>
                      <a:pt x="612" y="262"/>
                    </a:lnTo>
                    <a:lnTo>
                      <a:pt x="608" y="264"/>
                    </a:lnTo>
                    <a:lnTo>
                      <a:pt x="604" y="264"/>
                    </a:lnTo>
                    <a:lnTo>
                      <a:pt x="600" y="264"/>
                    </a:lnTo>
                    <a:lnTo>
                      <a:pt x="596" y="264"/>
                    </a:lnTo>
                    <a:lnTo>
                      <a:pt x="592" y="264"/>
                    </a:lnTo>
                    <a:lnTo>
                      <a:pt x="590" y="264"/>
                    </a:lnTo>
                    <a:lnTo>
                      <a:pt x="590" y="262"/>
                    </a:lnTo>
                    <a:lnTo>
                      <a:pt x="592" y="262"/>
                    </a:lnTo>
                    <a:lnTo>
                      <a:pt x="596" y="262"/>
                    </a:lnTo>
                    <a:lnTo>
                      <a:pt x="600" y="262"/>
                    </a:lnTo>
                    <a:lnTo>
                      <a:pt x="604" y="262"/>
                    </a:lnTo>
                    <a:lnTo>
                      <a:pt x="604" y="258"/>
                    </a:lnTo>
                    <a:lnTo>
                      <a:pt x="608" y="258"/>
                    </a:lnTo>
                    <a:lnTo>
                      <a:pt x="612" y="258"/>
                    </a:lnTo>
                    <a:lnTo>
                      <a:pt x="612" y="258"/>
                    </a:lnTo>
                    <a:lnTo>
                      <a:pt x="612" y="258"/>
                    </a:lnTo>
                    <a:close/>
                    <a:moveTo>
                      <a:pt x="764" y="478"/>
                    </a:moveTo>
                    <a:lnTo>
                      <a:pt x="760" y="478"/>
                    </a:lnTo>
                    <a:lnTo>
                      <a:pt x="760" y="482"/>
                    </a:lnTo>
                    <a:lnTo>
                      <a:pt x="756" y="482"/>
                    </a:lnTo>
                    <a:lnTo>
                      <a:pt x="752" y="482"/>
                    </a:lnTo>
                    <a:lnTo>
                      <a:pt x="748" y="482"/>
                    </a:lnTo>
                    <a:lnTo>
                      <a:pt x="746" y="478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42" y="474"/>
                    </a:lnTo>
                    <a:lnTo>
                      <a:pt x="738" y="474"/>
                    </a:lnTo>
                    <a:lnTo>
                      <a:pt x="734" y="474"/>
                    </a:lnTo>
                    <a:lnTo>
                      <a:pt x="734" y="470"/>
                    </a:lnTo>
                    <a:lnTo>
                      <a:pt x="732" y="470"/>
                    </a:lnTo>
                    <a:lnTo>
                      <a:pt x="728" y="466"/>
                    </a:lnTo>
                    <a:lnTo>
                      <a:pt x="724" y="466"/>
                    </a:lnTo>
                    <a:lnTo>
                      <a:pt x="720" y="466"/>
                    </a:lnTo>
                    <a:lnTo>
                      <a:pt x="724" y="466"/>
                    </a:lnTo>
                    <a:lnTo>
                      <a:pt x="724" y="470"/>
                    </a:lnTo>
                    <a:lnTo>
                      <a:pt x="720" y="466"/>
                    </a:lnTo>
                    <a:lnTo>
                      <a:pt x="720" y="470"/>
                    </a:lnTo>
                    <a:lnTo>
                      <a:pt x="716" y="470"/>
                    </a:lnTo>
                    <a:lnTo>
                      <a:pt x="716" y="466"/>
                    </a:lnTo>
                    <a:lnTo>
                      <a:pt x="720" y="466"/>
                    </a:lnTo>
                    <a:lnTo>
                      <a:pt x="716" y="466"/>
                    </a:lnTo>
                    <a:lnTo>
                      <a:pt x="712" y="466"/>
                    </a:lnTo>
                    <a:lnTo>
                      <a:pt x="708" y="466"/>
                    </a:lnTo>
                    <a:lnTo>
                      <a:pt x="706" y="466"/>
                    </a:lnTo>
                    <a:lnTo>
                      <a:pt x="702" y="466"/>
                    </a:lnTo>
                    <a:lnTo>
                      <a:pt x="706" y="470"/>
                    </a:lnTo>
                    <a:lnTo>
                      <a:pt x="708" y="470"/>
                    </a:lnTo>
                    <a:lnTo>
                      <a:pt x="706" y="470"/>
                    </a:lnTo>
                    <a:lnTo>
                      <a:pt x="706" y="466"/>
                    </a:lnTo>
                    <a:lnTo>
                      <a:pt x="708" y="466"/>
                    </a:lnTo>
                    <a:lnTo>
                      <a:pt x="712" y="466"/>
                    </a:lnTo>
                    <a:lnTo>
                      <a:pt x="720" y="470"/>
                    </a:lnTo>
                    <a:lnTo>
                      <a:pt x="724" y="470"/>
                    </a:lnTo>
                    <a:lnTo>
                      <a:pt x="728" y="470"/>
                    </a:lnTo>
                    <a:lnTo>
                      <a:pt x="728" y="474"/>
                    </a:lnTo>
                    <a:lnTo>
                      <a:pt x="732" y="478"/>
                    </a:lnTo>
                    <a:lnTo>
                      <a:pt x="734" y="482"/>
                    </a:lnTo>
                    <a:lnTo>
                      <a:pt x="738" y="482"/>
                    </a:lnTo>
                    <a:lnTo>
                      <a:pt x="742" y="482"/>
                    </a:lnTo>
                    <a:lnTo>
                      <a:pt x="746" y="482"/>
                    </a:lnTo>
                    <a:lnTo>
                      <a:pt x="748" y="482"/>
                    </a:lnTo>
                    <a:lnTo>
                      <a:pt x="752" y="482"/>
                    </a:lnTo>
                    <a:lnTo>
                      <a:pt x="756" y="482"/>
                    </a:lnTo>
                    <a:lnTo>
                      <a:pt x="760" y="482"/>
                    </a:lnTo>
                    <a:lnTo>
                      <a:pt x="764" y="486"/>
                    </a:lnTo>
                    <a:lnTo>
                      <a:pt x="764" y="490"/>
                    </a:lnTo>
                    <a:lnTo>
                      <a:pt x="760" y="490"/>
                    </a:lnTo>
                    <a:lnTo>
                      <a:pt x="756" y="496"/>
                    </a:lnTo>
                    <a:lnTo>
                      <a:pt x="756" y="500"/>
                    </a:lnTo>
                    <a:lnTo>
                      <a:pt x="752" y="500"/>
                    </a:lnTo>
                    <a:lnTo>
                      <a:pt x="752" y="504"/>
                    </a:lnTo>
                    <a:lnTo>
                      <a:pt x="748" y="508"/>
                    </a:lnTo>
                    <a:lnTo>
                      <a:pt x="748" y="512"/>
                    </a:lnTo>
                    <a:lnTo>
                      <a:pt x="746" y="512"/>
                    </a:lnTo>
                    <a:lnTo>
                      <a:pt x="742" y="512"/>
                    </a:lnTo>
                    <a:lnTo>
                      <a:pt x="738" y="516"/>
                    </a:lnTo>
                    <a:lnTo>
                      <a:pt x="734" y="516"/>
                    </a:lnTo>
                    <a:lnTo>
                      <a:pt x="734" y="512"/>
                    </a:lnTo>
                    <a:lnTo>
                      <a:pt x="732" y="512"/>
                    </a:lnTo>
                    <a:lnTo>
                      <a:pt x="732" y="508"/>
                    </a:lnTo>
                    <a:lnTo>
                      <a:pt x="732" y="512"/>
                    </a:lnTo>
                    <a:lnTo>
                      <a:pt x="734" y="512"/>
                    </a:lnTo>
                    <a:lnTo>
                      <a:pt x="734" y="516"/>
                    </a:lnTo>
                    <a:lnTo>
                      <a:pt x="732" y="516"/>
                    </a:lnTo>
                    <a:lnTo>
                      <a:pt x="732" y="512"/>
                    </a:lnTo>
                    <a:lnTo>
                      <a:pt x="728" y="512"/>
                    </a:lnTo>
                    <a:lnTo>
                      <a:pt x="728" y="516"/>
                    </a:lnTo>
                    <a:lnTo>
                      <a:pt x="728" y="512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4" y="512"/>
                    </a:lnTo>
                    <a:lnTo>
                      <a:pt x="724" y="508"/>
                    </a:lnTo>
                    <a:lnTo>
                      <a:pt x="720" y="512"/>
                    </a:lnTo>
                    <a:lnTo>
                      <a:pt x="724" y="512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4" y="516"/>
                    </a:lnTo>
                    <a:lnTo>
                      <a:pt x="720" y="516"/>
                    </a:lnTo>
                    <a:lnTo>
                      <a:pt x="720" y="512"/>
                    </a:lnTo>
                    <a:lnTo>
                      <a:pt x="716" y="512"/>
                    </a:lnTo>
                    <a:lnTo>
                      <a:pt x="720" y="516"/>
                    </a:lnTo>
                    <a:lnTo>
                      <a:pt x="724" y="520"/>
                    </a:lnTo>
                    <a:lnTo>
                      <a:pt x="720" y="520"/>
                    </a:lnTo>
                    <a:lnTo>
                      <a:pt x="720" y="522"/>
                    </a:lnTo>
                    <a:lnTo>
                      <a:pt x="716" y="522"/>
                    </a:lnTo>
                    <a:lnTo>
                      <a:pt x="712" y="520"/>
                    </a:lnTo>
                    <a:lnTo>
                      <a:pt x="712" y="522"/>
                    </a:lnTo>
                    <a:lnTo>
                      <a:pt x="708" y="522"/>
                    </a:lnTo>
                    <a:lnTo>
                      <a:pt x="706" y="522"/>
                    </a:lnTo>
                    <a:lnTo>
                      <a:pt x="702" y="522"/>
                    </a:lnTo>
                    <a:lnTo>
                      <a:pt x="702" y="520"/>
                    </a:lnTo>
                    <a:lnTo>
                      <a:pt x="698" y="520"/>
                    </a:lnTo>
                    <a:lnTo>
                      <a:pt x="694" y="520"/>
                    </a:lnTo>
                    <a:lnTo>
                      <a:pt x="690" y="520"/>
                    </a:lnTo>
                    <a:lnTo>
                      <a:pt x="686" y="520"/>
                    </a:lnTo>
                    <a:lnTo>
                      <a:pt x="682" y="520"/>
                    </a:lnTo>
                    <a:lnTo>
                      <a:pt x="682" y="516"/>
                    </a:lnTo>
                    <a:lnTo>
                      <a:pt x="678" y="516"/>
                    </a:lnTo>
                    <a:lnTo>
                      <a:pt x="676" y="516"/>
                    </a:lnTo>
                    <a:lnTo>
                      <a:pt x="672" y="512"/>
                    </a:lnTo>
                    <a:lnTo>
                      <a:pt x="668" y="508"/>
                    </a:lnTo>
                    <a:lnTo>
                      <a:pt x="672" y="512"/>
                    </a:lnTo>
                    <a:lnTo>
                      <a:pt x="672" y="516"/>
                    </a:lnTo>
                    <a:lnTo>
                      <a:pt x="668" y="516"/>
                    </a:lnTo>
                    <a:lnTo>
                      <a:pt x="672" y="516"/>
                    </a:lnTo>
                    <a:lnTo>
                      <a:pt x="672" y="520"/>
                    </a:lnTo>
                    <a:lnTo>
                      <a:pt x="676" y="520"/>
                    </a:lnTo>
                    <a:lnTo>
                      <a:pt x="676" y="516"/>
                    </a:lnTo>
                    <a:lnTo>
                      <a:pt x="672" y="516"/>
                    </a:lnTo>
                    <a:lnTo>
                      <a:pt x="676" y="516"/>
                    </a:lnTo>
                    <a:lnTo>
                      <a:pt x="678" y="516"/>
                    </a:lnTo>
                    <a:lnTo>
                      <a:pt x="682" y="520"/>
                    </a:lnTo>
                    <a:lnTo>
                      <a:pt x="686" y="520"/>
                    </a:lnTo>
                    <a:lnTo>
                      <a:pt x="690" y="520"/>
                    </a:lnTo>
                    <a:lnTo>
                      <a:pt x="690" y="522"/>
                    </a:lnTo>
                    <a:lnTo>
                      <a:pt x="686" y="522"/>
                    </a:lnTo>
                    <a:lnTo>
                      <a:pt x="690" y="522"/>
                    </a:lnTo>
                    <a:lnTo>
                      <a:pt x="694" y="522"/>
                    </a:lnTo>
                    <a:lnTo>
                      <a:pt x="698" y="520"/>
                    </a:lnTo>
                    <a:lnTo>
                      <a:pt x="698" y="522"/>
                    </a:lnTo>
                    <a:lnTo>
                      <a:pt x="702" y="526"/>
                    </a:lnTo>
                    <a:lnTo>
                      <a:pt x="706" y="526"/>
                    </a:lnTo>
                    <a:lnTo>
                      <a:pt x="708" y="526"/>
                    </a:lnTo>
                    <a:lnTo>
                      <a:pt x="712" y="530"/>
                    </a:lnTo>
                    <a:lnTo>
                      <a:pt x="712" y="534"/>
                    </a:lnTo>
                    <a:lnTo>
                      <a:pt x="712" y="538"/>
                    </a:lnTo>
                    <a:lnTo>
                      <a:pt x="708" y="538"/>
                    </a:lnTo>
                    <a:lnTo>
                      <a:pt x="706" y="538"/>
                    </a:lnTo>
                    <a:lnTo>
                      <a:pt x="706" y="542"/>
                    </a:lnTo>
                    <a:lnTo>
                      <a:pt x="702" y="542"/>
                    </a:lnTo>
                    <a:lnTo>
                      <a:pt x="698" y="542"/>
                    </a:lnTo>
                    <a:lnTo>
                      <a:pt x="694" y="542"/>
                    </a:lnTo>
                    <a:lnTo>
                      <a:pt x="690" y="542"/>
                    </a:lnTo>
                    <a:lnTo>
                      <a:pt x="686" y="542"/>
                    </a:lnTo>
                    <a:lnTo>
                      <a:pt x="690" y="546"/>
                    </a:lnTo>
                    <a:lnTo>
                      <a:pt x="694" y="546"/>
                    </a:lnTo>
                    <a:lnTo>
                      <a:pt x="694" y="550"/>
                    </a:lnTo>
                    <a:lnTo>
                      <a:pt x="690" y="546"/>
                    </a:lnTo>
                    <a:lnTo>
                      <a:pt x="690" y="550"/>
                    </a:lnTo>
                    <a:lnTo>
                      <a:pt x="686" y="550"/>
                    </a:lnTo>
                    <a:lnTo>
                      <a:pt x="682" y="550"/>
                    </a:lnTo>
                    <a:lnTo>
                      <a:pt x="682" y="552"/>
                    </a:lnTo>
                    <a:lnTo>
                      <a:pt x="686" y="552"/>
                    </a:lnTo>
                    <a:lnTo>
                      <a:pt x="686" y="556"/>
                    </a:lnTo>
                    <a:lnTo>
                      <a:pt x="682" y="556"/>
                    </a:lnTo>
                    <a:lnTo>
                      <a:pt x="682" y="552"/>
                    </a:lnTo>
                    <a:lnTo>
                      <a:pt x="678" y="552"/>
                    </a:lnTo>
                    <a:lnTo>
                      <a:pt x="682" y="552"/>
                    </a:lnTo>
                    <a:lnTo>
                      <a:pt x="682" y="556"/>
                    </a:lnTo>
                    <a:lnTo>
                      <a:pt x="678" y="556"/>
                    </a:lnTo>
                    <a:lnTo>
                      <a:pt x="678" y="560"/>
                    </a:lnTo>
                    <a:lnTo>
                      <a:pt x="676" y="560"/>
                    </a:lnTo>
                    <a:lnTo>
                      <a:pt x="676" y="564"/>
                    </a:lnTo>
                    <a:lnTo>
                      <a:pt x="672" y="564"/>
                    </a:lnTo>
                    <a:lnTo>
                      <a:pt x="672" y="560"/>
                    </a:lnTo>
                    <a:lnTo>
                      <a:pt x="672" y="564"/>
                    </a:lnTo>
                    <a:lnTo>
                      <a:pt x="676" y="564"/>
                    </a:lnTo>
                    <a:lnTo>
                      <a:pt x="676" y="566"/>
                    </a:lnTo>
                    <a:lnTo>
                      <a:pt x="672" y="566"/>
                    </a:lnTo>
                    <a:lnTo>
                      <a:pt x="668" y="570"/>
                    </a:lnTo>
                    <a:lnTo>
                      <a:pt x="664" y="570"/>
                    </a:lnTo>
                    <a:lnTo>
                      <a:pt x="664" y="574"/>
                    </a:lnTo>
                    <a:lnTo>
                      <a:pt x="668" y="574"/>
                    </a:lnTo>
                    <a:lnTo>
                      <a:pt x="664" y="578"/>
                    </a:lnTo>
                    <a:lnTo>
                      <a:pt x="664" y="582"/>
                    </a:lnTo>
                    <a:lnTo>
                      <a:pt x="660" y="586"/>
                    </a:lnTo>
                    <a:lnTo>
                      <a:pt x="660" y="590"/>
                    </a:lnTo>
                    <a:lnTo>
                      <a:pt x="656" y="594"/>
                    </a:lnTo>
                    <a:lnTo>
                      <a:pt x="656" y="596"/>
                    </a:lnTo>
                    <a:lnTo>
                      <a:pt x="656" y="600"/>
                    </a:lnTo>
                    <a:lnTo>
                      <a:pt x="656" y="604"/>
                    </a:lnTo>
                    <a:lnTo>
                      <a:pt x="652" y="604"/>
                    </a:lnTo>
                    <a:lnTo>
                      <a:pt x="652" y="608"/>
                    </a:lnTo>
                    <a:lnTo>
                      <a:pt x="652" y="612"/>
                    </a:lnTo>
                    <a:lnTo>
                      <a:pt x="652" y="616"/>
                    </a:lnTo>
                    <a:lnTo>
                      <a:pt x="652" y="620"/>
                    </a:lnTo>
                    <a:lnTo>
                      <a:pt x="656" y="620"/>
                    </a:lnTo>
                    <a:lnTo>
                      <a:pt x="656" y="622"/>
                    </a:lnTo>
                    <a:lnTo>
                      <a:pt x="652" y="622"/>
                    </a:lnTo>
                    <a:lnTo>
                      <a:pt x="652" y="626"/>
                    </a:lnTo>
                    <a:lnTo>
                      <a:pt x="656" y="630"/>
                    </a:lnTo>
                    <a:lnTo>
                      <a:pt x="656" y="634"/>
                    </a:lnTo>
                    <a:lnTo>
                      <a:pt x="660" y="634"/>
                    </a:lnTo>
                    <a:lnTo>
                      <a:pt x="660" y="638"/>
                    </a:lnTo>
                    <a:lnTo>
                      <a:pt x="660" y="642"/>
                    </a:lnTo>
                    <a:lnTo>
                      <a:pt x="660" y="646"/>
                    </a:lnTo>
                    <a:lnTo>
                      <a:pt x="660" y="642"/>
                    </a:lnTo>
                    <a:lnTo>
                      <a:pt x="660" y="638"/>
                    </a:lnTo>
                    <a:lnTo>
                      <a:pt x="664" y="634"/>
                    </a:lnTo>
                    <a:lnTo>
                      <a:pt x="668" y="634"/>
                    </a:lnTo>
                    <a:lnTo>
                      <a:pt x="672" y="634"/>
                    </a:lnTo>
                    <a:lnTo>
                      <a:pt x="676" y="634"/>
                    </a:lnTo>
                    <a:lnTo>
                      <a:pt x="678" y="634"/>
                    </a:lnTo>
                    <a:lnTo>
                      <a:pt x="678" y="638"/>
                    </a:lnTo>
                    <a:lnTo>
                      <a:pt x="678" y="642"/>
                    </a:lnTo>
                    <a:lnTo>
                      <a:pt x="678" y="646"/>
                    </a:lnTo>
                    <a:lnTo>
                      <a:pt x="682" y="650"/>
                    </a:lnTo>
                    <a:lnTo>
                      <a:pt x="682" y="652"/>
                    </a:lnTo>
                    <a:lnTo>
                      <a:pt x="682" y="656"/>
                    </a:lnTo>
                    <a:lnTo>
                      <a:pt x="686" y="660"/>
                    </a:lnTo>
                    <a:lnTo>
                      <a:pt x="686" y="664"/>
                    </a:lnTo>
                    <a:lnTo>
                      <a:pt x="686" y="668"/>
                    </a:lnTo>
                    <a:lnTo>
                      <a:pt x="686" y="672"/>
                    </a:lnTo>
                    <a:lnTo>
                      <a:pt x="682" y="676"/>
                    </a:lnTo>
                    <a:lnTo>
                      <a:pt x="686" y="676"/>
                    </a:lnTo>
                    <a:lnTo>
                      <a:pt x="686" y="672"/>
                    </a:lnTo>
                    <a:lnTo>
                      <a:pt x="690" y="672"/>
                    </a:lnTo>
                    <a:lnTo>
                      <a:pt x="690" y="676"/>
                    </a:lnTo>
                    <a:lnTo>
                      <a:pt x="686" y="676"/>
                    </a:lnTo>
                    <a:lnTo>
                      <a:pt x="690" y="676"/>
                    </a:lnTo>
                    <a:lnTo>
                      <a:pt x="690" y="672"/>
                    </a:lnTo>
                    <a:lnTo>
                      <a:pt x="694" y="672"/>
                    </a:lnTo>
                    <a:lnTo>
                      <a:pt x="698" y="672"/>
                    </a:lnTo>
                    <a:lnTo>
                      <a:pt x="706" y="668"/>
                    </a:lnTo>
                    <a:lnTo>
                      <a:pt x="708" y="668"/>
                    </a:lnTo>
                    <a:lnTo>
                      <a:pt x="712" y="668"/>
                    </a:lnTo>
                    <a:lnTo>
                      <a:pt x="716" y="668"/>
                    </a:lnTo>
                    <a:lnTo>
                      <a:pt x="716" y="672"/>
                    </a:lnTo>
                    <a:lnTo>
                      <a:pt x="720" y="672"/>
                    </a:lnTo>
                    <a:lnTo>
                      <a:pt x="724" y="672"/>
                    </a:lnTo>
                    <a:lnTo>
                      <a:pt x="724" y="676"/>
                    </a:lnTo>
                    <a:lnTo>
                      <a:pt x="728" y="676"/>
                    </a:lnTo>
                    <a:lnTo>
                      <a:pt x="732" y="676"/>
                    </a:lnTo>
                    <a:lnTo>
                      <a:pt x="734" y="676"/>
                    </a:lnTo>
                    <a:lnTo>
                      <a:pt x="738" y="680"/>
                    </a:lnTo>
                    <a:lnTo>
                      <a:pt x="742" y="680"/>
                    </a:lnTo>
                    <a:lnTo>
                      <a:pt x="742" y="682"/>
                    </a:lnTo>
                    <a:lnTo>
                      <a:pt x="746" y="682"/>
                    </a:lnTo>
                    <a:lnTo>
                      <a:pt x="746" y="686"/>
                    </a:lnTo>
                    <a:lnTo>
                      <a:pt x="748" y="686"/>
                    </a:lnTo>
                    <a:lnTo>
                      <a:pt x="752" y="690"/>
                    </a:lnTo>
                    <a:lnTo>
                      <a:pt x="756" y="694"/>
                    </a:lnTo>
                    <a:lnTo>
                      <a:pt x="760" y="698"/>
                    </a:lnTo>
                    <a:lnTo>
                      <a:pt x="764" y="698"/>
                    </a:lnTo>
                    <a:lnTo>
                      <a:pt x="768" y="698"/>
                    </a:lnTo>
                    <a:lnTo>
                      <a:pt x="772" y="698"/>
                    </a:lnTo>
                    <a:lnTo>
                      <a:pt x="772" y="702"/>
                    </a:lnTo>
                    <a:lnTo>
                      <a:pt x="776" y="702"/>
                    </a:lnTo>
                    <a:lnTo>
                      <a:pt x="778" y="702"/>
                    </a:lnTo>
                    <a:lnTo>
                      <a:pt x="782" y="706"/>
                    </a:lnTo>
                    <a:lnTo>
                      <a:pt x="786" y="708"/>
                    </a:lnTo>
                    <a:lnTo>
                      <a:pt x="790" y="708"/>
                    </a:lnTo>
                    <a:lnTo>
                      <a:pt x="790" y="712"/>
                    </a:lnTo>
                    <a:lnTo>
                      <a:pt x="786" y="712"/>
                    </a:lnTo>
                    <a:lnTo>
                      <a:pt x="786" y="716"/>
                    </a:lnTo>
                    <a:lnTo>
                      <a:pt x="786" y="712"/>
                    </a:lnTo>
                    <a:lnTo>
                      <a:pt x="790" y="712"/>
                    </a:lnTo>
                    <a:lnTo>
                      <a:pt x="794" y="712"/>
                    </a:lnTo>
                    <a:lnTo>
                      <a:pt x="798" y="712"/>
                    </a:lnTo>
                    <a:lnTo>
                      <a:pt x="802" y="712"/>
                    </a:lnTo>
                    <a:lnTo>
                      <a:pt x="806" y="712"/>
                    </a:lnTo>
                    <a:lnTo>
                      <a:pt x="806" y="708"/>
                    </a:lnTo>
                    <a:lnTo>
                      <a:pt x="808" y="708"/>
                    </a:lnTo>
                    <a:lnTo>
                      <a:pt x="812" y="712"/>
                    </a:lnTo>
                    <a:lnTo>
                      <a:pt x="808" y="712"/>
                    </a:lnTo>
                    <a:lnTo>
                      <a:pt x="812" y="712"/>
                    </a:lnTo>
                    <a:lnTo>
                      <a:pt x="816" y="712"/>
                    </a:lnTo>
                    <a:lnTo>
                      <a:pt x="820" y="712"/>
                    </a:lnTo>
                    <a:lnTo>
                      <a:pt x="824" y="712"/>
                    </a:lnTo>
                    <a:lnTo>
                      <a:pt x="828" y="712"/>
                    </a:lnTo>
                    <a:lnTo>
                      <a:pt x="828" y="716"/>
                    </a:lnTo>
                    <a:lnTo>
                      <a:pt x="832" y="716"/>
                    </a:lnTo>
                    <a:lnTo>
                      <a:pt x="832" y="712"/>
                    </a:lnTo>
                    <a:lnTo>
                      <a:pt x="832" y="716"/>
                    </a:lnTo>
                    <a:lnTo>
                      <a:pt x="832" y="720"/>
                    </a:lnTo>
                    <a:lnTo>
                      <a:pt x="832" y="728"/>
                    </a:lnTo>
                    <a:lnTo>
                      <a:pt x="828" y="732"/>
                    </a:lnTo>
                    <a:lnTo>
                      <a:pt x="828" y="736"/>
                    </a:lnTo>
                    <a:lnTo>
                      <a:pt x="832" y="736"/>
                    </a:lnTo>
                    <a:lnTo>
                      <a:pt x="832" y="738"/>
                    </a:lnTo>
                    <a:lnTo>
                      <a:pt x="832" y="742"/>
                    </a:lnTo>
                    <a:lnTo>
                      <a:pt x="832" y="746"/>
                    </a:lnTo>
                    <a:lnTo>
                      <a:pt x="832" y="750"/>
                    </a:lnTo>
                    <a:lnTo>
                      <a:pt x="832" y="754"/>
                    </a:lnTo>
                    <a:lnTo>
                      <a:pt x="832" y="758"/>
                    </a:lnTo>
                    <a:lnTo>
                      <a:pt x="832" y="762"/>
                    </a:lnTo>
                    <a:lnTo>
                      <a:pt x="834" y="766"/>
                    </a:lnTo>
                    <a:lnTo>
                      <a:pt x="838" y="768"/>
                    </a:lnTo>
                    <a:lnTo>
                      <a:pt x="838" y="772"/>
                    </a:lnTo>
                    <a:lnTo>
                      <a:pt x="842" y="772"/>
                    </a:lnTo>
                    <a:lnTo>
                      <a:pt x="842" y="776"/>
                    </a:lnTo>
                    <a:lnTo>
                      <a:pt x="838" y="776"/>
                    </a:lnTo>
                    <a:lnTo>
                      <a:pt x="834" y="776"/>
                    </a:lnTo>
                    <a:lnTo>
                      <a:pt x="838" y="776"/>
                    </a:lnTo>
                    <a:lnTo>
                      <a:pt x="842" y="776"/>
                    </a:lnTo>
                    <a:lnTo>
                      <a:pt x="842" y="780"/>
                    </a:lnTo>
                    <a:lnTo>
                      <a:pt x="846" y="780"/>
                    </a:lnTo>
                    <a:lnTo>
                      <a:pt x="850" y="780"/>
                    </a:lnTo>
                    <a:lnTo>
                      <a:pt x="850" y="784"/>
                    </a:lnTo>
                    <a:lnTo>
                      <a:pt x="854" y="788"/>
                    </a:lnTo>
                    <a:lnTo>
                      <a:pt x="854" y="792"/>
                    </a:lnTo>
                    <a:lnTo>
                      <a:pt x="858" y="792"/>
                    </a:lnTo>
                    <a:lnTo>
                      <a:pt x="858" y="794"/>
                    </a:lnTo>
                    <a:lnTo>
                      <a:pt x="854" y="794"/>
                    </a:lnTo>
                    <a:lnTo>
                      <a:pt x="854" y="798"/>
                    </a:lnTo>
                    <a:lnTo>
                      <a:pt x="850" y="798"/>
                    </a:lnTo>
                    <a:lnTo>
                      <a:pt x="850" y="802"/>
                    </a:lnTo>
                    <a:lnTo>
                      <a:pt x="850" y="798"/>
                    </a:lnTo>
                    <a:lnTo>
                      <a:pt x="854" y="798"/>
                    </a:lnTo>
                    <a:lnTo>
                      <a:pt x="854" y="794"/>
                    </a:lnTo>
                    <a:lnTo>
                      <a:pt x="858" y="794"/>
                    </a:lnTo>
                    <a:lnTo>
                      <a:pt x="862" y="794"/>
                    </a:lnTo>
                    <a:lnTo>
                      <a:pt x="862" y="798"/>
                    </a:lnTo>
                    <a:lnTo>
                      <a:pt x="864" y="798"/>
                    </a:lnTo>
                    <a:lnTo>
                      <a:pt x="864" y="802"/>
                    </a:lnTo>
                    <a:lnTo>
                      <a:pt x="868" y="802"/>
                    </a:lnTo>
                    <a:lnTo>
                      <a:pt x="868" y="806"/>
                    </a:lnTo>
                    <a:lnTo>
                      <a:pt x="872" y="806"/>
                    </a:lnTo>
                    <a:lnTo>
                      <a:pt x="872" y="810"/>
                    </a:lnTo>
                    <a:lnTo>
                      <a:pt x="872" y="806"/>
                    </a:lnTo>
                    <a:lnTo>
                      <a:pt x="868" y="806"/>
                    </a:lnTo>
                    <a:lnTo>
                      <a:pt x="868" y="802"/>
                    </a:lnTo>
                    <a:lnTo>
                      <a:pt x="864" y="798"/>
                    </a:lnTo>
                    <a:lnTo>
                      <a:pt x="868" y="798"/>
                    </a:lnTo>
                    <a:lnTo>
                      <a:pt x="868" y="794"/>
                    </a:lnTo>
                    <a:lnTo>
                      <a:pt x="868" y="792"/>
                    </a:lnTo>
                    <a:lnTo>
                      <a:pt x="872" y="792"/>
                    </a:lnTo>
                    <a:lnTo>
                      <a:pt x="872" y="788"/>
                    </a:lnTo>
                    <a:lnTo>
                      <a:pt x="872" y="792"/>
                    </a:lnTo>
                    <a:lnTo>
                      <a:pt x="876" y="792"/>
                    </a:lnTo>
                    <a:lnTo>
                      <a:pt x="876" y="794"/>
                    </a:lnTo>
                    <a:lnTo>
                      <a:pt x="876" y="798"/>
                    </a:lnTo>
                    <a:lnTo>
                      <a:pt x="880" y="798"/>
                    </a:lnTo>
                    <a:lnTo>
                      <a:pt x="880" y="794"/>
                    </a:lnTo>
                    <a:lnTo>
                      <a:pt x="880" y="792"/>
                    </a:lnTo>
                    <a:lnTo>
                      <a:pt x="876" y="788"/>
                    </a:lnTo>
                    <a:lnTo>
                      <a:pt x="880" y="788"/>
                    </a:lnTo>
                    <a:lnTo>
                      <a:pt x="880" y="784"/>
                    </a:lnTo>
                    <a:lnTo>
                      <a:pt x="880" y="780"/>
                    </a:lnTo>
                    <a:lnTo>
                      <a:pt x="884" y="780"/>
                    </a:lnTo>
                    <a:lnTo>
                      <a:pt x="884" y="776"/>
                    </a:lnTo>
                    <a:lnTo>
                      <a:pt x="884" y="772"/>
                    </a:lnTo>
                    <a:lnTo>
                      <a:pt x="884" y="768"/>
                    </a:lnTo>
                    <a:lnTo>
                      <a:pt x="880" y="768"/>
                    </a:lnTo>
                    <a:lnTo>
                      <a:pt x="880" y="766"/>
                    </a:lnTo>
                    <a:lnTo>
                      <a:pt x="880" y="762"/>
                    </a:lnTo>
                    <a:lnTo>
                      <a:pt x="880" y="758"/>
                    </a:lnTo>
                    <a:lnTo>
                      <a:pt x="880" y="754"/>
                    </a:lnTo>
                    <a:lnTo>
                      <a:pt x="876" y="754"/>
                    </a:lnTo>
                    <a:lnTo>
                      <a:pt x="876" y="750"/>
                    </a:lnTo>
                    <a:lnTo>
                      <a:pt x="880" y="750"/>
                    </a:lnTo>
                    <a:lnTo>
                      <a:pt x="876" y="746"/>
                    </a:lnTo>
                    <a:lnTo>
                      <a:pt x="876" y="742"/>
                    </a:lnTo>
                    <a:lnTo>
                      <a:pt x="880" y="742"/>
                    </a:lnTo>
                    <a:lnTo>
                      <a:pt x="876" y="742"/>
                    </a:lnTo>
                    <a:lnTo>
                      <a:pt x="876" y="738"/>
                    </a:lnTo>
                    <a:lnTo>
                      <a:pt x="876" y="736"/>
                    </a:lnTo>
                    <a:lnTo>
                      <a:pt x="872" y="736"/>
                    </a:lnTo>
                    <a:lnTo>
                      <a:pt x="872" y="732"/>
                    </a:lnTo>
                    <a:lnTo>
                      <a:pt x="868" y="732"/>
                    </a:lnTo>
                    <a:lnTo>
                      <a:pt x="868" y="728"/>
                    </a:lnTo>
                    <a:lnTo>
                      <a:pt x="868" y="724"/>
                    </a:lnTo>
                    <a:lnTo>
                      <a:pt x="864" y="724"/>
                    </a:lnTo>
                    <a:lnTo>
                      <a:pt x="868" y="724"/>
                    </a:lnTo>
                    <a:lnTo>
                      <a:pt x="872" y="724"/>
                    </a:lnTo>
                    <a:lnTo>
                      <a:pt x="876" y="720"/>
                    </a:lnTo>
                    <a:lnTo>
                      <a:pt x="880" y="720"/>
                    </a:lnTo>
                    <a:lnTo>
                      <a:pt x="884" y="716"/>
                    </a:lnTo>
                    <a:lnTo>
                      <a:pt x="888" y="716"/>
                    </a:lnTo>
                    <a:lnTo>
                      <a:pt x="890" y="712"/>
                    </a:lnTo>
                    <a:lnTo>
                      <a:pt x="894" y="708"/>
                    </a:lnTo>
                    <a:lnTo>
                      <a:pt x="898" y="706"/>
                    </a:lnTo>
                    <a:lnTo>
                      <a:pt x="902" y="706"/>
                    </a:lnTo>
                    <a:lnTo>
                      <a:pt x="902" y="702"/>
                    </a:lnTo>
                    <a:lnTo>
                      <a:pt x="906" y="702"/>
                    </a:lnTo>
                    <a:lnTo>
                      <a:pt x="910" y="698"/>
                    </a:lnTo>
                    <a:lnTo>
                      <a:pt x="910" y="694"/>
                    </a:lnTo>
                    <a:lnTo>
                      <a:pt x="914" y="690"/>
                    </a:lnTo>
                    <a:lnTo>
                      <a:pt x="914" y="686"/>
                    </a:lnTo>
                    <a:lnTo>
                      <a:pt x="914" y="682"/>
                    </a:lnTo>
                    <a:lnTo>
                      <a:pt x="914" y="680"/>
                    </a:lnTo>
                    <a:lnTo>
                      <a:pt x="914" y="676"/>
                    </a:lnTo>
                    <a:lnTo>
                      <a:pt x="910" y="672"/>
                    </a:lnTo>
                    <a:lnTo>
                      <a:pt x="914" y="672"/>
                    </a:lnTo>
                    <a:lnTo>
                      <a:pt x="910" y="668"/>
                    </a:lnTo>
                    <a:lnTo>
                      <a:pt x="910" y="664"/>
                    </a:lnTo>
                    <a:lnTo>
                      <a:pt x="910" y="660"/>
                    </a:lnTo>
                    <a:lnTo>
                      <a:pt x="906" y="656"/>
                    </a:lnTo>
                    <a:lnTo>
                      <a:pt x="902" y="650"/>
                    </a:lnTo>
                    <a:lnTo>
                      <a:pt x="898" y="650"/>
                    </a:lnTo>
                    <a:lnTo>
                      <a:pt x="898" y="646"/>
                    </a:lnTo>
                    <a:lnTo>
                      <a:pt x="894" y="646"/>
                    </a:lnTo>
                    <a:lnTo>
                      <a:pt x="890" y="642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8" y="638"/>
                    </a:lnTo>
                    <a:lnTo>
                      <a:pt x="884" y="638"/>
                    </a:lnTo>
                    <a:lnTo>
                      <a:pt x="884" y="634"/>
                    </a:lnTo>
                    <a:lnTo>
                      <a:pt x="884" y="630"/>
                    </a:lnTo>
                    <a:lnTo>
                      <a:pt x="888" y="630"/>
                    </a:lnTo>
                    <a:lnTo>
                      <a:pt x="888" y="626"/>
                    </a:lnTo>
                    <a:lnTo>
                      <a:pt x="890" y="626"/>
                    </a:lnTo>
                    <a:lnTo>
                      <a:pt x="890" y="622"/>
                    </a:lnTo>
                    <a:lnTo>
                      <a:pt x="894" y="622"/>
                    </a:lnTo>
                    <a:lnTo>
                      <a:pt x="894" y="620"/>
                    </a:lnTo>
                    <a:lnTo>
                      <a:pt x="890" y="620"/>
                    </a:lnTo>
                    <a:lnTo>
                      <a:pt x="894" y="616"/>
                    </a:lnTo>
                    <a:lnTo>
                      <a:pt x="894" y="612"/>
                    </a:lnTo>
                    <a:lnTo>
                      <a:pt x="898" y="612"/>
                    </a:lnTo>
                    <a:lnTo>
                      <a:pt x="898" y="616"/>
                    </a:lnTo>
                    <a:lnTo>
                      <a:pt x="902" y="616"/>
                    </a:lnTo>
                    <a:lnTo>
                      <a:pt x="898" y="616"/>
                    </a:lnTo>
                    <a:lnTo>
                      <a:pt x="898" y="612"/>
                    </a:lnTo>
                    <a:lnTo>
                      <a:pt x="902" y="612"/>
                    </a:lnTo>
                    <a:lnTo>
                      <a:pt x="898" y="608"/>
                    </a:lnTo>
                    <a:lnTo>
                      <a:pt x="902" y="604"/>
                    </a:lnTo>
                    <a:lnTo>
                      <a:pt x="906" y="604"/>
                    </a:lnTo>
                    <a:lnTo>
                      <a:pt x="910" y="604"/>
                    </a:lnTo>
                    <a:lnTo>
                      <a:pt x="910" y="600"/>
                    </a:lnTo>
                    <a:lnTo>
                      <a:pt x="906" y="600"/>
                    </a:lnTo>
                    <a:lnTo>
                      <a:pt x="906" y="604"/>
                    </a:lnTo>
                    <a:lnTo>
                      <a:pt x="902" y="604"/>
                    </a:lnTo>
                    <a:lnTo>
                      <a:pt x="898" y="604"/>
                    </a:lnTo>
                    <a:lnTo>
                      <a:pt x="898" y="600"/>
                    </a:lnTo>
                    <a:lnTo>
                      <a:pt x="898" y="596"/>
                    </a:lnTo>
                    <a:lnTo>
                      <a:pt x="894" y="596"/>
                    </a:lnTo>
                    <a:lnTo>
                      <a:pt x="898" y="594"/>
                    </a:lnTo>
                    <a:lnTo>
                      <a:pt x="894" y="594"/>
                    </a:lnTo>
                    <a:lnTo>
                      <a:pt x="894" y="590"/>
                    </a:lnTo>
                    <a:lnTo>
                      <a:pt x="898" y="586"/>
                    </a:lnTo>
                    <a:lnTo>
                      <a:pt x="894" y="590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0" y="590"/>
                    </a:lnTo>
                    <a:lnTo>
                      <a:pt x="888" y="590"/>
                    </a:lnTo>
                    <a:lnTo>
                      <a:pt x="888" y="586"/>
                    </a:lnTo>
                    <a:lnTo>
                      <a:pt x="890" y="582"/>
                    </a:lnTo>
                    <a:lnTo>
                      <a:pt x="894" y="582"/>
                    </a:lnTo>
                    <a:lnTo>
                      <a:pt x="894" y="578"/>
                    </a:lnTo>
                    <a:lnTo>
                      <a:pt x="894" y="574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8" y="570"/>
                    </a:lnTo>
                    <a:lnTo>
                      <a:pt x="894" y="570"/>
                    </a:lnTo>
                    <a:lnTo>
                      <a:pt x="894" y="566"/>
                    </a:lnTo>
                    <a:lnTo>
                      <a:pt x="890" y="566"/>
                    </a:lnTo>
                    <a:lnTo>
                      <a:pt x="890" y="564"/>
                    </a:lnTo>
                    <a:lnTo>
                      <a:pt x="890" y="560"/>
                    </a:lnTo>
                    <a:lnTo>
                      <a:pt x="888" y="560"/>
                    </a:lnTo>
                    <a:lnTo>
                      <a:pt x="888" y="556"/>
                    </a:lnTo>
                    <a:lnTo>
                      <a:pt x="888" y="552"/>
                    </a:lnTo>
                    <a:lnTo>
                      <a:pt x="890" y="552"/>
                    </a:lnTo>
                    <a:lnTo>
                      <a:pt x="894" y="550"/>
                    </a:lnTo>
                    <a:lnTo>
                      <a:pt x="898" y="550"/>
                    </a:lnTo>
                    <a:lnTo>
                      <a:pt x="906" y="550"/>
                    </a:lnTo>
                    <a:lnTo>
                      <a:pt x="910" y="550"/>
                    </a:lnTo>
                    <a:lnTo>
                      <a:pt x="914" y="550"/>
                    </a:lnTo>
                    <a:lnTo>
                      <a:pt x="914" y="552"/>
                    </a:lnTo>
                    <a:lnTo>
                      <a:pt x="918" y="552"/>
                    </a:lnTo>
                    <a:lnTo>
                      <a:pt x="924" y="552"/>
                    </a:lnTo>
                    <a:lnTo>
                      <a:pt x="924" y="556"/>
                    </a:lnTo>
                    <a:lnTo>
                      <a:pt x="920" y="556"/>
                    </a:lnTo>
                    <a:lnTo>
                      <a:pt x="924" y="556"/>
                    </a:lnTo>
                    <a:lnTo>
                      <a:pt x="924" y="552"/>
                    </a:lnTo>
                    <a:lnTo>
                      <a:pt x="928" y="552"/>
                    </a:lnTo>
                    <a:lnTo>
                      <a:pt x="932" y="552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36" y="556"/>
                    </a:lnTo>
                    <a:lnTo>
                      <a:pt x="940" y="556"/>
                    </a:lnTo>
                    <a:lnTo>
                      <a:pt x="944" y="556"/>
                    </a:lnTo>
                    <a:lnTo>
                      <a:pt x="944" y="552"/>
                    </a:lnTo>
                    <a:lnTo>
                      <a:pt x="948" y="552"/>
                    </a:lnTo>
                    <a:lnTo>
                      <a:pt x="950" y="550"/>
                    </a:lnTo>
                    <a:lnTo>
                      <a:pt x="954" y="550"/>
                    </a:lnTo>
                    <a:lnTo>
                      <a:pt x="954" y="552"/>
                    </a:lnTo>
                    <a:lnTo>
                      <a:pt x="958" y="552"/>
                    </a:lnTo>
                    <a:lnTo>
                      <a:pt x="958" y="556"/>
                    </a:lnTo>
                    <a:lnTo>
                      <a:pt x="962" y="556"/>
                    </a:lnTo>
                    <a:lnTo>
                      <a:pt x="966" y="556"/>
                    </a:lnTo>
                    <a:lnTo>
                      <a:pt x="970" y="560"/>
                    </a:lnTo>
                    <a:lnTo>
                      <a:pt x="966" y="560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66" y="564"/>
                    </a:lnTo>
                    <a:lnTo>
                      <a:pt x="970" y="564"/>
                    </a:lnTo>
                    <a:lnTo>
                      <a:pt x="974" y="564"/>
                    </a:lnTo>
                    <a:lnTo>
                      <a:pt x="976" y="566"/>
                    </a:lnTo>
                    <a:lnTo>
                      <a:pt x="974" y="570"/>
                    </a:lnTo>
                    <a:lnTo>
                      <a:pt x="974" y="566"/>
                    </a:lnTo>
                    <a:lnTo>
                      <a:pt x="974" y="570"/>
                    </a:lnTo>
                    <a:lnTo>
                      <a:pt x="976" y="570"/>
                    </a:lnTo>
                    <a:lnTo>
                      <a:pt x="976" y="566"/>
                    </a:lnTo>
                    <a:lnTo>
                      <a:pt x="980" y="566"/>
                    </a:lnTo>
                    <a:lnTo>
                      <a:pt x="980" y="570"/>
                    </a:lnTo>
                    <a:lnTo>
                      <a:pt x="976" y="574"/>
                    </a:lnTo>
                    <a:lnTo>
                      <a:pt x="980" y="574"/>
                    </a:lnTo>
                    <a:lnTo>
                      <a:pt x="980" y="578"/>
                    </a:lnTo>
                    <a:lnTo>
                      <a:pt x="984" y="578"/>
                    </a:lnTo>
                    <a:lnTo>
                      <a:pt x="988" y="578"/>
                    </a:lnTo>
                    <a:lnTo>
                      <a:pt x="992" y="582"/>
                    </a:lnTo>
                    <a:lnTo>
                      <a:pt x="996" y="582"/>
                    </a:lnTo>
                    <a:lnTo>
                      <a:pt x="1000" y="582"/>
                    </a:lnTo>
                    <a:lnTo>
                      <a:pt x="1004" y="582"/>
                    </a:lnTo>
                    <a:lnTo>
                      <a:pt x="1004" y="586"/>
                    </a:lnTo>
                    <a:lnTo>
                      <a:pt x="1006" y="586"/>
                    </a:lnTo>
                    <a:lnTo>
                      <a:pt x="1010" y="586"/>
                    </a:lnTo>
                    <a:lnTo>
                      <a:pt x="1010" y="582"/>
                    </a:lnTo>
                    <a:lnTo>
                      <a:pt x="1014" y="586"/>
                    </a:lnTo>
                    <a:lnTo>
                      <a:pt x="1014" y="590"/>
                    </a:lnTo>
                    <a:lnTo>
                      <a:pt x="1010" y="590"/>
                    </a:lnTo>
                    <a:lnTo>
                      <a:pt x="1006" y="590"/>
                    </a:lnTo>
                    <a:lnTo>
                      <a:pt x="1010" y="590"/>
                    </a:lnTo>
                    <a:lnTo>
                      <a:pt x="1010" y="594"/>
                    </a:lnTo>
                    <a:lnTo>
                      <a:pt x="1006" y="594"/>
                    </a:lnTo>
                    <a:lnTo>
                      <a:pt x="1006" y="596"/>
                    </a:lnTo>
                    <a:lnTo>
                      <a:pt x="1006" y="600"/>
                    </a:lnTo>
                    <a:lnTo>
                      <a:pt x="1010" y="600"/>
                    </a:lnTo>
                    <a:lnTo>
                      <a:pt x="1010" y="604"/>
                    </a:lnTo>
                    <a:lnTo>
                      <a:pt x="1006" y="604"/>
                    </a:lnTo>
                    <a:lnTo>
                      <a:pt x="1004" y="604"/>
                    </a:lnTo>
                    <a:lnTo>
                      <a:pt x="1000" y="604"/>
                    </a:lnTo>
                    <a:lnTo>
                      <a:pt x="996" y="604"/>
                    </a:lnTo>
                    <a:lnTo>
                      <a:pt x="992" y="604"/>
                    </a:lnTo>
                    <a:lnTo>
                      <a:pt x="996" y="608"/>
                    </a:lnTo>
                    <a:lnTo>
                      <a:pt x="1000" y="608"/>
                    </a:lnTo>
                    <a:lnTo>
                      <a:pt x="1004" y="608"/>
                    </a:lnTo>
                    <a:lnTo>
                      <a:pt x="1006" y="608"/>
                    </a:lnTo>
                    <a:lnTo>
                      <a:pt x="1010" y="608"/>
                    </a:lnTo>
                    <a:lnTo>
                      <a:pt x="1010" y="612"/>
                    </a:lnTo>
                    <a:lnTo>
                      <a:pt x="1010" y="616"/>
                    </a:lnTo>
                    <a:lnTo>
                      <a:pt x="1006" y="616"/>
                    </a:lnTo>
                    <a:lnTo>
                      <a:pt x="1006" y="620"/>
                    </a:lnTo>
                    <a:lnTo>
                      <a:pt x="1010" y="620"/>
                    </a:lnTo>
                    <a:lnTo>
                      <a:pt x="1006" y="620"/>
                    </a:lnTo>
                    <a:lnTo>
                      <a:pt x="1006" y="622"/>
                    </a:lnTo>
                    <a:lnTo>
                      <a:pt x="1010" y="622"/>
                    </a:lnTo>
                    <a:lnTo>
                      <a:pt x="1010" y="620"/>
                    </a:lnTo>
                    <a:lnTo>
                      <a:pt x="1014" y="620"/>
                    </a:lnTo>
                    <a:lnTo>
                      <a:pt x="1014" y="622"/>
                    </a:lnTo>
                    <a:lnTo>
                      <a:pt x="1010" y="622"/>
                    </a:lnTo>
                    <a:lnTo>
                      <a:pt x="1010" y="626"/>
                    </a:lnTo>
                    <a:lnTo>
                      <a:pt x="1014" y="626"/>
                    </a:lnTo>
                    <a:lnTo>
                      <a:pt x="1010" y="626"/>
                    </a:lnTo>
                    <a:lnTo>
                      <a:pt x="1010" y="630"/>
                    </a:lnTo>
                    <a:lnTo>
                      <a:pt x="1010" y="634"/>
                    </a:lnTo>
                    <a:lnTo>
                      <a:pt x="1006" y="630"/>
                    </a:lnTo>
                    <a:lnTo>
                      <a:pt x="1010" y="630"/>
                    </a:lnTo>
                    <a:lnTo>
                      <a:pt x="1006" y="630"/>
                    </a:lnTo>
                    <a:lnTo>
                      <a:pt x="1006" y="626"/>
                    </a:lnTo>
                    <a:lnTo>
                      <a:pt x="1006" y="630"/>
                    </a:lnTo>
                    <a:lnTo>
                      <a:pt x="1006" y="634"/>
                    </a:lnTo>
                    <a:lnTo>
                      <a:pt x="1004" y="634"/>
                    </a:lnTo>
                    <a:lnTo>
                      <a:pt x="1006" y="634"/>
                    </a:lnTo>
                    <a:lnTo>
                      <a:pt x="1006" y="638"/>
                    </a:lnTo>
                    <a:lnTo>
                      <a:pt x="1010" y="634"/>
                    </a:lnTo>
                    <a:lnTo>
                      <a:pt x="1014" y="634"/>
                    </a:lnTo>
                    <a:lnTo>
                      <a:pt x="1014" y="630"/>
                    </a:lnTo>
                    <a:lnTo>
                      <a:pt x="1018" y="630"/>
                    </a:lnTo>
                    <a:lnTo>
                      <a:pt x="1022" y="630"/>
                    </a:lnTo>
                    <a:lnTo>
                      <a:pt x="1026" y="630"/>
                    </a:lnTo>
                    <a:lnTo>
                      <a:pt x="1026" y="634"/>
                    </a:lnTo>
                    <a:lnTo>
                      <a:pt x="1030" y="634"/>
                    </a:lnTo>
                    <a:lnTo>
                      <a:pt x="1030" y="638"/>
                    </a:lnTo>
                    <a:lnTo>
                      <a:pt x="1030" y="642"/>
                    </a:lnTo>
                    <a:lnTo>
                      <a:pt x="1030" y="646"/>
                    </a:lnTo>
                    <a:lnTo>
                      <a:pt x="1030" y="650"/>
                    </a:lnTo>
                    <a:lnTo>
                      <a:pt x="1026" y="650"/>
                    </a:lnTo>
                    <a:lnTo>
                      <a:pt x="1022" y="652"/>
                    </a:lnTo>
                    <a:lnTo>
                      <a:pt x="1018" y="652"/>
                    </a:lnTo>
                    <a:lnTo>
                      <a:pt x="1014" y="652"/>
                    </a:lnTo>
                    <a:lnTo>
                      <a:pt x="1014" y="656"/>
                    </a:lnTo>
                    <a:lnTo>
                      <a:pt x="1014" y="652"/>
                    </a:lnTo>
                    <a:lnTo>
                      <a:pt x="1018" y="652"/>
                    </a:lnTo>
                    <a:lnTo>
                      <a:pt x="1022" y="652"/>
                    </a:lnTo>
                    <a:lnTo>
                      <a:pt x="1026" y="652"/>
                    </a:lnTo>
                    <a:lnTo>
                      <a:pt x="1026" y="650"/>
                    </a:lnTo>
                    <a:lnTo>
                      <a:pt x="1030" y="650"/>
                    </a:lnTo>
                    <a:lnTo>
                      <a:pt x="1030" y="646"/>
                    </a:lnTo>
                    <a:lnTo>
                      <a:pt x="1030" y="642"/>
                    </a:lnTo>
                    <a:lnTo>
                      <a:pt x="1030" y="638"/>
                    </a:lnTo>
                    <a:lnTo>
                      <a:pt x="1032" y="638"/>
                    </a:lnTo>
                    <a:lnTo>
                      <a:pt x="1032" y="642"/>
                    </a:lnTo>
                    <a:lnTo>
                      <a:pt x="1032" y="646"/>
                    </a:lnTo>
                    <a:lnTo>
                      <a:pt x="1032" y="650"/>
                    </a:lnTo>
                    <a:lnTo>
                      <a:pt x="1032" y="646"/>
                    </a:lnTo>
                    <a:lnTo>
                      <a:pt x="1036" y="646"/>
                    </a:lnTo>
                    <a:lnTo>
                      <a:pt x="1036" y="642"/>
                    </a:lnTo>
                    <a:lnTo>
                      <a:pt x="1036" y="646"/>
                    </a:lnTo>
                    <a:lnTo>
                      <a:pt x="1036" y="652"/>
                    </a:lnTo>
                    <a:lnTo>
                      <a:pt x="1036" y="650"/>
                    </a:lnTo>
                    <a:lnTo>
                      <a:pt x="1040" y="646"/>
                    </a:lnTo>
                    <a:lnTo>
                      <a:pt x="1044" y="642"/>
                    </a:lnTo>
                    <a:lnTo>
                      <a:pt x="1048" y="642"/>
                    </a:lnTo>
                    <a:lnTo>
                      <a:pt x="1052" y="642"/>
                    </a:lnTo>
                    <a:lnTo>
                      <a:pt x="1052" y="638"/>
                    </a:lnTo>
                    <a:lnTo>
                      <a:pt x="1052" y="634"/>
                    </a:lnTo>
                    <a:lnTo>
                      <a:pt x="1056" y="634"/>
                    </a:lnTo>
                    <a:lnTo>
                      <a:pt x="1056" y="630"/>
                    </a:lnTo>
                    <a:lnTo>
                      <a:pt x="1060" y="634"/>
                    </a:lnTo>
                    <a:lnTo>
                      <a:pt x="1060" y="638"/>
                    </a:lnTo>
                    <a:lnTo>
                      <a:pt x="1062" y="638"/>
                    </a:lnTo>
                    <a:lnTo>
                      <a:pt x="1060" y="642"/>
                    </a:lnTo>
                    <a:lnTo>
                      <a:pt x="1060" y="646"/>
                    </a:lnTo>
                    <a:lnTo>
                      <a:pt x="1060" y="642"/>
                    </a:lnTo>
                    <a:lnTo>
                      <a:pt x="1062" y="642"/>
                    </a:lnTo>
                    <a:lnTo>
                      <a:pt x="1062" y="638"/>
                    </a:lnTo>
                    <a:lnTo>
                      <a:pt x="1060" y="634"/>
                    </a:lnTo>
                    <a:lnTo>
                      <a:pt x="1060" y="630"/>
                    </a:lnTo>
                    <a:lnTo>
                      <a:pt x="1062" y="630"/>
                    </a:lnTo>
                    <a:lnTo>
                      <a:pt x="1062" y="634"/>
                    </a:lnTo>
                    <a:lnTo>
                      <a:pt x="1062" y="630"/>
                    </a:lnTo>
                    <a:lnTo>
                      <a:pt x="1062" y="626"/>
                    </a:lnTo>
                    <a:lnTo>
                      <a:pt x="1066" y="626"/>
                    </a:lnTo>
                    <a:lnTo>
                      <a:pt x="1066" y="630"/>
                    </a:lnTo>
                    <a:lnTo>
                      <a:pt x="1066" y="626"/>
                    </a:lnTo>
                    <a:lnTo>
                      <a:pt x="1070" y="626"/>
                    </a:lnTo>
                    <a:lnTo>
                      <a:pt x="1066" y="626"/>
                    </a:lnTo>
                    <a:lnTo>
                      <a:pt x="1066" y="622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0" y="622"/>
                    </a:lnTo>
                    <a:lnTo>
                      <a:pt x="1070" y="620"/>
                    </a:lnTo>
                    <a:lnTo>
                      <a:pt x="1066" y="620"/>
                    </a:lnTo>
                    <a:lnTo>
                      <a:pt x="1070" y="620"/>
                    </a:lnTo>
                    <a:lnTo>
                      <a:pt x="1074" y="620"/>
                    </a:lnTo>
                    <a:lnTo>
                      <a:pt x="1070" y="620"/>
                    </a:lnTo>
                    <a:lnTo>
                      <a:pt x="1070" y="616"/>
                    </a:lnTo>
                    <a:lnTo>
                      <a:pt x="1066" y="616"/>
                    </a:lnTo>
                    <a:lnTo>
                      <a:pt x="1066" y="612"/>
                    </a:lnTo>
                    <a:lnTo>
                      <a:pt x="1070" y="612"/>
                    </a:lnTo>
                    <a:lnTo>
                      <a:pt x="1070" y="608"/>
                    </a:lnTo>
                    <a:lnTo>
                      <a:pt x="1070" y="612"/>
                    </a:lnTo>
                    <a:lnTo>
                      <a:pt x="1074" y="612"/>
                    </a:lnTo>
                    <a:lnTo>
                      <a:pt x="1074" y="608"/>
                    </a:lnTo>
                    <a:lnTo>
                      <a:pt x="1070" y="608"/>
                    </a:lnTo>
                    <a:lnTo>
                      <a:pt x="1074" y="608"/>
                    </a:lnTo>
                    <a:lnTo>
                      <a:pt x="1074" y="604"/>
                    </a:lnTo>
                    <a:lnTo>
                      <a:pt x="1076" y="600"/>
                    </a:lnTo>
                    <a:lnTo>
                      <a:pt x="1076" y="596"/>
                    </a:lnTo>
                    <a:lnTo>
                      <a:pt x="1080" y="596"/>
                    </a:lnTo>
                    <a:lnTo>
                      <a:pt x="1080" y="600"/>
                    </a:lnTo>
                    <a:lnTo>
                      <a:pt x="1076" y="600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4"/>
                    </a:lnTo>
                    <a:lnTo>
                      <a:pt x="1076" y="604"/>
                    </a:lnTo>
                    <a:lnTo>
                      <a:pt x="1076" y="608"/>
                    </a:lnTo>
                    <a:lnTo>
                      <a:pt x="1076" y="604"/>
                    </a:lnTo>
                    <a:lnTo>
                      <a:pt x="1080" y="604"/>
                    </a:lnTo>
                    <a:lnTo>
                      <a:pt x="1084" y="604"/>
                    </a:lnTo>
                    <a:lnTo>
                      <a:pt x="1084" y="608"/>
                    </a:lnTo>
                    <a:lnTo>
                      <a:pt x="1080" y="608"/>
                    </a:lnTo>
                    <a:lnTo>
                      <a:pt x="1084" y="608"/>
                    </a:lnTo>
                    <a:lnTo>
                      <a:pt x="1084" y="604"/>
                    </a:lnTo>
                    <a:lnTo>
                      <a:pt x="1088" y="604"/>
                    </a:lnTo>
                    <a:lnTo>
                      <a:pt x="1088" y="608"/>
                    </a:lnTo>
                    <a:lnTo>
                      <a:pt x="1084" y="612"/>
                    </a:lnTo>
                    <a:lnTo>
                      <a:pt x="1088" y="612"/>
                    </a:lnTo>
                    <a:lnTo>
                      <a:pt x="1088" y="616"/>
                    </a:lnTo>
                    <a:lnTo>
                      <a:pt x="1092" y="616"/>
                    </a:lnTo>
                    <a:lnTo>
                      <a:pt x="1092" y="620"/>
                    </a:lnTo>
                    <a:lnTo>
                      <a:pt x="1088" y="620"/>
                    </a:lnTo>
                    <a:lnTo>
                      <a:pt x="1092" y="620"/>
                    </a:lnTo>
                    <a:lnTo>
                      <a:pt x="1092" y="622"/>
                    </a:lnTo>
                    <a:lnTo>
                      <a:pt x="1092" y="620"/>
                    </a:lnTo>
                    <a:lnTo>
                      <a:pt x="1096" y="620"/>
                    </a:lnTo>
                    <a:lnTo>
                      <a:pt x="1096" y="622"/>
                    </a:lnTo>
                    <a:lnTo>
                      <a:pt x="1100" y="622"/>
                    </a:lnTo>
                    <a:lnTo>
                      <a:pt x="1096" y="626"/>
                    </a:lnTo>
                    <a:lnTo>
                      <a:pt x="1092" y="626"/>
                    </a:lnTo>
                    <a:lnTo>
                      <a:pt x="1088" y="626"/>
                    </a:lnTo>
                    <a:lnTo>
                      <a:pt x="1088" y="630"/>
                    </a:lnTo>
                    <a:lnTo>
                      <a:pt x="1092" y="626"/>
                    </a:lnTo>
                    <a:lnTo>
                      <a:pt x="1096" y="626"/>
                    </a:lnTo>
                    <a:lnTo>
                      <a:pt x="1100" y="626"/>
                    </a:lnTo>
                    <a:lnTo>
                      <a:pt x="1100" y="630"/>
                    </a:lnTo>
                    <a:lnTo>
                      <a:pt x="1104" y="630"/>
                    </a:lnTo>
                    <a:lnTo>
                      <a:pt x="1104" y="634"/>
                    </a:lnTo>
                    <a:lnTo>
                      <a:pt x="1106" y="634"/>
                    </a:lnTo>
                    <a:lnTo>
                      <a:pt x="1106" y="638"/>
                    </a:lnTo>
                    <a:lnTo>
                      <a:pt x="1104" y="638"/>
                    </a:lnTo>
                    <a:lnTo>
                      <a:pt x="1100" y="642"/>
                    </a:lnTo>
                    <a:lnTo>
                      <a:pt x="1096" y="642"/>
                    </a:lnTo>
                    <a:lnTo>
                      <a:pt x="1096" y="646"/>
                    </a:lnTo>
                    <a:lnTo>
                      <a:pt x="1096" y="642"/>
                    </a:lnTo>
                    <a:lnTo>
                      <a:pt x="1100" y="642"/>
                    </a:lnTo>
                    <a:lnTo>
                      <a:pt x="1104" y="642"/>
                    </a:lnTo>
                    <a:lnTo>
                      <a:pt x="1106" y="642"/>
                    </a:lnTo>
                    <a:lnTo>
                      <a:pt x="1110" y="642"/>
                    </a:lnTo>
                    <a:lnTo>
                      <a:pt x="1106" y="642"/>
                    </a:lnTo>
                    <a:lnTo>
                      <a:pt x="1106" y="646"/>
                    </a:lnTo>
                    <a:lnTo>
                      <a:pt x="1110" y="646"/>
                    </a:lnTo>
                    <a:lnTo>
                      <a:pt x="1106" y="646"/>
                    </a:lnTo>
                    <a:lnTo>
                      <a:pt x="1106" y="650"/>
                    </a:lnTo>
                    <a:lnTo>
                      <a:pt x="1106" y="646"/>
                    </a:lnTo>
                    <a:lnTo>
                      <a:pt x="1104" y="650"/>
                    </a:lnTo>
                    <a:lnTo>
                      <a:pt x="1100" y="650"/>
                    </a:lnTo>
                    <a:lnTo>
                      <a:pt x="1100" y="652"/>
                    </a:lnTo>
                    <a:lnTo>
                      <a:pt x="1104" y="650"/>
                    </a:lnTo>
                    <a:lnTo>
                      <a:pt x="1106" y="650"/>
                    </a:lnTo>
                    <a:lnTo>
                      <a:pt x="1110" y="650"/>
                    </a:lnTo>
                    <a:lnTo>
                      <a:pt x="1110" y="646"/>
                    </a:lnTo>
                    <a:lnTo>
                      <a:pt x="1110" y="650"/>
                    </a:lnTo>
                    <a:lnTo>
                      <a:pt x="1114" y="650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10" y="650"/>
                    </a:lnTo>
                    <a:lnTo>
                      <a:pt x="1110" y="652"/>
                    </a:lnTo>
                    <a:lnTo>
                      <a:pt x="1106" y="652"/>
                    </a:lnTo>
                    <a:lnTo>
                      <a:pt x="1110" y="652"/>
                    </a:lnTo>
                    <a:lnTo>
                      <a:pt x="1114" y="652"/>
                    </a:lnTo>
                    <a:lnTo>
                      <a:pt x="1114" y="656"/>
                    </a:lnTo>
                    <a:lnTo>
                      <a:pt x="1118" y="656"/>
                    </a:lnTo>
                    <a:lnTo>
                      <a:pt x="1118" y="660"/>
                    </a:lnTo>
                    <a:lnTo>
                      <a:pt x="1114" y="660"/>
                    </a:lnTo>
                    <a:lnTo>
                      <a:pt x="1114" y="664"/>
                    </a:lnTo>
                    <a:lnTo>
                      <a:pt x="1110" y="664"/>
                    </a:lnTo>
                    <a:lnTo>
                      <a:pt x="1110" y="660"/>
                    </a:lnTo>
                    <a:lnTo>
                      <a:pt x="1110" y="664"/>
                    </a:lnTo>
                    <a:lnTo>
                      <a:pt x="1114" y="664"/>
                    </a:lnTo>
                    <a:lnTo>
                      <a:pt x="1118" y="664"/>
                    </a:lnTo>
                    <a:lnTo>
                      <a:pt x="1118" y="668"/>
                    </a:lnTo>
                    <a:lnTo>
                      <a:pt x="1118" y="672"/>
                    </a:lnTo>
                    <a:lnTo>
                      <a:pt x="1122" y="672"/>
                    </a:lnTo>
                    <a:lnTo>
                      <a:pt x="1126" y="672"/>
                    </a:lnTo>
                    <a:lnTo>
                      <a:pt x="1126" y="676"/>
                    </a:lnTo>
                    <a:lnTo>
                      <a:pt x="1122" y="676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18" y="680"/>
                    </a:lnTo>
                    <a:lnTo>
                      <a:pt x="1122" y="680"/>
                    </a:lnTo>
                    <a:lnTo>
                      <a:pt x="1122" y="682"/>
                    </a:lnTo>
                    <a:lnTo>
                      <a:pt x="1118" y="682"/>
                    </a:lnTo>
                    <a:lnTo>
                      <a:pt x="1118" y="680"/>
                    </a:lnTo>
                    <a:lnTo>
                      <a:pt x="1114" y="680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4" y="676"/>
                    </a:lnTo>
                    <a:lnTo>
                      <a:pt x="1110" y="676"/>
                    </a:lnTo>
                    <a:lnTo>
                      <a:pt x="1110" y="680"/>
                    </a:lnTo>
                    <a:lnTo>
                      <a:pt x="1114" y="680"/>
                    </a:lnTo>
                    <a:lnTo>
                      <a:pt x="1118" y="682"/>
                    </a:lnTo>
                    <a:lnTo>
                      <a:pt x="1114" y="682"/>
                    </a:lnTo>
                    <a:lnTo>
                      <a:pt x="1118" y="682"/>
                    </a:lnTo>
                    <a:lnTo>
                      <a:pt x="1122" y="682"/>
                    </a:lnTo>
                    <a:lnTo>
                      <a:pt x="1122" y="686"/>
                    </a:lnTo>
                    <a:lnTo>
                      <a:pt x="1118" y="686"/>
                    </a:lnTo>
                    <a:lnTo>
                      <a:pt x="1118" y="682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14" y="686"/>
                    </a:lnTo>
                    <a:lnTo>
                      <a:pt x="1118" y="686"/>
                    </a:lnTo>
                    <a:lnTo>
                      <a:pt x="1122" y="686"/>
                    </a:lnTo>
                    <a:lnTo>
                      <a:pt x="1122" y="690"/>
                    </a:lnTo>
                    <a:lnTo>
                      <a:pt x="1118" y="690"/>
                    </a:lnTo>
                    <a:lnTo>
                      <a:pt x="1114" y="690"/>
                    </a:lnTo>
                    <a:lnTo>
                      <a:pt x="1118" y="690"/>
                    </a:lnTo>
                    <a:lnTo>
                      <a:pt x="1122" y="690"/>
                    </a:lnTo>
                    <a:lnTo>
                      <a:pt x="1126" y="690"/>
                    </a:lnTo>
                    <a:lnTo>
                      <a:pt x="1126" y="694"/>
                    </a:lnTo>
                    <a:lnTo>
                      <a:pt x="1130" y="694"/>
                    </a:lnTo>
                    <a:lnTo>
                      <a:pt x="1126" y="694"/>
                    </a:lnTo>
                    <a:lnTo>
                      <a:pt x="1126" y="698"/>
                    </a:lnTo>
                    <a:lnTo>
                      <a:pt x="1130" y="698"/>
                    </a:lnTo>
                    <a:lnTo>
                      <a:pt x="1132" y="698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2" y="702"/>
                    </a:lnTo>
                    <a:lnTo>
                      <a:pt x="1136" y="702"/>
                    </a:lnTo>
                    <a:lnTo>
                      <a:pt x="1136" y="698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36" y="702"/>
                    </a:lnTo>
                    <a:lnTo>
                      <a:pt x="1140" y="702"/>
                    </a:lnTo>
                    <a:lnTo>
                      <a:pt x="1136" y="702"/>
                    </a:lnTo>
                    <a:lnTo>
                      <a:pt x="1136" y="706"/>
                    </a:lnTo>
                    <a:lnTo>
                      <a:pt x="1140" y="706"/>
                    </a:lnTo>
                    <a:lnTo>
                      <a:pt x="1140" y="708"/>
                    </a:lnTo>
                    <a:lnTo>
                      <a:pt x="1136" y="708"/>
                    </a:lnTo>
                    <a:lnTo>
                      <a:pt x="1140" y="708"/>
                    </a:lnTo>
                    <a:lnTo>
                      <a:pt x="1140" y="706"/>
                    </a:lnTo>
                    <a:lnTo>
                      <a:pt x="1144" y="706"/>
                    </a:lnTo>
                    <a:lnTo>
                      <a:pt x="1144" y="708"/>
                    </a:lnTo>
                    <a:lnTo>
                      <a:pt x="1140" y="708"/>
                    </a:lnTo>
                    <a:lnTo>
                      <a:pt x="1140" y="712"/>
                    </a:lnTo>
                    <a:lnTo>
                      <a:pt x="1136" y="712"/>
                    </a:lnTo>
                    <a:lnTo>
                      <a:pt x="1140" y="712"/>
                    </a:lnTo>
                    <a:lnTo>
                      <a:pt x="1136" y="716"/>
                    </a:lnTo>
                    <a:lnTo>
                      <a:pt x="1140" y="716"/>
                    </a:lnTo>
                    <a:lnTo>
                      <a:pt x="1140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0" y="716"/>
                    </a:lnTo>
                    <a:lnTo>
                      <a:pt x="1144" y="716"/>
                    </a:lnTo>
                    <a:lnTo>
                      <a:pt x="1144" y="712"/>
                    </a:lnTo>
                    <a:lnTo>
                      <a:pt x="1148" y="712"/>
                    </a:lnTo>
                    <a:lnTo>
                      <a:pt x="1148" y="708"/>
                    </a:lnTo>
                    <a:lnTo>
                      <a:pt x="1148" y="712"/>
                    </a:lnTo>
                    <a:lnTo>
                      <a:pt x="1144" y="712"/>
                    </a:lnTo>
                    <a:lnTo>
                      <a:pt x="1144" y="716"/>
                    </a:lnTo>
                    <a:lnTo>
                      <a:pt x="1148" y="716"/>
                    </a:lnTo>
                    <a:lnTo>
                      <a:pt x="1152" y="712"/>
                    </a:lnTo>
                    <a:lnTo>
                      <a:pt x="1152" y="716"/>
                    </a:lnTo>
                    <a:lnTo>
                      <a:pt x="1148" y="720"/>
                    </a:lnTo>
                    <a:lnTo>
                      <a:pt x="1148" y="724"/>
                    </a:lnTo>
                    <a:lnTo>
                      <a:pt x="1148" y="720"/>
                    </a:lnTo>
                    <a:lnTo>
                      <a:pt x="1152" y="720"/>
                    </a:lnTo>
                    <a:lnTo>
                      <a:pt x="1156" y="716"/>
                    </a:lnTo>
                    <a:lnTo>
                      <a:pt x="1156" y="712"/>
                    </a:lnTo>
                    <a:lnTo>
                      <a:pt x="1160" y="712"/>
                    </a:lnTo>
                    <a:lnTo>
                      <a:pt x="1156" y="712"/>
                    </a:lnTo>
                    <a:lnTo>
                      <a:pt x="1156" y="716"/>
                    </a:lnTo>
                    <a:lnTo>
                      <a:pt x="1160" y="716"/>
                    </a:lnTo>
                    <a:lnTo>
                      <a:pt x="1160" y="712"/>
                    </a:lnTo>
                    <a:lnTo>
                      <a:pt x="1160" y="716"/>
                    </a:lnTo>
                    <a:lnTo>
                      <a:pt x="1160" y="720"/>
                    </a:lnTo>
                    <a:lnTo>
                      <a:pt x="1162" y="720"/>
                    </a:lnTo>
                    <a:lnTo>
                      <a:pt x="1166" y="724"/>
                    </a:lnTo>
                    <a:lnTo>
                      <a:pt x="1166" y="720"/>
                    </a:lnTo>
                    <a:lnTo>
                      <a:pt x="1170" y="720"/>
                    </a:lnTo>
                    <a:lnTo>
                      <a:pt x="1170" y="724"/>
                    </a:lnTo>
                    <a:lnTo>
                      <a:pt x="1174" y="724"/>
                    </a:lnTo>
                    <a:lnTo>
                      <a:pt x="1178" y="724"/>
                    </a:lnTo>
                    <a:lnTo>
                      <a:pt x="1182" y="724"/>
                    </a:lnTo>
                    <a:lnTo>
                      <a:pt x="1182" y="728"/>
                    </a:lnTo>
                    <a:lnTo>
                      <a:pt x="1178" y="728"/>
                    </a:lnTo>
                    <a:lnTo>
                      <a:pt x="1182" y="728"/>
                    </a:lnTo>
                    <a:lnTo>
                      <a:pt x="1182" y="732"/>
                    </a:lnTo>
                    <a:lnTo>
                      <a:pt x="1178" y="732"/>
                    </a:lnTo>
                    <a:lnTo>
                      <a:pt x="1174" y="732"/>
                    </a:lnTo>
                    <a:lnTo>
                      <a:pt x="1170" y="732"/>
                    </a:lnTo>
                    <a:lnTo>
                      <a:pt x="1174" y="732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62" y="736"/>
                    </a:lnTo>
                    <a:lnTo>
                      <a:pt x="1160" y="736"/>
                    </a:lnTo>
                    <a:lnTo>
                      <a:pt x="1156" y="738"/>
                    </a:lnTo>
                    <a:lnTo>
                      <a:pt x="1152" y="738"/>
                    </a:lnTo>
                    <a:lnTo>
                      <a:pt x="1156" y="738"/>
                    </a:lnTo>
                    <a:lnTo>
                      <a:pt x="1160" y="738"/>
                    </a:lnTo>
                    <a:lnTo>
                      <a:pt x="1162" y="736"/>
                    </a:lnTo>
                    <a:lnTo>
                      <a:pt x="1166" y="736"/>
                    </a:lnTo>
                    <a:lnTo>
                      <a:pt x="1166" y="738"/>
                    </a:lnTo>
                    <a:lnTo>
                      <a:pt x="1162" y="738"/>
                    </a:lnTo>
                    <a:lnTo>
                      <a:pt x="1160" y="738"/>
                    </a:lnTo>
                    <a:lnTo>
                      <a:pt x="1156" y="738"/>
                    </a:lnTo>
                    <a:lnTo>
                      <a:pt x="1156" y="742"/>
                    </a:lnTo>
                    <a:lnTo>
                      <a:pt x="1152" y="742"/>
                    </a:lnTo>
                    <a:lnTo>
                      <a:pt x="1148" y="742"/>
                    </a:lnTo>
                    <a:lnTo>
                      <a:pt x="1144" y="742"/>
                    </a:lnTo>
                    <a:lnTo>
                      <a:pt x="1144" y="746"/>
                    </a:lnTo>
                    <a:lnTo>
                      <a:pt x="1144" y="750"/>
                    </a:lnTo>
                    <a:lnTo>
                      <a:pt x="1140" y="746"/>
                    </a:lnTo>
                    <a:lnTo>
                      <a:pt x="1136" y="746"/>
                    </a:lnTo>
                    <a:lnTo>
                      <a:pt x="1132" y="742"/>
                    </a:lnTo>
                    <a:lnTo>
                      <a:pt x="1132" y="746"/>
                    </a:lnTo>
                    <a:lnTo>
                      <a:pt x="1136" y="746"/>
                    </a:lnTo>
                    <a:lnTo>
                      <a:pt x="1140" y="746"/>
                    </a:lnTo>
                    <a:lnTo>
                      <a:pt x="1140" y="750"/>
                    </a:lnTo>
                    <a:lnTo>
                      <a:pt x="1144" y="750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0" y="754"/>
                    </a:lnTo>
                    <a:lnTo>
                      <a:pt x="1144" y="754"/>
                    </a:lnTo>
                    <a:lnTo>
                      <a:pt x="1144" y="750"/>
                    </a:lnTo>
                    <a:lnTo>
                      <a:pt x="1148" y="750"/>
                    </a:lnTo>
                    <a:lnTo>
                      <a:pt x="1152" y="750"/>
                    </a:lnTo>
                    <a:lnTo>
                      <a:pt x="1152" y="746"/>
                    </a:lnTo>
                    <a:lnTo>
                      <a:pt x="1156" y="746"/>
                    </a:lnTo>
                    <a:lnTo>
                      <a:pt x="1160" y="746"/>
                    </a:lnTo>
                    <a:lnTo>
                      <a:pt x="1160" y="742"/>
                    </a:lnTo>
                    <a:lnTo>
                      <a:pt x="1162" y="742"/>
                    </a:lnTo>
                    <a:lnTo>
                      <a:pt x="1166" y="738"/>
                    </a:lnTo>
                    <a:lnTo>
                      <a:pt x="1170" y="738"/>
                    </a:lnTo>
                    <a:lnTo>
                      <a:pt x="1174" y="738"/>
                    </a:lnTo>
                    <a:lnTo>
                      <a:pt x="1178" y="738"/>
                    </a:lnTo>
                    <a:lnTo>
                      <a:pt x="1174" y="736"/>
                    </a:lnTo>
                    <a:lnTo>
                      <a:pt x="1170" y="736"/>
                    </a:lnTo>
                    <a:lnTo>
                      <a:pt x="1166" y="736"/>
                    </a:lnTo>
                    <a:lnTo>
                      <a:pt x="1170" y="736"/>
                    </a:lnTo>
                    <a:lnTo>
                      <a:pt x="1174" y="736"/>
                    </a:lnTo>
                    <a:lnTo>
                      <a:pt x="1178" y="736"/>
                    </a:lnTo>
                    <a:lnTo>
                      <a:pt x="1182" y="736"/>
                    </a:lnTo>
                    <a:lnTo>
                      <a:pt x="1182" y="738"/>
                    </a:lnTo>
                    <a:lnTo>
                      <a:pt x="1186" y="742"/>
                    </a:lnTo>
                    <a:lnTo>
                      <a:pt x="1186" y="746"/>
                    </a:lnTo>
                    <a:lnTo>
                      <a:pt x="1182" y="746"/>
                    </a:lnTo>
                    <a:lnTo>
                      <a:pt x="1186" y="750"/>
                    </a:lnTo>
                    <a:lnTo>
                      <a:pt x="1182" y="750"/>
                    </a:lnTo>
                    <a:lnTo>
                      <a:pt x="1186" y="750"/>
                    </a:lnTo>
                    <a:lnTo>
                      <a:pt x="1186" y="746"/>
                    </a:lnTo>
                    <a:lnTo>
                      <a:pt x="1188" y="746"/>
                    </a:lnTo>
                    <a:lnTo>
                      <a:pt x="1192" y="746"/>
                    </a:lnTo>
                    <a:lnTo>
                      <a:pt x="1192" y="742"/>
                    </a:lnTo>
                    <a:lnTo>
                      <a:pt x="1196" y="742"/>
                    </a:lnTo>
                    <a:lnTo>
                      <a:pt x="1196" y="746"/>
                    </a:lnTo>
                    <a:lnTo>
                      <a:pt x="1192" y="746"/>
                    </a:lnTo>
                    <a:lnTo>
                      <a:pt x="1196" y="746"/>
                    </a:lnTo>
                    <a:lnTo>
                      <a:pt x="1200" y="746"/>
                    </a:lnTo>
                    <a:lnTo>
                      <a:pt x="1204" y="750"/>
                    </a:lnTo>
                    <a:lnTo>
                      <a:pt x="1200" y="750"/>
                    </a:lnTo>
                    <a:lnTo>
                      <a:pt x="1204" y="750"/>
                    </a:lnTo>
                    <a:lnTo>
                      <a:pt x="1200" y="754"/>
                    </a:lnTo>
                    <a:lnTo>
                      <a:pt x="1204" y="754"/>
                    </a:lnTo>
                    <a:lnTo>
                      <a:pt x="1204" y="758"/>
                    </a:lnTo>
                    <a:lnTo>
                      <a:pt x="1204" y="762"/>
                    </a:lnTo>
                    <a:lnTo>
                      <a:pt x="1200" y="762"/>
                    </a:lnTo>
                    <a:lnTo>
                      <a:pt x="1204" y="762"/>
                    </a:lnTo>
                    <a:lnTo>
                      <a:pt x="1204" y="766"/>
                    </a:lnTo>
                    <a:lnTo>
                      <a:pt x="1200" y="766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204" y="768"/>
                    </a:lnTo>
                    <a:lnTo>
                      <a:pt x="1200" y="768"/>
                    </a:lnTo>
                    <a:lnTo>
                      <a:pt x="1196" y="768"/>
                    </a:lnTo>
                    <a:lnTo>
                      <a:pt x="1200" y="768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04" y="776"/>
                    </a:lnTo>
                    <a:lnTo>
                      <a:pt x="1204" y="772"/>
                    </a:lnTo>
                    <a:lnTo>
                      <a:pt x="1200" y="772"/>
                    </a:lnTo>
                    <a:lnTo>
                      <a:pt x="1204" y="772"/>
                    </a:lnTo>
                    <a:lnTo>
                      <a:pt x="1204" y="776"/>
                    </a:lnTo>
                    <a:lnTo>
                      <a:pt x="1208" y="776"/>
                    </a:lnTo>
                    <a:lnTo>
                      <a:pt x="1208" y="780"/>
                    </a:lnTo>
                    <a:lnTo>
                      <a:pt x="1204" y="784"/>
                    </a:lnTo>
                    <a:lnTo>
                      <a:pt x="1200" y="784"/>
                    </a:lnTo>
                    <a:lnTo>
                      <a:pt x="1200" y="788"/>
                    </a:lnTo>
                    <a:lnTo>
                      <a:pt x="1196" y="788"/>
                    </a:lnTo>
                    <a:lnTo>
                      <a:pt x="1192" y="792"/>
                    </a:lnTo>
                    <a:lnTo>
                      <a:pt x="1188" y="792"/>
                    </a:lnTo>
                    <a:lnTo>
                      <a:pt x="1188" y="794"/>
                    </a:lnTo>
                    <a:lnTo>
                      <a:pt x="1186" y="794"/>
                    </a:lnTo>
                    <a:lnTo>
                      <a:pt x="1186" y="792"/>
                    </a:lnTo>
                    <a:lnTo>
                      <a:pt x="1182" y="792"/>
                    </a:lnTo>
                    <a:lnTo>
                      <a:pt x="1182" y="794"/>
                    </a:lnTo>
                    <a:lnTo>
                      <a:pt x="1178" y="794"/>
                    </a:lnTo>
                    <a:lnTo>
                      <a:pt x="1178" y="792"/>
                    </a:lnTo>
                    <a:lnTo>
                      <a:pt x="1174" y="794"/>
                    </a:lnTo>
                    <a:lnTo>
                      <a:pt x="1170" y="798"/>
                    </a:lnTo>
                    <a:lnTo>
                      <a:pt x="1166" y="794"/>
                    </a:lnTo>
                    <a:lnTo>
                      <a:pt x="1166" y="798"/>
                    </a:lnTo>
                    <a:lnTo>
                      <a:pt x="1162" y="798"/>
                    </a:lnTo>
                    <a:lnTo>
                      <a:pt x="1166" y="798"/>
                    </a:lnTo>
                    <a:lnTo>
                      <a:pt x="1162" y="802"/>
                    </a:lnTo>
                    <a:lnTo>
                      <a:pt x="1160" y="802"/>
                    </a:lnTo>
                    <a:lnTo>
                      <a:pt x="1160" y="806"/>
                    </a:lnTo>
                    <a:lnTo>
                      <a:pt x="1160" y="810"/>
                    </a:lnTo>
                    <a:lnTo>
                      <a:pt x="1160" y="806"/>
                    </a:lnTo>
                    <a:lnTo>
                      <a:pt x="1156" y="810"/>
                    </a:lnTo>
                    <a:lnTo>
                      <a:pt x="1152" y="810"/>
                    </a:lnTo>
                    <a:lnTo>
                      <a:pt x="1152" y="814"/>
                    </a:lnTo>
                    <a:lnTo>
                      <a:pt x="1148" y="814"/>
                    </a:lnTo>
                    <a:lnTo>
                      <a:pt x="1148" y="818"/>
                    </a:lnTo>
                    <a:lnTo>
                      <a:pt x="1144" y="818"/>
                    </a:lnTo>
                    <a:lnTo>
                      <a:pt x="1140" y="818"/>
                    </a:lnTo>
                    <a:lnTo>
                      <a:pt x="1136" y="818"/>
                    </a:lnTo>
                    <a:lnTo>
                      <a:pt x="1136" y="822"/>
                    </a:lnTo>
                    <a:lnTo>
                      <a:pt x="1136" y="818"/>
                    </a:lnTo>
                    <a:lnTo>
                      <a:pt x="1132" y="822"/>
                    </a:lnTo>
                    <a:lnTo>
                      <a:pt x="1130" y="822"/>
                    </a:lnTo>
                    <a:lnTo>
                      <a:pt x="1126" y="822"/>
                    </a:lnTo>
                    <a:lnTo>
                      <a:pt x="1122" y="822"/>
                    </a:lnTo>
                    <a:lnTo>
                      <a:pt x="1118" y="822"/>
                    </a:lnTo>
                    <a:lnTo>
                      <a:pt x="1118" y="818"/>
                    </a:lnTo>
                    <a:lnTo>
                      <a:pt x="1114" y="818"/>
                    </a:lnTo>
                    <a:lnTo>
                      <a:pt x="1110" y="818"/>
                    </a:lnTo>
                    <a:lnTo>
                      <a:pt x="1106" y="818"/>
                    </a:lnTo>
                    <a:lnTo>
                      <a:pt x="1100" y="818"/>
                    </a:lnTo>
                    <a:lnTo>
                      <a:pt x="1096" y="818"/>
                    </a:lnTo>
                    <a:lnTo>
                      <a:pt x="1092" y="818"/>
                    </a:lnTo>
                    <a:lnTo>
                      <a:pt x="1088" y="818"/>
                    </a:lnTo>
                    <a:lnTo>
                      <a:pt x="1084" y="818"/>
                    </a:lnTo>
                    <a:lnTo>
                      <a:pt x="1080" y="818"/>
                    </a:lnTo>
                    <a:lnTo>
                      <a:pt x="1076" y="818"/>
                    </a:lnTo>
                    <a:lnTo>
                      <a:pt x="1074" y="818"/>
                    </a:lnTo>
                    <a:lnTo>
                      <a:pt x="1070" y="818"/>
                    </a:lnTo>
                    <a:lnTo>
                      <a:pt x="1066" y="818"/>
                    </a:lnTo>
                    <a:lnTo>
                      <a:pt x="1062" y="818"/>
                    </a:lnTo>
                    <a:lnTo>
                      <a:pt x="1060" y="818"/>
                    </a:lnTo>
                    <a:lnTo>
                      <a:pt x="1060" y="822"/>
                    </a:lnTo>
                    <a:lnTo>
                      <a:pt x="1056" y="822"/>
                    </a:lnTo>
                    <a:lnTo>
                      <a:pt x="1056" y="818"/>
                    </a:lnTo>
                    <a:lnTo>
                      <a:pt x="1052" y="822"/>
                    </a:lnTo>
                    <a:lnTo>
                      <a:pt x="1048" y="824"/>
                    </a:lnTo>
                    <a:lnTo>
                      <a:pt x="1048" y="828"/>
                    </a:lnTo>
                    <a:lnTo>
                      <a:pt x="1044" y="828"/>
                    </a:lnTo>
                    <a:lnTo>
                      <a:pt x="1044" y="832"/>
                    </a:lnTo>
                    <a:lnTo>
                      <a:pt x="1044" y="836"/>
                    </a:lnTo>
                    <a:lnTo>
                      <a:pt x="1040" y="836"/>
                    </a:lnTo>
                    <a:lnTo>
                      <a:pt x="1036" y="840"/>
                    </a:lnTo>
                    <a:lnTo>
                      <a:pt x="1032" y="840"/>
                    </a:lnTo>
                    <a:lnTo>
                      <a:pt x="1030" y="840"/>
                    </a:lnTo>
                    <a:lnTo>
                      <a:pt x="1030" y="844"/>
                    </a:lnTo>
                    <a:lnTo>
                      <a:pt x="1026" y="844"/>
                    </a:lnTo>
                    <a:lnTo>
                      <a:pt x="1022" y="848"/>
                    </a:lnTo>
                    <a:lnTo>
                      <a:pt x="1018" y="852"/>
                    </a:lnTo>
                    <a:lnTo>
                      <a:pt x="1018" y="854"/>
                    </a:lnTo>
                    <a:lnTo>
                      <a:pt x="1014" y="854"/>
                    </a:lnTo>
                    <a:lnTo>
                      <a:pt x="1014" y="858"/>
                    </a:lnTo>
                    <a:lnTo>
                      <a:pt x="1010" y="858"/>
                    </a:lnTo>
                    <a:lnTo>
                      <a:pt x="1010" y="862"/>
                    </a:lnTo>
                    <a:lnTo>
                      <a:pt x="1006" y="862"/>
                    </a:lnTo>
                    <a:lnTo>
                      <a:pt x="1004" y="858"/>
                    </a:lnTo>
                    <a:lnTo>
                      <a:pt x="1000" y="858"/>
                    </a:lnTo>
                    <a:lnTo>
                      <a:pt x="996" y="858"/>
                    </a:lnTo>
                    <a:lnTo>
                      <a:pt x="996" y="854"/>
                    </a:lnTo>
                    <a:lnTo>
                      <a:pt x="992" y="854"/>
                    </a:lnTo>
                    <a:lnTo>
                      <a:pt x="988" y="854"/>
                    </a:lnTo>
                    <a:lnTo>
                      <a:pt x="992" y="854"/>
                    </a:lnTo>
                    <a:lnTo>
                      <a:pt x="992" y="858"/>
                    </a:lnTo>
                    <a:lnTo>
                      <a:pt x="996" y="858"/>
                    </a:lnTo>
                    <a:lnTo>
                      <a:pt x="1000" y="858"/>
                    </a:lnTo>
                    <a:lnTo>
                      <a:pt x="1004" y="858"/>
                    </a:lnTo>
                    <a:lnTo>
                      <a:pt x="1006" y="862"/>
                    </a:lnTo>
                    <a:lnTo>
                      <a:pt x="1006" y="866"/>
                    </a:lnTo>
                    <a:lnTo>
                      <a:pt x="1006" y="870"/>
                    </a:lnTo>
                    <a:lnTo>
                      <a:pt x="1004" y="870"/>
                    </a:lnTo>
                    <a:lnTo>
                      <a:pt x="1004" y="874"/>
                    </a:lnTo>
                    <a:lnTo>
                      <a:pt x="1004" y="878"/>
                    </a:lnTo>
                    <a:lnTo>
                      <a:pt x="1000" y="878"/>
                    </a:lnTo>
                    <a:lnTo>
                      <a:pt x="996" y="878"/>
                    </a:lnTo>
                    <a:lnTo>
                      <a:pt x="996" y="880"/>
                    </a:lnTo>
                    <a:lnTo>
                      <a:pt x="996" y="884"/>
                    </a:lnTo>
                    <a:lnTo>
                      <a:pt x="992" y="884"/>
                    </a:lnTo>
                    <a:lnTo>
                      <a:pt x="988" y="888"/>
                    </a:lnTo>
                    <a:lnTo>
                      <a:pt x="984" y="892"/>
                    </a:lnTo>
                    <a:lnTo>
                      <a:pt x="988" y="888"/>
                    </a:lnTo>
                    <a:lnTo>
                      <a:pt x="992" y="888"/>
                    </a:lnTo>
                    <a:lnTo>
                      <a:pt x="996" y="888"/>
                    </a:lnTo>
                    <a:lnTo>
                      <a:pt x="996" y="884"/>
                    </a:lnTo>
                    <a:lnTo>
                      <a:pt x="1000" y="884"/>
                    </a:lnTo>
                    <a:lnTo>
                      <a:pt x="1000" y="880"/>
                    </a:lnTo>
                    <a:lnTo>
                      <a:pt x="1004" y="878"/>
                    </a:lnTo>
                    <a:lnTo>
                      <a:pt x="1004" y="874"/>
                    </a:lnTo>
                    <a:lnTo>
                      <a:pt x="1006" y="874"/>
                    </a:lnTo>
                    <a:lnTo>
                      <a:pt x="1010" y="870"/>
                    </a:lnTo>
                    <a:lnTo>
                      <a:pt x="1010" y="866"/>
                    </a:lnTo>
                    <a:lnTo>
                      <a:pt x="1014" y="866"/>
                    </a:lnTo>
                    <a:lnTo>
                      <a:pt x="1014" y="862"/>
                    </a:lnTo>
                    <a:lnTo>
                      <a:pt x="1018" y="862"/>
                    </a:lnTo>
                    <a:lnTo>
                      <a:pt x="1018" y="858"/>
                    </a:lnTo>
                    <a:lnTo>
                      <a:pt x="1022" y="858"/>
                    </a:lnTo>
                    <a:lnTo>
                      <a:pt x="1026" y="854"/>
                    </a:lnTo>
                    <a:lnTo>
                      <a:pt x="1030" y="854"/>
                    </a:lnTo>
                    <a:lnTo>
                      <a:pt x="1030" y="852"/>
                    </a:lnTo>
                    <a:lnTo>
                      <a:pt x="1032" y="852"/>
                    </a:lnTo>
                    <a:lnTo>
                      <a:pt x="1036" y="848"/>
                    </a:lnTo>
                    <a:lnTo>
                      <a:pt x="1040" y="848"/>
                    </a:lnTo>
                    <a:lnTo>
                      <a:pt x="1044" y="848"/>
                    </a:lnTo>
                    <a:lnTo>
                      <a:pt x="1044" y="844"/>
                    </a:lnTo>
                    <a:lnTo>
                      <a:pt x="1048" y="844"/>
                    </a:lnTo>
                    <a:lnTo>
                      <a:pt x="1052" y="844"/>
                    </a:lnTo>
                    <a:lnTo>
                      <a:pt x="1056" y="840"/>
                    </a:lnTo>
                    <a:lnTo>
                      <a:pt x="1060" y="840"/>
                    </a:lnTo>
                    <a:lnTo>
                      <a:pt x="1062" y="840"/>
                    </a:lnTo>
                    <a:lnTo>
                      <a:pt x="1066" y="840"/>
                    </a:lnTo>
                    <a:lnTo>
                      <a:pt x="1070" y="840"/>
                    </a:lnTo>
                    <a:lnTo>
                      <a:pt x="1074" y="840"/>
                    </a:lnTo>
                    <a:lnTo>
                      <a:pt x="1076" y="840"/>
                    </a:lnTo>
                    <a:lnTo>
                      <a:pt x="1080" y="844"/>
                    </a:lnTo>
                    <a:lnTo>
                      <a:pt x="1084" y="844"/>
                    </a:lnTo>
                    <a:lnTo>
                      <a:pt x="1084" y="848"/>
                    </a:lnTo>
                    <a:lnTo>
                      <a:pt x="1088" y="852"/>
                    </a:lnTo>
                    <a:lnTo>
                      <a:pt x="1084" y="848"/>
                    </a:lnTo>
                    <a:lnTo>
                      <a:pt x="1080" y="848"/>
                    </a:lnTo>
                    <a:lnTo>
                      <a:pt x="1084" y="848"/>
                    </a:lnTo>
                    <a:lnTo>
                      <a:pt x="1084" y="852"/>
                    </a:lnTo>
                    <a:lnTo>
                      <a:pt x="1088" y="852"/>
                    </a:lnTo>
                    <a:lnTo>
                      <a:pt x="1084" y="852"/>
                    </a:lnTo>
                    <a:lnTo>
                      <a:pt x="1084" y="854"/>
                    </a:lnTo>
                    <a:lnTo>
                      <a:pt x="1084" y="858"/>
                    </a:lnTo>
                    <a:lnTo>
                      <a:pt x="1080" y="858"/>
                    </a:lnTo>
                    <a:lnTo>
                      <a:pt x="1076" y="858"/>
                    </a:lnTo>
                    <a:lnTo>
                      <a:pt x="1076" y="862"/>
                    </a:lnTo>
                    <a:lnTo>
                      <a:pt x="1074" y="862"/>
                    </a:lnTo>
                    <a:lnTo>
                      <a:pt x="1074" y="866"/>
                    </a:lnTo>
                    <a:lnTo>
                      <a:pt x="1070" y="866"/>
                    </a:lnTo>
                    <a:lnTo>
                      <a:pt x="1066" y="866"/>
                    </a:lnTo>
                    <a:lnTo>
                      <a:pt x="1066" y="862"/>
                    </a:lnTo>
                    <a:lnTo>
                      <a:pt x="1062" y="862"/>
                    </a:lnTo>
                    <a:lnTo>
                      <a:pt x="1060" y="862"/>
                    </a:lnTo>
                    <a:lnTo>
                      <a:pt x="1056" y="862"/>
                    </a:lnTo>
                    <a:lnTo>
                      <a:pt x="1052" y="866"/>
                    </a:lnTo>
                    <a:lnTo>
                      <a:pt x="1048" y="866"/>
                    </a:lnTo>
                    <a:lnTo>
                      <a:pt x="1052" y="866"/>
                    </a:lnTo>
                    <a:lnTo>
                      <a:pt x="1056" y="862"/>
                    </a:lnTo>
                    <a:lnTo>
                      <a:pt x="1060" y="866"/>
                    </a:lnTo>
                    <a:lnTo>
                      <a:pt x="1062" y="866"/>
                    </a:lnTo>
                    <a:lnTo>
                      <a:pt x="1066" y="870"/>
                    </a:lnTo>
                    <a:lnTo>
                      <a:pt x="1066" y="874"/>
                    </a:lnTo>
                    <a:lnTo>
                      <a:pt x="1070" y="870"/>
                    </a:lnTo>
                    <a:lnTo>
                      <a:pt x="1074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76" y="870"/>
                    </a:lnTo>
                    <a:lnTo>
                      <a:pt x="1076" y="874"/>
                    </a:lnTo>
                    <a:lnTo>
                      <a:pt x="1076" y="878"/>
                    </a:lnTo>
                    <a:lnTo>
                      <a:pt x="1074" y="880"/>
                    </a:lnTo>
                    <a:lnTo>
                      <a:pt x="1070" y="884"/>
                    </a:lnTo>
                    <a:lnTo>
                      <a:pt x="1074" y="884"/>
                    </a:lnTo>
                    <a:lnTo>
                      <a:pt x="1076" y="884"/>
                    </a:lnTo>
                    <a:lnTo>
                      <a:pt x="1076" y="888"/>
                    </a:lnTo>
                    <a:lnTo>
                      <a:pt x="1076" y="892"/>
                    </a:lnTo>
                    <a:lnTo>
                      <a:pt x="1080" y="896"/>
                    </a:lnTo>
                    <a:lnTo>
                      <a:pt x="1080" y="900"/>
                    </a:lnTo>
                    <a:lnTo>
                      <a:pt x="1084" y="900"/>
                    </a:lnTo>
                    <a:lnTo>
                      <a:pt x="1088" y="904"/>
                    </a:lnTo>
                    <a:lnTo>
                      <a:pt x="1092" y="904"/>
                    </a:lnTo>
                    <a:lnTo>
                      <a:pt x="1088" y="904"/>
                    </a:lnTo>
                    <a:lnTo>
                      <a:pt x="1088" y="908"/>
                    </a:lnTo>
                    <a:lnTo>
                      <a:pt x="1092" y="908"/>
                    </a:lnTo>
                    <a:lnTo>
                      <a:pt x="1092" y="910"/>
                    </a:lnTo>
                    <a:lnTo>
                      <a:pt x="1096" y="908"/>
                    </a:lnTo>
                    <a:lnTo>
                      <a:pt x="1096" y="910"/>
                    </a:lnTo>
                    <a:lnTo>
                      <a:pt x="1100" y="910"/>
                    </a:lnTo>
                    <a:lnTo>
                      <a:pt x="1104" y="910"/>
                    </a:lnTo>
                    <a:lnTo>
                      <a:pt x="1106" y="910"/>
                    </a:lnTo>
                    <a:lnTo>
                      <a:pt x="1110" y="910"/>
                    </a:lnTo>
                    <a:lnTo>
                      <a:pt x="1110" y="914"/>
                    </a:lnTo>
                    <a:lnTo>
                      <a:pt x="1114" y="910"/>
                    </a:lnTo>
                    <a:lnTo>
                      <a:pt x="1118" y="910"/>
                    </a:lnTo>
                    <a:lnTo>
                      <a:pt x="1118" y="908"/>
                    </a:lnTo>
                    <a:lnTo>
                      <a:pt x="1118" y="910"/>
                    </a:lnTo>
                    <a:lnTo>
                      <a:pt x="1122" y="914"/>
                    </a:lnTo>
                    <a:lnTo>
                      <a:pt x="1122" y="910"/>
                    </a:lnTo>
                    <a:lnTo>
                      <a:pt x="1126" y="910"/>
                    </a:lnTo>
                    <a:lnTo>
                      <a:pt x="1126" y="914"/>
                    </a:lnTo>
                    <a:lnTo>
                      <a:pt x="1130" y="914"/>
                    </a:lnTo>
                    <a:lnTo>
                      <a:pt x="1130" y="918"/>
                    </a:lnTo>
                    <a:lnTo>
                      <a:pt x="1126" y="918"/>
                    </a:lnTo>
                    <a:lnTo>
                      <a:pt x="1130" y="918"/>
                    </a:lnTo>
                    <a:lnTo>
                      <a:pt x="1132" y="918"/>
                    </a:lnTo>
                    <a:lnTo>
                      <a:pt x="1132" y="922"/>
                    </a:lnTo>
                    <a:lnTo>
                      <a:pt x="1130" y="922"/>
                    </a:lnTo>
                    <a:lnTo>
                      <a:pt x="1126" y="922"/>
                    </a:lnTo>
                    <a:lnTo>
                      <a:pt x="1122" y="922"/>
                    </a:lnTo>
                    <a:lnTo>
                      <a:pt x="1122" y="926"/>
                    </a:lnTo>
                    <a:lnTo>
                      <a:pt x="1118" y="926"/>
                    </a:lnTo>
                    <a:lnTo>
                      <a:pt x="1114" y="926"/>
                    </a:lnTo>
                    <a:lnTo>
                      <a:pt x="1110" y="930"/>
                    </a:lnTo>
                    <a:lnTo>
                      <a:pt x="1106" y="930"/>
                    </a:lnTo>
                    <a:lnTo>
                      <a:pt x="1104" y="934"/>
                    </a:lnTo>
                    <a:lnTo>
                      <a:pt x="1104" y="930"/>
                    </a:lnTo>
                    <a:lnTo>
                      <a:pt x="1104" y="934"/>
                    </a:lnTo>
                    <a:lnTo>
                      <a:pt x="1100" y="934"/>
                    </a:lnTo>
                    <a:lnTo>
                      <a:pt x="1096" y="934"/>
                    </a:lnTo>
                    <a:lnTo>
                      <a:pt x="1092" y="934"/>
                    </a:lnTo>
                    <a:lnTo>
                      <a:pt x="1096" y="934"/>
                    </a:lnTo>
                    <a:lnTo>
                      <a:pt x="1096" y="938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8" y="938"/>
                    </a:lnTo>
                    <a:lnTo>
                      <a:pt x="1088" y="934"/>
                    </a:lnTo>
                    <a:lnTo>
                      <a:pt x="1084" y="934"/>
                    </a:lnTo>
                    <a:lnTo>
                      <a:pt x="1084" y="938"/>
                    </a:lnTo>
                    <a:lnTo>
                      <a:pt x="1084" y="940"/>
                    </a:lnTo>
                    <a:lnTo>
                      <a:pt x="1080" y="940"/>
                    </a:lnTo>
                    <a:lnTo>
                      <a:pt x="1080" y="944"/>
                    </a:lnTo>
                    <a:lnTo>
                      <a:pt x="1076" y="948"/>
                    </a:lnTo>
                    <a:lnTo>
                      <a:pt x="1074" y="952"/>
                    </a:lnTo>
                    <a:lnTo>
                      <a:pt x="1070" y="952"/>
                    </a:lnTo>
                    <a:lnTo>
                      <a:pt x="1070" y="956"/>
                    </a:lnTo>
                    <a:lnTo>
                      <a:pt x="1066" y="956"/>
                    </a:lnTo>
                    <a:lnTo>
                      <a:pt x="1062" y="956"/>
                    </a:lnTo>
                    <a:lnTo>
                      <a:pt x="1062" y="952"/>
                    </a:lnTo>
                    <a:lnTo>
                      <a:pt x="1062" y="948"/>
                    </a:lnTo>
                    <a:lnTo>
                      <a:pt x="1062" y="952"/>
                    </a:lnTo>
                    <a:lnTo>
                      <a:pt x="1060" y="952"/>
                    </a:lnTo>
                    <a:lnTo>
                      <a:pt x="1060" y="948"/>
                    </a:lnTo>
                    <a:lnTo>
                      <a:pt x="1060" y="944"/>
                    </a:lnTo>
                    <a:lnTo>
                      <a:pt x="1060" y="940"/>
                    </a:lnTo>
                    <a:lnTo>
                      <a:pt x="1060" y="938"/>
                    </a:lnTo>
                    <a:lnTo>
                      <a:pt x="1062" y="938"/>
                    </a:lnTo>
                    <a:lnTo>
                      <a:pt x="1062" y="934"/>
                    </a:lnTo>
                    <a:lnTo>
                      <a:pt x="1062" y="938"/>
                    </a:lnTo>
                    <a:lnTo>
                      <a:pt x="1060" y="938"/>
                    </a:lnTo>
                    <a:lnTo>
                      <a:pt x="1062" y="934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66" y="934"/>
                    </a:lnTo>
                    <a:lnTo>
                      <a:pt x="1066" y="930"/>
                    </a:lnTo>
                    <a:lnTo>
                      <a:pt x="1070" y="926"/>
                    </a:lnTo>
                    <a:lnTo>
                      <a:pt x="1074" y="926"/>
                    </a:lnTo>
                    <a:lnTo>
                      <a:pt x="1076" y="926"/>
                    </a:lnTo>
                    <a:lnTo>
                      <a:pt x="1076" y="922"/>
                    </a:lnTo>
                    <a:lnTo>
                      <a:pt x="1080" y="922"/>
                    </a:lnTo>
                    <a:lnTo>
                      <a:pt x="1084" y="922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84" y="918"/>
                    </a:lnTo>
                    <a:lnTo>
                      <a:pt x="1084" y="922"/>
                    </a:lnTo>
                    <a:lnTo>
                      <a:pt x="1084" y="926"/>
                    </a:lnTo>
                    <a:lnTo>
                      <a:pt x="1084" y="922"/>
                    </a:lnTo>
                    <a:lnTo>
                      <a:pt x="1088" y="926"/>
                    </a:lnTo>
                    <a:lnTo>
                      <a:pt x="1084" y="922"/>
                    </a:lnTo>
                    <a:lnTo>
                      <a:pt x="1088" y="922"/>
                    </a:lnTo>
                    <a:lnTo>
                      <a:pt x="1092" y="918"/>
                    </a:lnTo>
                    <a:lnTo>
                      <a:pt x="1096" y="918"/>
                    </a:lnTo>
                    <a:lnTo>
                      <a:pt x="1100" y="918"/>
                    </a:lnTo>
                    <a:lnTo>
                      <a:pt x="1092" y="918"/>
                    </a:lnTo>
                    <a:lnTo>
                      <a:pt x="1088" y="918"/>
                    </a:lnTo>
                    <a:lnTo>
                      <a:pt x="1084" y="918"/>
                    </a:lnTo>
                    <a:lnTo>
                      <a:pt x="1080" y="918"/>
                    </a:lnTo>
                    <a:lnTo>
                      <a:pt x="1076" y="918"/>
                    </a:lnTo>
                    <a:lnTo>
                      <a:pt x="1076" y="914"/>
                    </a:lnTo>
                    <a:lnTo>
                      <a:pt x="1080" y="914"/>
                    </a:lnTo>
                    <a:lnTo>
                      <a:pt x="1080" y="910"/>
                    </a:lnTo>
                    <a:lnTo>
                      <a:pt x="1084" y="910"/>
                    </a:lnTo>
                    <a:lnTo>
                      <a:pt x="1084" y="908"/>
                    </a:lnTo>
                    <a:lnTo>
                      <a:pt x="1084" y="910"/>
                    </a:lnTo>
                    <a:lnTo>
                      <a:pt x="1080" y="910"/>
                    </a:lnTo>
                    <a:lnTo>
                      <a:pt x="1080" y="908"/>
                    </a:lnTo>
                    <a:lnTo>
                      <a:pt x="1080" y="904"/>
                    </a:lnTo>
                    <a:lnTo>
                      <a:pt x="1076" y="904"/>
                    </a:lnTo>
                    <a:lnTo>
                      <a:pt x="1076" y="908"/>
                    </a:lnTo>
                    <a:lnTo>
                      <a:pt x="1080" y="908"/>
                    </a:lnTo>
                    <a:lnTo>
                      <a:pt x="1080" y="910"/>
                    </a:lnTo>
                    <a:lnTo>
                      <a:pt x="1076" y="914"/>
                    </a:lnTo>
                    <a:lnTo>
                      <a:pt x="1074" y="914"/>
                    </a:lnTo>
                    <a:lnTo>
                      <a:pt x="1070" y="918"/>
                    </a:lnTo>
                    <a:lnTo>
                      <a:pt x="1066" y="918"/>
                    </a:lnTo>
                    <a:lnTo>
                      <a:pt x="1062" y="922"/>
                    </a:lnTo>
                    <a:lnTo>
                      <a:pt x="1060" y="918"/>
                    </a:lnTo>
                    <a:lnTo>
                      <a:pt x="1062" y="918"/>
                    </a:lnTo>
                    <a:lnTo>
                      <a:pt x="1060" y="918"/>
                    </a:lnTo>
                    <a:lnTo>
                      <a:pt x="1060" y="922"/>
                    </a:lnTo>
                    <a:lnTo>
                      <a:pt x="1056" y="926"/>
                    </a:lnTo>
                    <a:lnTo>
                      <a:pt x="1056" y="922"/>
                    </a:lnTo>
                    <a:lnTo>
                      <a:pt x="1052" y="922"/>
                    </a:lnTo>
                    <a:lnTo>
                      <a:pt x="1052" y="926"/>
                    </a:lnTo>
                    <a:lnTo>
                      <a:pt x="1048" y="922"/>
                    </a:lnTo>
                    <a:lnTo>
                      <a:pt x="1044" y="922"/>
                    </a:lnTo>
                    <a:lnTo>
                      <a:pt x="1040" y="922"/>
                    </a:lnTo>
                    <a:lnTo>
                      <a:pt x="1040" y="918"/>
                    </a:lnTo>
                    <a:lnTo>
                      <a:pt x="1040" y="914"/>
                    </a:lnTo>
                    <a:lnTo>
                      <a:pt x="1036" y="914"/>
                    </a:lnTo>
                    <a:lnTo>
                      <a:pt x="1036" y="910"/>
                    </a:lnTo>
                    <a:lnTo>
                      <a:pt x="1036" y="908"/>
                    </a:lnTo>
                    <a:lnTo>
                      <a:pt x="1036" y="900"/>
                    </a:lnTo>
                    <a:lnTo>
                      <a:pt x="1036" y="888"/>
                    </a:lnTo>
                    <a:lnTo>
                      <a:pt x="1036" y="884"/>
                    </a:lnTo>
                    <a:lnTo>
                      <a:pt x="1032" y="884"/>
                    </a:lnTo>
                    <a:lnTo>
                      <a:pt x="1032" y="880"/>
                    </a:lnTo>
                    <a:lnTo>
                      <a:pt x="1030" y="878"/>
                    </a:lnTo>
                    <a:lnTo>
                      <a:pt x="1026" y="880"/>
                    </a:lnTo>
                    <a:lnTo>
                      <a:pt x="1022" y="880"/>
                    </a:lnTo>
                    <a:lnTo>
                      <a:pt x="1018" y="880"/>
                    </a:lnTo>
                    <a:lnTo>
                      <a:pt x="1018" y="878"/>
                    </a:lnTo>
                    <a:lnTo>
                      <a:pt x="1014" y="878"/>
                    </a:lnTo>
                    <a:lnTo>
                      <a:pt x="1014" y="880"/>
                    </a:lnTo>
                    <a:lnTo>
                      <a:pt x="1010" y="884"/>
                    </a:lnTo>
                    <a:lnTo>
                      <a:pt x="1006" y="884"/>
                    </a:lnTo>
                    <a:lnTo>
                      <a:pt x="1006" y="888"/>
                    </a:lnTo>
                    <a:lnTo>
                      <a:pt x="1004" y="892"/>
                    </a:lnTo>
                    <a:lnTo>
                      <a:pt x="1004" y="896"/>
                    </a:lnTo>
                    <a:lnTo>
                      <a:pt x="1004" y="900"/>
                    </a:lnTo>
                    <a:lnTo>
                      <a:pt x="1000" y="900"/>
                    </a:lnTo>
                    <a:lnTo>
                      <a:pt x="1000" y="904"/>
                    </a:lnTo>
                    <a:lnTo>
                      <a:pt x="1000" y="908"/>
                    </a:lnTo>
                    <a:lnTo>
                      <a:pt x="1000" y="910"/>
                    </a:lnTo>
                    <a:lnTo>
                      <a:pt x="996" y="910"/>
                    </a:lnTo>
                    <a:lnTo>
                      <a:pt x="996" y="914"/>
                    </a:lnTo>
                    <a:lnTo>
                      <a:pt x="996" y="918"/>
                    </a:lnTo>
                    <a:lnTo>
                      <a:pt x="992" y="922"/>
                    </a:lnTo>
                    <a:lnTo>
                      <a:pt x="988" y="918"/>
                    </a:lnTo>
                    <a:lnTo>
                      <a:pt x="988" y="922"/>
                    </a:lnTo>
                    <a:lnTo>
                      <a:pt x="988" y="918"/>
                    </a:lnTo>
                    <a:lnTo>
                      <a:pt x="984" y="918"/>
                    </a:lnTo>
                    <a:lnTo>
                      <a:pt x="984" y="922"/>
                    </a:lnTo>
                    <a:lnTo>
                      <a:pt x="984" y="926"/>
                    </a:lnTo>
                    <a:lnTo>
                      <a:pt x="980" y="926"/>
                    </a:lnTo>
                    <a:lnTo>
                      <a:pt x="976" y="926"/>
                    </a:lnTo>
                    <a:lnTo>
                      <a:pt x="974" y="926"/>
                    </a:lnTo>
                    <a:lnTo>
                      <a:pt x="970" y="926"/>
                    </a:lnTo>
                    <a:lnTo>
                      <a:pt x="966" y="926"/>
                    </a:lnTo>
                    <a:lnTo>
                      <a:pt x="962" y="926"/>
                    </a:lnTo>
                    <a:lnTo>
                      <a:pt x="958" y="926"/>
                    </a:lnTo>
                    <a:lnTo>
                      <a:pt x="954" y="926"/>
                    </a:lnTo>
                    <a:lnTo>
                      <a:pt x="950" y="926"/>
                    </a:lnTo>
                    <a:lnTo>
                      <a:pt x="944" y="926"/>
                    </a:lnTo>
                    <a:lnTo>
                      <a:pt x="940" y="926"/>
                    </a:lnTo>
                    <a:lnTo>
                      <a:pt x="936" y="926"/>
                    </a:lnTo>
                    <a:lnTo>
                      <a:pt x="932" y="926"/>
                    </a:lnTo>
                    <a:lnTo>
                      <a:pt x="932" y="930"/>
                    </a:lnTo>
                    <a:lnTo>
                      <a:pt x="928" y="930"/>
                    </a:lnTo>
                    <a:lnTo>
                      <a:pt x="924" y="934"/>
                    </a:lnTo>
                    <a:lnTo>
                      <a:pt x="924" y="938"/>
                    </a:lnTo>
                    <a:lnTo>
                      <a:pt x="920" y="938"/>
                    </a:lnTo>
                    <a:lnTo>
                      <a:pt x="920" y="940"/>
                    </a:lnTo>
                    <a:lnTo>
                      <a:pt x="918" y="940"/>
                    </a:lnTo>
                    <a:lnTo>
                      <a:pt x="914" y="944"/>
                    </a:lnTo>
                    <a:lnTo>
                      <a:pt x="914" y="948"/>
                    </a:lnTo>
                    <a:lnTo>
                      <a:pt x="910" y="948"/>
                    </a:lnTo>
                    <a:lnTo>
                      <a:pt x="910" y="952"/>
                    </a:lnTo>
                    <a:lnTo>
                      <a:pt x="906" y="952"/>
                    </a:lnTo>
                    <a:lnTo>
                      <a:pt x="902" y="952"/>
                    </a:lnTo>
                    <a:lnTo>
                      <a:pt x="898" y="952"/>
                    </a:lnTo>
                    <a:lnTo>
                      <a:pt x="894" y="952"/>
                    </a:lnTo>
                    <a:lnTo>
                      <a:pt x="890" y="952"/>
                    </a:lnTo>
                    <a:lnTo>
                      <a:pt x="888" y="952"/>
                    </a:lnTo>
                    <a:lnTo>
                      <a:pt x="880" y="952"/>
                    </a:lnTo>
                    <a:lnTo>
                      <a:pt x="876" y="956"/>
                    </a:lnTo>
                    <a:lnTo>
                      <a:pt x="876" y="960"/>
                    </a:lnTo>
                    <a:lnTo>
                      <a:pt x="876" y="964"/>
                    </a:lnTo>
                    <a:lnTo>
                      <a:pt x="876" y="966"/>
                    </a:lnTo>
                    <a:lnTo>
                      <a:pt x="880" y="966"/>
                    </a:lnTo>
                    <a:lnTo>
                      <a:pt x="876" y="966"/>
                    </a:lnTo>
                    <a:lnTo>
                      <a:pt x="876" y="970"/>
                    </a:lnTo>
                    <a:lnTo>
                      <a:pt x="872" y="970"/>
                    </a:lnTo>
                    <a:lnTo>
                      <a:pt x="868" y="974"/>
                    </a:lnTo>
                    <a:lnTo>
                      <a:pt x="864" y="974"/>
                    </a:lnTo>
                    <a:lnTo>
                      <a:pt x="862" y="978"/>
                    </a:lnTo>
                    <a:lnTo>
                      <a:pt x="854" y="978"/>
                    </a:lnTo>
                    <a:lnTo>
                      <a:pt x="850" y="980"/>
                    </a:lnTo>
                    <a:lnTo>
                      <a:pt x="846" y="980"/>
                    </a:lnTo>
                    <a:lnTo>
                      <a:pt x="842" y="980"/>
                    </a:lnTo>
                    <a:lnTo>
                      <a:pt x="838" y="984"/>
                    </a:lnTo>
                    <a:lnTo>
                      <a:pt x="834" y="984"/>
                    </a:lnTo>
                    <a:lnTo>
                      <a:pt x="832" y="988"/>
                    </a:lnTo>
                    <a:lnTo>
                      <a:pt x="828" y="992"/>
                    </a:lnTo>
                    <a:lnTo>
                      <a:pt x="824" y="992"/>
                    </a:lnTo>
                    <a:lnTo>
                      <a:pt x="820" y="988"/>
                    </a:lnTo>
                    <a:lnTo>
                      <a:pt x="820" y="984"/>
                    </a:lnTo>
                    <a:lnTo>
                      <a:pt x="816" y="984"/>
                    </a:lnTo>
                    <a:lnTo>
                      <a:pt x="820" y="980"/>
                    </a:lnTo>
                    <a:lnTo>
                      <a:pt x="820" y="978"/>
                    </a:lnTo>
                    <a:lnTo>
                      <a:pt x="824" y="978"/>
                    </a:lnTo>
                    <a:lnTo>
                      <a:pt x="824" y="974"/>
                    </a:lnTo>
                    <a:lnTo>
                      <a:pt x="828" y="974"/>
                    </a:lnTo>
                    <a:lnTo>
                      <a:pt x="828" y="970"/>
                    </a:lnTo>
                    <a:lnTo>
                      <a:pt x="828" y="966"/>
                    </a:lnTo>
                    <a:lnTo>
                      <a:pt x="828" y="964"/>
                    </a:lnTo>
                    <a:lnTo>
                      <a:pt x="832" y="964"/>
                    </a:lnTo>
                    <a:lnTo>
                      <a:pt x="832" y="960"/>
                    </a:lnTo>
                    <a:lnTo>
                      <a:pt x="832" y="956"/>
                    </a:lnTo>
                    <a:lnTo>
                      <a:pt x="832" y="948"/>
                    </a:lnTo>
                    <a:lnTo>
                      <a:pt x="832" y="938"/>
                    </a:lnTo>
                    <a:lnTo>
                      <a:pt x="828" y="930"/>
                    </a:lnTo>
                    <a:lnTo>
                      <a:pt x="828" y="918"/>
                    </a:lnTo>
                    <a:lnTo>
                      <a:pt x="824" y="918"/>
                    </a:lnTo>
                    <a:lnTo>
                      <a:pt x="820" y="914"/>
                    </a:lnTo>
                    <a:lnTo>
                      <a:pt x="816" y="910"/>
                    </a:lnTo>
                    <a:lnTo>
                      <a:pt x="812" y="910"/>
                    </a:lnTo>
                    <a:lnTo>
                      <a:pt x="812" y="908"/>
                    </a:lnTo>
                    <a:lnTo>
                      <a:pt x="812" y="904"/>
                    </a:lnTo>
                    <a:lnTo>
                      <a:pt x="808" y="904"/>
                    </a:lnTo>
                    <a:lnTo>
                      <a:pt x="806" y="904"/>
                    </a:lnTo>
                    <a:lnTo>
                      <a:pt x="806" y="900"/>
                    </a:lnTo>
                    <a:lnTo>
                      <a:pt x="806" y="896"/>
                    </a:lnTo>
                    <a:lnTo>
                      <a:pt x="802" y="896"/>
                    </a:lnTo>
                    <a:lnTo>
                      <a:pt x="798" y="896"/>
                    </a:lnTo>
                    <a:lnTo>
                      <a:pt x="794" y="892"/>
                    </a:lnTo>
                    <a:lnTo>
                      <a:pt x="794" y="888"/>
                    </a:lnTo>
                    <a:lnTo>
                      <a:pt x="786" y="884"/>
                    </a:lnTo>
                    <a:lnTo>
                      <a:pt x="786" y="880"/>
                    </a:lnTo>
                    <a:lnTo>
                      <a:pt x="782" y="880"/>
                    </a:lnTo>
                    <a:lnTo>
                      <a:pt x="778" y="880"/>
                    </a:lnTo>
                    <a:lnTo>
                      <a:pt x="778" y="878"/>
                    </a:lnTo>
                    <a:lnTo>
                      <a:pt x="776" y="878"/>
                    </a:lnTo>
                    <a:lnTo>
                      <a:pt x="772" y="874"/>
                    </a:lnTo>
                    <a:lnTo>
                      <a:pt x="768" y="874"/>
                    </a:lnTo>
                    <a:lnTo>
                      <a:pt x="764" y="870"/>
                    </a:lnTo>
                    <a:lnTo>
                      <a:pt x="760" y="870"/>
                    </a:lnTo>
                    <a:lnTo>
                      <a:pt x="760" y="866"/>
                    </a:lnTo>
                    <a:lnTo>
                      <a:pt x="756" y="866"/>
                    </a:lnTo>
                    <a:lnTo>
                      <a:pt x="746" y="858"/>
                    </a:lnTo>
                    <a:lnTo>
                      <a:pt x="742" y="858"/>
                    </a:lnTo>
                    <a:lnTo>
                      <a:pt x="738" y="858"/>
                    </a:lnTo>
                    <a:lnTo>
                      <a:pt x="734" y="862"/>
                    </a:lnTo>
                    <a:lnTo>
                      <a:pt x="732" y="866"/>
                    </a:lnTo>
                    <a:lnTo>
                      <a:pt x="728" y="866"/>
                    </a:lnTo>
                    <a:lnTo>
                      <a:pt x="724" y="866"/>
                    </a:lnTo>
                    <a:lnTo>
                      <a:pt x="720" y="866"/>
                    </a:lnTo>
                    <a:lnTo>
                      <a:pt x="720" y="862"/>
                    </a:lnTo>
                    <a:lnTo>
                      <a:pt x="716" y="862"/>
                    </a:lnTo>
                    <a:lnTo>
                      <a:pt x="712" y="862"/>
                    </a:lnTo>
                    <a:lnTo>
                      <a:pt x="708" y="862"/>
                    </a:lnTo>
                    <a:lnTo>
                      <a:pt x="708" y="858"/>
                    </a:lnTo>
                    <a:lnTo>
                      <a:pt x="708" y="862"/>
                    </a:lnTo>
                    <a:lnTo>
                      <a:pt x="706" y="862"/>
                    </a:lnTo>
                    <a:lnTo>
                      <a:pt x="702" y="862"/>
                    </a:lnTo>
                    <a:lnTo>
                      <a:pt x="702" y="866"/>
                    </a:lnTo>
                    <a:lnTo>
                      <a:pt x="702" y="862"/>
                    </a:lnTo>
                    <a:lnTo>
                      <a:pt x="698" y="862"/>
                    </a:lnTo>
                    <a:lnTo>
                      <a:pt x="694" y="862"/>
                    </a:lnTo>
                    <a:lnTo>
                      <a:pt x="694" y="858"/>
                    </a:lnTo>
                    <a:lnTo>
                      <a:pt x="690" y="858"/>
                    </a:lnTo>
                    <a:lnTo>
                      <a:pt x="690" y="862"/>
                    </a:lnTo>
                    <a:lnTo>
                      <a:pt x="686" y="858"/>
                    </a:lnTo>
                    <a:lnTo>
                      <a:pt x="686" y="854"/>
                    </a:lnTo>
                    <a:lnTo>
                      <a:pt x="682" y="854"/>
                    </a:lnTo>
                    <a:lnTo>
                      <a:pt x="678" y="852"/>
                    </a:lnTo>
                    <a:lnTo>
                      <a:pt x="676" y="852"/>
                    </a:lnTo>
                    <a:lnTo>
                      <a:pt x="672" y="854"/>
                    </a:lnTo>
                    <a:lnTo>
                      <a:pt x="668" y="854"/>
                    </a:lnTo>
                    <a:lnTo>
                      <a:pt x="668" y="852"/>
                    </a:lnTo>
                    <a:lnTo>
                      <a:pt x="664" y="852"/>
                    </a:lnTo>
                    <a:lnTo>
                      <a:pt x="660" y="852"/>
                    </a:lnTo>
                    <a:lnTo>
                      <a:pt x="656" y="852"/>
                    </a:lnTo>
                    <a:lnTo>
                      <a:pt x="656" y="848"/>
                    </a:lnTo>
                    <a:lnTo>
                      <a:pt x="656" y="844"/>
                    </a:lnTo>
                    <a:lnTo>
                      <a:pt x="652" y="844"/>
                    </a:lnTo>
                    <a:lnTo>
                      <a:pt x="652" y="840"/>
                    </a:lnTo>
                    <a:lnTo>
                      <a:pt x="652" y="836"/>
                    </a:lnTo>
                    <a:lnTo>
                      <a:pt x="650" y="836"/>
                    </a:lnTo>
                    <a:lnTo>
                      <a:pt x="650" y="840"/>
                    </a:lnTo>
                    <a:lnTo>
                      <a:pt x="650" y="844"/>
                    </a:lnTo>
                    <a:lnTo>
                      <a:pt x="646" y="844"/>
                    </a:lnTo>
                    <a:lnTo>
                      <a:pt x="620" y="844"/>
                    </a:lnTo>
                    <a:lnTo>
                      <a:pt x="616" y="844"/>
                    </a:lnTo>
                    <a:lnTo>
                      <a:pt x="612" y="844"/>
                    </a:lnTo>
                    <a:lnTo>
                      <a:pt x="608" y="844"/>
                    </a:lnTo>
                    <a:lnTo>
                      <a:pt x="604" y="844"/>
                    </a:lnTo>
                    <a:lnTo>
                      <a:pt x="600" y="844"/>
                    </a:lnTo>
                    <a:lnTo>
                      <a:pt x="596" y="844"/>
                    </a:lnTo>
                    <a:lnTo>
                      <a:pt x="590" y="844"/>
                    </a:lnTo>
                    <a:lnTo>
                      <a:pt x="582" y="844"/>
                    </a:lnTo>
                    <a:lnTo>
                      <a:pt x="574" y="844"/>
                    </a:lnTo>
                    <a:lnTo>
                      <a:pt x="564" y="844"/>
                    </a:lnTo>
                    <a:lnTo>
                      <a:pt x="560" y="844"/>
                    </a:lnTo>
                    <a:lnTo>
                      <a:pt x="548" y="844"/>
                    </a:lnTo>
                    <a:lnTo>
                      <a:pt x="544" y="844"/>
                    </a:lnTo>
                    <a:lnTo>
                      <a:pt x="540" y="844"/>
                    </a:lnTo>
                    <a:lnTo>
                      <a:pt x="536" y="844"/>
                    </a:lnTo>
                    <a:lnTo>
                      <a:pt x="534" y="844"/>
                    </a:lnTo>
                    <a:lnTo>
                      <a:pt x="530" y="844"/>
                    </a:lnTo>
                    <a:lnTo>
                      <a:pt x="526" y="844"/>
                    </a:lnTo>
                    <a:lnTo>
                      <a:pt x="522" y="844"/>
                    </a:lnTo>
                    <a:lnTo>
                      <a:pt x="518" y="844"/>
                    </a:lnTo>
                    <a:lnTo>
                      <a:pt x="510" y="844"/>
                    </a:lnTo>
                    <a:lnTo>
                      <a:pt x="508" y="844"/>
                    </a:lnTo>
                    <a:lnTo>
                      <a:pt x="500" y="844"/>
                    </a:lnTo>
                    <a:lnTo>
                      <a:pt x="496" y="844"/>
                    </a:lnTo>
                    <a:lnTo>
                      <a:pt x="492" y="844"/>
                    </a:lnTo>
                    <a:lnTo>
                      <a:pt x="488" y="844"/>
                    </a:lnTo>
                    <a:lnTo>
                      <a:pt x="484" y="844"/>
                    </a:lnTo>
                    <a:lnTo>
                      <a:pt x="478" y="844"/>
                    </a:lnTo>
                    <a:lnTo>
                      <a:pt x="474" y="844"/>
                    </a:lnTo>
                    <a:lnTo>
                      <a:pt x="470" y="844"/>
                    </a:lnTo>
                    <a:lnTo>
                      <a:pt x="466" y="844"/>
                    </a:lnTo>
                    <a:lnTo>
                      <a:pt x="462" y="844"/>
                    </a:lnTo>
                    <a:lnTo>
                      <a:pt x="458" y="844"/>
                    </a:lnTo>
                    <a:lnTo>
                      <a:pt x="454" y="844"/>
                    </a:lnTo>
                    <a:lnTo>
                      <a:pt x="448" y="844"/>
                    </a:lnTo>
                    <a:lnTo>
                      <a:pt x="444" y="844"/>
                    </a:lnTo>
                    <a:lnTo>
                      <a:pt x="440" y="844"/>
                    </a:lnTo>
                    <a:lnTo>
                      <a:pt x="436" y="844"/>
                    </a:lnTo>
                    <a:lnTo>
                      <a:pt x="432" y="844"/>
                    </a:lnTo>
                    <a:lnTo>
                      <a:pt x="428" y="844"/>
                    </a:lnTo>
                    <a:lnTo>
                      <a:pt x="418" y="844"/>
                    </a:lnTo>
                    <a:lnTo>
                      <a:pt x="414" y="844"/>
                    </a:lnTo>
                    <a:lnTo>
                      <a:pt x="410" y="844"/>
                    </a:lnTo>
                    <a:lnTo>
                      <a:pt x="408" y="844"/>
                    </a:lnTo>
                    <a:lnTo>
                      <a:pt x="404" y="844"/>
                    </a:lnTo>
                    <a:lnTo>
                      <a:pt x="396" y="844"/>
                    </a:lnTo>
                    <a:lnTo>
                      <a:pt x="392" y="844"/>
                    </a:lnTo>
                    <a:lnTo>
                      <a:pt x="388" y="844"/>
                    </a:lnTo>
                    <a:lnTo>
                      <a:pt x="380" y="844"/>
                    </a:lnTo>
                    <a:lnTo>
                      <a:pt x="378" y="844"/>
                    </a:lnTo>
                    <a:lnTo>
                      <a:pt x="374" y="844"/>
                    </a:lnTo>
                    <a:lnTo>
                      <a:pt x="370" y="844"/>
                    </a:lnTo>
                    <a:lnTo>
                      <a:pt x="366" y="844"/>
                    </a:lnTo>
                    <a:lnTo>
                      <a:pt x="362" y="844"/>
                    </a:lnTo>
                    <a:lnTo>
                      <a:pt x="358" y="844"/>
                    </a:lnTo>
                    <a:lnTo>
                      <a:pt x="354" y="844"/>
                    </a:lnTo>
                    <a:lnTo>
                      <a:pt x="340" y="844"/>
                    </a:lnTo>
                    <a:lnTo>
                      <a:pt x="336" y="844"/>
                    </a:lnTo>
                    <a:lnTo>
                      <a:pt x="332" y="844"/>
                    </a:lnTo>
                    <a:lnTo>
                      <a:pt x="328" y="844"/>
                    </a:lnTo>
                    <a:lnTo>
                      <a:pt x="324" y="844"/>
                    </a:lnTo>
                    <a:lnTo>
                      <a:pt x="322" y="844"/>
                    </a:lnTo>
                    <a:lnTo>
                      <a:pt x="314" y="844"/>
                    </a:lnTo>
                    <a:lnTo>
                      <a:pt x="310" y="844"/>
                    </a:lnTo>
                    <a:lnTo>
                      <a:pt x="306" y="844"/>
                    </a:lnTo>
                    <a:lnTo>
                      <a:pt x="298" y="844"/>
                    </a:lnTo>
                    <a:lnTo>
                      <a:pt x="294" y="844"/>
                    </a:lnTo>
                    <a:lnTo>
                      <a:pt x="292" y="844"/>
                    </a:lnTo>
                    <a:lnTo>
                      <a:pt x="284" y="844"/>
                    </a:lnTo>
                    <a:lnTo>
                      <a:pt x="268" y="844"/>
                    </a:lnTo>
                    <a:lnTo>
                      <a:pt x="266" y="844"/>
                    </a:lnTo>
                    <a:lnTo>
                      <a:pt x="262" y="844"/>
                    </a:lnTo>
                    <a:lnTo>
                      <a:pt x="258" y="844"/>
                    </a:lnTo>
                    <a:lnTo>
                      <a:pt x="254" y="844"/>
                    </a:lnTo>
                    <a:lnTo>
                      <a:pt x="250" y="844"/>
                    </a:lnTo>
                    <a:lnTo>
                      <a:pt x="250" y="840"/>
                    </a:lnTo>
                    <a:lnTo>
                      <a:pt x="254" y="840"/>
                    </a:lnTo>
                    <a:lnTo>
                      <a:pt x="258" y="840"/>
                    </a:lnTo>
                    <a:lnTo>
                      <a:pt x="258" y="836"/>
                    </a:lnTo>
                    <a:lnTo>
                      <a:pt x="254" y="836"/>
                    </a:lnTo>
                    <a:lnTo>
                      <a:pt x="254" y="840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4" y="828"/>
                    </a:lnTo>
                    <a:lnTo>
                      <a:pt x="250" y="832"/>
                    </a:lnTo>
                    <a:lnTo>
                      <a:pt x="246" y="832"/>
                    </a:lnTo>
                    <a:lnTo>
                      <a:pt x="246" y="836"/>
                    </a:lnTo>
                    <a:lnTo>
                      <a:pt x="242" y="836"/>
                    </a:lnTo>
                    <a:lnTo>
                      <a:pt x="242" y="832"/>
                    </a:lnTo>
                    <a:lnTo>
                      <a:pt x="238" y="832"/>
                    </a:lnTo>
                    <a:lnTo>
                      <a:pt x="238" y="828"/>
                    </a:lnTo>
                    <a:lnTo>
                      <a:pt x="242" y="828"/>
                    </a:lnTo>
                    <a:lnTo>
                      <a:pt x="242" y="832"/>
                    </a:lnTo>
                    <a:lnTo>
                      <a:pt x="246" y="832"/>
                    </a:lnTo>
                    <a:lnTo>
                      <a:pt x="246" y="828"/>
                    </a:lnTo>
                    <a:lnTo>
                      <a:pt x="246" y="832"/>
                    </a:lnTo>
                    <a:lnTo>
                      <a:pt x="242" y="832"/>
                    </a:lnTo>
                    <a:lnTo>
                      <a:pt x="242" y="828"/>
                    </a:lnTo>
                    <a:lnTo>
                      <a:pt x="242" y="824"/>
                    </a:lnTo>
                    <a:lnTo>
                      <a:pt x="242" y="822"/>
                    </a:lnTo>
                    <a:lnTo>
                      <a:pt x="238" y="822"/>
                    </a:lnTo>
                    <a:lnTo>
                      <a:pt x="242" y="822"/>
                    </a:lnTo>
                    <a:lnTo>
                      <a:pt x="242" y="824"/>
                    </a:lnTo>
                    <a:lnTo>
                      <a:pt x="238" y="824"/>
                    </a:lnTo>
                    <a:lnTo>
                      <a:pt x="242" y="824"/>
                    </a:lnTo>
                    <a:lnTo>
                      <a:pt x="242" y="828"/>
                    </a:lnTo>
                    <a:lnTo>
                      <a:pt x="238" y="828"/>
                    </a:lnTo>
                    <a:lnTo>
                      <a:pt x="238" y="824"/>
                    </a:lnTo>
                    <a:lnTo>
                      <a:pt x="238" y="828"/>
                    </a:lnTo>
                    <a:lnTo>
                      <a:pt x="236" y="828"/>
                    </a:lnTo>
                    <a:lnTo>
                      <a:pt x="232" y="828"/>
                    </a:lnTo>
                    <a:lnTo>
                      <a:pt x="232" y="824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32" y="824"/>
                    </a:lnTo>
                    <a:lnTo>
                      <a:pt x="232" y="822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32" y="814"/>
                    </a:lnTo>
                    <a:lnTo>
                      <a:pt x="236" y="814"/>
                    </a:lnTo>
                    <a:lnTo>
                      <a:pt x="232" y="814"/>
                    </a:lnTo>
                    <a:lnTo>
                      <a:pt x="232" y="818"/>
                    </a:lnTo>
                    <a:lnTo>
                      <a:pt x="228" y="818"/>
                    </a:lnTo>
                    <a:lnTo>
                      <a:pt x="224" y="818"/>
                    </a:lnTo>
                    <a:lnTo>
                      <a:pt x="224" y="814"/>
                    </a:lnTo>
                    <a:lnTo>
                      <a:pt x="228" y="814"/>
                    </a:lnTo>
                    <a:lnTo>
                      <a:pt x="228" y="810"/>
                    </a:lnTo>
                    <a:lnTo>
                      <a:pt x="228" y="806"/>
                    </a:lnTo>
                    <a:lnTo>
                      <a:pt x="228" y="810"/>
                    </a:lnTo>
                    <a:lnTo>
                      <a:pt x="228" y="814"/>
                    </a:lnTo>
                    <a:lnTo>
                      <a:pt x="224" y="814"/>
                    </a:lnTo>
                    <a:lnTo>
                      <a:pt x="220" y="814"/>
                    </a:lnTo>
                    <a:lnTo>
                      <a:pt x="220" y="810"/>
                    </a:lnTo>
                    <a:lnTo>
                      <a:pt x="216" y="810"/>
                    </a:lnTo>
                    <a:lnTo>
                      <a:pt x="216" y="814"/>
                    </a:lnTo>
                    <a:lnTo>
                      <a:pt x="212" y="814"/>
                    </a:lnTo>
                    <a:lnTo>
                      <a:pt x="210" y="814"/>
                    </a:lnTo>
                    <a:lnTo>
                      <a:pt x="210" y="810"/>
                    </a:lnTo>
                    <a:lnTo>
                      <a:pt x="212" y="810"/>
                    </a:lnTo>
                    <a:lnTo>
                      <a:pt x="216" y="810"/>
                    </a:lnTo>
                    <a:lnTo>
                      <a:pt x="220" y="806"/>
                    </a:lnTo>
                    <a:lnTo>
                      <a:pt x="220" y="802"/>
                    </a:lnTo>
                    <a:lnTo>
                      <a:pt x="216" y="802"/>
                    </a:lnTo>
                    <a:lnTo>
                      <a:pt x="216" y="806"/>
                    </a:lnTo>
                    <a:lnTo>
                      <a:pt x="216" y="810"/>
                    </a:lnTo>
                    <a:lnTo>
                      <a:pt x="212" y="810"/>
                    </a:lnTo>
                    <a:lnTo>
                      <a:pt x="210" y="810"/>
                    </a:lnTo>
                    <a:lnTo>
                      <a:pt x="210" y="806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2"/>
                    </a:lnTo>
                    <a:lnTo>
                      <a:pt x="210" y="806"/>
                    </a:lnTo>
                    <a:lnTo>
                      <a:pt x="206" y="802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8" y="806"/>
                    </a:lnTo>
                    <a:lnTo>
                      <a:pt x="194" y="806"/>
                    </a:lnTo>
                    <a:lnTo>
                      <a:pt x="190" y="802"/>
                    </a:lnTo>
                    <a:lnTo>
                      <a:pt x="194" y="802"/>
                    </a:lnTo>
                    <a:lnTo>
                      <a:pt x="198" y="802"/>
                    </a:lnTo>
                    <a:lnTo>
                      <a:pt x="202" y="802"/>
                    </a:lnTo>
                    <a:lnTo>
                      <a:pt x="202" y="798"/>
                    </a:lnTo>
                    <a:lnTo>
                      <a:pt x="202" y="802"/>
                    </a:lnTo>
                    <a:lnTo>
                      <a:pt x="198" y="802"/>
                    </a:lnTo>
                    <a:lnTo>
                      <a:pt x="194" y="802"/>
                    </a:lnTo>
                    <a:lnTo>
                      <a:pt x="190" y="798"/>
                    </a:lnTo>
                    <a:lnTo>
                      <a:pt x="190" y="802"/>
                    </a:lnTo>
                    <a:lnTo>
                      <a:pt x="186" y="798"/>
                    </a:lnTo>
                    <a:lnTo>
                      <a:pt x="190" y="794"/>
                    </a:lnTo>
                    <a:lnTo>
                      <a:pt x="194" y="798"/>
                    </a:lnTo>
                    <a:lnTo>
                      <a:pt x="194" y="794"/>
                    </a:lnTo>
                    <a:lnTo>
                      <a:pt x="198" y="794"/>
                    </a:lnTo>
                    <a:lnTo>
                      <a:pt x="194" y="794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90" y="794"/>
                    </a:lnTo>
                    <a:lnTo>
                      <a:pt x="190" y="792"/>
                    </a:lnTo>
                    <a:lnTo>
                      <a:pt x="194" y="788"/>
                    </a:lnTo>
                    <a:lnTo>
                      <a:pt x="198" y="788"/>
                    </a:lnTo>
                    <a:lnTo>
                      <a:pt x="202" y="792"/>
                    </a:lnTo>
                    <a:lnTo>
                      <a:pt x="202" y="788"/>
                    </a:lnTo>
                    <a:lnTo>
                      <a:pt x="206" y="788"/>
                    </a:lnTo>
                    <a:lnTo>
                      <a:pt x="202" y="788"/>
                    </a:lnTo>
                    <a:lnTo>
                      <a:pt x="198" y="788"/>
                    </a:lnTo>
                    <a:lnTo>
                      <a:pt x="194" y="788"/>
                    </a:lnTo>
                    <a:lnTo>
                      <a:pt x="190" y="788"/>
                    </a:lnTo>
                    <a:lnTo>
                      <a:pt x="194" y="788"/>
                    </a:lnTo>
                    <a:lnTo>
                      <a:pt x="194" y="784"/>
                    </a:lnTo>
                    <a:lnTo>
                      <a:pt x="190" y="788"/>
                    </a:lnTo>
                    <a:lnTo>
                      <a:pt x="190" y="792"/>
                    </a:lnTo>
                    <a:lnTo>
                      <a:pt x="190" y="794"/>
                    </a:lnTo>
                    <a:lnTo>
                      <a:pt x="186" y="794"/>
                    </a:lnTo>
                    <a:lnTo>
                      <a:pt x="186" y="792"/>
                    </a:lnTo>
                    <a:lnTo>
                      <a:pt x="186" y="788"/>
                    </a:lnTo>
                    <a:lnTo>
                      <a:pt x="186" y="784"/>
                    </a:lnTo>
                    <a:lnTo>
                      <a:pt x="190" y="784"/>
                    </a:lnTo>
                    <a:lnTo>
                      <a:pt x="190" y="780"/>
                    </a:lnTo>
                    <a:lnTo>
                      <a:pt x="190" y="776"/>
                    </a:lnTo>
                    <a:lnTo>
                      <a:pt x="194" y="776"/>
                    </a:lnTo>
                    <a:lnTo>
                      <a:pt x="198" y="776"/>
                    </a:lnTo>
                    <a:lnTo>
                      <a:pt x="202" y="780"/>
                    </a:lnTo>
                    <a:lnTo>
                      <a:pt x="202" y="784"/>
                    </a:lnTo>
                    <a:lnTo>
                      <a:pt x="202" y="780"/>
                    </a:lnTo>
                    <a:lnTo>
                      <a:pt x="202" y="776"/>
                    </a:lnTo>
                    <a:lnTo>
                      <a:pt x="198" y="776"/>
                    </a:lnTo>
                    <a:lnTo>
                      <a:pt x="202" y="772"/>
                    </a:lnTo>
                    <a:lnTo>
                      <a:pt x="198" y="772"/>
                    </a:lnTo>
                    <a:lnTo>
                      <a:pt x="198" y="776"/>
                    </a:lnTo>
                    <a:lnTo>
                      <a:pt x="194" y="772"/>
                    </a:lnTo>
                    <a:lnTo>
                      <a:pt x="194" y="768"/>
                    </a:lnTo>
                    <a:lnTo>
                      <a:pt x="198" y="768"/>
                    </a:lnTo>
                    <a:lnTo>
                      <a:pt x="198" y="766"/>
                    </a:lnTo>
                    <a:lnTo>
                      <a:pt x="198" y="768"/>
                    </a:lnTo>
                    <a:lnTo>
                      <a:pt x="194" y="768"/>
                    </a:lnTo>
                    <a:lnTo>
                      <a:pt x="194" y="772"/>
                    </a:lnTo>
                    <a:lnTo>
                      <a:pt x="190" y="772"/>
                    </a:lnTo>
                    <a:lnTo>
                      <a:pt x="190" y="776"/>
                    </a:lnTo>
                    <a:lnTo>
                      <a:pt x="186" y="776"/>
                    </a:lnTo>
                    <a:lnTo>
                      <a:pt x="186" y="772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6" y="768"/>
                    </a:lnTo>
                    <a:lnTo>
                      <a:pt x="182" y="768"/>
                    </a:lnTo>
                    <a:lnTo>
                      <a:pt x="182" y="772"/>
                    </a:lnTo>
                    <a:lnTo>
                      <a:pt x="180" y="776"/>
                    </a:lnTo>
                    <a:lnTo>
                      <a:pt x="180" y="772"/>
                    </a:lnTo>
                    <a:lnTo>
                      <a:pt x="180" y="768"/>
                    </a:lnTo>
                    <a:lnTo>
                      <a:pt x="182" y="768"/>
                    </a:lnTo>
                    <a:lnTo>
                      <a:pt x="182" y="766"/>
                    </a:lnTo>
                    <a:lnTo>
                      <a:pt x="182" y="762"/>
                    </a:lnTo>
                    <a:lnTo>
                      <a:pt x="182" y="766"/>
                    </a:lnTo>
                    <a:lnTo>
                      <a:pt x="180" y="766"/>
                    </a:lnTo>
                    <a:lnTo>
                      <a:pt x="176" y="762"/>
                    </a:lnTo>
                    <a:lnTo>
                      <a:pt x="176" y="758"/>
                    </a:lnTo>
                    <a:lnTo>
                      <a:pt x="172" y="754"/>
                    </a:lnTo>
                    <a:lnTo>
                      <a:pt x="172" y="750"/>
                    </a:lnTo>
                    <a:lnTo>
                      <a:pt x="176" y="750"/>
                    </a:lnTo>
                    <a:lnTo>
                      <a:pt x="176" y="754"/>
                    </a:lnTo>
                    <a:lnTo>
                      <a:pt x="180" y="750"/>
                    </a:lnTo>
                    <a:lnTo>
                      <a:pt x="182" y="750"/>
                    </a:lnTo>
                    <a:lnTo>
                      <a:pt x="182" y="754"/>
                    </a:lnTo>
                    <a:lnTo>
                      <a:pt x="186" y="754"/>
                    </a:lnTo>
                    <a:lnTo>
                      <a:pt x="182" y="754"/>
                    </a:lnTo>
                    <a:lnTo>
                      <a:pt x="182" y="750"/>
                    </a:lnTo>
                    <a:lnTo>
                      <a:pt x="180" y="750"/>
                    </a:lnTo>
                    <a:lnTo>
                      <a:pt x="176" y="750"/>
                    </a:lnTo>
                    <a:lnTo>
                      <a:pt x="172" y="746"/>
                    </a:lnTo>
                    <a:lnTo>
                      <a:pt x="172" y="742"/>
                    </a:lnTo>
                    <a:lnTo>
                      <a:pt x="176" y="742"/>
                    </a:lnTo>
                    <a:lnTo>
                      <a:pt x="176" y="738"/>
                    </a:lnTo>
                    <a:lnTo>
                      <a:pt x="172" y="742"/>
                    </a:lnTo>
                    <a:lnTo>
                      <a:pt x="168" y="746"/>
                    </a:lnTo>
                    <a:lnTo>
                      <a:pt x="168" y="750"/>
                    </a:lnTo>
                    <a:lnTo>
                      <a:pt x="164" y="754"/>
                    </a:lnTo>
                    <a:lnTo>
                      <a:pt x="164" y="750"/>
                    </a:lnTo>
                    <a:lnTo>
                      <a:pt x="160" y="750"/>
                    </a:lnTo>
                    <a:lnTo>
                      <a:pt x="160" y="746"/>
                    </a:lnTo>
                    <a:lnTo>
                      <a:pt x="156" y="742"/>
                    </a:lnTo>
                    <a:lnTo>
                      <a:pt x="152" y="742"/>
                    </a:lnTo>
                    <a:lnTo>
                      <a:pt x="152" y="738"/>
                    </a:lnTo>
                    <a:lnTo>
                      <a:pt x="152" y="736"/>
                    </a:lnTo>
                    <a:lnTo>
                      <a:pt x="156" y="736"/>
                    </a:lnTo>
                    <a:lnTo>
                      <a:pt x="160" y="736"/>
                    </a:lnTo>
                    <a:lnTo>
                      <a:pt x="164" y="736"/>
                    </a:lnTo>
                    <a:lnTo>
                      <a:pt x="160" y="736"/>
                    </a:lnTo>
                    <a:lnTo>
                      <a:pt x="156" y="736"/>
                    </a:lnTo>
                    <a:lnTo>
                      <a:pt x="152" y="736"/>
                    </a:lnTo>
                    <a:lnTo>
                      <a:pt x="152" y="732"/>
                    </a:lnTo>
                    <a:lnTo>
                      <a:pt x="150" y="732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0" y="728"/>
                    </a:lnTo>
                    <a:lnTo>
                      <a:pt x="152" y="728"/>
                    </a:lnTo>
                    <a:lnTo>
                      <a:pt x="152" y="732"/>
                    </a:lnTo>
                    <a:lnTo>
                      <a:pt x="156" y="732"/>
                    </a:lnTo>
                    <a:lnTo>
                      <a:pt x="152" y="728"/>
                    </a:lnTo>
                    <a:lnTo>
                      <a:pt x="150" y="728"/>
                    </a:lnTo>
                    <a:lnTo>
                      <a:pt x="150" y="724"/>
                    </a:lnTo>
                    <a:lnTo>
                      <a:pt x="152" y="724"/>
                    </a:lnTo>
                    <a:lnTo>
                      <a:pt x="156" y="724"/>
                    </a:lnTo>
                    <a:lnTo>
                      <a:pt x="156" y="728"/>
                    </a:lnTo>
                    <a:lnTo>
                      <a:pt x="156" y="724"/>
                    </a:lnTo>
                    <a:lnTo>
                      <a:pt x="152" y="724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6" y="716"/>
                    </a:lnTo>
                    <a:lnTo>
                      <a:pt x="160" y="716"/>
                    </a:lnTo>
                    <a:lnTo>
                      <a:pt x="156" y="716"/>
                    </a:lnTo>
                    <a:lnTo>
                      <a:pt x="156" y="712"/>
                    </a:lnTo>
                    <a:lnTo>
                      <a:pt x="160" y="708"/>
                    </a:lnTo>
                    <a:lnTo>
                      <a:pt x="164" y="708"/>
                    </a:lnTo>
                    <a:lnTo>
                      <a:pt x="164" y="706"/>
                    </a:lnTo>
                    <a:lnTo>
                      <a:pt x="160" y="708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06"/>
                    </a:lnTo>
                    <a:lnTo>
                      <a:pt x="160" y="706"/>
                    </a:lnTo>
                    <a:lnTo>
                      <a:pt x="160" y="708"/>
                    </a:lnTo>
                    <a:lnTo>
                      <a:pt x="156" y="712"/>
                    </a:lnTo>
                    <a:lnTo>
                      <a:pt x="156" y="716"/>
                    </a:lnTo>
                    <a:lnTo>
                      <a:pt x="152" y="716"/>
                    </a:lnTo>
                    <a:lnTo>
                      <a:pt x="152" y="712"/>
                    </a:lnTo>
                    <a:lnTo>
                      <a:pt x="156" y="712"/>
                    </a:lnTo>
                    <a:lnTo>
                      <a:pt x="156" y="708"/>
                    </a:lnTo>
                    <a:lnTo>
                      <a:pt x="152" y="706"/>
                    </a:lnTo>
                    <a:lnTo>
                      <a:pt x="152" y="702"/>
                    </a:lnTo>
                    <a:lnTo>
                      <a:pt x="152" y="698"/>
                    </a:lnTo>
                    <a:lnTo>
                      <a:pt x="156" y="698"/>
                    </a:lnTo>
                    <a:lnTo>
                      <a:pt x="156" y="694"/>
                    </a:lnTo>
                    <a:lnTo>
                      <a:pt x="152" y="694"/>
                    </a:lnTo>
                    <a:lnTo>
                      <a:pt x="150" y="694"/>
                    </a:lnTo>
                    <a:lnTo>
                      <a:pt x="150" y="690"/>
                    </a:lnTo>
                    <a:lnTo>
                      <a:pt x="146" y="690"/>
                    </a:lnTo>
                    <a:lnTo>
                      <a:pt x="146" y="686"/>
                    </a:lnTo>
                    <a:lnTo>
                      <a:pt x="142" y="686"/>
                    </a:lnTo>
                    <a:lnTo>
                      <a:pt x="138" y="686"/>
                    </a:lnTo>
                    <a:lnTo>
                      <a:pt x="138" y="682"/>
                    </a:lnTo>
                    <a:lnTo>
                      <a:pt x="134" y="682"/>
                    </a:lnTo>
                    <a:lnTo>
                      <a:pt x="130" y="682"/>
                    </a:lnTo>
                    <a:lnTo>
                      <a:pt x="130" y="680"/>
                    </a:lnTo>
                    <a:lnTo>
                      <a:pt x="126" y="676"/>
                    </a:lnTo>
                    <a:lnTo>
                      <a:pt x="126" y="672"/>
                    </a:lnTo>
                    <a:lnTo>
                      <a:pt x="124" y="672"/>
                    </a:lnTo>
                    <a:lnTo>
                      <a:pt x="124" y="668"/>
                    </a:lnTo>
                    <a:lnTo>
                      <a:pt x="124" y="664"/>
                    </a:lnTo>
                    <a:lnTo>
                      <a:pt x="120" y="664"/>
                    </a:lnTo>
                    <a:lnTo>
                      <a:pt x="120" y="660"/>
                    </a:lnTo>
                    <a:lnTo>
                      <a:pt x="116" y="656"/>
                    </a:lnTo>
                    <a:lnTo>
                      <a:pt x="116" y="652"/>
                    </a:lnTo>
                    <a:lnTo>
                      <a:pt x="112" y="652"/>
                    </a:lnTo>
                    <a:lnTo>
                      <a:pt x="112" y="650"/>
                    </a:lnTo>
                    <a:lnTo>
                      <a:pt x="112" y="646"/>
                    </a:lnTo>
                    <a:lnTo>
                      <a:pt x="108" y="646"/>
                    </a:lnTo>
                    <a:lnTo>
                      <a:pt x="108" y="642"/>
                    </a:lnTo>
                    <a:lnTo>
                      <a:pt x="104" y="638"/>
                    </a:lnTo>
                    <a:lnTo>
                      <a:pt x="100" y="638"/>
                    </a:lnTo>
                    <a:lnTo>
                      <a:pt x="100" y="634"/>
                    </a:lnTo>
                    <a:lnTo>
                      <a:pt x="96" y="634"/>
                    </a:lnTo>
                    <a:lnTo>
                      <a:pt x="96" y="630"/>
                    </a:lnTo>
                    <a:lnTo>
                      <a:pt x="94" y="630"/>
                    </a:lnTo>
                    <a:lnTo>
                      <a:pt x="94" y="626"/>
                    </a:lnTo>
                    <a:lnTo>
                      <a:pt x="90" y="626"/>
                    </a:lnTo>
                    <a:lnTo>
                      <a:pt x="90" y="622"/>
                    </a:lnTo>
                    <a:lnTo>
                      <a:pt x="86" y="622"/>
                    </a:lnTo>
                    <a:lnTo>
                      <a:pt x="82" y="620"/>
                    </a:lnTo>
                    <a:lnTo>
                      <a:pt x="86" y="620"/>
                    </a:lnTo>
                    <a:lnTo>
                      <a:pt x="86" y="616"/>
                    </a:lnTo>
                    <a:lnTo>
                      <a:pt x="82" y="616"/>
                    </a:lnTo>
                    <a:lnTo>
                      <a:pt x="80" y="612"/>
                    </a:lnTo>
                    <a:lnTo>
                      <a:pt x="76" y="612"/>
                    </a:lnTo>
                    <a:lnTo>
                      <a:pt x="72" y="612"/>
                    </a:lnTo>
                    <a:lnTo>
                      <a:pt x="72" y="616"/>
                    </a:lnTo>
                    <a:lnTo>
                      <a:pt x="68" y="616"/>
                    </a:lnTo>
                    <a:lnTo>
                      <a:pt x="68" y="620"/>
                    </a:lnTo>
                    <a:lnTo>
                      <a:pt x="64" y="620"/>
                    </a:lnTo>
                    <a:lnTo>
                      <a:pt x="64" y="622"/>
                    </a:lnTo>
                    <a:lnTo>
                      <a:pt x="64" y="626"/>
                    </a:lnTo>
                    <a:lnTo>
                      <a:pt x="60" y="626"/>
                    </a:lnTo>
                    <a:lnTo>
                      <a:pt x="56" y="626"/>
                    </a:lnTo>
                    <a:lnTo>
                      <a:pt x="54" y="626"/>
                    </a:lnTo>
                    <a:lnTo>
                      <a:pt x="54" y="630"/>
                    </a:lnTo>
                    <a:lnTo>
                      <a:pt x="50" y="630"/>
                    </a:lnTo>
                    <a:lnTo>
                      <a:pt x="50" y="626"/>
                    </a:lnTo>
                    <a:lnTo>
                      <a:pt x="50" y="622"/>
                    </a:lnTo>
                    <a:lnTo>
                      <a:pt x="46" y="620"/>
                    </a:lnTo>
                    <a:lnTo>
                      <a:pt x="42" y="616"/>
                    </a:lnTo>
                    <a:lnTo>
                      <a:pt x="38" y="616"/>
                    </a:lnTo>
                    <a:lnTo>
                      <a:pt x="34" y="612"/>
                    </a:lnTo>
                    <a:lnTo>
                      <a:pt x="34" y="608"/>
                    </a:lnTo>
                    <a:lnTo>
                      <a:pt x="30" y="608"/>
                    </a:lnTo>
                    <a:lnTo>
                      <a:pt x="26" y="604"/>
                    </a:lnTo>
                    <a:lnTo>
                      <a:pt x="26" y="600"/>
                    </a:lnTo>
                    <a:lnTo>
                      <a:pt x="26" y="596"/>
                    </a:lnTo>
                    <a:lnTo>
                      <a:pt x="24" y="596"/>
                    </a:lnTo>
                    <a:lnTo>
                      <a:pt x="20" y="596"/>
                    </a:lnTo>
                    <a:lnTo>
                      <a:pt x="20" y="600"/>
                    </a:lnTo>
                    <a:lnTo>
                      <a:pt x="16" y="600"/>
                    </a:lnTo>
                    <a:lnTo>
                      <a:pt x="8" y="600"/>
                    </a:lnTo>
                    <a:lnTo>
                      <a:pt x="0" y="600"/>
                    </a:lnTo>
                    <a:lnTo>
                      <a:pt x="0" y="596"/>
                    </a:lnTo>
                    <a:lnTo>
                      <a:pt x="0" y="586"/>
                    </a:lnTo>
                    <a:lnTo>
                      <a:pt x="0" y="546"/>
                    </a:lnTo>
                    <a:lnTo>
                      <a:pt x="0" y="534"/>
                    </a:lnTo>
                    <a:lnTo>
                      <a:pt x="0" y="520"/>
                    </a:lnTo>
                    <a:lnTo>
                      <a:pt x="0" y="516"/>
                    </a:lnTo>
                    <a:lnTo>
                      <a:pt x="0" y="508"/>
                    </a:lnTo>
                    <a:lnTo>
                      <a:pt x="0" y="486"/>
                    </a:lnTo>
                    <a:lnTo>
                      <a:pt x="0" y="474"/>
                    </a:lnTo>
                    <a:lnTo>
                      <a:pt x="0" y="464"/>
                    </a:lnTo>
                    <a:lnTo>
                      <a:pt x="0" y="452"/>
                    </a:lnTo>
                    <a:lnTo>
                      <a:pt x="0" y="448"/>
                    </a:lnTo>
                    <a:lnTo>
                      <a:pt x="0" y="444"/>
                    </a:lnTo>
                    <a:lnTo>
                      <a:pt x="0" y="440"/>
                    </a:lnTo>
                    <a:lnTo>
                      <a:pt x="0" y="434"/>
                    </a:lnTo>
                    <a:lnTo>
                      <a:pt x="0" y="430"/>
                    </a:lnTo>
                    <a:lnTo>
                      <a:pt x="0" y="422"/>
                    </a:lnTo>
                    <a:lnTo>
                      <a:pt x="0" y="418"/>
                    </a:lnTo>
                    <a:lnTo>
                      <a:pt x="0" y="414"/>
                    </a:lnTo>
                    <a:lnTo>
                      <a:pt x="0" y="410"/>
                    </a:lnTo>
                    <a:lnTo>
                      <a:pt x="0" y="404"/>
                    </a:lnTo>
                    <a:lnTo>
                      <a:pt x="0" y="392"/>
                    </a:lnTo>
                    <a:lnTo>
                      <a:pt x="0" y="380"/>
                    </a:lnTo>
                    <a:lnTo>
                      <a:pt x="0" y="378"/>
                    </a:lnTo>
                    <a:lnTo>
                      <a:pt x="0" y="374"/>
                    </a:lnTo>
                    <a:lnTo>
                      <a:pt x="4" y="374"/>
                    </a:lnTo>
                    <a:lnTo>
                      <a:pt x="4" y="378"/>
                    </a:lnTo>
                    <a:lnTo>
                      <a:pt x="8" y="378"/>
                    </a:lnTo>
                    <a:lnTo>
                      <a:pt x="12" y="378"/>
                    </a:lnTo>
                    <a:lnTo>
                      <a:pt x="16" y="378"/>
                    </a:lnTo>
                    <a:lnTo>
                      <a:pt x="20" y="378"/>
                    </a:ln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80"/>
                    </a:lnTo>
                    <a:lnTo>
                      <a:pt x="30" y="380"/>
                    </a:lnTo>
                    <a:lnTo>
                      <a:pt x="34" y="384"/>
                    </a:lnTo>
                    <a:lnTo>
                      <a:pt x="38" y="384"/>
                    </a:lnTo>
                    <a:lnTo>
                      <a:pt x="38" y="388"/>
                    </a:lnTo>
                    <a:lnTo>
                      <a:pt x="42" y="388"/>
                    </a:lnTo>
                    <a:lnTo>
                      <a:pt x="46" y="388"/>
                    </a:lnTo>
                    <a:lnTo>
                      <a:pt x="50" y="392"/>
                    </a:lnTo>
                    <a:lnTo>
                      <a:pt x="54" y="392"/>
                    </a:lnTo>
                    <a:lnTo>
                      <a:pt x="56" y="392"/>
                    </a:lnTo>
                    <a:lnTo>
                      <a:pt x="60" y="396"/>
                    </a:lnTo>
                    <a:lnTo>
                      <a:pt x="64" y="392"/>
                    </a:lnTo>
                    <a:lnTo>
                      <a:pt x="68" y="392"/>
                    </a:lnTo>
                    <a:lnTo>
                      <a:pt x="68" y="396"/>
                    </a:lnTo>
                    <a:lnTo>
                      <a:pt x="72" y="396"/>
                    </a:lnTo>
                    <a:lnTo>
                      <a:pt x="76" y="396"/>
                    </a:lnTo>
                    <a:lnTo>
                      <a:pt x="80" y="396"/>
                    </a:lnTo>
                    <a:lnTo>
                      <a:pt x="80" y="400"/>
                    </a:lnTo>
                    <a:lnTo>
                      <a:pt x="82" y="400"/>
                    </a:lnTo>
                    <a:lnTo>
                      <a:pt x="80" y="396"/>
                    </a:lnTo>
                    <a:lnTo>
                      <a:pt x="76" y="396"/>
                    </a:lnTo>
                    <a:lnTo>
                      <a:pt x="76" y="392"/>
                    </a:lnTo>
                    <a:lnTo>
                      <a:pt x="80" y="392"/>
                    </a:lnTo>
                    <a:lnTo>
                      <a:pt x="82" y="392"/>
                    </a:lnTo>
                    <a:lnTo>
                      <a:pt x="86" y="396"/>
                    </a:lnTo>
                    <a:lnTo>
                      <a:pt x="86" y="392"/>
                    </a:lnTo>
                    <a:lnTo>
                      <a:pt x="90" y="392"/>
                    </a:lnTo>
                    <a:lnTo>
                      <a:pt x="90" y="396"/>
                    </a:lnTo>
                    <a:lnTo>
                      <a:pt x="94" y="400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4" y="396"/>
                    </a:lnTo>
                    <a:lnTo>
                      <a:pt x="90" y="392"/>
                    </a:lnTo>
                    <a:lnTo>
                      <a:pt x="90" y="388"/>
                    </a:lnTo>
                    <a:lnTo>
                      <a:pt x="94" y="388"/>
                    </a:lnTo>
                    <a:lnTo>
                      <a:pt x="96" y="384"/>
                    </a:lnTo>
                    <a:lnTo>
                      <a:pt x="100" y="384"/>
                    </a:lnTo>
                    <a:lnTo>
                      <a:pt x="104" y="380"/>
                    </a:lnTo>
                    <a:lnTo>
                      <a:pt x="108" y="380"/>
                    </a:lnTo>
                    <a:lnTo>
                      <a:pt x="112" y="380"/>
                    </a:lnTo>
                    <a:lnTo>
                      <a:pt x="112" y="378"/>
                    </a:lnTo>
                    <a:lnTo>
                      <a:pt x="116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0" y="374"/>
                    </a:lnTo>
                    <a:lnTo>
                      <a:pt x="124" y="374"/>
                    </a:lnTo>
                    <a:lnTo>
                      <a:pt x="126" y="374"/>
                    </a:lnTo>
                    <a:lnTo>
                      <a:pt x="130" y="374"/>
                    </a:lnTo>
                    <a:lnTo>
                      <a:pt x="130" y="370"/>
                    </a:lnTo>
                    <a:lnTo>
                      <a:pt x="134" y="370"/>
                    </a:lnTo>
                    <a:lnTo>
                      <a:pt x="134" y="366"/>
                    </a:lnTo>
                    <a:lnTo>
                      <a:pt x="138" y="366"/>
                    </a:lnTo>
                    <a:lnTo>
                      <a:pt x="138" y="370"/>
                    </a:lnTo>
                    <a:lnTo>
                      <a:pt x="142" y="370"/>
                    </a:lnTo>
                    <a:lnTo>
                      <a:pt x="142" y="366"/>
                    </a:lnTo>
                    <a:lnTo>
                      <a:pt x="142" y="362"/>
                    </a:lnTo>
                    <a:lnTo>
                      <a:pt x="146" y="362"/>
                    </a:lnTo>
                    <a:lnTo>
                      <a:pt x="150" y="362"/>
                    </a:lnTo>
                    <a:lnTo>
                      <a:pt x="152" y="366"/>
                    </a:lnTo>
                    <a:lnTo>
                      <a:pt x="156" y="362"/>
                    </a:lnTo>
                    <a:lnTo>
                      <a:pt x="156" y="358"/>
                    </a:lnTo>
                    <a:lnTo>
                      <a:pt x="160" y="358"/>
                    </a:lnTo>
                    <a:lnTo>
                      <a:pt x="164" y="362"/>
                    </a:lnTo>
                    <a:lnTo>
                      <a:pt x="164" y="366"/>
                    </a:lnTo>
                    <a:lnTo>
                      <a:pt x="160" y="366"/>
                    </a:lnTo>
                    <a:lnTo>
                      <a:pt x="156" y="370"/>
                    </a:lnTo>
                    <a:lnTo>
                      <a:pt x="152" y="370"/>
                    </a:lnTo>
                    <a:lnTo>
                      <a:pt x="150" y="370"/>
                    </a:lnTo>
                    <a:lnTo>
                      <a:pt x="150" y="374"/>
                    </a:lnTo>
                    <a:lnTo>
                      <a:pt x="146" y="374"/>
                    </a:lnTo>
                    <a:lnTo>
                      <a:pt x="142" y="378"/>
                    </a:lnTo>
                    <a:lnTo>
                      <a:pt x="142" y="374"/>
                    </a:lnTo>
                    <a:lnTo>
                      <a:pt x="138" y="374"/>
                    </a:lnTo>
                    <a:lnTo>
                      <a:pt x="138" y="378"/>
                    </a:lnTo>
                    <a:lnTo>
                      <a:pt x="134" y="378"/>
                    </a:lnTo>
                    <a:lnTo>
                      <a:pt x="130" y="378"/>
                    </a:lnTo>
                    <a:lnTo>
                      <a:pt x="126" y="378"/>
                    </a:lnTo>
                    <a:lnTo>
                      <a:pt x="126" y="380"/>
                    </a:lnTo>
                    <a:lnTo>
                      <a:pt x="124" y="384"/>
                    </a:lnTo>
                    <a:lnTo>
                      <a:pt x="120" y="384"/>
                    </a:lnTo>
                    <a:lnTo>
                      <a:pt x="116" y="384"/>
                    </a:lnTo>
                    <a:lnTo>
                      <a:pt x="116" y="388"/>
                    </a:lnTo>
                    <a:lnTo>
                      <a:pt x="112" y="388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12" y="392"/>
                    </a:lnTo>
                    <a:lnTo>
                      <a:pt x="108" y="392"/>
                    </a:lnTo>
                    <a:lnTo>
                      <a:pt x="108" y="396"/>
                    </a:lnTo>
                    <a:lnTo>
                      <a:pt x="108" y="392"/>
                    </a:lnTo>
                    <a:lnTo>
                      <a:pt x="104" y="396"/>
                    </a:lnTo>
                    <a:lnTo>
                      <a:pt x="108" y="396"/>
                    </a:lnTo>
                    <a:lnTo>
                      <a:pt x="112" y="400"/>
                    </a:lnTo>
                    <a:lnTo>
                      <a:pt x="116" y="400"/>
                    </a:lnTo>
                    <a:lnTo>
                      <a:pt x="112" y="400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08" y="396"/>
                    </a:lnTo>
                    <a:lnTo>
                      <a:pt x="112" y="396"/>
                    </a:lnTo>
                    <a:lnTo>
                      <a:pt x="116" y="396"/>
                    </a:lnTo>
                    <a:lnTo>
                      <a:pt x="120" y="396"/>
                    </a:lnTo>
                    <a:lnTo>
                      <a:pt x="124" y="396"/>
                    </a:lnTo>
                    <a:lnTo>
                      <a:pt x="120" y="392"/>
                    </a:lnTo>
                    <a:lnTo>
                      <a:pt x="120" y="396"/>
                    </a:lnTo>
                    <a:lnTo>
                      <a:pt x="116" y="396"/>
                    </a:lnTo>
                    <a:lnTo>
                      <a:pt x="116" y="392"/>
                    </a:lnTo>
                    <a:lnTo>
                      <a:pt x="116" y="388"/>
                    </a:lnTo>
                    <a:lnTo>
                      <a:pt x="120" y="388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4" y="388"/>
                    </a:lnTo>
                    <a:lnTo>
                      <a:pt x="124" y="384"/>
                    </a:lnTo>
                    <a:lnTo>
                      <a:pt x="126" y="384"/>
                    </a:lnTo>
                    <a:lnTo>
                      <a:pt x="130" y="384"/>
                    </a:lnTo>
                    <a:lnTo>
                      <a:pt x="130" y="380"/>
                    </a:lnTo>
                    <a:lnTo>
                      <a:pt x="126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34" y="384"/>
                    </a:lnTo>
                    <a:lnTo>
                      <a:pt x="138" y="384"/>
                    </a:lnTo>
                    <a:lnTo>
                      <a:pt x="138" y="380"/>
                    </a:lnTo>
                    <a:lnTo>
                      <a:pt x="138" y="378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38" y="378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38" y="384"/>
                    </a:lnTo>
                    <a:lnTo>
                      <a:pt x="142" y="380"/>
                    </a:lnTo>
                    <a:lnTo>
                      <a:pt x="142" y="378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8"/>
                    </a:lnTo>
                    <a:lnTo>
                      <a:pt x="142" y="384"/>
                    </a:lnTo>
                    <a:lnTo>
                      <a:pt x="146" y="380"/>
                    </a:lnTo>
                    <a:lnTo>
                      <a:pt x="150" y="378"/>
                    </a:lnTo>
                    <a:lnTo>
                      <a:pt x="150" y="374"/>
                    </a:lnTo>
                    <a:lnTo>
                      <a:pt x="152" y="374"/>
                    </a:lnTo>
                    <a:lnTo>
                      <a:pt x="156" y="374"/>
                    </a:lnTo>
                    <a:lnTo>
                      <a:pt x="160" y="370"/>
                    </a:lnTo>
                    <a:lnTo>
                      <a:pt x="164" y="370"/>
                    </a:lnTo>
                    <a:lnTo>
                      <a:pt x="168" y="370"/>
                    </a:lnTo>
                    <a:lnTo>
                      <a:pt x="168" y="366"/>
                    </a:lnTo>
                    <a:lnTo>
                      <a:pt x="172" y="366"/>
                    </a:lnTo>
                    <a:lnTo>
                      <a:pt x="172" y="370"/>
                    </a:lnTo>
                    <a:lnTo>
                      <a:pt x="168" y="370"/>
                    </a:lnTo>
                    <a:lnTo>
                      <a:pt x="168" y="374"/>
                    </a:lnTo>
                    <a:lnTo>
                      <a:pt x="172" y="374"/>
                    </a:lnTo>
                    <a:lnTo>
                      <a:pt x="176" y="370"/>
                    </a:lnTo>
                    <a:lnTo>
                      <a:pt x="180" y="366"/>
                    </a:lnTo>
                    <a:lnTo>
                      <a:pt x="180" y="362"/>
                    </a:lnTo>
                    <a:lnTo>
                      <a:pt x="182" y="362"/>
                    </a:lnTo>
                    <a:lnTo>
                      <a:pt x="186" y="362"/>
                    </a:lnTo>
                    <a:lnTo>
                      <a:pt x="190" y="358"/>
                    </a:lnTo>
                    <a:lnTo>
                      <a:pt x="186" y="358"/>
                    </a:lnTo>
                    <a:lnTo>
                      <a:pt x="182" y="358"/>
                    </a:lnTo>
                    <a:lnTo>
                      <a:pt x="186" y="354"/>
                    </a:lnTo>
                    <a:lnTo>
                      <a:pt x="182" y="354"/>
                    </a:lnTo>
                    <a:lnTo>
                      <a:pt x="182" y="350"/>
                    </a:lnTo>
                    <a:lnTo>
                      <a:pt x="186" y="350"/>
                    </a:lnTo>
                    <a:lnTo>
                      <a:pt x="186" y="354"/>
                    </a:lnTo>
                    <a:lnTo>
                      <a:pt x="190" y="354"/>
                    </a:lnTo>
                    <a:lnTo>
                      <a:pt x="194" y="358"/>
                    </a:lnTo>
                    <a:lnTo>
                      <a:pt x="198" y="358"/>
                    </a:lnTo>
                    <a:lnTo>
                      <a:pt x="198" y="362"/>
                    </a:lnTo>
                    <a:lnTo>
                      <a:pt x="198" y="366"/>
                    </a:lnTo>
                    <a:lnTo>
                      <a:pt x="202" y="370"/>
                    </a:lnTo>
                    <a:lnTo>
                      <a:pt x="202" y="374"/>
                    </a:lnTo>
                    <a:lnTo>
                      <a:pt x="206" y="374"/>
                    </a:lnTo>
                    <a:lnTo>
                      <a:pt x="210" y="378"/>
                    </a:lnTo>
                    <a:lnTo>
                      <a:pt x="210" y="380"/>
                    </a:lnTo>
                    <a:lnTo>
                      <a:pt x="212" y="380"/>
                    </a:lnTo>
                    <a:lnTo>
                      <a:pt x="220" y="380"/>
                    </a:lnTo>
                    <a:lnTo>
                      <a:pt x="220" y="384"/>
                    </a:lnTo>
                    <a:lnTo>
                      <a:pt x="220" y="380"/>
                    </a:lnTo>
                    <a:lnTo>
                      <a:pt x="224" y="380"/>
                    </a:lnTo>
                    <a:lnTo>
                      <a:pt x="220" y="380"/>
                    </a:lnTo>
                    <a:lnTo>
                      <a:pt x="216" y="380"/>
                    </a:lnTo>
                    <a:lnTo>
                      <a:pt x="220" y="378"/>
                    </a:lnTo>
                    <a:lnTo>
                      <a:pt x="224" y="378"/>
                    </a:lnTo>
                    <a:lnTo>
                      <a:pt x="220" y="374"/>
                    </a:lnTo>
                    <a:lnTo>
                      <a:pt x="224" y="374"/>
                    </a:lnTo>
                    <a:lnTo>
                      <a:pt x="228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28" y="366"/>
                    </a:lnTo>
                    <a:lnTo>
                      <a:pt x="232" y="366"/>
                    </a:lnTo>
                    <a:lnTo>
                      <a:pt x="228" y="366"/>
                    </a:lnTo>
                    <a:lnTo>
                      <a:pt x="224" y="366"/>
                    </a:lnTo>
                    <a:lnTo>
                      <a:pt x="228" y="362"/>
                    </a:lnTo>
                    <a:lnTo>
                      <a:pt x="228" y="366"/>
                    </a:lnTo>
                    <a:lnTo>
                      <a:pt x="232" y="362"/>
                    </a:lnTo>
                    <a:lnTo>
                      <a:pt x="232" y="366"/>
                    </a:lnTo>
                    <a:lnTo>
                      <a:pt x="236" y="366"/>
                    </a:lnTo>
                    <a:lnTo>
                      <a:pt x="236" y="362"/>
                    </a:lnTo>
                    <a:lnTo>
                      <a:pt x="232" y="362"/>
                    </a:lnTo>
                    <a:lnTo>
                      <a:pt x="236" y="362"/>
                    </a:lnTo>
                    <a:lnTo>
                      <a:pt x="236" y="366"/>
                    </a:lnTo>
                    <a:lnTo>
                      <a:pt x="236" y="370"/>
                    </a:lnTo>
                    <a:lnTo>
                      <a:pt x="236" y="374"/>
                    </a:lnTo>
                    <a:lnTo>
                      <a:pt x="238" y="374"/>
                    </a:lnTo>
                    <a:lnTo>
                      <a:pt x="238" y="378"/>
                    </a:lnTo>
                    <a:lnTo>
                      <a:pt x="236" y="378"/>
                    </a:lnTo>
                    <a:lnTo>
                      <a:pt x="232" y="380"/>
                    </a:lnTo>
                    <a:lnTo>
                      <a:pt x="236" y="380"/>
                    </a:lnTo>
                    <a:lnTo>
                      <a:pt x="238" y="380"/>
                    </a:lnTo>
                    <a:lnTo>
                      <a:pt x="242" y="380"/>
                    </a:lnTo>
                    <a:lnTo>
                      <a:pt x="246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4"/>
                    </a:lnTo>
                    <a:lnTo>
                      <a:pt x="254" y="370"/>
                    </a:lnTo>
                    <a:lnTo>
                      <a:pt x="258" y="370"/>
                    </a:lnTo>
                    <a:lnTo>
                      <a:pt x="262" y="370"/>
                    </a:lnTo>
                    <a:lnTo>
                      <a:pt x="266" y="370"/>
                    </a:lnTo>
                    <a:lnTo>
                      <a:pt x="268" y="370"/>
                    </a:lnTo>
                    <a:lnTo>
                      <a:pt x="272" y="370"/>
                    </a:lnTo>
                    <a:lnTo>
                      <a:pt x="276" y="374"/>
                    </a:lnTo>
                    <a:lnTo>
                      <a:pt x="280" y="374"/>
                    </a:lnTo>
                    <a:lnTo>
                      <a:pt x="284" y="374"/>
                    </a:lnTo>
                    <a:lnTo>
                      <a:pt x="284" y="378"/>
                    </a:lnTo>
                    <a:lnTo>
                      <a:pt x="288" y="378"/>
                    </a:lnTo>
                    <a:lnTo>
                      <a:pt x="292" y="380"/>
                    </a:lnTo>
                    <a:lnTo>
                      <a:pt x="294" y="380"/>
                    </a:lnTo>
                    <a:lnTo>
                      <a:pt x="298" y="380"/>
                    </a:lnTo>
                    <a:lnTo>
                      <a:pt x="302" y="384"/>
                    </a:lnTo>
                    <a:lnTo>
                      <a:pt x="306" y="384"/>
                    </a:lnTo>
                    <a:lnTo>
                      <a:pt x="310" y="384"/>
                    </a:lnTo>
                    <a:lnTo>
                      <a:pt x="314" y="384"/>
                    </a:lnTo>
                    <a:lnTo>
                      <a:pt x="318" y="384"/>
                    </a:lnTo>
                    <a:lnTo>
                      <a:pt x="318" y="388"/>
                    </a:lnTo>
                    <a:lnTo>
                      <a:pt x="322" y="388"/>
                    </a:lnTo>
                    <a:lnTo>
                      <a:pt x="324" y="388"/>
                    </a:lnTo>
                    <a:lnTo>
                      <a:pt x="324" y="392"/>
                    </a:lnTo>
                    <a:lnTo>
                      <a:pt x="328" y="392"/>
                    </a:lnTo>
                    <a:lnTo>
                      <a:pt x="332" y="392"/>
                    </a:lnTo>
                    <a:lnTo>
                      <a:pt x="336" y="392"/>
                    </a:lnTo>
                    <a:lnTo>
                      <a:pt x="336" y="396"/>
                    </a:lnTo>
                    <a:lnTo>
                      <a:pt x="340" y="392"/>
                    </a:lnTo>
                    <a:lnTo>
                      <a:pt x="344" y="396"/>
                    </a:lnTo>
                    <a:lnTo>
                      <a:pt x="348" y="396"/>
                    </a:lnTo>
                    <a:lnTo>
                      <a:pt x="352" y="396"/>
                    </a:lnTo>
                    <a:lnTo>
                      <a:pt x="354" y="396"/>
                    </a:lnTo>
                    <a:lnTo>
                      <a:pt x="352" y="396"/>
                    </a:lnTo>
                    <a:lnTo>
                      <a:pt x="352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54" y="392"/>
                    </a:lnTo>
                    <a:lnTo>
                      <a:pt x="358" y="392"/>
                    </a:lnTo>
                    <a:lnTo>
                      <a:pt x="362" y="392"/>
                    </a:lnTo>
                    <a:lnTo>
                      <a:pt x="366" y="396"/>
                    </a:lnTo>
                    <a:lnTo>
                      <a:pt x="370" y="396"/>
                    </a:lnTo>
                    <a:lnTo>
                      <a:pt x="374" y="396"/>
                    </a:lnTo>
                    <a:lnTo>
                      <a:pt x="374" y="400"/>
                    </a:lnTo>
                    <a:lnTo>
                      <a:pt x="378" y="400"/>
                    </a:lnTo>
                    <a:lnTo>
                      <a:pt x="378" y="404"/>
                    </a:lnTo>
                    <a:lnTo>
                      <a:pt x="380" y="404"/>
                    </a:lnTo>
                    <a:lnTo>
                      <a:pt x="380" y="410"/>
                    </a:lnTo>
                    <a:lnTo>
                      <a:pt x="378" y="410"/>
                    </a:lnTo>
                    <a:lnTo>
                      <a:pt x="374" y="410"/>
                    </a:lnTo>
                    <a:lnTo>
                      <a:pt x="370" y="410"/>
                    </a:lnTo>
                    <a:lnTo>
                      <a:pt x="366" y="410"/>
                    </a:lnTo>
                    <a:lnTo>
                      <a:pt x="366" y="414"/>
                    </a:lnTo>
                    <a:lnTo>
                      <a:pt x="366" y="418"/>
                    </a:lnTo>
                    <a:lnTo>
                      <a:pt x="362" y="418"/>
                    </a:lnTo>
                    <a:lnTo>
                      <a:pt x="366" y="418"/>
                    </a:lnTo>
                    <a:lnTo>
                      <a:pt x="366" y="422"/>
                    </a:lnTo>
                    <a:lnTo>
                      <a:pt x="370" y="422"/>
                    </a:lnTo>
                    <a:lnTo>
                      <a:pt x="374" y="422"/>
                    </a:lnTo>
                    <a:lnTo>
                      <a:pt x="378" y="422"/>
                    </a:lnTo>
                    <a:lnTo>
                      <a:pt x="380" y="422"/>
                    </a:lnTo>
                    <a:lnTo>
                      <a:pt x="384" y="422"/>
                    </a:lnTo>
                    <a:lnTo>
                      <a:pt x="388" y="422"/>
                    </a:lnTo>
                    <a:lnTo>
                      <a:pt x="392" y="422"/>
                    </a:lnTo>
                    <a:lnTo>
                      <a:pt x="396" y="422"/>
                    </a:lnTo>
                    <a:lnTo>
                      <a:pt x="396" y="426"/>
                    </a:lnTo>
                    <a:lnTo>
                      <a:pt x="400" y="426"/>
                    </a:lnTo>
                    <a:lnTo>
                      <a:pt x="404" y="426"/>
                    </a:lnTo>
                    <a:lnTo>
                      <a:pt x="408" y="426"/>
                    </a:lnTo>
                    <a:lnTo>
                      <a:pt x="408" y="422"/>
                    </a:lnTo>
                    <a:lnTo>
                      <a:pt x="410" y="422"/>
                    </a:lnTo>
                    <a:lnTo>
                      <a:pt x="414" y="422"/>
                    </a:lnTo>
                    <a:lnTo>
                      <a:pt x="418" y="422"/>
                    </a:lnTo>
                    <a:lnTo>
                      <a:pt x="422" y="422"/>
                    </a:lnTo>
                    <a:lnTo>
                      <a:pt x="424" y="422"/>
                    </a:lnTo>
                    <a:lnTo>
                      <a:pt x="428" y="422"/>
                    </a:lnTo>
                    <a:lnTo>
                      <a:pt x="428" y="418"/>
                    </a:lnTo>
                    <a:lnTo>
                      <a:pt x="432" y="418"/>
                    </a:lnTo>
                    <a:lnTo>
                      <a:pt x="436" y="418"/>
                    </a:lnTo>
                    <a:lnTo>
                      <a:pt x="436" y="414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0" y="418"/>
                    </a:lnTo>
                    <a:lnTo>
                      <a:pt x="440" y="422"/>
                    </a:lnTo>
                    <a:lnTo>
                      <a:pt x="444" y="422"/>
                    </a:lnTo>
                    <a:lnTo>
                      <a:pt x="444" y="426"/>
                    </a:lnTo>
                    <a:lnTo>
                      <a:pt x="444" y="422"/>
                    </a:lnTo>
                    <a:lnTo>
                      <a:pt x="448" y="422"/>
                    </a:lnTo>
                    <a:lnTo>
                      <a:pt x="450" y="422"/>
                    </a:lnTo>
                    <a:lnTo>
                      <a:pt x="450" y="426"/>
                    </a:lnTo>
                    <a:lnTo>
                      <a:pt x="454" y="430"/>
                    </a:lnTo>
                    <a:lnTo>
                      <a:pt x="450" y="430"/>
                    </a:lnTo>
                    <a:lnTo>
                      <a:pt x="454" y="430"/>
                    </a:lnTo>
                    <a:lnTo>
                      <a:pt x="454" y="434"/>
                    </a:lnTo>
                    <a:lnTo>
                      <a:pt x="454" y="430"/>
                    </a:lnTo>
                    <a:lnTo>
                      <a:pt x="454" y="426"/>
                    </a:lnTo>
                    <a:lnTo>
                      <a:pt x="458" y="426"/>
                    </a:lnTo>
                    <a:lnTo>
                      <a:pt x="458" y="430"/>
                    </a:lnTo>
                    <a:lnTo>
                      <a:pt x="458" y="434"/>
                    </a:lnTo>
                    <a:lnTo>
                      <a:pt x="462" y="434"/>
                    </a:lnTo>
                    <a:lnTo>
                      <a:pt x="458" y="430"/>
                    </a:lnTo>
                    <a:lnTo>
                      <a:pt x="462" y="430"/>
                    </a:lnTo>
                    <a:lnTo>
                      <a:pt x="466" y="434"/>
                    </a:lnTo>
                    <a:lnTo>
                      <a:pt x="466" y="436"/>
                    </a:lnTo>
                    <a:lnTo>
                      <a:pt x="470" y="436"/>
                    </a:lnTo>
                    <a:lnTo>
                      <a:pt x="470" y="440"/>
                    </a:lnTo>
                    <a:lnTo>
                      <a:pt x="466" y="440"/>
                    </a:lnTo>
                    <a:lnTo>
                      <a:pt x="462" y="440"/>
                    </a:lnTo>
                    <a:lnTo>
                      <a:pt x="458" y="440"/>
                    </a:lnTo>
                    <a:lnTo>
                      <a:pt x="458" y="436"/>
                    </a:lnTo>
                    <a:lnTo>
                      <a:pt x="458" y="440"/>
                    </a:lnTo>
                    <a:lnTo>
                      <a:pt x="462" y="440"/>
                    </a:lnTo>
                    <a:lnTo>
                      <a:pt x="466" y="440"/>
                    </a:lnTo>
                    <a:lnTo>
                      <a:pt x="466" y="444"/>
                    </a:lnTo>
                    <a:lnTo>
                      <a:pt x="466" y="448"/>
                    </a:lnTo>
                    <a:lnTo>
                      <a:pt x="470" y="448"/>
                    </a:lnTo>
                    <a:lnTo>
                      <a:pt x="470" y="452"/>
                    </a:lnTo>
                    <a:lnTo>
                      <a:pt x="474" y="452"/>
                    </a:lnTo>
                    <a:lnTo>
                      <a:pt x="474" y="456"/>
                    </a:lnTo>
                    <a:lnTo>
                      <a:pt x="478" y="456"/>
                    </a:lnTo>
                    <a:lnTo>
                      <a:pt x="474" y="452"/>
                    </a:lnTo>
                    <a:lnTo>
                      <a:pt x="474" y="448"/>
                    </a:lnTo>
                    <a:lnTo>
                      <a:pt x="470" y="448"/>
                    </a:lnTo>
                    <a:lnTo>
                      <a:pt x="470" y="444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0" y="440"/>
                    </a:lnTo>
                    <a:lnTo>
                      <a:pt x="474" y="444"/>
                    </a:lnTo>
                    <a:lnTo>
                      <a:pt x="474" y="440"/>
                    </a:lnTo>
                    <a:lnTo>
                      <a:pt x="478" y="440"/>
                    </a:lnTo>
                    <a:lnTo>
                      <a:pt x="478" y="444"/>
                    </a:lnTo>
                    <a:lnTo>
                      <a:pt x="480" y="444"/>
                    </a:lnTo>
                    <a:lnTo>
                      <a:pt x="478" y="444"/>
                    </a:lnTo>
                    <a:lnTo>
                      <a:pt x="478" y="440"/>
                    </a:lnTo>
                    <a:lnTo>
                      <a:pt x="478" y="436"/>
                    </a:lnTo>
                    <a:lnTo>
                      <a:pt x="474" y="436"/>
                    </a:lnTo>
                    <a:lnTo>
                      <a:pt x="470" y="434"/>
                    </a:lnTo>
                    <a:lnTo>
                      <a:pt x="474" y="430"/>
                    </a:lnTo>
                    <a:lnTo>
                      <a:pt x="470" y="426"/>
                    </a:lnTo>
                    <a:lnTo>
                      <a:pt x="466" y="426"/>
                    </a:lnTo>
                    <a:lnTo>
                      <a:pt x="466" y="422"/>
                    </a:lnTo>
                    <a:lnTo>
                      <a:pt x="466" y="418"/>
                    </a:lnTo>
                    <a:lnTo>
                      <a:pt x="470" y="418"/>
                    </a:lnTo>
                    <a:lnTo>
                      <a:pt x="466" y="414"/>
                    </a:lnTo>
                    <a:lnTo>
                      <a:pt x="470" y="414"/>
                    </a:lnTo>
                    <a:lnTo>
                      <a:pt x="474" y="414"/>
                    </a:lnTo>
                    <a:lnTo>
                      <a:pt x="478" y="414"/>
                    </a:lnTo>
                    <a:lnTo>
                      <a:pt x="480" y="414"/>
                    </a:lnTo>
                    <a:lnTo>
                      <a:pt x="484" y="414"/>
                    </a:lnTo>
                    <a:lnTo>
                      <a:pt x="484" y="410"/>
                    </a:lnTo>
                    <a:lnTo>
                      <a:pt x="488" y="410"/>
                    </a:lnTo>
                    <a:lnTo>
                      <a:pt x="488" y="408"/>
                    </a:lnTo>
                    <a:lnTo>
                      <a:pt x="492" y="408"/>
                    </a:lnTo>
                    <a:lnTo>
                      <a:pt x="500" y="408"/>
                    </a:lnTo>
                    <a:lnTo>
                      <a:pt x="500" y="404"/>
                    </a:lnTo>
                    <a:lnTo>
                      <a:pt x="500" y="400"/>
                    </a:lnTo>
                    <a:lnTo>
                      <a:pt x="496" y="400"/>
                    </a:lnTo>
                    <a:lnTo>
                      <a:pt x="492" y="404"/>
                    </a:lnTo>
                    <a:lnTo>
                      <a:pt x="488" y="404"/>
                    </a:lnTo>
                    <a:lnTo>
                      <a:pt x="484" y="404"/>
                    </a:lnTo>
                    <a:lnTo>
                      <a:pt x="488" y="408"/>
                    </a:lnTo>
                    <a:lnTo>
                      <a:pt x="484" y="408"/>
                    </a:lnTo>
                    <a:lnTo>
                      <a:pt x="480" y="408"/>
                    </a:lnTo>
                    <a:lnTo>
                      <a:pt x="478" y="410"/>
                    </a:lnTo>
                    <a:lnTo>
                      <a:pt x="478" y="408"/>
                    </a:lnTo>
                    <a:lnTo>
                      <a:pt x="474" y="408"/>
                    </a:lnTo>
                    <a:lnTo>
                      <a:pt x="470" y="408"/>
                    </a:lnTo>
                    <a:lnTo>
                      <a:pt x="470" y="410"/>
                    </a:lnTo>
                    <a:lnTo>
                      <a:pt x="474" y="410"/>
                    </a:lnTo>
                    <a:lnTo>
                      <a:pt x="470" y="410"/>
                    </a:lnTo>
                    <a:lnTo>
                      <a:pt x="466" y="410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14"/>
                    </a:lnTo>
                    <a:lnTo>
                      <a:pt x="462" y="410"/>
                    </a:lnTo>
                    <a:lnTo>
                      <a:pt x="462" y="408"/>
                    </a:lnTo>
                    <a:lnTo>
                      <a:pt x="458" y="408"/>
                    </a:lnTo>
                    <a:lnTo>
                      <a:pt x="458" y="410"/>
                    </a:lnTo>
                    <a:lnTo>
                      <a:pt x="454" y="410"/>
                    </a:lnTo>
                    <a:lnTo>
                      <a:pt x="454" y="408"/>
                    </a:lnTo>
                    <a:lnTo>
                      <a:pt x="458" y="408"/>
                    </a:lnTo>
                    <a:lnTo>
                      <a:pt x="458" y="404"/>
                    </a:lnTo>
                    <a:lnTo>
                      <a:pt x="462" y="404"/>
                    </a:lnTo>
                    <a:lnTo>
                      <a:pt x="462" y="400"/>
                    </a:lnTo>
                    <a:lnTo>
                      <a:pt x="466" y="400"/>
                    </a:lnTo>
                    <a:lnTo>
                      <a:pt x="470" y="400"/>
                    </a:lnTo>
                    <a:lnTo>
                      <a:pt x="474" y="400"/>
                    </a:lnTo>
                    <a:lnTo>
                      <a:pt x="478" y="400"/>
                    </a:lnTo>
                    <a:lnTo>
                      <a:pt x="480" y="396"/>
                    </a:lnTo>
                    <a:lnTo>
                      <a:pt x="484" y="396"/>
                    </a:lnTo>
                    <a:lnTo>
                      <a:pt x="492" y="392"/>
                    </a:lnTo>
                    <a:lnTo>
                      <a:pt x="496" y="396"/>
                    </a:lnTo>
                    <a:lnTo>
                      <a:pt x="500" y="396"/>
                    </a:lnTo>
                    <a:lnTo>
                      <a:pt x="504" y="400"/>
                    </a:lnTo>
                    <a:lnTo>
                      <a:pt x="504" y="404"/>
                    </a:lnTo>
                    <a:lnTo>
                      <a:pt x="500" y="408"/>
                    </a:lnTo>
                    <a:lnTo>
                      <a:pt x="504" y="408"/>
                    </a:lnTo>
                    <a:lnTo>
                      <a:pt x="508" y="410"/>
                    </a:lnTo>
                    <a:lnTo>
                      <a:pt x="508" y="408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4" y="410"/>
                    </a:lnTo>
                    <a:lnTo>
                      <a:pt x="514" y="414"/>
                    </a:lnTo>
                    <a:lnTo>
                      <a:pt x="518" y="414"/>
                    </a:lnTo>
                    <a:lnTo>
                      <a:pt x="522" y="414"/>
                    </a:lnTo>
                    <a:lnTo>
                      <a:pt x="526" y="414"/>
                    </a:lnTo>
                    <a:lnTo>
                      <a:pt x="530" y="414"/>
                    </a:lnTo>
                    <a:lnTo>
                      <a:pt x="530" y="410"/>
                    </a:lnTo>
                    <a:lnTo>
                      <a:pt x="534" y="410"/>
                    </a:lnTo>
                    <a:lnTo>
                      <a:pt x="534" y="414"/>
                    </a:lnTo>
                    <a:lnTo>
                      <a:pt x="534" y="418"/>
                    </a:lnTo>
                    <a:lnTo>
                      <a:pt x="536" y="418"/>
                    </a:lnTo>
                    <a:lnTo>
                      <a:pt x="540" y="422"/>
                    </a:lnTo>
                    <a:lnTo>
                      <a:pt x="544" y="422"/>
                    </a:lnTo>
                    <a:lnTo>
                      <a:pt x="548" y="422"/>
                    </a:lnTo>
                    <a:lnTo>
                      <a:pt x="552" y="422"/>
                    </a:lnTo>
                    <a:lnTo>
                      <a:pt x="556" y="422"/>
                    </a:lnTo>
                    <a:lnTo>
                      <a:pt x="560" y="426"/>
                    </a:lnTo>
                    <a:lnTo>
                      <a:pt x="560" y="422"/>
                    </a:lnTo>
                    <a:lnTo>
                      <a:pt x="564" y="422"/>
                    </a:lnTo>
                    <a:lnTo>
                      <a:pt x="566" y="422"/>
                    </a:lnTo>
                    <a:lnTo>
                      <a:pt x="570" y="422"/>
                    </a:lnTo>
                    <a:lnTo>
                      <a:pt x="574" y="418"/>
                    </a:lnTo>
                    <a:lnTo>
                      <a:pt x="578" y="418"/>
                    </a:lnTo>
                    <a:lnTo>
                      <a:pt x="578" y="422"/>
                    </a:lnTo>
                    <a:lnTo>
                      <a:pt x="582" y="422"/>
                    </a:lnTo>
                    <a:lnTo>
                      <a:pt x="586" y="422"/>
                    </a:lnTo>
                    <a:lnTo>
                      <a:pt x="590" y="422"/>
                    </a:lnTo>
                    <a:lnTo>
                      <a:pt x="592" y="422"/>
                    </a:lnTo>
                    <a:lnTo>
                      <a:pt x="596" y="422"/>
                    </a:lnTo>
                    <a:lnTo>
                      <a:pt x="600" y="422"/>
                    </a:lnTo>
                    <a:lnTo>
                      <a:pt x="604" y="422"/>
                    </a:lnTo>
                    <a:lnTo>
                      <a:pt x="600" y="418"/>
                    </a:lnTo>
                    <a:lnTo>
                      <a:pt x="596" y="418"/>
                    </a:lnTo>
                    <a:lnTo>
                      <a:pt x="596" y="414"/>
                    </a:lnTo>
                    <a:lnTo>
                      <a:pt x="600" y="414"/>
                    </a:lnTo>
                    <a:lnTo>
                      <a:pt x="604" y="418"/>
                    </a:lnTo>
                    <a:lnTo>
                      <a:pt x="608" y="422"/>
                    </a:lnTo>
                    <a:lnTo>
                      <a:pt x="612" y="426"/>
                    </a:lnTo>
                    <a:lnTo>
                      <a:pt x="616" y="426"/>
                    </a:lnTo>
                    <a:lnTo>
                      <a:pt x="620" y="426"/>
                    </a:lnTo>
                    <a:lnTo>
                      <a:pt x="620" y="422"/>
                    </a:lnTo>
                    <a:lnTo>
                      <a:pt x="620" y="418"/>
                    </a:lnTo>
                    <a:lnTo>
                      <a:pt x="616" y="418"/>
                    </a:lnTo>
                    <a:lnTo>
                      <a:pt x="612" y="414"/>
                    </a:lnTo>
                    <a:lnTo>
                      <a:pt x="612" y="418"/>
                    </a:lnTo>
                    <a:lnTo>
                      <a:pt x="608" y="418"/>
                    </a:lnTo>
                    <a:lnTo>
                      <a:pt x="608" y="422"/>
                    </a:lnTo>
                    <a:lnTo>
                      <a:pt x="604" y="418"/>
                    </a:lnTo>
                    <a:lnTo>
                      <a:pt x="604" y="414"/>
                    </a:lnTo>
                    <a:lnTo>
                      <a:pt x="600" y="410"/>
                    </a:lnTo>
                    <a:lnTo>
                      <a:pt x="600" y="414"/>
                    </a:lnTo>
                    <a:lnTo>
                      <a:pt x="604" y="414"/>
                    </a:lnTo>
                    <a:lnTo>
                      <a:pt x="604" y="410"/>
                    </a:lnTo>
                    <a:lnTo>
                      <a:pt x="600" y="410"/>
                    </a:lnTo>
                    <a:lnTo>
                      <a:pt x="600" y="408"/>
                    </a:lnTo>
                    <a:lnTo>
                      <a:pt x="596" y="408"/>
                    </a:lnTo>
                    <a:lnTo>
                      <a:pt x="600" y="408"/>
                    </a:lnTo>
                    <a:lnTo>
                      <a:pt x="604" y="408"/>
                    </a:lnTo>
                    <a:lnTo>
                      <a:pt x="608" y="408"/>
                    </a:lnTo>
                    <a:lnTo>
                      <a:pt x="612" y="408"/>
                    </a:lnTo>
                    <a:lnTo>
                      <a:pt x="608" y="408"/>
                    </a:lnTo>
                    <a:lnTo>
                      <a:pt x="608" y="404"/>
                    </a:lnTo>
                    <a:lnTo>
                      <a:pt x="612" y="404"/>
                    </a:lnTo>
                    <a:lnTo>
                      <a:pt x="616" y="408"/>
                    </a:lnTo>
                    <a:lnTo>
                      <a:pt x="616" y="404"/>
                    </a:lnTo>
                    <a:lnTo>
                      <a:pt x="620" y="404"/>
                    </a:lnTo>
                    <a:lnTo>
                      <a:pt x="620" y="408"/>
                    </a:lnTo>
                    <a:lnTo>
                      <a:pt x="622" y="408"/>
                    </a:lnTo>
                    <a:lnTo>
                      <a:pt x="622" y="410"/>
                    </a:lnTo>
                    <a:lnTo>
                      <a:pt x="626" y="410"/>
                    </a:lnTo>
                    <a:lnTo>
                      <a:pt x="630" y="410"/>
                    </a:lnTo>
                    <a:lnTo>
                      <a:pt x="630" y="408"/>
                    </a:lnTo>
                    <a:lnTo>
                      <a:pt x="630" y="410"/>
                    </a:lnTo>
                    <a:lnTo>
                      <a:pt x="626" y="414"/>
                    </a:lnTo>
                    <a:lnTo>
                      <a:pt x="630" y="414"/>
                    </a:lnTo>
                    <a:lnTo>
                      <a:pt x="630" y="410"/>
                    </a:lnTo>
                    <a:lnTo>
                      <a:pt x="634" y="410"/>
                    </a:lnTo>
                    <a:lnTo>
                      <a:pt x="638" y="410"/>
                    </a:lnTo>
                    <a:lnTo>
                      <a:pt x="634" y="410"/>
                    </a:lnTo>
                    <a:lnTo>
                      <a:pt x="638" y="414"/>
                    </a:lnTo>
                    <a:lnTo>
                      <a:pt x="634" y="414"/>
                    </a:lnTo>
                    <a:lnTo>
                      <a:pt x="634" y="418"/>
                    </a:lnTo>
                    <a:lnTo>
                      <a:pt x="634" y="422"/>
                    </a:lnTo>
                    <a:lnTo>
                      <a:pt x="634" y="426"/>
                    </a:lnTo>
                    <a:lnTo>
                      <a:pt x="630" y="426"/>
                    </a:lnTo>
                    <a:lnTo>
                      <a:pt x="630" y="430"/>
                    </a:lnTo>
                    <a:lnTo>
                      <a:pt x="634" y="430"/>
                    </a:lnTo>
                    <a:lnTo>
                      <a:pt x="634" y="434"/>
                    </a:lnTo>
                    <a:lnTo>
                      <a:pt x="634" y="436"/>
                    </a:lnTo>
                    <a:lnTo>
                      <a:pt x="638" y="434"/>
                    </a:lnTo>
                    <a:lnTo>
                      <a:pt x="642" y="434"/>
                    </a:lnTo>
                    <a:lnTo>
                      <a:pt x="642" y="436"/>
                    </a:lnTo>
                    <a:lnTo>
                      <a:pt x="638" y="436"/>
                    </a:lnTo>
                    <a:lnTo>
                      <a:pt x="642" y="436"/>
                    </a:lnTo>
                    <a:lnTo>
                      <a:pt x="646" y="436"/>
                    </a:lnTo>
                    <a:lnTo>
                      <a:pt x="646" y="440"/>
                    </a:lnTo>
                    <a:lnTo>
                      <a:pt x="642" y="440"/>
                    </a:lnTo>
                    <a:lnTo>
                      <a:pt x="638" y="440"/>
                    </a:lnTo>
                    <a:lnTo>
                      <a:pt x="634" y="440"/>
                    </a:lnTo>
                    <a:lnTo>
                      <a:pt x="630" y="440"/>
                    </a:lnTo>
                    <a:lnTo>
                      <a:pt x="630" y="436"/>
                    </a:lnTo>
                    <a:lnTo>
                      <a:pt x="630" y="440"/>
                    </a:lnTo>
                    <a:lnTo>
                      <a:pt x="634" y="440"/>
                    </a:lnTo>
                    <a:lnTo>
                      <a:pt x="634" y="444"/>
                    </a:lnTo>
                    <a:lnTo>
                      <a:pt x="638" y="444"/>
                    </a:lnTo>
                    <a:lnTo>
                      <a:pt x="638" y="448"/>
                    </a:lnTo>
                    <a:lnTo>
                      <a:pt x="642" y="448"/>
                    </a:lnTo>
                    <a:lnTo>
                      <a:pt x="638" y="444"/>
                    </a:lnTo>
                    <a:lnTo>
                      <a:pt x="634" y="444"/>
                    </a:lnTo>
                    <a:lnTo>
                      <a:pt x="634" y="440"/>
                    </a:lnTo>
                    <a:lnTo>
                      <a:pt x="638" y="440"/>
                    </a:lnTo>
                    <a:lnTo>
                      <a:pt x="642" y="440"/>
                    </a:lnTo>
                    <a:lnTo>
                      <a:pt x="642" y="444"/>
                    </a:lnTo>
                    <a:lnTo>
                      <a:pt x="646" y="444"/>
                    </a:lnTo>
                    <a:lnTo>
                      <a:pt x="650" y="440"/>
                    </a:lnTo>
                    <a:lnTo>
                      <a:pt x="646" y="440"/>
                    </a:lnTo>
                    <a:lnTo>
                      <a:pt x="646" y="436"/>
                    </a:lnTo>
                    <a:lnTo>
                      <a:pt x="650" y="434"/>
                    </a:lnTo>
                    <a:lnTo>
                      <a:pt x="646" y="434"/>
                    </a:lnTo>
                    <a:lnTo>
                      <a:pt x="646" y="430"/>
                    </a:lnTo>
                    <a:lnTo>
                      <a:pt x="646" y="426"/>
                    </a:lnTo>
                    <a:lnTo>
                      <a:pt x="642" y="426"/>
                    </a:lnTo>
                    <a:lnTo>
                      <a:pt x="642" y="422"/>
                    </a:lnTo>
                    <a:lnTo>
                      <a:pt x="646" y="418"/>
                    </a:lnTo>
                    <a:lnTo>
                      <a:pt x="642" y="418"/>
                    </a:lnTo>
                    <a:lnTo>
                      <a:pt x="646" y="418"/>
                    </a:lnTo>
                    <a:lnTo>
                      <a:pt x="646" y="414"/>
                    </a:lnTo>
                    <a:lnTo>
                      <a:pt x="650" y="414"/>
                    </a:lnTo>
                    <a:lnTo>
                      <a:pt x="652" y="414"/>
                    </a:lnTo>
                    <a:lnTo>
                      <a:pt x="656" y="414"/>
                    </a:lnTo>
                    <a:lnTo>
                      <a:pt x="660" y="410"/>
                    </a:lnTo>
                    <a:lnTo>
                      <a:pt x="664" y="410"/>
                    </a:lnTo>
                    <a:lnTo>
                      <a:pt x="664" y="408"/>
                    </a:lnTo>
                    <a:lnTo>
                      <a:pt x="660" y="408"/>
                    </a:lnTo>
                    <a:lnTo>
                      <a:pt x="664" y="408"/>
                    </a:lnTo>
                    <a:lnTo>
                      <a:pt x="664" y="404"/>
                    </a:lnTo>
                    <a:lnTo>
                      <a:pt x="668" y="404"/>
                    </a:lnTo>
                    <a:lnTo>
                      <a:pt x="672" y="404"/>
                    </a:lnTo>
                    <a:lnTo>
                      <a:pt x="672" y="400"/>
                    </a:lnTo>
                    <a:lnTo>
                      <a:pt x="668" y="400"/>
                    </a:lnTo>
                    <a:lnTo>
                      <a:pt x="668" y="396"/>
                    </a:lnTo>
                    <a:lnTo>
                      <a:pt x="672" y="396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4" y="392"/>
                    </a:lnTo>
                    <a:lnTo>
                      <a:pt x="664" y="396"/>
                    </a:lnTo>
                    <a:lnTo>
                      <a:pt x="668" y="396"/>
                    </a:lnTo>
                    <a:lnTo>
                      <a:pt x="668" y="392"/>
                    </a:lnTo>
                    <a:lnTo>
                      <a:pt x="668" y="396"/>
                    </a:lnTo>
                    <a:lnTo>
                      <a:pt x="664" y="396"/>
                    </a:lnTo>
                    <a:lnTo>
                      <a:pt x="660" y="400"/>
                    </a:lnTo>
                    <a:lnTo>
                      <a:pt x="656" y="400"/>
                    </a:lnTo>
                    <a:lnTo>
                      <a:pt x="656" y="396"/>
                    </a:lnTo>
                    <a:lnTo>
                      <a:pt x="656" y="392"/>
                    </a:lnTo>
                    <a:lnTo>
                      <a:pt x="660" y="392"/>
                    </a:lnTo>
                    <a:lnTo>
                      <a:pt x="664" y="388"/>
                    </a:lnTo>
                    <a:lnTo>
                      <a:pt x="660" y="388"/>
                    </a:lnTo>
                    <a:lnTo>
                      <a:pt x="660" y="384"/>
                    </a:lnTo>
                    <a:lnTo>
                      <a:pt x="664" y="380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68" y="380"/>
                    </a:lnTo>
                    <a:lnTo>
                      <a:pt x="668" y="384"/>
                    </a:lnTo>
                    <a:lnTo>
                      <a:pt x="668" y="388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78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56" y="378"/>
                    </a:lnTo>
                    <a:lnTo>
                      <a:pt x="652" y="378"/>
                    </a:lnTo>
                    <a:lnTo>
                      <a:pt x="650" y="378"/>
                    </a:lnTo>
                    <a:lnTo>
                      <a:pt x="650" y="374"/>
                    </a:lnTo>
                    <a:lnTo>
                      <a:pt x="646" y="374"/>
                    </a:lnTo>
                    <a:lnTo>
                      <a:pt x="642" y="374"/>
                    </a:lnTo>
                    <a:lnTo>
                      <a:pt x="642" y="370"/>
                    </a:lnTo>
                    <a:lnTo>
                      <a:pt x="638" y="370"/>
                    </a:lnTo>
                    <a:lnTo>
                      <a:pt x="634" y="370"/>
                    </a:lnTo>
                    <a:lnTo>
                      <a:pt x="634" y="366"/>
                    </a:lnTo>
                    <a:lnTo>
                      <a:pt x="630" y="366"/>
                    </a:lnTo>
                    <a:lnTo>
                      <a:pt x="630" y="362"/>
                    </a:lnTo>
                    <a:lnTo>
                      <a:pt x="630" y="358"/>
                    </a:lnTo>
                    <a:lnTo>
                      <a:pt x="634" y="350"/>
                    </a:lnTo>
                    <a:lnTo>
                      <a:pt x="638" y="350"/>
                    </a:lnTo>
                    <a:lnTo>
                      <a:pt x="634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30" y="344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0" y="332"/>
                    </a:lnTo>
                    <a:lnTo>
                      <a:pt x="634" y="332"/>
                    </a:lnTo>
                    <a:lnTo>
                      <a:pt x="634" y="328"/>
                    </a:lnTo>
                    <a:lnTo>
                      <a:pt x="638" y="328"/>
                    </a:lnTo>
                    <a:lnTo>
                      <a:pt x="638" y="332"/>
                    </a:lnTo>
                    <a:lnTo>
                      <a:pt x="642" y="332"/>
                    </a:lnTo>
                    <a:lnTo>
                      <a:pt x="646" y="332"/>
                    </a:lnTo>
                    <a:lnTo>
                      <a:pt x="642" y="328"/>
                    </a:lnTo>
                    <a:lnTo>
                      <a:pt x="638" y="328"/>
                    </a:lnTo>
                    <a:lnTo>
                      <a:pt x="638" y="324"/>
                    </a:lnTo>
                    <a:lnTo>
                      <a:pt x="642" y="324"/>
                    </a:lnTo>
                    <a:lnTo>
                      <a:pt x="642" y="322"/>
                    </a:lnTo>
                    <a:lnTo>
                      <a:pt x="646" y="322"/>
                    </a:lnTo>
                    <a:lnTo>
                      <a:pt x="650" y="318"/>
                    </a:lnTo>
                    <a:lnTo>
                      <a:pt x="652" y="318"/>
                    </a:lnTo>
                    <a:lnTo>
                      <a:pt x="656" y="318"/>
                    </a:lnTo>
                    <a:lnTo>
                      <a:pt x="652" y="318"/>
                    </a:lnTo>
                    <a:lnTo>
                      <a:pt x="650" y="318"/>
                    </a:lnTo>
                    <a:lnTo>
                      <a:pt x="652" y="314"/>
                    </a:lnTo>
                    <a:lnTo>
                      <a:pt x="656" y="314"/>
                    </a:lnTo>
                    <a:lnTo>
                      <a:pt x="660" y="318"/>
                    </a:lnTo>
                    <a:lnTo>
                      <a:pt x="656" y="318"/>
                    </a:lnTo>
                    <a:lnTo>
                      <a:pt x="656" y="322"/>
                    </a:lnTo>
                    <a:lnTo>
                      <a:pt x="656" y="318"/>
                    </a:lnTo>
                    <a:lnTo>
                      <a:pt x="660" y="318"/>
                    </a:lnTo>
                    <a:lnTo>
                      <a:pt x="660" y="322"/>
                    </a:lnTo>
                    <a:lnTo>
                      <a:pt x="664" y="322"/>
                    </a:lnTo>
                    <a:lnTo>
                      <a:pt x="668" y="322"/>
                    </a:lnTo>
                    <a:lnTo>
                      <a:pt x="668" y="324"/>
                    </a:lnTo>
                    <a:lnTo>
                      <a:pt x="672" y="324"/>
                    </a:lnTo>
                    <a:lnTo>
                      <a:pt x="676" y="328"/>
                    </a:lnTo>
                    <a:lnTo>
                      <a:pt x="678" y="332"/>
                    </a:lnTo>
                    <a:lnTo>
                      <a:pt x="678" y="336"/>
                    </a:lnTo>
                    <a:lnTo>
                      <a:pt x="682" y="336"/>
                    </a:lnTo>
                    <a:lnTo>
                      <a:pt x="682" y="340"/>
                    </a:lnTo>
                    <a:lnTo>
                      <a:pt x="678" y="344"/>
                    </a:lnTo>
                    <a:lnTo>
                      <a:pt x="682" y="344"/>
                    </a:lnTo>
                    <a:lnTo>
                      <a:pt x="682" y="348"/>
                    </a:lnTo>
                    <a:lnTo>
                      <a:pt x="686" y="348"/>
                    </a:lnTo>
                    <a:lnTo>
                      <a:pt x="690" y="350"/>
                    </a:lnTo>
                    <a:lnTo>
                      <a:pt x="690" y="354"/>
                    </a:lnTo>
                    <a:lnTo>
                      <a:pt x="694" y="354"/>
                    </a:lnTo>
                    <a:lnTo>
                      <a:pt x="694" y="358"/>
                    </a:lnTo>
                    <a:lnTo>
                      <a:pt x="694" y="354"/>
                    </a:lnTo>
                    <a:lnTo>
                      <a:pt x="698" y="354"/>
                    </a:lnTo>
                    <a:lnTo>
                      <a:pt x="698" y="358"/>
                    </a:lnTo>
                    <a:lnTo>
                      <a:pt x="702" y="362"/>
                    </a:lnTo>
                    <a:lnTo>
                      <a:pt x="698" y="362"/>
                    </a:lnTo>
                    <a:lnTo>
                      <a:pt x="694" y="362"/>
                    </a:lnTo>
                    <a:lnTo>
                      <a:pt x="690" y="358"/>
                    </a:lnTo>
                    <a:lnTo>
                      <a:pt x="690" y="362"/>
                    </a:lnTo>
                    <a:lnTo>
                      <a:pt x="686" y="362"/>
                    </a:lnTo>
                    <a:lnTo>
                      <a:pt x="690" y="362"/>
                    </a:lnTo>
                    <a:lnTo>
                      <a:pt x="694" y="362"/>
                    </a:lnTo>
                    <a:lnTo>
                      <a:pt x="694" y="366"/>
                    </a:lnTo>
                    <a:lnTo>
                      <a:pt x="690" y="366"/>
                    </a:lnTo>
                    <a:lnTo>
                      <a:pt x="686" y="370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82" y="374"/>
                    </a:lnTo>
                    <a:lnTo>
                      <a:pt x="678" y="374"/>
                    </a:lnTo>
                    <a:lnTo>
                      <a:pt x="682" y="374"/>
                    </a:lnTo>
                    <a:lnTo>
                      <a:pt x="686" y="374"/>
                    </a:lnTo>
                    <a:lnTo>
                      <a:pt x="690" y="374"/>
                    </a:lnTo>
                    <a:lnTo>
                      <a:pt x="694" y="378"/>
                    </a:lnTo>
                    <a:lnTo>
                      <a:pt x="690" y="378"/>
                    </a:lnTo>
                    <a:lnTo>
                      <a:pt x="690" y="374"/>
                    </a:lnTo>
                    <a:lnTo>
                      <a:pt x="690" y="378"/>
                    </a:lnTo>
                    <a:lnTo>
                      <a:pt x="694" y="378"/>
                    </a:lnTo>
                    <a:lnTo>
                      <a:pt x="698" y="378"/>
                    </a:lnTo>
                    <a:lnTo>
                      <a:pt x="702" y="374"/>
                    </a:lnTo>
                    <a:lnTo>
                      <a:pt x="706" y="374"/>
                    </a:lnTo>
                    <a:lnTo>
                      <a:pt x="702" y="378"/>
                    </a:lnTo>
                    <a:lnTo>
                      <a:pt x="706" y="378"/>
                    </a:lnTo>
                    <a:lnTo>
                      <a:pt x="708" y="378"/>
                    </a:lnTo>
                    <a:lnTo>
                      <a:pt x="712" y="378"/>
                    </a:lnTo>
                    <a:lnTo>
                      <a:pt x="716" y="378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06" y="384"/>
                    </a:lnTo>
                    <a:lnTo>
                      <a:pt x="702" y="384"/>
                    </a:lnTo>
                    <a:lnTo>
                      <a:pt x="702" y="380"/>
                    </a:lnTo>
                    <a:lnTo>
                      <a:pt x="702" y="384"/>
                    </a:lnTo>
                    <a:lnTo>
                      <a:pt x="706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12" y="388"/>
                    </a:lnTo>
                    <a:lnTo>
                      <a:pt x="712" y="392"/>
                    </a:lnTo>
                    <a:lnTo>
                      <a:pt x="716" y="392"/>
                    </a:lnTo>
                    <a:lnTo>
                      <a:pt x="716" y="396"/>
                    </a:lnTo>
                    <a:lnTo>
                      <a:pt x="712" y="396"/>
                    </a:lnTo>
                    <a:lnTo>
                      <a:pt x="716" y="400"/>
                    </a:lnTo>
                    <a:lnTo>
                      <a:pt x="716" y="404"/>
                    </a:lnTo>
                    <a:lnTo>
                      <a:pt x="712" y="404"/>
                    </a:lnTo>
                    <a:lnTo>
                      <a:pt x="712" y="408"/>
                    </a:lnTo>
                    <a:lnTo>
                      <a:pt x="716" y="408"/>
                    </a:lnTo>
                    <a:lnTo>
                      <a:pt x="716" y="410"/>
                    </a:lnTo>
                    <a:lnTo>
                      <a:pt x="720" y="410"/>
                    </a:lnTo>
                    <a:lnTo>
                      <a:pt x="720" y="408"/>
                    </a:lnTo>
                    <a:lnTo>
                      <a:pt x="724" y="408"/>
                    </a:lnTo>
                    <a:lnTo>
                      <a:pt x="724" y="404"/>
                    </a:lnTo>
                    <a:lnTo>
                      <a:pt x="724" y="400"/>
                    </a:lnTo>
                    <a:lnTo>
                      <a:pt x="728" y="396"/>
                    </a:lnTo>
                    <a:lnTo>
                      <a:pt x="724" y="392"/>
                    </a:lnTo>
                    <a:lnTo>
                      <a:pt x="728" y="392"/>
                    </a:lnTo>
                    <a:lnTo>
                      <a:pt x="728" y="388"/>
                    </a:lnTo>
                    <a:lnTo>
                      <a:pt x="732" y="388"/>
                    </a:lnTo>
                    <a:lnTo>
                      <a:pt x="732" y="384"/>
                    </a:lnTo>
                    <a:lnTo>
                      <a:pt x="734" y="384"/>
                    </a:lnTo>
                    <a:lnTo>
                      <a:pt x="738" y="388"/>
                    </a:lnTo>
                    <a:lnTo>
                      <a:pt x="742" y="388"/>
                    </a:lnTo>
                    <a:lnTo>
                      <a:pt x="742" y="392"/>
                    </a:lnTo>
                    <a:lnTo>
                      <a:pt x="746" y="392"/>
                    </a:lnTo>
                    <a:lnTo>
                      <a:pt x="748" y="396"/>
                    </a:lnTo>
                    <a:lnTo>
                      <a:pt x="748" y="400"/>
                    </a:lnTo>
                    <a:lnTo>
                      <a:pt x="748" y="404"/>
                    </a:lnTo>
                    <a:lnTo>
                      <a:pt x="752" y="404"/>
                    </a:lnTo>
                    <a:lnTo>
                      <a:pt x="752" y="408"/>
                    </a:lnTo>
                    <a:lnTo>
                      <a:pt x="752" y="410"/>
                    </a:lnTo>
                    <a:lnTo>
                      <a:pt x="748" y="410"/>
                    </a:lnTo>
                    <a:lnTo>
                      <a:pt x="746" y="408"/>
                    </a:lnTo>
                    <a:lnTo>
                      <a:pt x="746" y="410"/>
                    </a:lnTo>
                    <a:lnTo>
                      <a:pt x="746" y="414"/>
                    </a:lnTo>
                    <a:lnTo>
                      <a:pt x="746" y="418"/>
                    </a:lnTo>
                    <a:lnTo>
                      <a:pt x="746" y="422"/>
                    </a:lnTo>
                    <a:lnTo>
                      <a:pt x="746" y="426"/>
                    </a:lnTo>
                    <a:lnTo>
                      <a:pt x="748" y="426"/>
                    </a:lnTo>
                    <a:lnTo>
                      <a:pt x="752" y="426"/>
                    </a:lnTo>
                    <a:lnTo>
                      <a:pt x="752" y="430"/>
                    </a:lnTo>
                    <a:lnTo>
                      <a:pt x="756" y="430"/>
                    </a:lnTo>
                    <a:lnTo>
                      <a:pt x="756" y="434"/>
                    </a:lnTo>
                    <a:lnTo>
                      <a:pt x="756" y="436"/>
                    </a:lnTo>
                    <a:lnTo>
                      <a:pt x="760" y="436"/>
                    </a:lnTo>
                    <a:lnTo>
                      <a:pt x="764" y="436"/>
                    </a:lnTo>
                    <a:lnTo>
                      <a:pt x="764" y="434"/>
                    </a:lnTo>
                    <a:lnTo>
                      <a:pt x="764" y="430"/>
                    </a:lnTo>
                    <a:lnTo>
                      <a:pt x="768" y="430"/>
                    </a:lnTo>
                    <a:lnTo>
                      <a:pt x="768" y="434"/>
                    </a:lnTo>
                    <a:lnTo>
                      <a:pt x="772" y="434"/>
                    </a:lnTo>
                    <a:lnTo>
                      <a:pt x="772" y="430"/>
                    </a:lnTo>
                    <a:lnTo>
                      <a:pt x="772" y="426"/>
                    </a:lnTo>
                    <a:lnTo>
                      <a:pt x="772" y="422"/>
                    </a:lnTo>
                    <a:lnTo>
                      <a:pt x="776" y="418"/>
                    </a:lnTo>
                    <a:lnTo>
                      <a:pt x="778" y="414"/>
                    </a:lnTo>
                    <a:lnTo>
                      <a:pt x="778" y="410"/>
                    </a:lnTo>
                    <a:lnTo>
                      <a:pt x="778" y="408"/>
                    </a:lnTo>
                    <a:lnTo>
                      <a:pt x="782" y="408"/>
                    </a:lnTo>
                    <a:lnTo>
                      <a:pt x="782" y="404"/>
                    </a:lnTo>
                    <a:lnTo>
                      <a:pt x="782" y="400"/>
                    </a:lnTo>
                    <a:lnTo>
                      <a:pt x="782" y="396"/>
                    </a:lnTo>
                    <a:lnTo>
                      <a:pt x="782" y="400"/>
                    </a:lnTo>
                    <a:lnTo>
                      <a:pt x="786" y="400"/>
                    </a:lnTo>
                    <a:lnTo>
                      <a:pt x="786" y="396"/>
                    </a:lnTo>
                    <a:lnTo>
                      <a:pt x="782" y="396"/>
                    </a:lnTo>
                    <a:lnTo>
                      <a:pt x="786" y="396"/>
                    </a:lnTo>
                    <a:lnTo>
                      <a:pt x="786" y="400"/>
                    </a:lnTo>
                    <a:lnTo>
                      <a:pt x="790" y="400"/>
                    </a:lnTo>
                    <a:lnTo>
                      <a:pt x="790" y="396"/>
                    </a:lnTo>
                    <a:lnTo>
                      <a:pt x="794" y="396"/>
                    </a:lnTo>
                    <a:lnTo>
                      <a:pt x="794" y="400"/>
                    </a:lnTo>
                    <a:lnTo>
                      <a:pt x="794" y="396"/>
                    </a:lnTo>
                    <a:lnTo>
                      <a:pt x="790" y="396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0" y="392"/>
                    </a:lnTo>
                    <a:lnTo>
                      <a:pt x="794" y="392"/>
                    </a:lnTo>
                    <a:lnTo>
                      <a:pt x="798" y="392"/>
                    </a:lnTo>
                    <a:lnTo>
                      <a:pt x="794" y="388"/>
                    </a:lnTo>
                    <a:lnTo>
                      <a:pt x="790" y="388"/>
                    </a:lnTo>
                    <a:lnTo>
                      <a:pt x="786" y="388"/>
                    </a:lnTo>
                    <a:lnTo>
                      <a:pt x="790" y="388"/>
                    </a:lnTo>
                    <a:lnTo>
                      <a:pt x="786" y="384"/>
                    </a:lnTo>
                    <a:lnTo>
                      <a:pt x="786" y="380"/>
                    </a:lnTo>
                    <a:lnTo>
                      <a:pt x="782" y="380"/>
                    </a:lnTo>
                    <a:lnTo>
                      <a:pt x="782" y="374"/>
                    </a:lnTo>
                    <a:lnTo>
                      <a:pt x="786" y="370"/>
                    </a:lnTo>
                    <a:lnTo>
                      <a:pt x="786" y="374"/>
                    </a:lnTo>
                    <a:lnTo>
                      <a:pt x="786" y="370"/>
                    </a:lnTo>
                    <a:lnTo>
                      <a:pt x="782" y="370"/>
                    </a:lnTo>
                    <a:lnTo>
                      <a:pt x="786" y="370"/>
                    </a:lnTo>
                    <a:lnTo>
                      <a:pt x="790" y="370"/>
                    </a:lnTo>
                    <a:lnTo>
                      <a:pt x="790" y="374"/>
                    </a:lnTo>
                    <a:lnTo>
                      <a:pt x="794" y="370"/>
                    </a:lnTo>
                    <a:lnTo>
                      <a:pt x="798" y="370"/>
                    </a:lnTo>
                    <a:lnTo>
                      <a:pt x="802" y="370"/>
                    </a:lnTo>
                    <a:lnTo>
                      <a:pt x="806" y="370"/>
                    </a:lnTo>
                    <a:lnTo>
                      <a:pt x="806" y="374"/>
                    </a:lnTo>
                    <a:lnTo>
                      <a:pt x="808" y="374"/>
                    </a:lnTo>
                    <a:lnTo>
                      <a:pt x="812" y="374"/>
                    </a:lnTo>
                    <a:lnTo>
                      <a:pt x="816" y="374"/>
                    </a:lnTo>
                    <a:lnTo>
                      <a:pt x="820" y="374"/>
                    </a:lnTo>
                    <a:lnTo>
                      <a:pt x="824" y="374"/>
                    </a:lnTo>
                    <a:lnTo>
                      <a:pt x="828" y="374"/>
                    </a:lnTo>
                    <a:lnTo>
                      <a:pt x="832" y="374"/>
                    </a:lnTo>
                    <a:lnTo>
                      <a:pt x="832" y="378"/>
                    </a:lnTo>
                    <a:lnTo>
                      <a:pt x="828" y="378"/>
                    </a:lnTo>
                    <a:lnTo>
                      <a:pt x="828" y="374"/>
                    </a:lnTo>
                    <a:lnTo>
                      <a:pt x="824" y="378"/>
                    </a:lnTo>
                    <a:lnTo>
                      <a:pt x="828" y="378"/>
                    </a:lnTo>
                    <a:lnTo>
                      <a:pt x="824" y="378"/>
                    </a:lnTo>
                    <a:lnTo>
                      <a:pt x="820" y="378"/>
                    </a:lnTo>
                    <a:lnTo>
                      <a:pt x="816" y="378"/>
                    </a:lnTo>
                    <a:lnTo>
                      <a:pt x="820" y="378"/>
                    </a:lnTo>
                    <a:lnTo>
                      <a:pt x="824" y="378"/>
                    </a:lnTo>
                    <a:lnTo>
                      <a:pt x="832" y="380"/>
                    </a:lnTo>
                    <a:lnTo>
                      <a:pt x="832" y="384"/>
                    </a:lnTo>
                    <a:lnTo>
                      <a:pt x="834" y="384"/>
                    </a:lnTo>
                    <a:lnTo>
                      <a:pt x="838" y="384"/>
                    </a:lnTo>
                    <a:lnTo>
                      <a:pt x="842" y="384"/>
                    </a:lnTo>
                    <a:lnTo>
                      <a:pt x="842" y="388"/>
                    </a:lnTo>
                    <a:lnTo>
                      <a:pt x="838" y="392"/>
                    </a:lnTo>
                    <a:lnTo>
                      <a:pt x="834" y="392"/>
                    </a:lnTo>
                    <a:lnTo>
                      <a:pt x="834" y="396"/>
                    </a:lnTo>
                    <a:lnTo>
                      <a:pt x="834" y="392"/>
                    </a:lnTo>
                    <a:lnTo>
                      <a:pt x="838" y="392"/>
                    </a:lnTo>
                    <a:lnTo>
                      <a:pt x="838" y="396"/>
                    </a:lnTo>
                    <a:lnTo>
                      <a:pt x="842" y="396"/>
                    </a:lnTo>
                    <a:lnTo>
                      <a:pt x="846" y="396"/>
                    </a:lnTo>
                    <a:lnTo>
                      <a:pt x="846" y="400"/>
                    </a:lnTo>
                    <a:lnTo>
                      <a:pt x="842" y="400"/>
                    </a:lnTo>
                    <a:lnTo>
                      <a:pt x="838" y="404"/>
                    </a:lnTo>
                    <a:lnTo>
                      <a:pt x="834" y="404"/>
                    </a:lnTo>
                    <a:lnTo>
                      <a:pt x="834" y="408"/>
                    </a:lnTo>
                    <a:lnTo>
                      <a:pt x="834" y="404"/>
                    </a:lnTo>
                    <a:lnTo>
                      <a:pt x="832" y="404"/>
                    </a:lnTo>
                    <a:lnTo>
                      <a:pt x="828" y="404"/>
                    </a:lnTo>
                    <a:lnTo>
                      <a:pt x="824" y="404"/>
                    </a:lnTo>
                    <a:lnTo>
                      <a:pt x="828" y="404"/>
                    </a:lnTo>
                    <a:lnTo>
                      <a:pt x="828" y="408"/>
                    </a:lnTo>
                    <a:lnTo>
                      <a:pt x="828" y="410"/>
                    </a:lnTo>
                    <a:lnTo>
                      <a:pt x="832" y="410"/>
                    </a:lnTo>
                    <a:lnTo>
                      <a:pt x="832" y="414"/>
                    </a:lnTo>
                    <a:lnTo>
                      <a:pt x="832" y="410"/>
                    </a:lnTo>
                    <a:lnTo>
                      <a:pt x="834" y="410"/>
                    </a:lnTo>
                    <a:lnTo>
                      <a:pt x="834" y="414"/>
                    </a:lnTo>
                    <a:lnTo>
                      <a:pt x="832" y="414"/>
                    </a:lnTo>
                    <a:lnTo>
                      <a:pt x="832" y="418"/>
                    </a:lnTo>
                    <a:lnTo>
                      <a:pt x="834" y="418"/>
                    </a:lnTo>
                    <a:lnTo>
                      <a:pt x="834" y="422"/>
                    </a:lnTo>
                    <a:lnTo>
                      <a:pt x="838" y="422"/>
                    </a:lnTo>
                    <a:lnTo>
                      <a:pt x="838" y="426"/>
                    </a:lnTo>
                    <a:lnTo>
                      <a:pt x="842" y="426"/>
                    </a:lnTo>
                    <a:lnTo>
                      <a:pt x="846" y="430"/>
                    </a:lnTo>
                    <a:lnTo>
                      <a:pt x="842" y="430"/>
                    </a:lnTo>
                    <a:lnTo>
                      <a:pt x="842" y="434"/>
                    </a:lnTo>
                    <a:lnTo>
                      <a:pt x="842" y="436"/>
                    </a:lnTo>
                    <a:lnTo>
                      <a:pt x="842" y="440"/>
                    </a:lnTo>
                    <a:lnTo>
                      <a:pt x="838" y="440"/>
                    </a:lnTo>
                    <a:lnTo>
                      <a:pt x="834" y="440"/>
                    </a:lnTo>
                    <a:lnTo>
                      <a:pt x="834" y="444"/>
                    </a:lnTo>
                    <a:lnTo>
                      <a:pt x="832" y="448"/>
                    </a:lnTo>
                    <a:lnTo>
                      <a:pt x="828" y="448"/>
                    </a:lnTo>
                    <a:lnTo>
                      <a:pt x="828" y="452"/>
                    </a:lnTo>
                    <a:lnTo>
                      <a:pt x="824" y="452"/>
                    </a:lnTo>
                    <a:lnTo>
                      <a:pt x="820" y="452"/>
                    </a:lnTo>
                    <a:lnTo>
                      <a:pt x="820" y="456"/>
                    </a:lnTo>
                    <a:lnTo>
                      <a:pt x="816" y="456"/>
                    </a:lnTo>
                    <a:lnTo>
                      <a:pt x="812" y="456"/>
                    </a:lnTo>
                    <a:lnTo>
                      <a:pt x="808" y="452"/>
                    </a:lnTo>
                    <a:lnTo>
                      <a:pt x="806" y="452"/>
                    </a:lnTo>
                    <a:lnTo>
                      <a:pt x="806" y="448"/>
                    </a:lnTo>
                    <a:lnTo>
                      <a:pt x="808" y="444"/>
                    </a:lnTo>
                    <a:lnTo>
                      <a:pt x="806" y="444"/>
                    </a:lnTo>
                    <a:lnTo>
                      <a:pt x="806" y="448"/>
                    </a:lnTo>
                    <a:lnTo>
                      <a:pt x="802" y="448"/>
                    </a:lnTo>
                    <a:lnTo>
                      <a:pt x="802" y="444"/>
                    </a:lnTo>
                    <a:lnTo>
                      <a:pt x="802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4" y="440"/>
                    </a:lnTo>
                    <a:lnTo>
                      <a:pt x="790" y="440"/>
                    </a:lnTo>
                    <a:lnTo>
                      <a:pt x="790" y="444"/>
                    </a:lnTo>
                    <a:lnTo>
                      <a:pt x="794" y="444"/>
                    </a:lnTo>
                    <a:lnTo>
                      <a:pt x="794" y="440"/>
                    </a:lnTo>
                    <a:lnTo>
                      <a:pt x="798" y="440"/>
                    </a:lnTo>
                    <a:lnTo>
                      <a:pt x="798" y="444"/>
                    </a:lnTo>
                    <a:lnTo>
                      <a:pt x="794" y="444"/>
                    </a:lnTo>
                    <a:lnTo>
                      <a:pt x="798" y="444"/>
                    </a:lnTo>
                    <a:lnTo>
                      <a:pt x="802" y="448"/>
                    </a:lnTo>
                    <a:lnTo>
                      <a:pt x="806" y="448"/>
                    </a:lnTo>
                    <a:lnTo>
                      <a:pt x="806" y="452"/>
                    </a:lnTo>
                    <a:lnTo>
                      <a:pt x="806" y="456"/>
                    </a:lnTo>
                    <a:lnTo>
                      <a:pt x="808" y="456"/>
                    </a:lnTo>
                    <a:lnTo>
                      <a:pt x="808" y="460"/>
                    </a:lnTo>
                    <a:lnTo>
                      <a:pt x="808" y="464"/>
                    </a:lnTo>
                    <a:lnTo>
                      <a:pt x="806" y="460"/>
                    </a:lnTo>
                    <a:lnTo>
                      <a:pt x="802" y="460"/>
                    </a:lnTo>
                    <a:lnTo>
                      <a:pt x="802" y="456"/>
                    </a:lnTo>
                    <a:lnTo>
                      <a:pt x="798" y="456"/>
                    </a:lnTo>
                    <a:lnTo>
                      <a:pt x="798" y="460"/>
                    </a:lnTo>
                    <a:lnTo>
                      <a:pt x="802" y="460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798" y="460"/>
                    </a:lnTo>
                    <a:lnTo>
                      <a:pt x="794" y="460"/>
                    </a:lnTo>
                    <a:lnTo>
                      <a:pt x="790" y="460"/>
                    </a:lnTo>
                    <a:lnTo>
                      <a:pt x="786" y="460"/>
                    </a:lnTo>
                    <a:lnTo>
                      <a:pt x="786" y="456"/>
                    </a:lnTo>
                    <a:lnTo>
                      <a:pt x="786" y="452"/>
                    </a:lnTo>
                    <a:lnTo>
                      <a:pt x="782" y="452"/>
                    </a:lnTo>
                    <a:lnTo>
                      <a:pt x="778" y="452"/>
                    </a:lnTo>
                    <a:lnTo>
                      <a:pt x="776" y="452"/>
                    </a:lnTo>
                    <a:lnTo>
                      <a:pt x="768" y="452"/>
                    </a:lnTo>
                    <a:lnTo>
                      <a:pt x="768" y="456"/>
                    </a:lnTo>
                    <a:lnTo>
                      <a:pt x="768" y="460"/>
                    </a:lnTo>
                    <a:lnTo>
                      <a:pt x="772" y="460"/>
                    </a:lnTo>
                    <a:lnTo>
                      <a:pt x="776" y="460"/>
                    </a:lnTo>
                    <a:lnTo>
                      <a:pt x="778" y="460"/>
                    </a:lnTo>
                    <a:lnTo>
                      <a:pt x="778" y="464"/>
                    </a:lnTo>
                    <a:lnTo>
                      <a:pt x="776" y="466"/>
                    </a:lnTo>
                    <a:lnTo>
                      <a:pt x="772" y="466"/>
                    </a:lnTo>
                    <a:lnTo>
                      <a:pt x="772" y="470"/>
                    </a:lnTo>
                    <a:lnTo>
                      <a:pt x="772" y="474"/>
                    </a:lnTo>
                    <a:lnTo>
                      <a:pt x="768" y="474"/>
                    </a:lnTo>
                    <a:lnTo>
                      <a:pt x="764" y="474"/>
                    </a:lnTo>
                    <a:lnTo>
                      <a:pt x="764" y="478"/>
                    </a:lnTo>
                    <a:lnTo>
                      <a:pt x="764" y="478"/>
                    </a:lnTo>
                    <a:lnTo>
                      <a:pt x="764" y="478"/>
                    </a:lnTo>
                    <a:close/>
                    <a:moveTo>
                      <a:pt x="408" y="354"/>
                    </a:moveTo>
                    <a:lnTo>
                      <a:pt x="410" y="358"/>
                    </a:lnTo>
                    <a:lnTo>
                      <a:pt x="414" y="358"/>
                    </a:lnTo>
                    <a:lnTo>
                      <a:pt x="410" y="358"/>
                    </a:lnTo>
                    <a:lnTo>
                      <a:pt x="408" y="358"/>
                    </a:lnTo>
                    <a:lnTo>
                      <a:pt x="408" y="354"/>
                    </a:lnTo>
                    <a:lnTo>
                      <a:pt x="408" y="354"/>
                    </a:lnTo>
                    <a:lnTo>
                      <a:pt x="408" y="354"/>
                    </a:lnTo>
                    <a:close/>
                    <a:moveTo>
                      <a:pt x="560" y="384"/>
                    </a:moveTo>
                    <a:lnTo>
                      <a:pt x="560" y="388"/>
                    </a:lnTo>
                    <a:lnTo>
                      <a:pt x="556" y="388"/>
                    </a:lnTo>
                    <a:lnTo>
                      <a:pt x="556" y="384"/>
                    </a:lnTo>
                    <a:lnTo>
                      <a:pt x="560" y="384"/>
                    </a:lnTo>
                    <a:lnTo>
                      <a:pt x="560" y="384"/>
                    </a:lnTo>
                    <a:lnTo>
                      <a:pt x="560" y="384"/>
                    </a:lnTo>
                    <a:close/>
                    <a:moveTo>
                      <a:pt x="1056" y="410"/>
                    </a:moveTo>
                    <a:lnTo>
                      <a:pt x="1052" y="410"/>
                    </a:lnTo>
                    <a:lnTo>
                      <a:pt x="1056" y="410"/>
                    </a:lnTo>
                    <a:lnTo>
                      <a:pt x="1060" y="410"/>
                    </a:lnTo>
                    <a:lnTo>
                      <a:pt x="1056" y="410"/>
                    </a:lnTo>
                    <a:lnTo>
                      <a:pt x="1056" y="410"/>
                    </a:lnTo>
                    <a:lnTo>
                      <a:pt x="1056" y="410"/>
                    </a:lnTo>
                    <a:close/>
                    <a:moveTo>
                      <a:pt x="466" y="418"/>
                    </a:moveTo>
                    <a:lnTo>
                      <a:pt x="462" y="418"/>
                    </a:lnTo>
                    <a:lnTo>
                      <a:pt x="466" y="418"/>
                    </a:lnTo>
                    <a:lnTo>
                      <a:pt x="466" y="418"/>
                    </a:lnTo>
                    <a:lnTo>
                      <a:pt x="466" y="418"/>
                    </a:lnTo>
                    <a:close/>
                    <a:moveTo>
                      <a:pt x="1088" y="426"/>
                    </a:moveTo>
                    <a:lnTo>
                      <a:pt x="1092" y="426"/>
                    </a:lnTo>
                    <a:lnTo>
                      <a:pt x="1092" y="430"/>
                    </a:lnTo>
                    <a:lnTo>
                      <a:pt x="1088" y="430"/>
                    </a:lnTo>
                    <a:lnTo>
                      <a:pt x="1088" y="426"/>
                    </a:lnTo>
                    <a:lnTo>
                      <a:pt x="1088" y="426"/>
                    </a:lnTo>
                    <a:lnTo>
                      <a:pt x="1088" y="426"/>
                    </a:lnTo>
                    <a:close/>
                    <a:moveTo>
                      <a:pt x="996" y="542"/>
                    </a:moveTo>
                    <a:lnTo>
                      <a:pt x="1000" y="546"/>
                    </a:lnTo>
                    <a:lnTo>
                      <a:pt x="1004" y="546"/>
                    </a:lnTo>
                    <a:lnTo>
                      <a:pt x="1000" y="550"/>
                    </a:lnTo>
                    <a:lnTo>
                      <a:pt x="996" y="550"/>
                    </a:lnTo>
                    <a:lnTo>
                      <a:pt x="992" y="550"/>
                    </a:lnTo>
                    <a:lnTo>
                      <a:pt x="992" y="546"/>
                    </a:lnTo>
                    <a:lnTo>
                      <a:pt x="992" y="542"/>
                    </a:lnTo>
                    <a:lnTo>
                      <a:pt x="988" y="542"/>
                    </a:lnTo>
                    <a:lnTo>
                      <a:pt x="992" y="542"/>
                    </a:lnTo>
                    <a:lnTo>
                      <a:pt x="996" y="542"/>
                    </a:lnTo>
                    <a:lnTo>
                      <a:pt x="996" y="542"/>
                    </a:lnTo>
                    <a:lnTo>
                      <a:pt x="996" y="542"/>
                    </a:lnTo>
                    <a:close/>
                    <a:moveTo>
                      <a:pt x="1084" y="596"/>
                    </a:moveTo>
                    <a:lnTo>
                      <a:pt x="1080" y="596"/>
                    </a:lnTo>
                    <a:lnTo>
                      <a:pt x="1080" y="600"/>
                    </a:lnTo>
                    <a:lnTo>
                      <a:pt x="1084" y="600"/>
                    </a:lnTo>
                    <a:lnTo>
                      <a:pt x="1080" y="600"/>
                    </a:lnTo>
                    <a:lnTo>
                      <a:pt x="1080" y="596"/>
                    </a:lnTo>
                    <a:lnTo>
                      <a:pt x="1076" y="596"/>
                    </a:lnTo>
                    <a:lnTo>
                      <a:pt x="1076" y="594"/>
                    </a:lnTo>
                    <a:lnTo>
                      <a:pt x="1080" y="594"/>
                    </a:lnTo>
                    <a:lnTo>
                      <a:pt x="1080" y="596"/>
                    </a:lnTo>
                    <a:lnTo>
                      <a:pt x="1084" y="596"/>
                    </a:lnTo>
                    <a:lnTo>
                      <a:pt x="1084" y="596"/>
                    </a:lnTo>
                    <a:lnTo>
                      <a:pt x="1084" y="596"/>
                    </a:lnTo>
                    <a:close/>
                    <a:moveTo>
                      <a:pt x="862" y="612"/>
                    </a:moveTo>
                    <a:lnTo>
                      <a:pt x="862" y="616"/>
                    </a:lnTo>
                    <a:lnTo>
                      <a:pt x="858" y="616"/>
                    </a:lnTo>
                    <a:lnTo>
                      <a:pt x="858" y="612"/>
                    </a:lnTo>
                    <a:lnTo>
                      <a:pt x="862" y="612"/>
                    </a:lnTo>
                    <a:lnTo>
                      <a:pt x="862" y="612"/>
                    </a:lnTo>
                    <a:lnTo>
                      <a:pt x="862" y="612"/>
                    </a:lnTo>
                    <a:close/>
                    <a:moveTo>
                      <a:pt x="1130" y="682"/>
                    </a:moveTo>
                    <a:lnTo>
                      <a:pt x="1130" y="680"/>
                    </a:lnTo>
                    <a:lnTo>
                      <a:pt x="1130" y="682"/>
                    </a:lnTo>
                    <a:lnTo>
                      <a:pt x="1130" y="682"/>
                    </a:lnTo>
                    <a:lnTo>
                      <a:pt x="1130" y="682"/>
                    </a:lnTo>
                    <a:close/>
                    <a:moveTo>
                      <a:pt x="1122" y="682"/>
                    </a:moveTo>
                    <a:lnTo>
                      <a:pt x="1126" y="682"/>
                    </a:lnTo>
                    <a:lnTo>
                      <a:pt x="1130" y="686"/>
                    </a:lnTo>
                    <a:lnTo>
                      <a:pt x="1126" y="686"/>
                    </a:lnTo>
                    <a:lnTo>
                      <a:pt x="1122" y="686"/>
                    </a:lnTo>
                    <a:lnTo>
                      <a:pt x="1126" y="686"/>
                    </a:lnTo>
                    <a:lnTo>
                      <a:pt x="1126" y="682"/>
                    </a:lnTo>
                    <a:lnTo>
                      <a:pt x="1122" y="682"/>
                    </a:lnTo>
                    <a:lnTo>
                      <a:pt x="1122" y="682"/>
                    </a:lnTo>
                    <a:lnTo>
                      <a:pt x="1122" y="682"/>
                    </a:lnTo>
                    <a:close/>
                    <a:moveTo>
                      <a:pt x="160" y="758"/>
                    </a:moveTo>
                    <a:lnTo>
                      <a:pt x="160" y="754"/>
                    </a:lnTo>
                    <a:lnTo>
                      <a:pt x="156" y="754"/>
                    </a:lnTo>
                    <a:lnTo>
                      <a:pt x="156" y="750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6" y="746"/>
                    </a:lnTo>
                    <a:lnTo>
                      <a:pt x="152" y="746"/>
                    </a:lnTo>
                    <a:lnTo>
                      <a:pt x="152" y="742"/>
                    </a:lnTo>
                    <a:lnTo>
                      <a:pt x="156" y="742"/>
                    </a:lnTo>
                    <a:lnTo>
                      <a:pt x="156" y="746"/>
                    </a:lnTo>
                    <a:lnTo>
                      <a:pt x="160" y="750"/>
                    </a:lnTo>
                    <a:lnTo>
                      <a:pt x="164" y="750"/>
                    </a:lnTo>
                    <a:lnTo>
                      <a:pt x="164" y="754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0" y="758"/>
                    </a:lnTo>
                    <a:lnTo>
                      <a:pt x="160" y="758"/>
                    </a:lnTo>
                    <a:close/>
                    <a:moveTo>
                      <a:pt x="168" y="766"/>
                    </a:moveTo>
                    <a:lnTo>
                      <a:pt x="168" y="762"/>
                    </a:lnTo>
                    <a:lnTo>
                      <a:pt x="172" y="762"/>
                    </a:lnTo>
                    <a:lnTo>
                      <a:pt x="172" y="758"/>
                    </a:lnTo>
                    <a:lnTo>
                      <a:pt x="168" y="758"/>
                    </a:lnTo>
                    <a:lnTo>
                      <a:pt x="172" y="758"/>
                    </a:lnTo>
                    <a:lnTo>
                      <a:pt x="172" y="762"/>
                    </a:lnTo>
                    <a:lnTo>
                      <a:pt x="168" y="762"/>
                    </a:lnTo>
                    <a:lnTo>
                      <a:pt x="168" y="758"/>
                    </a:lnTo>
                    <a:lnTo>
                      <a:pt x="168" y="754"/>
                    </a:lnTo>
                    <a:lnTo>
                      <a:pt x="172" y="754"/>
                    </a:lnTo>
                    <a:lnTo>
                      <a:pt x="172" y="758"/>
                    </a:lnTo>
                    <a:lnTo>
                      <a:pt x="176" y="758"/>
                    </a:lnTo>
                    <a:lnTo>
                      <a:pt x="176" y="762"/>
                    </a:lnTo>
                    <a:lnTo>
                      <a:pt x="176" y="768"/>
                    </a:lnTo>
                    <a:lnTo>
                      <a:pt x="172" y="768"/>
                    </a:lnTo>
                    <a:lnTo>
                      <a:pt x="172" y="766"/>
                    </a:lnTo>
                    <a:lnTo>
                      <a:pt x="176" y="766"/>
                    </a:lnTo>
                    <a:lnTo>
                      <a:pt x="176" y="762"/>
                    </a:lnTo>
                    <a:lnTo>
                      <a:pt x="172" y="766"/>
                    </a:lnTo>
                    <a:lnTo>
                      <a:pt x="172" y="768"/>
                    </a:lnTo>
                    <a:lnTo>
                      <a:pt x="168" y="768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38" y="780"/>
                    </a:moveTo>
                    <a:lnTo>
                      <a:pt x="134" y="776"/>
                    </a:lnTo>
                    <a:lnTo>
                      <a:pt x="134" y="772"/>
                    </a:lnTo>
                    <a:lnTo>
                      <a:pt x="130" y="772"/>
                    </a:lnTo>
                    <a:lnTo>
                      <a:pt x="126" y="768"/>
                    </a:lnTo>
                    <a:lnTo>
                      <a:pt x="126" y="766"/>
                    </a:lnTo>
                    <a:lnTo>
                      <a:pt x="124" y="766"/>
                    </a:lnTo>
                    <a:lnTo>
                      <a:pt x="124" y="762"/>
                    </a:lnTo>
                    <a:lnTo>
                      <a:pt x="126" y="762"/>
                    </a:lnTo>
                    <a:lnTo>
                      <a:pt x="124" y="762"/>
                    </a:lnTo>
                    <a:lnTo>
                      <a:pt x="120" y="762"/>
                    </a:lnTo>
                    <a:lnTo>
                      <a:pt x="120" y="758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6" y="754"/>
                    </a:lnTo>
                    <a:lnTo>
                      <a:pt x="130" y="754"/>
                    </a:lnTo>
                    <a:lnTo>
                      <a:pt x="130" y="758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58"/>
                    </a:lnTo>
                    <a:lnTo>
                      <a:pt x="126" y="758"/>
                    </a:lnTo>
                    <a:lnTo>
                      <a:pt x="126" y="762"/>
                    </a:lnTo>
                    <a:lnTo>
                      <a:pt x="130" y="762"/>
                    </a:lnTo>
                    <a:lnTo>
                      <a:pt x="134" y="762"/>
                    </a:lnTo>
                    <a:lnTo>
                      <a:pt x="130" y="762"/>
                    </a:lnTo>
                    <a:lnTo>
                      <a:pt x="130" y="766"/>
                    </a:lnTo>
                    <a:lnTo>
                      <a:pt x="130" y="762"/>
                    </a:lnTo>
                    <a:lnTo>
                      <a:pt x="126" y="762"/>
                    </a:lnTo>
                    <a:lnTo>
                      <a:pt x="130" y="766"/>
                    </a:lnTo>
                    <a:lnTo>
                      <a:pt x="130" y="768"/>
                    </a:lnTo>
                    <a:lnTo>
                      <a:pt x="134" y="768"/>
                    </a:lnTo>
                    <a:lnTo>
                      <a:pt x="134" y="772"/>
                    </a:lnTo>
                    <a:lnTo>
                      <a:pt x="138" y="772"/>
                    </a:lnTo>
                    <a:lnTo>
                      <a:pt x="138" y="776"/>
                    </a:lnTo>
                    <a:lnTo>
                      <a:pt x="142" y="776"/>
                    </a:lnTo>
                    <a:lnTo>
                      <a:pt x="138" y="780"/>
                    </a:lnTo>
                    <a:lnTo>
                      <a:pt x="138" y="780"/>
                    </a:lnTo>
                    <a:lnTo>
                      <a:pt x="138" y="780"/>
                    </a:lnTo>
                    <a:close/>
                    <a:moveTo>
                      <a:pt x="182" y="776"/>
                    </a:moveTo>
                    <a:lnTo>
                      <a:pt x="182" y="780"/>
                    </a:lnTo>
                    <a:lnTo>
                      <a:pt x="180" y="780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2" y="780"/>
                    </a:moveTo>
                    <a:lnTo>
                      <a:pt x="182" y="784"/>
                    </a:lnTo>
                    <a:lnTo>
                      <a:pt x="182" y="788"/>
                    </a:lnTo>
                    <a:lnTo>
                      <a:pt x="180" y="784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884" y="8"/>
                    </a:moveTo>
                    <a:lnTo>
                      <a:pt x="888" y="4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84" y="8"/>
                    </a:lnTo>
                    <a:lnTo>
                      <a:pt x="884" y="8"/>
                    </a:lnTo>
                    <a:lnTo>
                      <a:pt x="884" y="8"/>
                    </a:lnTo>
                    <a:close/>
                    <a:moveTo>
                      <a:pt x="698" y="50"/>
                    </a:moveTo>
                    <a:lnTo>
                      <a:pt x="694" y="50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50"/>
                    </a:lnTo>
                    <a:lnTo>
                      <a:pt x="698" y="50"/>
                    </a:lnTo>
                    <a:lnTo>
                      <a:pt x="698" y="50"/>
                    </a:lnTo>
                    <a:close/>
                    <a:moveTo>
                      <a:pt x="1052" y="50"/>
                    </a:moveTo>
                    <a:lnTo>
                      <a:pt x="1048" y="50"/>
                    </a:lnTo>
                    <a:lnTo>
                      <a:pt x="1048" y="46"/>
                    </a:lnTo>
                    <a:lnTo>
                      <a:pt x="1052" y="46"/>
                    </a:lnTo>
                    <a:lnTo>
                      <a:pt x="1056" y="46"/>
                    </a:lnTo>
                    <a:lnTo>
                      <a:pt x="1056" y="50"/>
                    </a:lnTo>
                    <a:lnTo>
                      <a:pt x="1052" y="50"/>
                    </a:lnTo>
                    <a:lnTo>
                      <a:pt x="1052" y="50"/>
                    </a:lnTo>
                    <a:lnTo>
                      <a:pt x="1052" y="50"/>
                    </a:lnTo>
                    <a:close/>
                    <a:moveTo>
                      <a:pt x="650" y="76"/>
                    </a:moveTo>
                    <a:lnTo>
                      <a:pt x="652" y="76"/>
                    </a:lnTo>
                    <a:lnTo>
                      <a:pt x="650" y="76"/>
                    </a:lnTo>
                    <a:lnTo>
                      <a:pt x="646" y="76"/>
                    </a:lnTo>
                    <a:lnTo>
                      <a:pt x="642" y="76"/>
                    </a:lnTo>
                    <a:lnTo>
                      <a:pt x="638" y="76"/>
                    </a:lnTo>
                    <a:lnTo>
                      <a:pt x="634" y="76"/>
                    </a:lnTo>
                    <a:lnTo>
                      <a:pt x="638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0" y="76"/>
                    </a:lnTo>
                    <a:lnTo>
                      <a:pt x="650" y="76"/>
                    </a:lnTo>
                    <a:close/>
                    <a:moveTo>
                      <a:pt x="778" y="120"/>
                    </a:moveTo>
                    <a:lnTo>
                      <a:pt x="782" y="120"/>
                    </a:lnTo>
                    <a:lnTo>
                      <a:pt x="786" y="120"/>
                    </a:lnTo>
                    <a:lnTo>
                      <a:pt x="790" y="120"/>
                    </a:lnTo>
                    <a:lnTo>
                      <a:pt x="790" y="124"/>
                    </a:lnTo>
                    <a:lnTo>
                      <a:pt x="786" y="124"/>
                    </a:lnTo>
                    <a:lnTo>
                      <a:pt x="782" y="124"/>
                    </a:lnTo>
                    <a:lnTo>
                      <a:pt x="778" y="124"/>
                    </a:lnTo>
                    <a:lnTo>
                      <a:pt x="776" y="128"/>
                    </a:lnTo>
                    <a:lnTo>
                      <a:pt x="772" y="128"/>
                    </a:lnTo>
                    <a:lnTo>
                      <a:pt x="772" y="124"/>
                    </a:lnTo>
                    <a:lnTo>
                      <a:pt x="776" y="124"/>
                    </a:lnTo>
                    <a:lnTo>
                      <a:pt x="776" y="120"/>
                    </a:lnTo>
                    <a:lnTo>
                      <a:pt x="778" y="120"/>
                    </a:lnTo>
                    <a:lnTo>
                      <a:pt x="778" y="120"/>
                    </a:lnTo>
                    <a:lnTo>
                      <a:pt x="778" y="120"/>
                    </a:lnTo>
                    <a:close/>
                    <a:moveTo>
                      <a:pt x="944" y="132"/>
                    </a:moveTo>
                    <a:lnTo>
                      <a:pt x="940" y="132"/>
                    </a:lnTo>
                    <a:lnTo>
                      <a:pt x="936" y="132"/>
                    </a:lnTo>
                    <a:lnTo>
                      <a:pt x="940" y="132"/>
                    </a:lnTo>
                    <a:lnTo>
                      <a:pt x="940" y="128"/>
                    </a:lnTo>
                    <a:lnTo>
                      <a:pt x="940" y="132"/>
                    </a:lnTo>
                    <a:lnTo>
                      <a:pt x="944" y="132"/>
                    </a:lnTo>
                    <a:lnTo>
                      <a:pt x="948" y="132"/>
                    </a:lnTo>
                    <a:lnTo>
                      <a:pt x="944" y="132"/>
                    </a:lnTo>
                    <a:lnTo>
                      <a:pt x="944" y="132"/>
                    </a:lnTo>
                    <a:lnTo>
                      <a:pt x="944" y="132"/>
                    </a:lnTo>
                    <a:close/>
                    <a:moveTo>
                      <a:pt x="748" y="138"/>
                    </a:moveTo>
                    <a:lnTo>
                      <a:pt x="746" y="142"/>
                    </a:lnTo>
                    <a:lnTo>
                      <a:pt x="746" y="146"/>
                    </a:lnTo>
                    <a:lnTo>
                      <a:pt x="746" y="142"/>
                    </a:lnTo>
                    <a:lnTo>
                      <a:pt x="742" y="142"/>
                    </a:lnTo>
                    <a:lnTo>
                      <a:pt x="746" y="142"/>
                    </a:lnTo>
                    <a:lnTo>
                      <a:pt x="746" y="138"/>
                    </a:lnTo>
                    <a:lnTo>
                      <a:pt x="748" y="138"/>
                    </a:lnTo>
                    <a:lnTo>
                      <a:pt x="748" y="138"/>
                    </a:lnTo>
                    <a:lnTo>
                      <a:pt x="748" y="138"/>
                    </a:lnTo>
                    <a:close/>
                    <a:moveTo>
                      <a:pt x="556" y="146"/>
                    </a:moveTo>
                    <a:lnTo>
                      <a:pt x="552" y="146"/>
                    </a:lnTo>
                    <a:lnTo>
                      <a:pt x="556" y="146"/>
                    </a:lnTo>
                    <a:lnTo>
                      <a:pt x="556" y="146"/>
                    </a:lnTo>
                    <a:lnTo>
                      <a:pt x="556" y="146"/>
                    </a:lnTo>
                    <a:close/>
                    <a:moveTo>
                      <a:pt x="894" y="154"/>
                    </a:moveTo>
                    <a:lnTo>
                      <a:pt x="898" y="154"/>
                    </a:lnTo>
                    <a:lnTo>
                      <a:pt x="898" y="158"/>
                    </a:lnTo>
                    <a:lnTo>
                      <a:pt x="894" y="158"/>
                    </a:lnTo>
                    <a:lnTo>
                      <a:pt x="890" y="158"/>
                    </a:lnTo>
                    <a:lnTo>
                      <a:pt x="894" y="158"/>
                    </a:lnTo>
                    <a:lnTo>
                      <a:pt x="894" y="154"/>
                    </a:lnTo>
                    <a:lnTo>
                      <a:pt x="894" y="154"/>
                    </a:lnTo>
                    <a:lnTo>
                      <a:pt x="894" y="154"/>
                    </a:lnTo>
                    <a:close/>
                    <a:moveTo>
                      <a:pt x="786" y="164"/>
                    </a:moveTo>
                    <a:lnTo>
                      <a:pt x="790" y="164"/>
                    </a:lnTo>
                    <a:lnTo>
                      <a:pt x="794" y="164"/>
                    </a:lnTo>
                    <a:lnTo>
                      <a:pt x="790" y="168"/>
                    </a:lnTo>
                    <a:lnTo>
                      <a:pt x="790" y="164"/>
                    </a:lnTo>
                    <a:lnTo>
                      <a:pt x="786" y="164"/>
                    </a:lnTo>
                    <a:lnTo>
                      <a:pt x="782" y="164"/>
                    </a:lnTo>
                    <a:lnTo>
                      <a:pt x="786" y="164"/>
                    </a:lnTo>
                    <a:lnTo>
                      <a:pt x="786" y="164"/>
                    </a:lnTo>
                    <a:lnTo>
                      <a:pt x="786" y="164"/>
                    </a:lnTo>
                    <a:close/>
                    <a:moveTo>
                      <a:pt x="806" y="194"/>
                    </a:move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4"/>
                    </a:lnTo>
                    <a:lnTo>
                      <a:pt x="806" y="194"/>
                    </a:lnTo>
                    <a:close/>
                    <a:moveTo>
                      <a:pt x="540" y="198"/>
                    </a:moveTo>
                    <a:lnTo>
                      <a:pt x="544" y="202"/>
                    </a:lnTo>
                    <a:lnTo>
                      <a:pt x="540" y="206"/>
                    </a:lnTo>
                    <a:lnTo>
                      <a:pt x="536" y="206"/>
                    </a:lnTo>
                    <a:lnTo>
                      <a:pt x="534" y="206"/>
                    </a:lnTo>
                    <a:lnTo>
                      <a:pt x="530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26" y="206"/>
                    </a:lnTo>
                    <a:lnTo>
                      <a:pt x="522" y="206"/>
                    </a:lnTo>
                    <a:lnTo>
                      <a:pt x="518" y="206"/>
                    </a:lnTo>
                    <a:lnTo>
                      <a:pt x="518" y="202"/>
                    </a:lnTo>
                    <a:lnTo>
                      <a:pt x="522" y="202"/>
                    </a:lnTo>
                    <a:lnTo>
                      <a:pt x="526" y="202"/>
                    </a:lnTo>
                    <a:lnTo>
                      <a:pt x="530" y="198"/>
                    </a:lnTo>
                    <a:lnTo>
                      <a:pt x="534" y="198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8"/>
                    </a:lnTo>
                    <a:lnTo>
                      <a:pt x="540" y="198"/>
                    </a:lnTo>
                    <a:close/>
                    <a:moveTo>
                      <a:pt x="880" y="206"/>
                    </a:moveTo>
                    <a:lnTo>
                      <a:pt x="876" y="206"/>
                    </a:lnTo>
                    <a:lnTo>
                      <a:pt x="876" y="208"/>
                    </a:lnTo>
                    <a:lnTo>
                      <a:pt x="880" y="208"/>
                    </a:lnTo>
                    <a:lnTo>
                      <a:pt x="880" y="212"/>
                    </a:lnTo>
                    <a:lnTo>
                      <a:pt x="876" y="212"/>
                    </a:lnTo>
                    <a:lnTo>
                      <a:pt x="876" y="208"/>
                    </a:lnTo>
                    <a:lnTo>
                      <a:pt x="872" y="208"/>
                    </a:lnTo>
                    <a:lnTo>
                      <a:pt x="872" y="212"/>
                    </a:lnTo>
                    <a:lnTo>
                      <a:pt x="868" y="212"/>
                    </a:lnTo>
                    <a:lnTo>
                      <a:pt x="868" y="208"/>
                    </a:lnTo>
                    <a:lnTo>
                      <a:pt x="864" y="208"/>
                    </a:lnTo>
                    <a:lnTo>
                      <a:pt x="868" y="208"/>
                    </a:lnTo>
                    <a:lnTo>
                      <a:pt x="872" y="206"/>
                    </a:lnTo>
                    <a:lnTo>
                      <a:pt x="876" y="206"/>
                    </a:lnTo>
                    <a:lnTo>
                      <a:pt x="876" y="202"/>
                    </a:lnTo>
                    <a:lnTo>
                      <a:pt x="880" y="206"/>
                    </a:lnTo>
                    <a:lnTo>
                      <a:pt x="880" y="206"/>
                    </a:lnTo>
                    <a:lnTo>
                      <a:pt x="880" y="206"/>
                    </a:lnTo>
                    <a:close/>
                    <a:moveTo>
                      <a:pt x="284" y="208"/>
                    </a:moveTo>
                    <a:lnTo>
                      <a:pt x="284" y="212"/>
                    </a:lnTo>
                    <a:lnTo>
                      <a:pt x="280" y="212"/>
                    </a:lnTo>
                    <a:lnTo>
                      <a:pt x="284" y="212"/>
                    </a:lnTo>
                    <a:lnTo>
                      <a:pt x="284" y="208"/>
                    </a:lnTo>
                    <a:lnTo>
                      <a:pt x="284" y="208"/>
                    </a:lnTo>
                    <a:lnTo>
                      <a:pt x="284" y="208"/>
                    </a:lnTo>
                    <a:close/>
                    <a:moveTo>
                      <a:pt x="262" y="208"/>
                    </a:move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8"/>
                    </a:lnTo>
                    <a:lnTo>
                      <a:pt x="262" y="208"/>
                    </a:lnTo>
                    <a:close/>
                    <a:moveTo>
                      <a:pt x="534" y="208"/>
                    </a:moveTo>
                    <a:lnTo>
                      <a:pt x="530" y="212"/>
                    </a:lnTo>
                    <a:lnTo>
                      <a:pt x="526" y="212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4" y="208"/>
                    </a:lnTo>
                    <a:lnTo>
                      <a:pt x="534" y="208"/>
                    </a:lnTo>
                    <a:lnTo>
                      <a:pt x="534" y="208"/>
                    </a:lnTo>
                    <a:close/>
                    <a:moveTo>
                      <a:pt x="574" y="220"/>
                    </a:moveTo>
                    <a:lnTo>
                      <a:pt x="574" y="216"/>
                    </a:lnTo>
                    <a:lnTo>
                      <a:pt x="570" y="220"/>
                    </a:lnTo>
                    <a:lnTo>
                      <a:pt x="566" y="220"/>
                    </a:lnTo>
                    <a:lnTo>
                      <a:pt x="566" y="216"/>
                    </a:lnTo>
                    <a:lnTo>
                      <a:pt x="570" y="216"/>
                    </a:lnTo>
                    <a:lnTo>
                      <a:pt x="574" y="216"/>
                    </a:lnTo>
                    <a:lnTo>
                      <a:pt x="578" y="216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4" y="220"/>
                    </a:lnTo>
                    <a:lnTo>
                      <a:pt x="574" y="220"/>
                    </a:lnTo>
                    <a:close/>
                    <a:moveTo>
                      <a:pt x="862" y="298"/>
                    </a:moveTo>
                    <a:lnTo>
                      <a:pt x="864" y="302"/>
                    </a:lnTo>
                    <a:lnTo>
                      <a:pt x="862" y="302"/>
                    </a:lnTo>
                    <a:lnTo>
                      <a:pt x="862" y="298"/>
                    </a:lnTo>
                    <a:lnTo>
                      <a:pt x="862" y="298"/>
                    </a:lnTo>
                    <a:lnTo>
                      <a:pt x="862" y="298"/>
                    </a:lnTo>
                    <a:close/>
                    <a:moveTo>
                      <a:pt x="868" y="302"/>
                    </a:moveTo>
                    <a:lnTo>
                      <a:pt x="872" y="302"/>
                    </a:lnTo>
                    <a:lnTo>
                      <a:pt x="872" y="306"/>
                    </a:lnTo>
                    <a:lnTo>
                      <a:pt x="868" y="306"/>
                    </a:lnTo>
                    <a:lnTo>
                      <a:pt x="868" y="302"/>
                    </a:lnTo>
                    <a:lnTo>
                      <a:pt x="868" y="302"/>
                    </a:lnTo>
                    <a:lnTo>
                      <a:pt x="868" y="302"/>
                    </a:lnTo>
                    <a:close/>
                    <a:moveTo>
                      <a:pt x="876" y="302"/>
                    </a:moveTo>
                    <a:lnTo>
                      <a:pt x="880" y="302"/>
                    </a:lnTo>
                    <a:lnTo>
                      <a:pt x="880" y="306"/>
                    </a:lnTo>
                    <a:lnTo>
                      <a:pt x="876" y="306"/>
                    </a:lnTo>
                    <a:lnTo>
                      <a:pt x="876" y="302"/>
                    </a:lnTo>
                    <a:lnTo>
                      <a:pt x="876" y="302"/>
                    </a:lnTo>
                    <a:lnTo>
                      <a:pt x="876" y="302"/>
                    </a:lnTo>
                    <a:close/>
                    <a:moveTo>
                      <a:pt x="776" y="306"/>
                    </a:moveTo>
                    <a:lnTo>
                      <a:pt x="778" y="306"/>
                    </a:lnTo>
                    <a:lnTo>
                      <a:pt x="778" y="310"/>
                    </a:lnTo>
                    <a:lnTo>
                      <a:pt x="778" y="306"/>
                    </a:lnTo>
                    <a:lnTo>
                      <a:pt x="776" y="306"/>
                    </a:lnTo>
                    <a:lnTo>
                      <a:pt x="776" y="306"/>
                    </a:lnTo>
                    <a:lnTo>
                      <a:pt x="776" y="306"/>
                    </a:lnTo>
                    <a:close/>
                    <a:moveTo>
                      <a:pt x="646" y="318"/>
                    </a:moveTo>
                    <a:lnTo>
                      <a:pt x="646" y="322"/>
                    </a:lnTo>
                    <a:lnTo>
                      <a:pt x="646" y="318"/>
                    </a:lnTo>
                    <a:lnTo>
                      <a:pt x="646" y="318"/>
                    </a:lnTo>
                    <a:lnTo>
                      <a:pt x="646" y="318"/>
                    </a:lnTo>
                    <a:close/>
                    <a:moveTo>
                      <a:pt x="626" y="332"/>
                    </a:moveTo>
                    <a:lnTo>
                      <a:pt x="630" y="332"/>
                    </a:lnTo>
                    <a:lnTo>
                      <a:pt x="630" y="336"/>
                    </a:lnTo>
                    <a:lnTo>
                      <a:pt x="626" y="336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336" y="350"/>
                    </a:moveTo>
                    <a:lnTo>
                      <a:pt x="340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352" y="350"/>
                    </a:moveTo>
                    <a:lnTo>
                      <a:pt x="348" y="350"/>
                    </a:lnTo>
                    <a:lnTo>
                      <a:pt x="352" y="350"/>
                    </a:lnTo>
                    <a:lnTo>
                      <a:pt x="352" y="350"/>
                    </a:lnTo>
                    <a:lnTo>
                      <a:pt x="352" y="350"/>
                    </a:lnTo>
                    <a:close/>
                    <a:moveTo>
                      <a:pt x="620" y="366"/>
                    </a:moveTo>
                    <a:lnTo>
                      <a:pt x="620" y="370"/>
                    </a:lnTo>
                    <a:lnTo>
                      <a:pt x="616" y="370"/>
                    </a:lnTo>
                    <a:lnTo>
                      <a:pt x="616" y="366"/>
                    </a:lnTo>
                    <a:lnTo>
                      <a:pt x="620" y="366"/>
                    </a:lnTo>
                    <a:lnTo>
                      <a:pt x="620" y="366"/>
                    </a:lnTo>
                    <a:lnTo>
                      <a:pt x="620" y="366"/>
                    </a:lnTo>
                    <a:close/>
                    <a:moveTo>
                      <a:pt x="702" y="374"/>
                    </a:moveTo>
                    <a:lnTo>
                      <a:pt x="698" y="370"/>
                    </a:lnTo>
                    <a:lnTo>
                      <a:pt x="702" y="370"/>
                    </a:lnTo>
                    <a:lnTo>
                      <a:pt x="702" y="374"/>
                    </a:lnTo>
                    <a:lnTo>
                      <a:pt x="702" y="374"/>
                    </a:lnTo>
                    <a:lnTo>
                      <a:pt x="702" y="374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0" y="380"/>
                    </a:lnTo>
                    <a:lnTo>
                      <a:pt x="626" y="378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720" y="380"/>
                    </a:moveTo>
                    <a:lnTo>
                      <a:pt x="716" y="384"/>
                    </a:lnTo>
                    <a:lnTo>
                      <a:pt x="716" y="380"/>
                    </a:lnTo>
                    <a:lnTo>
                      <a:pt x="720" y="380"/>
                    </a:lnTo>
                    <a:lnTo>
                      <a:pt x="720" y="380"/>
                    </a:lnTo>
                    <a:lnTo>
                      <a:pt x="720" y="380"/>
                    </a:lnTo>
                    <a:close/>
                    <a:moveTo>
                      <a:pt x="82" y="384"/>
                    </a:moveTo>
                    <a:lnTo>
                      <a:pt x="80" y="384"/>
                    </a:lnTo>
                    <a:lnTo>
                      <a:pt x="80" y="380"/>
                    </a:lnTo>
                    <a:lnTo>
                      <a:pt x="82" y="380"/>
                    </a:lnTo>
                    <a:lnTo>
                      <a:pt x="82" y="384"/>
                    </a:lnTo>
                    <a:lnTo>
                      <a:pt x="82" y="384"/>
                    </a:lnTo>
                    <a:lnTo>
                      <a:pt x="82" y="384"/>
                    </a:lnTo>
                    <a:close/>
                    <a:moveTo>
                      <a:pt x="712" y="384"/>
                    </a:moveTo>
                    <a:lnTo>
                      <a:pt x="712" y="380"/>
                    </a:lnTo>
                    <a:lnTo>
                      <a:pt x="716" y="384"/>
                    </a:lnTo>
                    <a:lnTo>
                      <a:pt x="712" y="384"/>
                    </a:lnTo>
                    <a:lnTo>
                      <a:pt x="712" y="384"/>
                    </a:lnTo>
                    <a:lnTo>
                      <a:pt x="712" y="384"/>
                    </a:lnTo>
                    <a:close/>
                    <a:moveTo>
                      <a:pt x="578" y="388"/>
                    </a:moveTo>
                    <a:lnTo>
                      <a:pt x="582" y="392"/>
                    </a:lnTo>
                    <a:lnTo>
                      <a:pt x="578" y="392"/>
                    </a:lnTo>
                    <a:lnTo>
                      <a:pt x="578" y="388"/>
                    </a:lnTo>
                    <a:lnTo>
                      <a:pt x="578" y="388"/>
                    </a:lnTo>
                    <a:lnTo>
                      <a:pt x="578" y="388"/>
                    </a:lnTo>
                    <a:close/>
                    <a:moveTo>
                      <a:pt x="574" y="392"/>
                    </a:moveTo>
                    <a:lnTo>
                      <a:pt x="578" y="392"/>
                    </a:lnTo>
                    <a:lnTo>
                      <a:pt x="578" y="396"/>
                    </a:lnTo>
                    <a:lnTo>
                      <a:pt x="574" y="396"/>
                    </a:lnTo>
                    <a:lnTo>
                      <a:pt x="574" y="400"/>
                    </a:lnTo>
                    <a:lnTo>
                      <a:pt x="570" y="396"/>
                    </a:lnTo>
                    <a:lnTo>
                      <a:pt x="570" y="392"/>
                    </a:lnTo>
                    <a:lnTo>
                      <a:pt x="570" y="388"/>
                    </a:lnTo>
                    <a:lnTo>
                      <a:pt x="574" y="388"/>
                    </a:lnTo>
                    <a:lnTo>
                      <a:pt x="574" y="392"/>
                    </a:lnTo>
                    <a:lnTo>
                      <a:pt x="574" y="392"/>
                    </a:lnTo>
                    <a:lnTo>
                      <a:pt x="574" y="392"/>
                    </a:lnTo>
                    <a:close/>
                    <a:moveTo>
                      <a:pt x="724" y="392"/>
                    </a:moveTo>
                    <a:lnTo>
                      <a:pt x="720" y="392"/>
                    </a:lnTo>
                    <a:lnTo>
                      <a:pt x="724" y="392"/>
                    </a:lnTo>
                    <a:lnTo>
                      <a:pt x="724" y="392"/>
                    </a:lnTo>
                    <a:lnTo>
                      <a:pt x="724" y="392"/>
                    </a:lnTo>
                    <a:close/>
                    <a:moveTo>
                      <a:pt x="724" y="400"/>
                    </a:moveTo>
                    <a:lnTo>
                      <a:pt x="720" y="400"/>
                    </a:lnTo>
                    <a:lnTo>
                      <a:pt x="720" y="396"/>
                    </a:lnTo>
                    <a:lnTo>
                      <a:pt x="724" y="396"/>
                    </a:lnTo>
                    <a:lnTo>
                      <a:pt x="724" y="400"/>
                    </a:lnTo>
                    <a:lnTo>
                      <a:pt x="724" y="400"/>
                    </a:lnTo>
                    <a:lnTo>
                      <a:pt x="724" y="400"/>
                    </a:lnTo>
                    <a:close/>
                    <a:moveTo>
                      <a:pt x="1026" y="396"/>
                    </a:move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400"/>
                    </a:lnTo>
                    <a:lnTo>
                      <a:pt x="1032" y="400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6" y="396"/>
                    </a:lnTo>
                    <a:lnTo>
                      <a:pt x="1026" y="396"/>
                    </a:lnTo>
                    <a:close/>
                    <a:moveTo>
                      <a:pt x="428" y="404"/>
                    </a:moveTo>
                    <a:lnTo>
                      <a:pt x="424" y="404"/>
                    </a:lnTo>
                    <a:lnTo>
                      <a:pt x="422" y="404"/>
                    </a:lnTo>
                    <a:lnTo>
                      <a:pt x="424" y="404"/>
                    </a:lnTo>
                    <a:lnTo>
                      <a:pt x="428" y="404"/>
                    </a:lnTo>
                    <a:lnTo>
                      <a:pt x="428" y="404"/>
                    </a:lnTo>
                    <a:lnTo>
                      <a:pt x="428" y="404"/>
                    </a:lnTo>
                    <a:close/>
                    <a:moveTo>
                      <a:pt x="834" y="408"/>
                    </a:moveTo>
                    <a:lnTo>
                      <a:pt x="832" y="408"/>
                    </a:lnTo>
                    <a:lnTo>
                      <a:pt x="834" y="408"/>
                    </a:lnTo>
                    <a:lnTo>
                      <a:pt x="834" y="408"/>
                    </a:lnTo>
                    <a:lnTo>
                      <a:pt x="834" y="408"/>
                    </a:lnTo>
                    <a:close/>
                    <a:moveTo>
                      <a:pt x="418" y="408"/>
                    </a:moveTo>
                    <a:lnTo>
                      <a:pt x="418" y="410"/>
                    </a:lnTo>
                    <a:lnTo>
                      <a:pt x="414" y="410"/>
                    </a:lnTo>
                    <a:lnTo>
                      <a:pt x="414" y="408"/>
                    </a:lnTo>
                    <a:lnTo>
                      <a:pt x="418" y="408"/>
                    </a:lnTo>
                    <a:lnTo>
                      <a:pt x="418" y="408"/>
                    </a:lnTo>
                    <a:lnTo>
                      <a:pt x="418" y="408"/>
                    </a:lnTo>
                    <a:close/>
                    <a:moveTo>
                      <a:pt x="444" y="410"/>
                    </a:moveTo>
                    <a:lnTo>
                      <a:pt x="440" y="410"/>
                    </a:lnTo>
                    <a:lnTo>
                      <a:pt x="440" y="414"/>
                    </a:lnTo>
                    <a:lnTo>
                      <a:pt x="440" y="410"/>
                    </a:lnTo>
                    <a:lnTo>
                      <a:pt x="444" y="410"/>
                    </a:lnTo>
                    <a:lnTo>
                      <a:pt x="444" y="410"/>
                    </a:lnTo>
                    <a:lnTo>
                      <a:pt x="444" y="410"/>
                    </a:lnTo>
                    <a:close/>
                    <a:moveTo>
                      <a:pt x="518" y="410"/>
                    </a:moveTo>
                    <a:lnTo>
                      <a:pt x="518" y="414"/>
                    </a:lnTo>
                    <a:lnTo>
                      <a:pt x="514" y="414"/>
                    </a:lnTo>
                    <a:lnTo>
                      <a:pt x="514" y="410"/>
                    </a:lnTo>
                    <a:lnTo>
                      <a:pt x="518" y="410"/>
                    </a:lnTo>
                    <a:lnTo>
                      <a:pt x="518" y="410"/>
                    </a:lnTo>
                    <a:lnTo>
                      <a:pt x="518" y="410"/>
                    </a:lnTo>
                    <a:close/>
                    <a:moveTo>
                      <a:pt x="440" y="414"/>
                    </a:moveTo>
                    <a:lnTo>
                      <a:pt x="436" y="414"/>
                    </a:lnTo>
                    <a:lnTo>
                      <a:pt x="440" y="414"/>
                    </a:lnTo>
                    <a:lnTo>
                      <a:pt x="440" y="414"/>
                    </a:lnTo>
                    <a:lnTo>
                      <a:pt x="440" y="414"/>
                    </a:lnTo>
                    <a:close/>
                    <a:moveTo>
                      <a:pt x="448" y="414"/>
                    </a:moveTo>
                    <a:lnTo>
                      <a:pt x="448" y="418"/>
                    </a:lnTo>
                    <a:lnTo>
                      <a:pt x="448" y="414"/>
                    </a:lnTo>
                    <a:lnTo>
                      <a:pt x="444" y="414"/>
                    </a:lnTo>
                    <a:lnTo>
                      <a:pt x="448" y="414"/>
                    </a:lnTo>
                    <a:lnTo>
                      <a:pt x="448" y="414"/>
                    </a:lnTo>
                    <a:lnTo>
                      <a:pt x="448" y="414"/>
                    </a:lnTo>
                    <a:close/>
                    <a:moveTo>
                      <a:pt x="462" y="418"/>
                    </a:moveTo>
                    <a:lnTo>
                      <a:pt x="458" y="418"/>
                    </a:lnTo>
                    <a:lnTo>
                      <a:pt x="462" y="418"/>
                    </a:lnTo>
                    <a:lnTo>
                      <a:pt x="462" y="418"/>
                    </a:lnTo>
                    <a:lnTo>
                      <a:pt x="462" y="418"/>
                    </a:lnTo>
                    <a:close/>
                    <a:moveTo>
                      <a:pt x="620" y="422"/>
                    </a:moveTo>
                    <a:lnTo>
                      <a:pt x="620" y="426"/>
                    </a:lnTo>
                    <a:lnTo>
                      <a:pt x="616" y="426"/>
                    </a:lnTo>
                    <a:lnTo>
                      <a:pt x="616" y="422"/>
                    </a:lnTo>
                    <a:lnTo>
                      <a:pt x="620" y="422"/>
                    </a:lnTo>
                    <a:lnTo>
                      <a:pt x="620" y="422"/>
                    </a:lnTo>
                    <a:lnTo>
                      <a:pt x="620" y="422"/>
                    </a:lnTo>
                    <a:close/>
                    <a:moveTo>
                      <a:pt x="466" y="430"/>
                    </a:move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466" y="430"/>
                    </a:moveTo>
                    <a:lnTo>
                      <a:pt x="462" y="430"/>
                    </a:lnTo>
                    <a:lnTo>
                      <a:pt x="462" y="426"/>
                    </a:lnTo>
                    <a:lnTo>
                      <a:pt x="466" y="426"/>
                    </a:lnTo>
                    <a:lnTo>
                      <a:pt x="466" y="430"/>
                    </a:lnTo>
                    <a:lnTo>
                      <a:pt x="466" y="430"/>
                    </a:lnTo>
                    <a:lnTo>
                      <a:pt x="466" y="430"/>
                    </a:lnTo>
                    <a:close/>
                    <a:moveTo>
                      <a:pt x="1096" y="434"/>
                    </a:moveTo>
                    <a:lnTo>
                      <a:pt x="1092" y="434"/>
                    </a:lnTo>
                    <a:lnTo>
                      <a:pt x="1096" y="434"/>
                    </a:lnTo>
                    <a:lnTo>
                      <a:pt x="1100" y="434"/>
                    </a:lnTo>
                    <a:lnTo>
                      <a:pt x="1096" y="434"/>
                    </a:lnTo>
                    <a:lnTo>
                      <a:pt x="1096" y="434"/>
                    </a:lnTo>
                    <a:lnTo>
                      <a:pt x="1096" y="434"/>
                    </a:lnTo>
                    <a:close/>
                    <a:moveTo>
                      <a:pt x="646" y="434"/>
                    </a:moveTo>
                    <a:lnTo>
                      <a:pt x="646" y="436"/>
                    </a:lnTo>
                    <a:lnTo>
                      <a:pt x="642" y="436"/>
                    </a:lnTo>
                    <a:lnTo>
                      <a:pt x="642" y="434"/>
                    </a:lnTo>
                    <a:lnTo>
                      <a:pt x="646" y="434"/>
                    </a:lnTo>
                    <a:lnTo>
                      <a:pt x="646" y="434"/>
                    </a:lnTo>
                    <a:lnTo>
                      <a:pt x="646" y="434"/>
                    </a:lnTo>
                    <a:close/>
                    <a:moveTo>
                      <a:pt x="474" y="436"/>
                    </a:moveTo>
                    <a:lnTo>
                      <a:pt x="474" y="440"/>
                    </a:lnTo>
                    <a:lnTo>
                      <a:pt x="474" y="436"/>
                    </a:lnTo>
                    <a:lnTo>
                      <a:pt x="474" y="436"/>
                    </a:lnTo>
                    <a:lnTo>
                      <a:pt x="474" y="436"/>
                    </a:lnTo>
                    <a:close/>
                    <a:moveTo>
                      <a:pt x="1104" y="440"/>
                    </a:moveTo>
                    <a:lnTo>
                      <a:pt x="1100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470" y="440"/>
                    </a:moveTo>
                    <a:lnTo>
                      <a:pt x="470" y="444"/>
                    </a:lnTo>
                    <a:lnTo>
                      <a:pt x="466" y="444"/>
                    </a:lnTo>
                    <a:lnTo>
                      <a:pt x="470" y="440"/>
                    </a:lnTo>
                    <a:lnTo>
                      <a:pt x="470" y="440"/>
                    </a:lnTo>
                    <a:lnTo>
                      <a:pt x="470" y="440"/>
                    </a:lnTo>
                    <a:close/>
                    <a:moveTo>
                      <a:pt x="1114" y="460"/>
                    </a:moveTo>
                    <a:lnTo>
                      <a:pt x="1110" y="460"/>
                    </a:lnTo>
                    <a:lnTo>
                      <a:pt x="1114" y="460"/>
                    </a:lnTo>
                    <a:lnTo>
                      <a:pt x="1114" y="460"/>
                    </a:lnTo>
                    <a:lnTo>
                      <a:pt x="1114" y="460"/>
                    </a:lnTo>
                    <a:close/>
                    <a:moveTo>
                      <a:pt x="954" y="500"/>
                    </a:moveTo>
                    <a:lnTo>
                      <a:pt x="954" y="504"/>
                    </a:lnTo>
                    <a:lnTo>
                      <a:pt x="954" y="508"/>
                    </a:lnTo>
                    <a:lnTo>
                      <a:pt x="954" y="504"/>
                    </a:lnTo>
                    <a:lnTo>
                      <a:pt x="950" y="504"/>
                    </a:lnTo>
                    <a:lnTo>
                      <a:pt x="954" y="500"/>
                    </a:lnTo>
                    <a:lnTo>
                      <a:pt x="950" y="500"/>
                    </a:lnTo>
                    <a:lnTo>
                      <a:pt x="954" y="500"/>
                    </a:lnTo>
                    <a:lnTo>
                      <a:pt x="954" y="500"/>
                    </a:lnTo>
                    <a:lnTo>
                      <a:pt x="954" y="500"/>
                    </a:lnTo>
                    <a:close/>
                    <a:moveTo>
                      <a:pt x="944" y="500"/>
                    </a:moveTo>
                    <a:lnTo>
                      <a:pt x="944" y="504"/>
                    </a:lnTo>
                    <a:lnTo>
                      <a:pt x="948" y="504"/>
                    </a:lnTo>
                    <a:lnTo>
                      <a:pt x="944" y="504"/>
                    </a:lnTo>
                    <a:lnTo>
                      <a:pt x="944" y="500"/>
                    </a:lnTo>
                    <a:lnTo>
                      <a:pt x="944" y="500"/>
                    </a:lnTo>
                    <a:lnTo>
                      <a:pt x="944" y="500"/>
                    </a:lnTo>
                    <a:close/>
                    <a:moveTo>
                      <a:pt x="1076" y="504"/>
                    </a:moveTo>
                    <a:lnTo>
                      <a:pt x="1076" y="508"/>
                    </a:lnTo>
                    <a:lnTo>
                      <a:pt x="1076" y="504"/>
                    </a:lnTo>
                    <a:lnTo>
                      <a:pt x="1074" y="504"/>
                    </a:lnTo>
                    <a:lnTo>
                      <a:pt x="1076" y="504"/>
                    </a:lnTo>
                    <a:lnTo>
                      <a:pt x="1076" y="504"/>
                    </a:lnTo>
                    <a:lnTo>
                      <a:pt x="1076" y="504"/>
                    </a:lnTo>
                    <a:close/>
                    <a:moveTo>
                      <a:pt x="950" y="504"/>
                    </a:moveTo>
                    <a:lnTo>
                      <a:pt x="950" y="508"/>
                    </a:lnTo>
                    <a:lnTo>
                      <a:pt x="950" y="504"/>
                    </a:lnTo>
                    <a:lnTo>
                      <a:pt x="950" y="504"/>
                    </a:lnTo>
                    <a:lnTo>
                      <a:pt x="950" y="504"/>
                    </a:lnTo>
                    <a:close/>
                    <a:moveTo>
                      <a:pt x="1074" y="504"/>
                    </a:moveTo>
                    <a:lnTo>
                      <a:pt x="1076" y="508"/>
                    </a:lnTo>
                    <a:lnTo>
                      <a:pt x="1074" y="508"/>
                    </a:lnTo>
                    <a:lnTo>
                      <a:pt x="1074" y="504"/>
                    </a:lnTo>
                    <a:lnTo>
                      <a:pt x="1074" y="504"/>
                    </a:lnTo>
                    <a:lnTo>
                      <a:pt x="1074" y="504"/>
                    </a:lnTo>
                    <a:close/>
                    <a:moveTo>
                      <a:pt x="1080" y="516"/>
                    </a:moveTo>
                    <a:lnTo>
                      <a:pt x="1080" y="520"/>
                    </a:lnTo>
                    <a:lnTo>
                      <a:pt x="1084" y="520"/>
                    </a:lnTo>
                    <a:lnTo>
                      <a:pt x="1084" y="522"/>
                    </a:lnTo>
                    <a:lnTo>
                      <a:pt x="1080" y="522"/>
                    </a:lnTo>
                    <a:lnTo>
                      <a:pt x="1080" y="520"/>
                    </a:lnTo>
                    <a:lnTo>
                      <a:pt x="1076" y="520"/>
                    </a:lnTo>
                    <a:lnTo>
                      <a:pt x="1076" y="516"/>
                    </a:lnTo>
                    <a:lnTo>
                      <a:pt x="1080" y="516"/>
                    </a:lnTo>
                    <a:lnTo>
                      <a:pt x="1080" y="516"/>
                    </a:lnTo>
                    <a:lnTo>
                      <a:pt x="1080" y="516"/>
                    </a:lnTo>
                    <a:close/>
                    <a:moveTo>
                      <a:pt x="1084" y="516"/>
                    </a:moveTo>
                    <a:lnTo>
                      <a:pt x="1084" y="520"/>
                    </a:lnTo>
                    <a:lnTo>
                      <a:pt x="1084" y="516"/>
                    </a:lnTo>
                    <a:lnTo>
                      <a:pt x="1084" y="516"/>
                    </a:lnTo>
                    <a:lnTo>
                      <a:pt x="1084" y="516"/>
                    </a:lnTo>
                    <a:close/>
                    <a:moveTo>
                      <a:pt x="1088" y="520"/>
                    </a:moveTo>
                    <a:lnTo>
                      <a:pt x="1088" y="522"/>
                    </a:lnTo>
                    <a:lnTo>
                      <a:pt x="1084" y="522"/>
                    </a:lnTo>
                    <a:lnTo>
                      <a:pt x="1084" y="520"/>
                    </a:lnTo>
                    <a:lnTo>
                      <a:pt x="1088" y="520"/>
                    </a:lnTo>
                    <a:lnTo>
                      <a:pt x="1088" y="520"/>
                    </a:lnTo>
                    <a:lnTo>
                      <a:pt x="1088" y="520"/>
                    </a:lnTo>
                    <a:close/>
                    <a:moveTo>
                      <a:pt x="1084" y="522"/>
                    </a:moveTo>
                    <a:lnTo>
                      <a:pt x="1088" y="522"/>
                    </a:lnTo>
                    <a:lnTo>
                      <a:pt x="1088" y="526"/>
                    </a:lnTo>
                    <a:lnTo>
                      <a:pt x="1084" y="526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712" y="522"/>
                    </a:moveTo>
                    <a:lnTo>
                      <a:pt x="712" y="526"/>
                    </a:lnTo>
                    <a:lnTo>
                      <a:pt x="708" y="526"/>
                    </a:lnTo>
                    <a:lnTo>
                      <a:pt x="708" y="522"/>
                    </a:lnTo>
                    <a:lnTo>
                      <a:pt x="712" y="522"/>
                    </a:lnTo>
                    <a:lnTo>
                      <a:pt x="712" y="522"/>
                    </a:lnTo>
                    <a:lnTo>
                      <a:pt x="712" y="522"/>
                    </a:lnTo>
                    <a:close/>
                    <a:moveTo>
                      <a:pt x="890" y="546"/>
                    </a:moveTo>
                    <a:lnTo>
                      <a:pt x="894" y="546"/>
                    </a:lnTo>
                    <a:lnTo>
                      <a:pt x="894" y="550"/>
                    </a:lnTo>
                    <a:lnTo>
                      <a:pt x="890" y="550"/>
                    </a:lnTo>
                    <a:lnTo>
                      <a:pt x="890" y="546"/>
                    </a:lnTo>
                    <a:lnTo>
                      <a:pt x="890" y="546"/>
                    </a:lnTo>
                    <a:lnTo>
                      <a:pt x="890" y="546"/>
                    </a:lnTo>
                    <a:close/>
                    <a:moveTo>
                      <a:pt x="690" y="552"/>
                    </a:moveTo>
                    <a:lnTo>
                      <a:pt x="686" y="552"/>
                    </a:lnTo>
                    <a:lnTo>
                      <a:pt x="690" y="552"/>
                    </a:lnTo>
                    <a:lnTo>
                      <a:pt x="690" y="552"/>
                    </a:lnTo>
                    <a:lnTo>
                      <a:pt x="690" y="552"/>
                    </a:lnTo>
                    <a:close/>
                    <a:moveTo>
                      <a:pt x="1066" y="564"/>
                    </a:moveTo>
                    <a:lnTo>
                      <a:pt x="1066" y="566"/>
                    </a:lnTo>
                    <a:lnTo>
                      <a:pt x="1062" y="566"/>
                    </a:lnTo>
                    <a:lnTo>
                      <a:pt x="1062" y="564"/>
                    </a:lnTo>
                    <a:lnTo>
                      <a:pt x="1066" y="564"/>
                    </a:lnTo>
                    <a:lnTo>
                      <a:pt x="1066" y="564"/>
                    </a:lnTo>
                    <a:lnTo>
                      <a:pt x="1066" y="564"/>
                    </a:lnTo>
                    <a:close/>
                    <a:moveTo>
                      <a:pt x="1088" y="608"/>
                    </a:moveTo>
                    <a:lnTo>
                      <a:pt x="1088" y="612"/>
                    </a:lnTo>
                    <a:lnTo>
                      <a:pt x="1084" y="612"/>
                    </a:lnTo>
                    <a:lnTo>
                      <a:pt x="1088" y="608"/>
                    </a:lnTo>
                    <a:lnTo>
                      <a:pt x="1088" y="608"/>
                    </a:lnTo>
                    <a:lnTo>
                      <a:pt x="1088" y="608"/>
                    </a:lnTo>
                    <a:close/>
                    <a:moveTo>
                      <a:pt x="1118" y="664"/>
                    </a:moveTo>
                    <a:lnTo>
                      <a:pt x="1118" y="660"/>
                    </a:lnTo>
                    <a:lnTo>
                      <a:pt x="1122" y="660"/>
                    </a:lnTo>
                    <a:lnTo>
                      <a:pt x="1118" y="664"/>
                    </a:lnTo>
                    <a:lnTo>
                      <a:pt x="1118" y="664"/>
                    </a:lnTo>
                    <a:lnTo>
                      <a:pt x="1118" y="664"/>
                    </a:lnTo>
                    <a:close/>
                    <a:moveTo>
                      <a:pt x="1122" y="660"/>
                    </a:moveTo>
                    <a:lnTo>
                      <a:pt x="1122" y="664"/>
                    </a:lnTo>
                    <a:lnTo>
                      <a:pt x="1118" y="664"/>
                    </a:lnTo>
                    <a:lnTo>
                      <a:pt x="1122" y="664"/>
                    </a:lnTo>
                    <a:lnTo>
                      <a:pt x="1122" y="660"/>
                    </a:lnTo>
                    <a:lnTo>
                      <a:pt x="1122" y="660"/>
                    </a:lnTo>
                    <a:lnTo>
                      <a:pt x="1122" y="660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1132" y="698"/>
                    </a:moveTo>
                    <a:lnTo>
                      <a:pt x="1136" y="698"/>
                    </a:lnTo>
                    <a:lnTo>
                      <a:pt x="1132" y="698"/>
                    </a:lnTo>
                    <a:lnTo>
                      <a:pt x="1132" y="698"/>
                    </a:lnTo>
                    <a:lnTo>
                      <a:pt x="1132" y="698"/>
                    </a:lnTo>
                    <a:close/>
                    <a:moveTo>
                      <a:pt x="1174" y="720"/>
                    </a:moveTo>
                    <a:lnTo>
                      <a:pt x="1174" y="724"/>
                    </a:lnTo>
                    <a:lnTo>
                      <a:pt x="1170" y="724"/>
                    </a:lnTo>
                    <a:lnTo>
                      <a:pt x="1170" y="720"/>
                    </a:lnTo>
                    <a:lnTo>
                      <a:pt x="1174" y="720"/>
                    </a:lnTo>
                    <a:lnTo>
                      <a:pt x="1174" y="720"/>
                    </a:lnTo>
                    <a:lnTo>
                      <a:pt x="1174" y="720"/>
                    </a:lnTo>
                    <a:close/>
                    <a:moveTo>
                      <a:pt x="150" y="720"/>
                    </a:moveTo>
                    <a:lnTo>
                      <a:pt x="150" y="724"/>
                    </a:lnTo>
                    <a:lnTo>
                      <a:pt x="146" y="724"/>
                    </a:lnTo>
                    <a:lnTo>
                      <a:pt x="150" y="720"/>
                    </a:lnTo>
                    <a:lnTo>
                      <a:pt x="150" y="720"/>
                    </a:lnTo>
                    <a:lnTo>
                      <a:pt x="150" y="720"/>
                    </a:lnTo>
                    <a:close/>
                    <a:moveTo>
                      <a:pt x="1204" y="750"/>
                    </a:moveTo>
                    <a:lnTo>
                      <a:pt x="1208" y="750"/>
                    </a:lnTo>
                    <a:lnTo>
                      <a:pt x="1204" y="754"/>
                    </a:lnTo>
                    <a:lnTo>
                      <a:pt x="1204" y="750"/>
                    </a:lnTo>
                    <a:lnTo>
                      <a:pt x="1204" y="750"/>
                    </a:lnTo>
                    <a:lnTo>
                      <a:pt x="1204" y="750"/>
                    </a:lnTo>
                    <a:close/>
                    <a:moveTo>
                      <a:pt x="176" y="766"/>
                    </a:moveTo>
                    <a:lnTo>
                      <a:pt x="180" y="766"/>
                    </a:lnTo>
                    <a:lnTo>
                      <a:pt x="176" y="768"/>
                    </a:lnTo>
                    <a:lnTo>
                      <a:pt x="176" y="766"/>
                    </a:lnTo>
                    <a:lnTo>
                      <a:pt x="176" y="766"/>
                    </a:lnTo>
                    <a:lnTo>
                      <a:pt x="176" y="766"/>
                    </a:lnTo>
                    <a:close/>
                    <a:moveTo>
                      <a:pt x="182" y="776"/>
                    </a:moveTo>
                    <a:lnTo>
                      <a:pt x="186" y="776"/>
                    </a:lnTo>
                    <a:lnTo>
                      <a:pt x="182" y="776"/>
                    </a:lnTo>
                    <a:lnTo>
                      <a:pt x="182" y="776"/>
                    </a:lnTo>
                    <a:lnTo>
                      <a:pt x="182" y="776"/>
                    </a:lnTo>
                    <a:close/>
                    <a:moveTo>
                      <a:pt x="180" y="780"/>
                    </a:moveTo>
                    <a:lnTo>
                      <a:pt x="180" y="776"/>
                    </a:lnTo>
                    <a:lnTo>
                      <a:pt x="180" y="780"/>
                    </a:lnTo>
                    <a:lnTo>
                      <a:pt x="180" y="780"/>
                    </a:lnTo>
                    <a:lnTo>
                      <a:pt x="180" y="780"/>
                    </a:lnTo>
                    <a:close/>
                    <a:moveTo>
                      <a:pt x="182" y="780"/>
                    </a:moveTo>
                    <a:lnTo>
                      <a:pt x="186" y="780"/>
                    </a:lnTo>
                    <a:lnTo>
                      <a:pt x="182" y="780"/>
                    </a:lnTo>
                    <a:lnTo>
                      <a:pt x="182" y="780"/>
                    </a:lnTo>
                    <a:lnTo>
                      <a:pt x="182" y="780"/>
                    </a:lnTo>
                    <a:close/>
                    <a:moveTo>
                      <a:pt x="202" y="806"/>
                    </a:moveTo>
                    <a:lnTo>
                      <a:pt x="198" y="806"/>
                    </a:lnTo>
                    <a:lnTo>
                      <a:pt x="202" y="806"/>
                    </a:lnTo>
                    <a:lnTo>
                      <a:pt x="206" y="806"/>
                    </a:lnTo>
                    <a:lnTo>
                      <a:pt x="202" y="806"/>
                    </a:lnTo>
                    <a:lnTo>
                      <a:pt x="202" y="806"/>
                    </a:lnTo>
                    <a:lnTo>
                      <a:pt x="202" y="806"/>
                    </a:lnTo>
                    <a:close/>
                    <a:moveTo>
                      <a:pt x="1212" y="806"/>
                    </a:moveTo>
                    <a:lnTo>
                      <a:pt x="1208" y="810"/>
                    </a:lnTo>
                    <a:lnTo>
                      <a:pt x="1208" y="806"/>
                    </a:lnTo>
                    <a:lnTo>
                      <a:pt x="1212" y="806"/>
                    </a:lnTo>
                    <a:lnTo>
                      <a:pt x="1212" y="806"/>
                    </a:lnTo>
                    <a:lnTo>
                      <a:pt x="1212" y="806"/>
                    </a:lnTo>
                    <a:close/>
                    <a:moveTo>
                      <a:pt x="198" y="810"/>
                    </a:moveTo>
                    <a:lnTo>
                      <a:pt x="202" y="810"/>
                    </a:lnTo>
                    <a:lnTo>
                      <a:pt x="198" y="810"/>
                    </a:lnTo>
                    <a:lnTo>
                      <a:pt x="198" y="810"/>
                    </a:lnTo>
                    <a:lnTo>
                      <a:pt x="198" y="810"/>
                    </a:lnTo>
                    <a:close/>
                    <a:moveTo>
                      <a:pt x="210" y="810"/>
                    </a:moveTo>
                    <a:lnTo>
                      <a:pt x="210" y="814"/>
                    </a:lnTo>
                    <a:lnTo>
                      <a:pt x="206" y="814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0"/>
                    </a:lnTo>
                    <a:lnTo>
                      <a:pt x="210" y="810"/>
                    </a:lnTo>
                    <a:lnTo>
                      <a:pt x="210" y="810"/>
                    </a:lnTo>
                    <a:close/>
                    <a:moveTo>
                      <a:pt x="220" y="814"/>
                    </a:moveTo>
                    <a:lnTo>
                      <a:pt x="220" y="818"/>
                    </a:lnTo>
                    <a:lnTo>
                      <a:pt x="220" y="814"/>
                    </a:lnTo>
                    <a:lnTo>
                      <a:pt x="220" y="814"/>
                    </a:lnTo>
                    <a:lnTo>
                      <a:pt x="220" y="814"/>
                    </a:lnTo>
                    <a:close/>
                    <a:moveTo>
                      <a:pt x="224" y="814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18"/>
                    </a:lnTo>
                    <a:lnTo>
                      <a:pt x="220" y="818"/>
                    </a:lnTo>
                    <a:lnTo>
                      <a:pt x="224" y="814"/>
                    </a:lnTo>
                    <a:lnTo>
                      <a:pt x="224" y="814"/>
                    </a:lnTo>
                    <a:lnTo>
                      <a:pt x="224" y="814"/>
                    </a:lnTo>
                    <a:close/>
                    <a:moveTo>
                      <a:pt x="232" y="818"/>
                    </a:moveTo>
                    <a:lnTo>
                      <a:pt x="232" y="822"/>
                    </a:lnTo>
                    <a:lnTo>
                      <a:pt x="228" y="818"/>
                    </a:lnTo>
                    <a:lnTo>
                      <a:pt x="232" y="818"/>
                    </a:lnTo>
                    <a:lnTo>
                      <a:pt x="232" y="818"/>
                    </a:lnTo>
                    <a:lnTo>
                      <a:pt x="232" y="818"/>
                    </a:lnTo>
                    <a:close/>
                    <a:moveTo>
                      <a:pt x="228" y="818"/>
                    </a:moveTo>
                    <a:lnTo>
                      <a:pt x="232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28" y="818"/>
                    </a:moveTo>
                    <a:lnTo>
                      <a:pt x="228" y="822"/>
                    </a:lnTo>
                    <a:lnTo>
                      <a:pt x="228" y="824"/>
                    </a:lnTo>
                    <a:lnTo>
                      <a:pt x="228" y="822"/>
                    </a:lnTo>
                    <a:lnTo>
                      <a:pt x="224" y="822"/>
                    </a:lnTo>
                    <a:lnTo>
                      <a:pt x="228" y="822"/>
                    </a:lnTo>
                    <a:lnTo>
                      <a:pt x="228" y="818"/>
                    </a:lnTo>
                    <a:lnTo>
                      <a:pt x="228" y="818"/>
                    </a:lnTo>
                    <a:lnTo>
                      <a:pt x="228" y="818"/>
                    </a:lnTo>
                    <a:close/>
                    <a:moveTo>
                      <a:pt x="238" y="828"/>
                    </a:moveTo>
                    <a:lnTo>
                      <a:pt x="238" y="832"/>
                    </a:lnTo>
                    <a:lnTo>
                      <a:pt x="238" y="828"/>
                    </a:lnTo>
                    <a:lnTo>
                      <a:pt x="238" y="828"/>
                    </a:lnTo>
                    <a:lnTo>
                      <a:pt x="238" y="828"/>
                    </a:lnTo>
                    <a:close/>
                    <a:moveTo>
                      <a:pt x="1230" y="828"/>
                    </a:moveTo>
                    <a:lnTo>
                      <a:pt x="1230" y="832"/>
                    </a:lnTo>
                    <a:lnTo>
                      <a:pt x="1226" y="832"/>
                    </a:lnTo>
                    <a:lnTo>
                      <a:pt x="1226" y="828"/>
                    </a:lnTo>
                    <a:lnTo>
                      <a:pt x="1230" y="828"/>
                    </a:lnTo>
                    <a:lnTo>
                      <a:pt x="1230" y="828"/>
                    </a:lnTo>
                    <a:lnTo>
                      <a:pt x="1230" y="828"/>
                    </a:lnTo>
                    <a:close/>
                    <a:moveTo>
                      <a:pt x="1222" y="832"/>
                    </a:moveTo>
                    <a:lnTo>
                      <a:pt x="1218" y="836"/>
                    </a:lnTo>
                    <a:lnTo>
                      <a:pt x="1218" y="832"/>
                    </a:lnTo>
                    <a:lnTo>
                      <a:pt x="1222" y="832"/>
                    </a:lnTo>
                    <a:lnTo>
                      <a:pt x="1222" y="832"/>
                    </a:lnTo>
                    <a:lnTo>
                      <a:pt x="1222" y="832"/>
                    </a:lnTo>
                    <a:close/>
                    <a:moveTo>
                      <a:pt x="250" y="832"/>
                    </a:moveTo>
                    <a:lnTo>
                      <a:pt x="250" y="836"/>
                    </a:lnTo>
                    <a:lnTo>
                      <a:pt x="246" y="836"/>
                    </a:lnTo>
                    <a:lnTo>
                      <a:pt x="250" y="836"/>
                    </a:lnTo>
                    <a:lnTo>
                      <a:pt x="250" y="832"/>
                    </a:lnTo>
                    <a:lnTo>
                      <a:pt x="250" y="832"/>
                    </a:lnTo>
                    <a:lnTo>
                      <a:pt x="250" y="832"/>
                    </a:lnTo>
                    <a:close/>
                    <a:moveTo>
                      <a:pt x="212" y="840"/>
                    </a:moveTo>
                    <a:lnTo>
                      <a:pt x="216" y="840"/>
                    </a:lnTo>
                    <a:lnTo>
                      <a:pt x="216" y="844"/>
                    </a:lnTo>
                    <a:lnTo>
                      <a:pt x="212" y="844"/>
                    </a:lnTo>
                    <a:lnTo>
                      <a:pt x="212" y="840"/>
                    </a:lnTo>
                    <a:lnTo>
                      <a:pt x="212" y="840"/>
                    </a:lnTo>
                    <a:lnTo>
                      <a:pt x="212" y="840"/>
                    </a:lnTo>
                    <a:close/>
                    <a:moveTo>
                      <a:pt x="1238" y="862"/>
                    </a:move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8" y="862"/>
                    </a:lnTo>
                    <a:lnTo>
                      <a:pt x="1238" y="862"/>
                    </a:lnTo>
                    <a:lnTo>
                      <a:pt x="1238" y="862"/>
                    </a:lnTo>
                    <a:close/>
                    <a:moveTo>
                      <a:pt x="1204" y="874"/>
                    </a:moveTo>
                    <a:lnTo>
                      <a:pt x="1200" y="874"/>
                    </a:lnTo>
                    <a:lnTo>
                      <a:pt x="1204" y="874"/>
                    </a:lnTo>
                    <a:lnTo>
                      <a:pt x="1204" y="874"/>
                    </a:lnTo>
                    <a:lnTo>
                      <a:pt x="1204" y="874"/>
                    </a:lnTo>
                    <a:close/>
                    <a:moveTo>
                      <a:pt x="1230" y="874"/>
                    </a:moveTo>
                    <a:lnTo>
                      <a:pt x="1226" y="874"/>
                    </a:lnTo>
                    <a:lnTo>
                      <a:pt x="1226" y="878"/>
                    </a:lnTo>
                    <a:lnTo>
                      <a:pt x="1226" y="874"/>
                    </a:lnTo>
                    <a:lnTo>
                      <a:pt x="1230" y="874"/>
                    </a:lnTo>
                    <a:lnTo>
                      <a:pt x="1230" y="874"/>
                    </a:lnTo>
                    <a:lnTo>
                      <a:pt x="1230" y="874"/>
                    </a:lnTo>
                    <a:close/>
                    <a:moveTo>
                      <a:pt x="738" y="146"/>
                    </a:moveTo>
                    <a:lnTo>
                      <a:pt x="734" y="146"/>
                    </a:lnTo>
                    <a:lnTo>
                      <a:pt x="732" y="146"/>
                    </a:lnTo>
                    <a:lnTo>
                      <a:pt x="732" y="142"/>
                    </a:lnTo>
                    <a:lnTo>
                      <a:pt x="728" y="138"/>
                    </a:lnTo>
                    <a:lnTo>
                      <a:pt x="724" y="138"/>
                    </a:lnTo>
                    <a:lnTo>
                      <a:pt x="724" y="136"/>
                    </a:lnTo>
                    <a:lnTo>
                      <a:pt x="720" y="136"/>
                    </a:lnTo>
                    <a:lnTo>
                      <a:pt x="720" y="138"/>
                    </a:lnTo>
                    <a:lnTo>
                      <a:pt x="724" y="138"/>
                    </a:lnTo>
                    <a:lnTo>
                      <a:pt x="724" y="142"/>
                    </a:lnTo>
                    <a:lnTo>
                      <a:pt x="728" y="142"/>
                    </a:lnTo>
                    <a:lnTo>
                      <a:pt x="732" y="146"/>
                    </a:lnTo>
                    <a:lnTo>
                      <a:pt x="728" y="146"/>
                    </a:lnTo>
                    <a:lnTo>
                      <a:pt x="724" y="146"/>
                    </a:lnTo>
                    <a:lnTo>
                      <a:pt x="724" y="142"/>
                    </a:lnTo>
                    <a:lnTo>
                      <a:pt x="720" y="142"/>
                    </a:lnTo>
                    <a:lnTo>
                      <a:pt x="716" y="142"/>
                    </a:lnTo>
                    <a:lnTo>
                      <a:pt x="712" y="142"/>
                    </a:lnTo>
                    <a:lnTo>
                      <a:pt x="716" y="142"/>
                    </a:lnTo>
                    <a:lnTo>
                      <a:pt x="716" y="146"/>
                    </a:lnTo>
                    <a:lnTo>
                      <a:pt x="712" y="146"/>
                    </a:lnTo>
                    <a:lnTo>
                      <a:pt x="708" y="146"/>
                    </a:lnTo>
                    <a:lnTo>
                      <a:pt x="706" y="146"/>
                    </a:lnTo>
                    <a:lnTo>
                      <a:pt x="702" y="146"/>
                    </a:lnTo>
                    <a:lnTo>
                      <a:pt x="698" y="146"/>
                    </a:lnTo>
                    <a:lnTo>
                      <a:pt x="694" y="146"/>
                    </a:lnTo>
                    <a:lnTo>
                      <a:pt x="690" y="146"/>
                    </a:lnTo>
                    <a:lnTo>
                      <a:pt x="690" y="142"/>
                    </a:lnTo>
                    <a:lnTo>
                      <a:pt x="686" y="142"/>
                    </a:lnTo>
                    <a:lnTo>
                      <a:pt x="678" y="138"/>
                    </a:lnTo>
                    <a:lnTo>
                      <a:pt x="682" y="138"/>
                    </a:lnTo>
                    <a:lnTo>
                      <a:pt x="686" y="138"/>
                    </a:lnTo>
                    <a:lnTo>
                      <a:pt x="686" y="136"/>
                    </a:lnTo>
                    <a:lnTo>
                      <a:pt x="690" y="136"/>
                    </a:lnTo>
                    <a:lnTo>
                      <a:pt x="694" y="136"/>
                    </a:lnTo>
                    <a:lnTo>
                      <a:pt x="698" y="136"/>
                    </a:lnTo>
                    <a:lnTo>
                      <a:pt x="694" y="136"/>
                    </a:lnTo>
                    <a:lnTo>
                      <a:pt x="690" y="136"/>
                    </a:lnTo>
                    <a:lnTo>
                      <a:pt x="686" y="136"/>
                    </a:lnTo>
                    <a:lnTo>
                      <a:pt x="682" y="136"/>
                    </a:lnTo>
                    <a:lnTo>
                      <a:pt x="678" y="136"/>
                    </a:lnTo>
                    <a:lnTo>
                      <a:pt x="676" y="136"/>
                    </a:lnTo>
                    <a:lnTo>
                      <a:pt x="672" y="136"/>
                    </a:lnTo>
                    <a:lnTo>
                      <a:pt x="668" y="132"/>
                    </a:lnTo>
                    <a:lnTo>
                      <a:pt x="668" y="128"/>
                    </a:lnTo>
                    <a:lnTo>
                      <a:pt x="672" y="128"/>
                    </a:lnTo>
                    <a:lnTo>
                      <a:pt x="672" y="132"/>
                    </a:lnTo>
                    <a:lnTo>
                      <a:pt x="676" y="132"/>
                    </a:lnTo>
                    <a:lnTo>
                      <a:pt x="678" y="132"/>
                    </a:lnTo>
                    <a:lnTo>
                      <a:pt x="676" y="128"/>
                    </a:lnTo>
                    <a:lnTo>
                      <a:pt x="672" y="128"/>
                    </a:lnTo>
                    <a:lnTo>
                      <a:pt x="668" y="128"/>
                    </a:lnTo>
                    <a:lnTo>
                      <a:pt x="664" y="128"/>
                    </a:lnTo>
                    <a:lnTo>
                      <a:pt x="664" y="124"/>
                    </a:lnTo>
                    <a:lnTo>
                      <a:pt x="660" y="124"/>
                    </a:lnTo>
                    <a:lnTo>
                      <a:pt x="664" y="124"/>
                    </a:lnTo>
                    <a:lnTo>
                      <a:pt x="668" y="120"/>
                    </a:lnTo>
                    <a:lnTo>
                      <a:pt x="668" y="124"/>
                    </a:lnTo>
                    <a:lnTo>
                      <a:pt x="668" y="120"/>
                    </a:lnTo>
                    <a:lnTo>
                      <a:pt x="672" y="120"/>
                    </a:lnTo>
                    <a:lnTo>
                      <a:pt x="676" y="120"/>
                    </a:lnTo>
                    <a:lnTo>
                      <a:pt x="676" y="116"/>
                    </a:lnTo>
                    <a:lnTo>
                      <a:pt x="676" y="120"/>
                    </a:lnTo>
                    <a:lnTo>
                      <a:pt x="678" y="120"/>
                    </a:lnTo>
                    <a:lnTo>
                      <a:pt x="682" y="120"/>
                    </a:lnTo>
                    <a:lnTo>
                      <a:pt x="686" y="120"/>
                    </a:lnTo>
                    <a:lnTo>
                      <a:pt x="690" y="120"/>
                    </a:lnTo>
                    <a:lnTo>
                      <a:pt x="694" y="120"/>
                    </a:lnTo>
                    <a:lnTo>
                      <a:pt x="698" y="116"/>
                    </a:lnTo>
                    <a:lnTo>
                      <a:pt x="702" y="116"/>
                    </a:lnTo>
                    <a:lnTo>
                      <a:pt x="706" y="116"/>
                    </a:lnTo>
                    <a:lnTo>
                      <a:pt x="708" y="116"/>
                    </a:lnTo>
                    <a:lnTo>
                      <a:pt x="712" y="116"/>
                    </a:lnTo>
                    <a:lnTo>
                      <a:pt x="716" y="116"/>
                    </a:lnTo>
                    <a:lnTo>
                      <a:pt x="712" y="116"/>
                    </a:lnTo>
                    <a:lnTo>
                      <a:pt x="708" y="116"/>
                    </a:lnTo>
                    <a:lnTo>
                      <a:pt x="706" y="116"/>
                    </a:lnTo>
                    <a:lnTo>
                      <a:pt x="702" y="116"/>
                    </a:lnTo>
                    <a:lnTo>
                      <a:pt x="694" y="116"/>
                    </a:lnTo>
                    <a:lnTo>
                      <a:pt x="690" y="116"/>
                    </a:lnTo>
                    <a:lnTo>
                      <a:pt x="686" y="116"/>
                    </a:lnTo>
                    <a:lnTo>
                      <a:pt x="682" y="116"/>
                    </a:lnTo>
                    <a:lnTo>
                      <a:pt x="686" y="116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4" y="116"/>
                    </a:lnTo>
                    <a:lnTo>
                      <a:pt x="694" y="112"/>
                    </a:lnTo>
                    <a:lnTo>
                      <a:pt x="698" y="112"/>
                    </a:lnTo>
                    <a:lnTo>
                      <a:pt x="702" y="112"/>
                    </a:lnTo>
                    <a:lnTo>
                      <a:pt x="706" y="112"/>
                    </a:lnTo>
                    <a:lnTo>
                      <a:pt x="702" y="112"/>
                    </a:lnTo>
                    <a:lnTo>
                      <a:pt x="698" y="112"/>
                    </a:lnTo>
                    <a:lnTo>
                      <a:pt x="694" y="112"/>
                    </a:lnTo>
                    <a:lnTo>
                      <a:pt x="690" y="112"/>
                    </a:lnTo>
                    <a:lnTo>
                      <a:pt x="686" y="112"/>
                    </a:lnTo>
                    <a:lnTo>
                      <a:pt x="690" y="112"/>
                    </a:lnTo>
                    <a:lnTo>
                      <a:pt x="690" y="108"/>
                    </a:lnTo>
                    <a:lnTo>
                      <a:pt x="686" y="108"/>
                    </a:lnTo>
                    <a:lnTo>
                      <a:pt x="682" y="108"/>
                    </a:lnTo>
                    <a:lnTo>
                      <a:pt x="682" y="112"/>
                    </a:lnTo>
                    <a:lnTo>
                      <a:pt x="678" y="112"/>
                    </a:lnTo>
                    <a:lnTo>
                      <a:pt x="678" y="108"/>
                    </a:lnTo>
                    <a:lnTo>
                      <a:pt x="678" y="112"/>
                    </a:lnTo>
                    <a:lnTo>
                      <a:pt x="676" y="112"/>
                    </a:lnTo>
                    <a:lnTo>
                      <a:pt x="676" y="108"/>
                    </a:lnTo>
                    <a:lnTo>
                      <a:pt x="672" y="112"/>
                    </a:lnTo>
                    <a:lnTo>
                      <a:pt x="668" y="116"/>
                    </a:lnTo>
                    <a:lnTo>
                      <a:pt x="664" y="116"/>
                    </a:lnTo>
                    <a:lnTo>
                      <a:pt x="660" y="116"/>
                    </a:lnTo>
                    <a:lnTo>
                      <a:pt x="664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60" y="112"/>
                    </a:lnTo>
                    <a:lnTo>
                      <a:pt x="656" y="112"/>
                    </a:lnTo>
                    <a:lnTo>
                      <a:pt x="652" y="112"/>
                    </a:lnTo>
                    <a:lnTo>
                      <a:pt x="652" y="116"/>
                    </a:lnTo>
                    <a:lnTo>
                      <a:pt x="650" y="116"/>
                    </a:lnTo>
                    <a:lnTo>
                      <a:pt x="646" y="112"/>
                    </a:lnTo>
                    <a:lnTo>
                      <a:pt x="642" y="112"/>
                    </a:lnTo>
                    <a:lnTo>
                      <a:pt x="642" y="108"/>
                    </a:lnTo>
                    <a:lnTo>
                      <a:pt x="642" y="106"/>
                    </a:lnTo>
                    <a:lnTo>
                      <a:pt x="646" y="106"/>
                    </a:lnTo>
                    <a:lnTo>
                      <a:pt x="650" y="106"/>
                    </a:lnTo>
                    <a:lnTo>
                      <a:pt x="652" y="106"/>
                    </a:lnTo>
                    <a:lnTo>
                      <a:pt x="656" y="106"/>
                    </a:lnTo>
                    <a:lnTo>
                      <a:pt x="660" y="106"/>
                    </a:lnTo>
                    <a:lnTo>
                      <a:pt x="660" y="102"/>
                    </a:lnTo>
                    <a:lnTo>
                      <a:pt x="656" y="102"/>
                    </a:lnTo>
                    <a:lnTo>
                      <a:pt x="652" y="106"/>
                    </a:lnTo>
                    <a:lnTo>
                      <a:pt x="650" y="106"/>
                    </a:lnTo>
                    <a:lnTo>
                      <a:pt x="646" y="106"/>
                    </a:lnTo>
                    <a:lnTo>
                      <a:pt x="642" y="106"/>
                    </a:lnTo>
                    <a:lnTo>
                      <a:pt x="638" y="106"/>
                    </a:lnTo>
                    <a:lnTo>
                      <a:pt x="638" y="102"/>
                    </a:lnTo>
                    <a:lnTo>
                      <a:pt x="634" y="102"/>
                    </a:lnTo>
                    <a:lnTo>
                      <a:pt x="630" y="98"/>
                    </a:lnTo>
                    <a:lnTo>
                      <a:pt x="626" y="98"/>
                    </a:lnTo>
                    <a:lnTo>
                      <a:pt x="630" y="98"/>
                    </a:lnTo>
                    <a:lnTo>
                      <a:pt x="634" y="98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30" y="94"/>
                    </a:lnTo>
                    <a:lnTo>
                      <a:pt x="626" y="94"/>
                    </a:lnTo>
                    <a:lnTo>
                      <a:pt x="626" y="90"/>
                    </a:lnTo>
                    <a:lnTo>
                      <a:pt x="630" y="90"/>
                    </a:lnTo>
                    <a:lnTo>
                      <a:pt x="634" y="90"/>
                    </a:lnTo>
                    <a:lnTo>
                      <a:pt x="638" y="90"/>
                    </a:lnTo>
                    <a:lnTo>
                      <a:pt x="638" y="94"/>
                    </a:lnTo>
                    <a:lnTo>
                      <a:pt x="642" y="94"/>
                    </a:lnTo>
                    <a:lnTo>
                      <a:pt x="646" y="94"/>
                    </a:lnTo>
                    <a:lnTo>
                      <a:pt x="650" y="94"/>
                    </a:lnTo>
                    <a:lnTo>
                      <a:pt x="652" y="94"/>
                    </a:lnTo>
                    <a:lnTo>
                      <a:pt x="656" y="94"/>
                    </a:lnTo>
                    <a:lnTo>
                      <a:pt x="660" y="94"/>
                    </a:lnTo>
                    <a:lnTo>
                      <a:pt x="656" y="94"/>
                    </a:lnTo>
                    <a:lnTo>
                      <a:pt x="652" y="90"/>
                    </a:lnTo>
                    <a:lnTo>
                      <a:pt x="656" y="90"/>
                    </a:lnTo>
                    <a:lnTo>
                      <a:pt x="660" y="90"/>
                    </a:lnTo>
                    <a:lnTo>
                      <a:pt x="664" y="90"/>
                    </a:lnTo>
                    <a:lnTo>
                      <a:pt x="660" y="90"/>
                    </a:lnTo>
                    <a:lnTo>
                      <a:pt x="656" y="86"/>
                    </a:lnTo>
                    <a:lnTo>
                      <a:pt x="656" y="90"/>
                    </a:lnTo>
                    <a:lnTo>
                      <a:pt x="652" y="90"/>
                    </a:lnTo>
                    <a:lnTo>
                      <a:pt x="650" y="90"/>
                    </a:lnTo>
                    <a:lnTo>
                      <a:pt x="646" y="90"/>
                    </a:lnTo>
                    <a:lnTo>
                      <a:pt x="642" y="90"/>
                    </a:lnTo>
                    <a:lnTo>
                      <a:pt x="642" y="86"/>
                    </a:lnTo>
                    <a:lnTo>
                      <a:pt x="646" y="86"/>
                    </a:lnTo>
                    <a:lnTo>
                      <a:pt x="650" y="86"/>
                    </a:lnTo>
                    <a:lnTo>
                      <a:pt x="646" y="86"/>
                    </a:lnTo>
                    <a:lnTo>
                      <a:pt x="642" y="86"/>
                    </a:lnTo>
                    <a:lnTo>
                      <a:pt x="638" y="86"/>
                    </a:lnTo>
                    <a:lnTo>
                      <a:pt x="638" y="90"/>
                    </a:lnTo>
                    <a:lnTo>
                      <a:pt x="638" y="86"/>
                    </a:lnTo>
                    <a:lnTo>
                      <a:pt x="634" y="86"/>
                    </a:lnTo>
                    <a:lnTo>
                      <a:pt x="630" y="86"/>
                    </a:lnTo>
                    <a:lnTo>
                      <a:pt x="626" y="82"/>
                    </a:lnTo>
                    <a:lnTo>
                      <a:pt x="630" y="82"/>
                    </a:lnTo>
                    <a:lnTo>
                      <a:pt x="634" y="82"/>
                    </a:lnTo>
                    <a:lnTo>
                      <a:pt x="638" y="82"/>
                    </a:lnTo>
                    <a:lnTo>
                      <a:pt x="642" y="82"/>
                    </a:lnTo>
                    <a:lnTo>
                      <a:pt x="646" y="82"/>
                    </a:lnTo>
                    <a:lnTo>
                      <a:pt x="642" y="82"/>
                    </a:lnTo>
                    <a:lnTo>
                      <a:pt x="638" y="78"/>
                    </a:lnTo>
                    <a:lnTo>
                      <a:pt x="638" y="76"/>
                    </a:lnTo>
                    <a:lnTo>
                      <a:pt x="642" y="76"/>
                    </a:lnTo>
                    <a:lnTo>
                      <a:pt x="646" y="76"/>
                    </a:lnTo>
                    <a:lnTo>
                      <a:pt x="650" y="76"/>
                    </a:lnTo>
                    <a:lnTo>
                      <a:pt x="652" y="76"/>
                    </a:lnTo>
                    <a:lnTo>
                      <a:pt x="652" y="78"/>
                    </a:lnTo>
                    <a:lnTo>
                      <a:pt x="656" y="78"/>
                    </a:lnTo>
                    <a:lnTo>
                      <a:pt x="660" y="78"/>
                    </a:lnTo>
                    <a:lnTo>
                      <a:pt x="664" y="78"/>
                    </a:lnTo>
                    <a:lnTo>
                      <a:pt x="668" y="78"/>
                    </a:lnTo>
                    <a:lnTo>
                      <a:pt x="664" y="78"/>
                    </a:lnTo>
                    <a:lnTo>
                      <a:pt x="664" y="76"/>
                    </a:lnTo>
                    <a:lnTo>
                      <a:pt x="660" y="76"/>
                    </a:lnTo>
                    <a:lnTo>
                      <a:pt x="656" y="76"/>
                    </a:lnTo>
                    <a:lnTo>
                      <a:pt x="660" y="76"/>
                    </a:lnTo>
                    <a:lnTo>
                      <a:pt x="664" y="76"/>
                    </a:lnTo>
                    <a:lnTo>
                      <a:pt x="664" y="72"/>
                    </a:lnTo>
                    <a:lnTo>
                      <a:pt x="660" y="72"/>
                    </a:lnTo>
                    <a:lnTo>
                      <a:pt x="656" y="72"/>
                    </a:lnTo>
                    <a:lnTo>
                      <a:pt x="652" y="72"/>
                    </a:lnTo>
                    <a:lnTo>
                      <a:pt x="650" y="72"/>
                    </a:lnTo>
                    <a:lnTo>
                      <a:pt x="646" y="72"/>
                    </a:lnTo>
                    <a:lnTo>
                      <a:pt x="642" y="72"/>
                    </a:lnTo>
                    <a:lnTo>
                      <a:pt x="646" y="68"/>
                    </a:lnTo>
                    <a:lnTo>
                      <a:pt x="650" y="68"/>
                    </a:lnTo>
                    <a:lnTo>
                      <a:pt x="646" y="68"/>
                    </a:lnTo>
                    <a:lnTo>
                      <a:pt x="650" y="64"/>
                    </a:lnTo>
                    <a:lnTo>
                      <a:pt x="652" y="64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4" y="64"/>
                    </a:lnTo>
                    <a:lnTo>
                      <a:pt x="668" y="64"/>
                    </a:lnTo>
                    <a:lnTo>
                      <a:pt x="664" y="64"/>
                    </a:lnTo>
                    <a:lnTo>
                      <a:pt x="660" y="60"/>
                    </a:lnTo>
                    <a:lnTo>
                      <a:pt x="664" y="60"/>
                    </a:lnTo>
                    <a:lnTo>
                      <a:pt x="668" y="60"/>
                    </a:lnTo>
                    <a:lnTo>
                      <a:pt x="672" y="64"/>
                    </a:lnTo>
                    <a:lnTo>
                      <a:pt x="676" y="64"/>
                    </a:lnTo>
                    <a:lnTo>
                      <a:pt x="676" y="60"/>
                    </a:lnTo>
                    <a:lnTo>
                      <a:pt x="678" y="60"/>
                    </a:lnTo>
                    <a:lnTo>
                      <a:pt x="676" y="56"/>
                    </a:lnTo>
                    <a:lnTo>
                      <a:pt x="672" y="56"/>
                    </a:lnTo>
                    <a:lnTo>
                      <a:pt x="668" y="60"/>
                    </a:lnTo>
                    <a:lnTo>
                      <a:pt x="664" y="60"/>
                    </a:lnTo>
                    <a:lnTo>
                      <a:pt x="664" y="56"/>
                    </a:lnTo>
                    <a:lnTo>
                      <a:pt x="660" y="56"/>
                    </a:lnTo>
                    <a:lnTo>
                      <a:pt x="660" y="52"/>
                    </a:lnTo>
                    <a:lnTo>
                      <a:pt x="664" y="52"/>
                    </a:lnTo>
                    <a:lnTo>
                      <a:pt x="668" y="52"/>
                    </a:lnTo>
                    <a:lnTo>
                      <a:pt x="672" y="56"/>
                    </a:lnTo>
                    <a:lnTo>
                      <a:pt x="672" y="52"/>
                    </a:lnTo>
                    <a:lnTo>
                      <a:pt x="676" y="52"/>
                    </a:lnTo>
                    <a:lnTo>
                      <a:pt x="678" y="52"/>
                    </a:lnTo>
                    <a:lnTo>
                      <a:pt x="678" y="56"/>
                    </a:lnTo>
                    <a:lnTo>
                      <a:pt x="682" y="56"/>
                    </a:lnTo>
                    <a:lnTo>
                      <a:pt x="686" y="56"/>
                    </a:lnTo>
                    <a:lnTo>
                      <a:pt x="690" y="56"/>
                    </a:lnTo>
                    <a:lnTo>
                      <a:pt x="694" y="56"/>
                    </a:lnTo>
                    <a:lnTo>
                      <a:pt x="694" y="60"/>
                    </a:lnTo>
                    <a:lnTo>
                      <a:pt x="698" y="60"/>
                    </a:lnTo>
                    <a:lnTo>
                      <a:pt x="698" y="64"/>
                    </a:lnTo>
                    <a:lnTo>
                      <a:pt x="694" y="64"/>
                    </a:lnTo>
                    <a:lnTo>
                      <a:pt x="698" y="64"/>
                    </a:lnTo>
                    <a:lnTo>
                      <a:pt x="702" y="64"/>
                    </a:lnTo>
                    <a:lnTo>
                      <a:pt x="702" y="68"/>
                    </a:lnTo>
                    <a:lnTo>
                      <a:pt x="706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12" y="76"/>
                    </a:lnTo>
                    <a:lnTo>
                      <a:pt x="712" y="78"/>
                    </a:lnTo>
                    <a:lnTo>
                      <a:pt x="716" y="78"/>
                    </a:lnTo>
                    <a:lnTo>
                      <a:pt x="720" y="78"/>
                    </a:lnTo>
                    <a:lnTo>
                      <a:pt x="724" y="78"/>
                    </a:lnTo>
                    <a:lnTo>
                      <a:pt x="728" y="78"/>
                    </a:lnTo>
                    <a:lnTo>
                      <a:pt x="732" y="78"/>
                    </a:lnTo>
                    <a:lnTo>
                      <a:pt x="734" y="78"/>
                    </a:lnTo>
                    <a:lnTo>
                      <a:pt x="734" y="82"/>
                    </a:lnTo>
                    <a:lnTo>
                      <a:pt x="732" y="82"/>
                    </a:lnTo>
                    <a:lnTo>
                      <a:pt x="734" y="82"/>
                    </a:lnTo>
                    <a:lnTo>
                      <a:pt x="734" y="86"/>
                    </a:lnTo>
                    <a:lnTo>
                      <a:pt x="732" y="86"/>
                    </a:lnTo>
                    <a:lnTo>
                      <a:pt x="734" y="86"/>
                    </a:lnTo>
                    <a:lnTo>
                      <a:pt x="734" y="90"/>
                    </a:lnTo>
                    <a:lnTo>
                      <a:pt x="738" y="90"/>
                    </a:lnTo>
                    <a:lnTo>
                      <a:pt x="742" y="90"/>
                    </a:lnTo>
                    <a:lnTo>
                      <a:pt x="746" y="90"/>
                    </a:lnTo>
                    <a:lnTo>
                      <a:pt x="746" y="86"/>
                    </a:lnTo>
                    <a:lnTo>
                      <a:pt x="742" y="86"/>
                    </a:lnTo>
                    <a:lnTo>
                      <a:pt x="738" y="82"/>
                    </a:lnTo>
                    <a:lnTo>
                      <a:pt x="742" y="82"/>
                    </a:lnTo>
                    <a:lnTo>
                      <a:pt x="746" y="82"/>
                    </a:lnTo>
                    <a:lnTo>
                      <a:pt x="748" y="82"/>
                    </a:lnTo>
                    <a:lnTo>
                      <a:pt x="752" y="82"/>
                    </a:lnTo>
                    <a:lnTo>
                      <a:pt x="756" y="86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8" y="94"/>
                    </a:lnTo>
                    <a:lnTo>
                      <a:pt x="752" y="94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0" y="94"/>
                    </a:lnTo>
                    <a:lnTo>
                      <a:pt x="764" y="94"/>
                    </a:lnTo>
                    <a:lnTo>
                      <a:pt x="760" y="98"/>
                    </a:lnTo>
                    <a:lnTo>
                      <a:pt x="756" y="98"/>
                    </a:lnTo>
                    <a:lnTo>
                      <a:pt x="760" y="98"/>
                    </a:lnTo>
                    <a:lnTo>
                      <a:pt x="764" y="98"/>
                    </a:lnTo>
                    <a:lnTo>
                      <a:pt x="764" y="102"/>
                    </a:lnTo>
                    <a:lnTo>
                      <a:pt x="760" y="106"/>
                    </a:lnTo>
                    <a:lnTo>
                      <a:pt x="756" y="106"/>
                    </a:lnTo>
                    <a:lnTo>
                      <a:pt x="756" y="108"/>
                    </a:lnTo>
                    <a:lnTo>
                      <a:pt x="760" y="108"/>
                    </a:lnTo>
                    <a:lnTo>
                      <a:pt x="760" y="106"/>
                    </a:lnTo>
                    <a:lnTo>
                      <a:pt x="764" y="106"/>
                    </a:lnTo>
                    <a:lnTo>
                      <a:pt x="768" y="106"/>
                    </a:lnTo>
                    <a:lnTo>
                      <a:pt x="764" y="108"/>
                    </a:lnTo>
                    <a:lnTo>
                      <a:pt x="768" y="108"/>
                    </a:lnTo>
                    <a:lnTo>
                      <a:pt x="768" y="106"/>
                    </a:lnTo>
                    <a:lnTo>
                      <a:pt x="772" y="106"/>
                    </a:lnTo>
                    <a:lnTo>
                      <a:pt x="776" y="106"/>
                    </a:lnTo>
                    <a:lnTo>
                      <a:pt x="778" y="108"/>
                    </a:lnTo>
                    <a:lnTo>
                      <a:pt x="776" y="108"/>
                    </a:lnTo>
                    <a:lnTo>
                      <a:pt x="778" y="108"/>
                    </a:lnTo>
                    <a:lnTo>
                      <a:pt x="778" y="106"/>
                    </a:lnTo>
                    <a:lnTo>
                      <a:pt x="782" y="106"/>
                    </a:lnTo>
                    <a:lnTo>
                      <a:pt x="786" y="108"/>
                    </a:lnTo>
                    <a:lnTo>
                      <a:pt x="786" y="112"/>
                    </a:lnTo>
                    <a:lnTo>
                      <a:pt x="790" y="112"/>
                    </a:lnTo>
                    <a:lnTo>
                      <a:pt x="794" y="112"/>
                    </a:lnTo>
                    <a:lnTo>
                      <a:pt x="794" y="116"/>
                    </a:lnTo>
                    <a:lnTo>
                      <a:pt x="790" y="116"/>
                    </a:lnTo>
                    <a:lnTo>
                      <a:pt x="786" y="116"/>
                    </a:lnTo>
                    <a:lnTo>
                      <a:pt x="782" y="120"/>
                    </a:lnTo>
                    <a:lnTo>
                      <a:pt x="778" y="120"/>
                    </a:lnTo>
                    <a:lnTo>
                      <a:pt x="776" y="120"/>
                    </a:lnTo>
                    <a:lnTo>
                      <a:pt x="772" y="120"/>
                    </a:lnTo>
                    <a:lnTo>
                      <a:pt x="768" y="124"/>
                    </a:lnTo>
                    <a:lnTo>
                      <a:pt x="764" y="124"/>
                    </a:lnTo>
                    <a:lnTo>
                      <a:pt x="764" y="120"/>
                    </a:lnTo>
                    <a:lnTo>
                      <a:pt x="764" y="124"/>
                    </a:lnTo>
                    <a:lnTo>
                      <a:pt x="764" y="128"/>
                    </a:lnTo>
                    <a:lnTo>
                      <a:pt x="760" y="128"/>
                    </a:lnTo>
                    <a:lnTo>
                      <a:pt x="756" y="132"/>
                    </a:lnTo>
                    <a:lnTo>
                      <a:pt x="756" y="136"/>
                    </a:lnTo>
                    <a:lnTo>
                      <a:pt x="752" y="136"/>
                    </a:lnTo>
                    <a:lnTo>
                      <a:pt x="752" y="132"/>
                    </a:lnTo>
                    <a:lnTo>
                      <a:pt x="748" y="132"/>
                    </a:lnTo>
                    <a:lnTo>
                      <a:pt x="748" y="128"/>
                    </a:lnTo>
                    <a:lnTo>
                      <a:pt x="748" y="124"/>
                    </a:lnTo>
                    <a:lnTo>
                      <a:pt x="752" y="124"/>
                    </a:lnTo>
                    <a:lnTo>
                      <a:pt x="752" y="120"/>
                    </a:lnTo>
                    <a:lnTo>
                      <a:pt x="748" y="124"/>
                    </a:lnTo>
                    <a:lnTo>
                      <a:pt x="746" y="124"/>
                    </a:lnTo>
                    <a:lnTo>
                      <a:pt x="746" y="128"/>
                    </a:lnTo>
                    <a:lnTo>
                      <a:pt x="746" y="132"/>
                    </a:lnTo>
                    <a:lnTo>
                      <a:pt x="748" y="132"/>
                    </a:lnTo>
                    <a:lnTo>
                      <a:pt x="748" y="136"/>
                    </a:lnTo>
                    <a:lnTo>
                      <a:pt x="748" y="138"/>
                    </a:lnTo>
                    <a:lnTo>
                      <a:pt x="746" y="138"/>
                    </a:lnTo>
                    <a:lnTo>
                      <a:pt x="746" y="136"/>
                    </a:lnTo>
                    <a:lnTo>
                      <a:pt x="742" y="136"/>
                    </a:lnTo>
                    <a:lnTo>
                      <a:pt x="738" y="136"/>
                    </a:lnTo>
                    <a:lnTo>
                      <a:pt x="742" y="138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8" y="146"/>
                    </a:lnTo>
                    <a:lnTo>
                      <a:pt x="738" y="146"/>
                    </a:lnTo>
                    <a:lnTo>
                      <a:pt x="738" y="146"/>
                    </a:lnTo>
                    <a:close/>
                    <a:moveTo>
                      <a:pt x="596" y="106"/>
                    </a:moveTo>
                    <a:lnTo>
                      <a:pt x="596" y="102"/>
                    </a:lnTo>
                    <a:lnTo>
                      <a:pt x="592" y="102"/>
                    </a:lnTo>
                    <a:lnTo>
                      <a:pt x="590" y="102"/>
                    </a:lnTo>
                    <a:lnTo>
                      <a:pt x="590" y="98"/>
                    </a:lnTo>
                    <a:lnTo>
                      <a:pt x="586" y="98"/>
                    </a:lnTo>
                    <a:lnTo>
                      <a:pt x="582" y="98"/>
                    </a:lnTo>
                    <a:lnTo>
                      <a:pt x="578" y="98"/>
                    </a:lnTo>
                    <a:lnTo>
                      <a:pt x="578" y="94"/>
                    </a:lnTo>
                    <a:lnTo>
                      <a:pt x="578" y="90"/>
                    </a:lnTo>
                    <a:lnTo>
                      <a:pt x="582" y="90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92" y="90"/>
                    </a:lnTo>
                    <a:lnTo>
                      <a:pt x="596" y="90"/>
                    </a:lnTo>
                    <a:lnTo>
                      <a:pt x="596" y="94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06"/>
                    </a:lnTo>
                    <a:lnTo>
                      <a:pt x="596" y="106"/>
                    </a:lnTo>
                    <a:close/>
                    <a:moveTo>
                      <a:pt x="526" y="132"/>
                    </a:moveTo>
                    <a:lnTo>
                      <a:pt x="526" y="128"/>
                    </a:lnTo>
                    <a:lnTo>
                      <a:pt x="526" y="132"/>
                    </a:lnTo>
                    <a:lnTo>
                      <a:pt x="522" y="132"/>
                    </a:lnTo>
                    <a:lnTo>
                      <a:pt x="522" y="128"/>
                    </a:lnTo>
                    <a:lnTo>
                      <a:pt x="526" y="128"/>
                    </a:lnTo>
                    <a:lnTo>
                      <a:pt x="526" y="124"/>
                    </a:lnTo>
                    <a:lnTo>
                      <a:pt x="522" y="124"/>
                    </a:lnTo>
                    <a:lnTo>
                      <a:pt x="518" y="124"/>
                    </a:lnTo>
                    <a:lnTo>
                      <a:pt x="514" y="124"/>
                    </a:lnTo>
                    <a:lnTo>
                      <a:pt x="514" y="128"/>
                    </a:lnTo>
                    <a:lnTo>
                      <a:pt x="510" y="128"/>
                    </a:lnTo>
                    <a:lnTo>
                      <a:pt x="508" y="128"/>
                    </a:lnTo>
                    <a:lnTo>
                      <a:pt x="510" y="124"/>
                    </a:lnTo>
                    <a:lnTo>
                      <a:pt x="514" y="124"/>
                    </a:lnTo>
                    <a:lnTo>
                      <a:pt x="510" y="120"/>
                    </a:lnTo>
                    <a:lnTo>
                      <a:pt x="508" y="120"/>
                    </a:lnTo>
                    <a:lnTo>
                      <a:pt x="508" y="124"/>
                    </a:lnTo>
                    <a:lnTo>
                      <a:pt x="504" y="124"/>
                    </a:lnTo>
                    <a:lnTo>
                      <a:pt x="500" y="124"/>
                    </a:lnTo>
                    <a:lnTo>
                      <a:pt x="500" y="120"/>
                    </a:lnTo>
                    <a:lnTo>
                      <a:pt x="504" y="112"/>
                    </a:lnTo>
                    <a:lnTo>
                      <a:pt x="508" y="112"/>
                    </a:lnTo>
                    <a:lnTo>
                      <a:pt x="510" y="112"/>
                    </a:lnTo>
                    <a:lnTo>
                      <a:pt x="514" y="112"/>
                    </a:lnTo>
                    <a:lnTo>
                      <a:pt x="518" y="112"/>
                    </a:lnTo>
                    <a:lnTo>
                      <a:pt x="522" y="112"/>
                    </a:lnTo>
                    <a:lnTo>
                      <a:pt x="526" y="112"/>
                    </a:lnTo>
                    <a:lnTo>
                      <a:pt x="530" y="112"/>
                    </a:lnTo>
                    <a:lnTo>
                      <a:pt x="534" y="112"/>
                    </a:lnTo>
                    <a:lnTo>
                      <a:pt x="536" y="116"/>
                    </a:lnTo>
                    <a:lnTo>
                      <a:pt x="540" y="116"/>
                    </a:lnTo>
                    <a:lnTo>
                      <a:pt x="540" y="120"/>
                    </a:lnTo>
                    <a:lnTo>
                      <a:pt x="544" y="120"/>
                    </a:lnTo>
                    <a:lnTo>
                      <a:pt x="540" y="124"/>
                    </a:lnTo>
                    <a:lnTo>
                      <a:pt x="544" y="128"/>
                    </a:lnTo>
                    <a:lnTo>
                      <a:pt x="544" y="124"/>
                    </a:lnTo>
                    <a:lnTo>
                      <a:pt x="548" y="124"/>
                    </a:lnTo>
                    <a:lnTo>
                      <a:pt x="552" y="120"/>
                    </a:lnTo>
                    <a:lnTo>
                      <a:pt x="556" y="120"/>
                    </a:lnTo>
                    <a:lnTo>
                      <a:pt x="560" y="120"/>
                    </a:lnTo>
                    <a:lnTo>
                      <a:pt x="564" y="124"/>
                    </a:lnTo>
                    <a:lnTo>
                      <a:pt x="566" y="124"/>
                    </a:lnTo>
                    <a:lnTo>
                      <a:pt x="564" y="128"/>
                    </a:lnTo>
                    <a:lnTo>
                      <a:pt x="566" y="128"/>
                    </a:lnTo>
                    <a:lnTo>
                      <a:pt x="570" y="128"/>
                    </a:lnTo>
                    <a:lnTo>
                      <a:pt x="574" y="128"/>
                    </a:lnTo>
                    <a:lnTo>
                      <a:pt x="574" y="132"/>
                    </a:lnTo>
                    <a:lnTo>
                      <a:pt x="578" y="132"/>
                    </a:lnTo>
                    <a:lnTo>
                      <a:pt x="582" y="132"/>
                    </a:lnTo>
                    <a:lnTo>
                      <a:pt x="578" y="136"/>
                    </a:lnTo>
                    <a:lnTo>
                      <a:pt x="582" y="136"/>
                    </a:lnTo>
                    <a:lnTo>
                      <a:pt x="586" y="136"/>
                    </a:lnTo>
                    <a:lnTo>
                      <a:pt x="586" y="138"/>
                    </a:lnTo>
                    <a:lnTo>
                      <a:pt x="582" y="138"/>
                    </a:lnTo>
                    <a:lnTo>
                      <a:pt x="582" y="142"/>
                    </a:lnTo>
                    <a:lnTo>
                      <a:pt x="586" y="142"/>
                    </a:lnTo>
                    <a:lnTo>
                      <a:pt x="586" y="146"/>
                    </a:lnTo>
                    <a:lnTo>
                      <a:pt x="590" y="146"/>
                    </a:lnTo>
                    <a:lnTo>
                      <a:pt x="592" y="146"/>
                    </a:lnTo>
                    <a:lnTo>
                      <a:pt x="592" y="150"/>
                    </a:lnTo>
                    <a:lnTo>
                      <a:pt x="596" y="150"/>
                    </a:lnTo>
                    <a:lnTo>
                      <a:pt x="592" y="150"/>
                    </a:lnTo>
                    <a:lnTo>
                      <a:pt x="592" y="154"/>
                    </a:lnTo>
                    <a:lnTo>
                      <a:pt x="590" y="158"/>
                    </a:lnTo>
                    <a:lnTo>
                      <a:pt x="586" y="158"/>
                    </a:lnTo>
                    <a:lnTo>
                      <a:pt x="582" y="158"/>
                    </a:lnTo>
                    <a:lnTo>
                      <a:pt x="578" y="158"/>
                    </a:lnTo>
                    <a:lnTo>
                      <a:pt x="574" y="158"/>
                    </a:lnTo>
                    <a:lnTo>
                      <a:pt x="570" y="154"/>
                    </a:lnTo>
                    <a:lnTo>
                      <a:pt x="566" y="150"/>
                    </a:lnTo>
                    <a:lnTo>
                      <a:pt x="566" y="146"/>
                    </a:lnTo>
                    <a:lnTo>
                      <a:pt x="564" y="146"/>
                    </a:lnTo>
                    <a:lnTo>
                      <a:pt x="560" y="146"/>
                    </a:lnTo>
                    <a:lnTo>
                      <a:pt x="556" y="142"/>
                    </a:lnTo>
                    <a:lnTo>
                      <a:pt x="548" y="142"/>
                    </a:lnTo>
                    <a:lnTo>
                      <a:pt x="544" y="142"/>
                    </a:lnTo>
                    <a:lnTo>
                      <a:pt x="544" y="146"/>
                    </a:lnTo>
                    <a:lnTo>
                      <a:pt x="540" y="146"/>
                    </a:lnTo>
                    <a:lnTo>
                      <a:pt x="540" y="142"/>
                    </a:lnTo>
                    <a:lnTo>
                      <a:pt x="536" y="142"/>
                    </a:lnTo>
                    <a:lnTo>
                      <a:pt x="534" y="142"/>
                    </a:lnTo>
                    <a:lnTo>
                      <a:pt x="530" y="142"/>
                    </a:lnTo>
                    <a:lnTo>
                      <a:pt x="526" y="142"/>
                    </a:lnTo>
                    <a:lnTo>
                      <a:pt x="526" y="146"/>
                    </a:lnTo>
                    <a:lnTo>
                      <a:pt x="522" y="146"/>
                    </a:lnTo>
                    <a:lnTo>
                      <a:pt x="518" y="146"/>
                    </a:lnTo>
                    <a:lnTo>
                      <a:pt x="518" y="142"/>
                    </a:lnTo>
                    <a:lnTo>
                      <a:pt x="514" y="142"/>
                    </a:lnTo>
                    <a:lnTo>
                      <a:pt x="510" y="142"/>
                    </a:lnTo>
                    <a:lnTo>
                      <a:pt x="510" y="138"/>
                    </a:lnTo>
                    <a:lnTo>
                      <a:pt x="508" y="138"/>
                    </a:lnTo>
                    <a:lnTo>
                      <a:pt x="508" y="136"/>
                    </a:lnTo>
                    <a:lnTo>
                      <a:pt x="510" y="136"/>
                    </a:lnTo>
                    <a:lnTo>
                      <a:pt x="514" y="136"/>
                    </a:lnTo>
                    <a:lnTo>
                      <a:pt x="518" y="136"/>
                    </a:lnTo>
                    <a:lnTo>
                      <a:pt x="522" y="136"/>
                    </a:lnTo>
                    <a:lnTo>
                      <a:pt x="526" y="136"/>
                    </a:lnTo>
                    <a:lnTo>
                      <a:pt x="530" y="138"/>
                    </a:lnTo>
                    <a:lnTo>
                      <a:pt x="530" y="136"/>
                    </a:lnTo>
                    <a:lnTo>
                      <a:pt x="534" y="136"/>
                    </a:lnTo>
                    <a:lnTo>
                      <a:pt x="530" y="136"/>
                    </a:lnTo>
                    <a:lnTo>
                      <a:pt x="526" y="136"/>
                    </a:lnTo>
                    <a:lnTo>
                      <a:pt x="522" y="136"/>
                    </a:lnTo>
                    <a:lnTo>
                      <a:pt x="526" y="132"/>
                    </a:lnTo>
                    <a:lnTo>
                      <a:pt x="530" y="132"/>
                    </a:lnTo>
                    <a:lnTo>
                      <a:pt x="534" y="132"/>
                    </a:lnTo>
                    <a:lnTo>
                      <a:pt x="534" y="128"/>
                    </a:lnTo>
                    <a:lnTo>
                      <a:pt x="530" y="128"/>
                    </a:lnTo>
                    <a:lnTo>
                      <a:pt x="530" y="132"/>
                    </a:lnTo>
                    <a:lnTo>
                      <a:pt x="526" y="132"/>
                    </a:lnTo>
                    <a:lnTo>
                      <a:pt x="526" y="132"/>
                    </a:lnTo>
                    <a:lnTo>
                      <a:pt x="526" y="132"/>
                    </a:lnTo>
                    <a:close/>
                    <a:moveTo>
                      <a:pt x="622" y="158"/>
                    </a:moveTo>
                    <a:lnTo>
                      <a:pt x="620" y="154"/>
                    </a:lnTo>
                    <a:lnTo>
                      <a:pt x="622" y="154"/>
                    </a:lnTo>
                    <a:lnTo>
                      <a:pt x="620" y="154"/>
                    </a:lnTo>
                    <a:lnTo>
                      <a:pt x="616" y="154"/>
                    </a:lnTo>
                    <a:lnTo>
                      <a:pt x="616" y="150"/>
                    </a:lnTo>
                    <a:lnTo>
                      <a:pt x="612" y="150"/>
                    </a:lnTo>
                    <a:lnTo>
                      <a:pt x="616" y="150"/>
                    </a:lnTo>
                    <a:lnTo>
                      <a:pt x="620" y="150"/>
                    </a:lnTo>
                    <a:lnTo>
                      <a:pt x="622" y="150"/>
                    </a:lnTo>
                    <a:lnTo>
                      <a:pt x="622" y="146"/>
                    </a:lnTo>
                    <a:lnTo>
                      <a:pt x="620" y="146"/>
                    </a:lnTo>
                    <a:lnTo>
                      <a:pt x="616" y="146"/>
                    </a:lnTo>
                    <a:lnTo>
                      <a:pt x="612" y="146"/>
                    </a:lnTo>
                    <a:lnTo>
                      <a:pt x="612" y="142"/>
                    </a:lnTo>
                    <a:lnTo>
                      <a:pt x="608" y="142"/>
                    </a:lnTo>
                    <a:lnTo>
                      <a:pt x="608" y="138"/>
                    </a:lnTo>
                    <a:lnTo>
                      <a:pt x="604" y="138"/>
                    </a:lnTo>
                    <a:lnTo>
                      <a:pt x="604" y="136"/>
                    </a:lnTo>
                    <a:lnTo>
                      <a:pt x="608" y="136"/>
                    </a:lnTo>
                    <a:lnTo>
                      <a:pt x="604" y="136"/>
                    </a:lnTo>
                    <a:lnTo>
                      <a:pt x="604" y="132"/>
                    </a:lnTo>
                    <a:lnTo>
                      <a:pt x="604" y="128"/>
                    </a:lnTo>
                    <a:lnTo>
                      <a:pt x="608" y="128"/>
                    </a:lnTo>
                    <a:lnTo>
                      <a:pt x="612" y="128"/>
                    </a:lnTo>
                    <a:lnTo>
                      <a:pt x="616" y="128"/>
                    </a:lnTo>
                    <a:lnTo>
                      <a:pt x="616" y="132"/>
                    </a:lnTo>
                    <a:lnTo>
                      <a:pt x="620" y="132"/>
                    </a:lnTo>
                    <a:lnTo>
                      <a:pt x="622" y="132"/>
                    </a:lnTo>
                    <a:lnTo>
                      <a:pt x="626" y="132"/>
                    </a:lnTo>
                    <a:lnTo>
                      <a:pt x="630" y="132"/>
                    </a:lnTo>
                    <a:lnTo>
                      <a:pt x="630" y="136"/>
                    </a:lnTo>
                    <a:lnTo>
                      <a:pt x="634" y="136"/>
                    </a:lnTo>
                    <a:lnTo>
                      <a:pt x="638" y="138"/>
                    </a:lnTo>
                    <a:lnTo>
                      <a:pt x="642" y="138"/>
                    </a:lnTo>
                    <a:lnTo>
                      <a:pt x="642" y="136"/>
                    </a:lnTo>
                    <a:lnTo>
                      <a:pt x="642" y="138"/>
                    </a:lnTo>
                    <a:lnTo>
                      <a:pt x="646" y="138"/>
                    </a:lnTo>
                    <a:lnTo>
                      <a:pt x="650" y="138"/>
                    </a:lnTo>
                    <a:lnTo>
                      <a:pt x="652" y="138"/>
                    </a:lnTo>
                    <a:lnTo>
                      <a:pt x="652" y="142"/>
                    </a:lnTo>
                    <a:lnTo>
                      <a:pt x="650" y="142"/>
                    </a:lnTo>
                    <a:lnTo>
                      <a:pt x="646" y="146"/>
                    </a:lnTo>
                    <a:lnTo>
                      <a:pt x="650" y="146"/>
                    </a:lnTo>
                    <a:lnTo>
                      <a:pt x="652" y="146"/>
                    </a:lnTo>
                    <a:lnTo>
                      <a:pt x="652" y="150"/>
                    </a:lnTo>
                    <a:lnTo>
                      <a:pt x="650" y="150"/>
                    </a:lnTo>
                    <a:lnTo>
                      <a:pt x="650" y="154"/>
                    </a:lnTo>
                    <a:lnTo>
                      <a:pt x="646" y="154"/>
                    </a:lnTo>
                    <a:lnTo>
                      <a:pt x="642" y="154"/>
                    </a:lnTo>
                    <a:lnTo>
                      <a:pt x="638" y="154"/>
                    </a:lnTo>
                    <a:lnTo>
                      <a:pt x="634" y="154"/>
                    </a:lnTo>
                    <a:lnTo>
                      <a:pt x="630" y="158"/>
                    </a:lnTo>
                    <a:lnTo>
                      <a:pt x="630" y="154"/>
                    </a:lnTo>
                    <a:lnTo>
                      <a:pt x="626" y="154"/>
                    </a:lnTo>
                    <a:lnTo>
                      <a:pt x="626" y="158"/>
                    </a:lnTo>
                    <a:lnTo>
                      <a:pt x="630" y="154"/>
                    </a:lnTo>
                    <a:lnTo>
                      <a:pt x="630" y="158"/>
                    </a:lnTo>
                    <a:lnTo>
                      <a:pt x="626" y="158"/>
                    </a:lnTo>
                    <a:lnTo>
                      <a:pt x="622" y="158"/>
                    </a:lnTo>
                    <a:lnTo>
                      <a:pt x="622" y="158"/>
                    </a:lnTo>
                    <a:lnTo>
                      <a:pt x="622" y="158"/>
                    </a:lnTo>
                    <a:close/>
                    <a:moveTo>
                      <a:pt x="440" y="142"/>
                    </a:moveTo>
                    <a:lnTo>
                      <a:pt x="436" y="142"/>
                    </a:lnTo>
                    <a:lnTo>
                      <a:pt x="432" y="142"/>
                    </a:lnTo>
                    <a:lnTo>
                      <a:pt x="428" y="142"/>
                    </a:lnTo>
                    <a:lnTo>
                      <a:pt x="424" y="142"/>
                    </a:lnTo>
                    <a:lnTo>
                      <a:pt x="422" y="138"/>
                    </a:lnTo>
                    <a:lnTo>
                      <a:pt x="422" y="142"/>
                    </a:lnTo>
                    <a:lnTo>
                      <a:pt x="418" y="142"/>
                    </a:lnTo>
                    <a:lnTo>
                      <a:pt x="414" y="142"/>
                    </a:lnTo>
                    <a:lnTo>
                      <a:pt x="410" y="142"/>
                    </a:lnTo>
                    <a:lnTo>
                      <a:pt x="408" y="142"/>
                    </a:lnTo>
                    <a:lnTo>
                      <a:pt x="404" y="142"/>
                    </a:lnTo>
                    <a:lnTo>
                      <a:pt x="400" y="142"/>
                    </a:lnTo>
                    <a:lnTo>
                      <a:pt x="396" y="142"/>
                    </a:lnTo>
                    <a:lnTo>
                      <a:pt x="392" y="142"/>
                    </a:lnTo>
                    <a:lnTo>
                      <a:pt x="392" y="138"/>
                    </a:lnTo>
                    <a:lnTo>
                      <a:pt x="396" y="138"/>
                    </a:lnTo>
                    <a:lnTo>
                      <a:pt x="400" y="138"/>
                    </a:lnTo>
                    <a:lnTo>
                      <a:pt x="404" y="138"/>
                    </a:lnTo>
                    <a:lnTo>
                      <a:pt x="408" y="136"/>
                    </a:lnTo>
                    <a:lnTo>
                      <a:pt x="410" y="136"/>
                    </a:lnTo>
                    <a:lnTo>
                      <a:pt x="414" y="136"/>
                    </a:lnTo>
                    <a:lnTo>
                      <a:pt x="418" y="136"/>
                    </a:lnTo>
                    <a:lnTo>
                      <a:pt x="422" y="132"/>
                    </a:lnTo>
                    <a:lnTo>
                      <a:pt x="424" y="132"/>
                    </a:lnTo>
                    <a:lnTo>
                      <a:pt x="428" y="132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40" y="132"/>
                    </a:lnTo>
                    <a:lnTo>
                      <a:pt x="444" y="136"/>
                    </a:lnTo>
                    <a:lnTo>
                      <a:pt x="448" y="136"/>
                    </a:lnTo>
                    <a:lnTo>
                      <a:pt x="448" y="138"/>
                    </a:lnTo>
                    <a:lnTo>
                      <a:pt x="448" y="142"/>
                    </a:lnTo>
                    <a:lnTo>
                      <a:pt x="444" y="142"/>
                    </a:lnTo>
                    <a:lnTo>
                      <a:pt x="440" y="142"/>
                    </a:lnTo>
                    <a:lnTo>
                      <a:pt x="440" y="142"/>
                    </a:lnTo>
                    <a:lnTo>
                      <a:pt x="440" y="142"/>
                    </a:lnTo>
                    <a:close/>
                    <a:moveTo>
                      <a:pt x="656" y="142"/>
                    </a:moveTo>
                    <a:lnTo>
                      <a:pt x="660" y="146"/>
                    </a:lnTo>
                    <a:lnTo>
                      <a:pt x="656" y="146"/>
                    </a:lnTo>
                    <a:lnTo>
                      <a:pt x="656" y="142"/>
                    </a:lnTo>
                    <a:lnTo>
                      <a:pt x="656" y="142"/>
                    </a:lnTo>
                    <a:lnTo>
                      <a:pt x="656" y="142"/>
                    </a:lnTo>
                    <a:close/>
                    <a:moveTo>
                      <a:pt x="540" y="142"/>
                    </a:moveTo>
                    <a:lnTo>
                      <a:pt x="540" y="146"/>
                    </a:lnTo>
                    <a:lnTo>
                      <a:pt x="536" y="146"/>
                    </a:lnTo>
                    <a:lnTo>
                      <a:pt x="536" y="150"/>
                    </a:lnTo>
                    <a:lnTo>
                      <a:pt x="534" y="150"/>
                    </a:lnTo>
                    <a:lnTo>
                      <a:pt x="534" y="146"/>
                    </a:lnTo>
                    <a:lnTo>
                      <a:pt x="536" y="146"/>
                    </a:lnTo>
                    <a:lnTo>
                      <a:pt x="536" y="142"/>
                    </a:lnTo>
                    <a:lnTo>
                      <a:pt x="540" y="142"/>
                    </a:lnTo>
                    <a:lnTo>
                      <a:pt x="540" y="142"/>
                    </a:lnTo>
                    <a:lnTo>
                      <a:pt x="540" y="142"/>
                    </a:lnTo>
                    <a:close/>
                    <a:moveTo>
                      <a:pt x="440" y="150"/>
                    </a:moveTo>
                    <a:lnTo>
                      <a:pt x="444" y="150"/>
                    </a:lnTo>
                    <a:lnTo>
                      <a:pt x="444" y="154"/>
                    </a:lnTo>
                    <a:lnTo>
                      <a:pt x="440" y="154"/>
                    </a:lnTo>
                    <a:lnTo>
                      <a:pt x="436" y="154"/>
                    </a:lnTo>
                    <a:lnTo>
                      <a:pt x="432" y="154"/>
                    </a:lnTo>
                    <a:lnTo>
                      <a:pt x="428" y="154"/>
                    </a:lnTo>
                    <a:lnTo>
                      <a:pt x="424" y="154"/>
                    </a:lnTo>
                    <a:lnTo>
                      <a:pt x="424" y="158"/>
                    </a:lnTo>
                    <a:lnTo>
                      <a:pt x="428" y="158"/>
                    </a:lnTo>
                    <a:lnTo>
                      <a:pt x="432" y="158"/>
                    </a:lnTo>
                    <a:lnTo>
                      <a:pt x="436" y="158"/>
                    </a:lnTo>
                    <a:lnTo>
                      <a:pt x="436" y="160"/>
                    </a:lnTo>
                    <a:lnTo>
                      <a:pt x="436" y="164"/>
                    </a:lnTo>
                    <a:lnTo>
                      <a:pt x="432" y="164"/>
                    </a:lnTo>
                    <a:lnTo>
                      <a:pt x="432" y="168"/>
                    </a:lnTo>
                    <a:lnTo>
                      <a:pt x="424" y="168"/>
                    </a:lnTo>
                    <a:lnTo>
                      <a:pt x="422" y="168"/>
                    </a:lnTo>
                    <a:lnTo>
                      <a:pt x="418" y="168"/>
                    </a:lnTo>
                    <a:lnTo>
                      <a:pt x="414" y="168"/>
                    </a:lnTo>
                    <a:lnTo>
                      <a:pt x="410" y="172"/>
                    </a:lnTo>
                    <a:lnTo>
                      <a:pt x="408" y="172"/>
                    </a:lnTo>
                    <a:lnTo>
                      <a:pt x="404" y="168"/>
                    </a:lnTo>
                    <a:lnTo>
                      <a:pt x="400" y="168"/>
                    </a:lnTo>
                    <a:lnTo>
                      <a:pt x="396" y="164"/>
                    </a:lnTo>
                    <a:lnTo>
                      <a:pt x="392" y="164"/>
                    </a:lnTo>
                    <a:lnTo>
                      <a:pt x="396" y="160"/>
                    </a:lnTo>
                    <a:lnTo>
                      <a:pt x="392" y="158"/>
                    </a:lnTo>
                    <a:lnTo>
                      <a:pt x="392" y="154"/>
                    </a:lnTo>
                    <a:lnTo>
                      <a:pt x="396" y="154"/>
                    </a:lnTo>
                    <a:lnTo>
                      <a:pt x="400" y="154"/>
                    </a:lnTo>
                    <a:lnTo>
                      <a:pt x="404" y="154"/>
                    </a:lnTo>
                    <a:lnTo>
                      <a:pt x="404" y="150"/>
                    </a:lnTo>
                    <a:lnTo>
                      <a:pt x="408" y="150"/>
                    </a:lnTo>
                    <a:lnTo>
                      <a:pt x="410" y="150"/>
                    </a:lnTo>
                    <a:lnTo>
                      <a:pt x="414" y="150"/>
                    </a:lnTo>
                    <a:lnTo>
                      <a:pt x="418" y="150"/>
                    </a:lnTo>
                    <a:lnTo>
                      <a:pt x="422" y="150"/>
                    </a:lnTo>
                    <a:lnTo>
                      <a:pt x="424" y="150"/>
                    </a:lnTo>
                    <a:lnTo>
                      <a:pt x="428" y="150"/>
                    </a:lnTo>
                    <a:lnTo>
                      <a:pt x="432" y="150"/>
                    </a:lnTo>
                    <a:lnTo>
                      <a:pt x="436" y="150"/>
                    </a:lnTo>
                    <a:lnTo>
                      <a:pt x="440" y="150"/>
                    </a:lnTo>
                    <a:lnTo>
                      <a:pt x="440" y="150"/>
                    </a:lnTo>
                    <a:lnTo>
                      <a:pt x="440" y="150"/>
                    </a:lnTo>
                    <a:close/>
                    <a:moveTo>
                      <a:pt x="380" y="160"/>
                    </a:moveTo>
                    <a:lnTo>
                      <a:pt x="378" y="160"/>
                    </a:lnTo>
                    <a:lnTo>
                      <a:pt x="378" y="158"/>
                    </a:lnTo>
                    <a:lnTo>
                      <a:pt x="374" y="158"/>
                    </a:lnTo>
                    <a:lnTo>
                      <a:pt x="370" y="158"/>
                    </a:lnTo>
                    <a:lnTo>
                      <a:pt x="366" y="154"/>
                    </a:lnTo>
                    <a:lnTo>
                      <a:pt x="370" y="154"/>
                    </a:lnTo>
                    <a:lnTo>
                      <a:pt x="374" y="150"/>
                    </a:lnTo>
                    <a:lnTo>
                      <a:pt x="378" y="150"/>
                    </a:lnTo>
                    <a:lnTo>
                      <a:pt x="380" y="154"/>
                    </a:lnTo>
                    <a:lnTo>
                      <a:pt x="384" y="154"/>
                    </a:lnTo>
                    <a:lnTo>
                      <a:pt x="388" y="154"/>
                    </a:lnTo>
                    <a:lnTo>
                      <a:pt x="388" y="158"/>
                    </a:lnTo>
                    <a:lnTo>
                      <a:pt x="384" y="158"/>
                    </a:lnTo>
                    <a:lnTo>
                      <a:pt x="384" y="160"/>
                    </a:lnTo>
                    <a:lnTo>
                      <a:pt x="380" y="160"/>
                    </a:lnTo>
                    <a:lnTo>
                      <a:pt x="380" y="160"/>
                    </a:lnTo>
                    <a:lnTo>
                      <a:pt x="380" y="160"/>
                    </a:lnTo>
                    <a:close/>
                    <a:moveTo>
                      <a:pt x="556" y="154"/>
                    </a:moveTo>
                    <a:lnTo>
                      <a:pt x="560" y="154"/>
                    </a:lnTo>
                    <a:lnTo>
                      <a:pt x="560" y="158"/>
                    </a:lnTo>
                    <a:lnTo>
                      <a:pt x="564" y="158"/>
                    </a:lnTo>
                    <a:lnTo>
                      <a:pt x="566" y="158"/>
                    </a:lnTo>
                    <a:lnTo>
                      <a:pt x="566" y="160"/>
                    </a:lnTo>
                    <a:lnTo>
                      <a:pt x="564" y="160"/>
                    </a:lnTo>
                    <a:lnTo>
                      <a:pt x="560" y="160"/>
                    </a:lnTo>
                    <a:lnTo>
                      <a:pt x="556" y="160"/>
                    </a:lnTo>
                    <a:lnTo>
                      <a:pt x="552" y="160"/>
                    </a:lnTo>
                    <a:lnTo>
                      <a:pt x="548" y="160"/>
                    </a:lnTo>
                    <a:lnTo>
                      <a:pt x="544" y="158"/>
                    </a:lnTo>
                    <a:lnTo>
                      <a:pt x="544" y="154"/>
                    </a:lnTo>
                    <a:lnTo>
                      <a:pt x="548" y="154"/>
                    </a:lnTo>
                    <a:lnTo>
                      <a:pt x="552" y="154"/>
                    </a:lnTo>
                    <a:lnTo>
                      <a:pt x="556" y="154"/>
                    </a:lnTo>
                    <a:lnTo>
                      <a:pt x="556" y="154"/>
                    </a:lnTo>
                    <a:lnTo>
                      <a:pt x="556" y="154"/>
                    </a:lnTo>
                    <a:close/>
                    <a:moveTo>
                      <a:pt x="676" y="160"/>
                    </a:moveTo>
                    <a:lnTo>
                      <a:pt x="678" y="160"/>
                    </a:lnTo>
                    <a:lnTo>
                      <a:pt x="676" y="160"/>
                    </a:lnTo>
                    <a:lnTo>
                      <a:pt x="672" y="164"/>
                    </a:lnTo>
                    <a:lnTo>
                      <a:pt x="672" y="168"/>
                    </a:lnTo>
                    <a:lnTo>
                      <a:pt x="668" y="168"/>
                    </a:lnTo>
                    <a:lnTo>
                      <a:pt x="660" y="168"/>
                    </a:lnTo>
                    <a:lnTo>
                      <a:pt x="660" y="164"/>
                    </a:lnTo>
                    <a:lnTo>
                      <a:pt x="652" y="164"/>
                    </a:lnTo>
                    <a:lnTo>
                      <a:pt x="650" y="164"/>
                    </a:lnTo>
                    <a:lnTo>
                      <a:pt x="650" y="168"/>
                    </a:lnTo>
                    <a:lnTo>
                      <a:pt x="646" y="164"/>
                    </a:lnTo>
                    <a:lnTo>
                      <a:pt x="642" y="164"/>
                    </a:lnTo>
                    <a:lnTo>
                      <a:pt x="638" y="164"/>
                    </a:lnTo>
                    <a:lnTo>
                      <a:pt x="634" y="164"/>
                    </a:lnTo>
                    <a:lnTo>
                      <a:pt x="630" y="160"/>
                    </a:lnTo>
                    <a:lnTo>
                      <a:pt x="634" y="160"/>
                    </a:lnTo>
                    <a:lnTo>
                      <a:pt x="634" y="158"/>
                    </a:lnTo>
                    <a:lnTo>
                      <a:pt x="638" y="158"/>
                    </a:lnTo>
                    <a:lnTo>
                      <a:pt x="642" y="158"/>
                    </a:lnTo>
                    <a:lnTo>
                      <a:pt x="646" y="158"/>
                    </a:lnTo>
                    <a:lnTo>
                      <a:pt x="650" y="158"/>
                    </a:lnTo>
                    <a:lnTo>
                      <a:pt x="652" y="158"/>
                    </a:lnTo>
                    <a:lnTo>
                      <a:pt x="656" y="158"/>
                    </a:lnTo>
                    <a:lnTo>
                      <a:pt x="660" y="158"/>
                    </a:lnTo>
                    <a:lnTo>
                      <a:pt x="664" y="158"/>
                    </a:lnTo>
                    <a:lnTo>
                      <a:pt x="668" y="158"/>
                    </a:lnTo>
                    <a:lnTo>
                      <a:pt x="672" y="158"/>
                    </a:lnTo>
                    <a:lnTo>
                      <a:pt x="676" y="158"/>
                    </a:lnTo>
                    <a:lnTo>
                      <a:pt x="676" y="160"/>
                    </a:lnTo>
                    <a:lnTo>
                      <a:pt x="676" y="160"/>
                    </a:lnTo>
                    <a:lnTo>
                      <a:pt x="676" y="160"/>
                    </a:lnTo>
                    <a:close/>
                    <a:moveTo>
                      <a:pt x="500" y="158"/>
                    </a:moveTo>
                    <a:lnTo>
                      <a:pt x="504" y="160"/>
                    </a:lnTo>
                    <a:lnTo>
                      <a:pt x="508" y="160"/>
                    </a:lnTo>
                    <a:lnTo>
                      <a:pt x="508" y="164"/>
                    </a:lnTo>
                    <a:lnTo>
                      <a:pt x="510" y="164"/>
                    </a:lnTo>
                    <a:lnTo>
                      <a:pt x="510" y="168"/>
                    </a:lnTo>
                    <a:lnTo>
                      <a:pt x="508" y="168"/>
                    </a:lnTo>
                    <a:lnTo>
                      <a:pt x="510" y="168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8" y="172"/>
                    </a:lnTo>
                    <a:lnTo>
                      <a:pt x="518" y="176"/>
                    </a:lnTo>
                    <a:lnTo>
                      <a:pt x="514" y="176"/>
                    </a:lnTo>
                    <a:lnTo>
                      <a:pt x="510" y="176"/>
                    </a:lnTo>
                    <a:lnTo>
                      <a:pt x="508" y="176"/>
                    </a:lnTo>
                    <a:lnTo>
                      <a:pt x="504" y="172"/>
                    </a:lnTo>
                    <a:lnTo>
                      <a:pt x="500" y="172"/>
                    </a:lnTo>
                    <a:lnTo>
                      <a:pt x="500" y="168"/>
                    </a:lnTo>
                    <a:lnTo>
                      <a:pt x="500" y="164"/>
                    </a:lnTo>
                    <a:lnTo>
                      <a:pt x="496" y="160"/>
                    </a:lnTo>
                    <a:lnTo>
                      <a:pt x="492" y="160"/>
                    </a:lnTo>
                    <a:lnTo>
                      <a:pt x="492" y="158"/>
                    </a:lnTo>
                    <a:lnTo>
                      <a:pt x="496" y="158"/>
                    </a:lnTo>
                    <a:lnTo>
                      <a:pt x="500" y="158"/>
                    </a:lnTo>
                    <a:lnTo>
                      <a:pt x="500" y="158"/>
                    </a:lnTo>
                    <a:lnTo>
                      <a:pt x="500" y="158"/>
                    </a:lnTo>
                    <a:close/>
                    <a:moveTo>
                      <a:pt x="716" y="172"/>
                    </a:moveTo>
                    <a:lnTo>
                      <a:pt x="712" y="172"/>
                    </a:lnTo>
                    <a:lnTo>
                      <a:pt x="708" y="172"/>
                    </a:lnTo>
                    <a:lnTo>
                      <a:pt x="706" y="168"/>
                    </a:lnTo>
                    <a:lnTo>
                      <a:pt x="706" y="164"/>
                    </a:lnTo>
                    <a:lnTo>
                      <a:pt x="706" y="160"/>
                    </a:lnTo>
                    <a:lnTo>
                      <a:pt x="708" y="160"/>
                    </a:lnTo>
                    <a:lnTo>
                      <a:pt x="712" y="160"/>
                    </a:lnTo>
                    <a:lnTo>
                      <a:pt x="716" y="160"/>
                    </a:lnTo>
                    <a:lnTo>
                      <a:pt x="720" y="160"/>
                    </a:lnTo>
                    <a:lnTo>
                      <a:pt x="720" y="164"/>
                    </a:lnTo>
                    <a:lnTo>
                      <a:pt x="724" y="164"/>
                    </a:lnTo>
                    <a:lnTo>
                      <a:pt x="728" y="168"/>
                    </a:lnTo>
                    <a:lnTo>
                      <a:pt x="728" y="172"/>
                    </a:lnTo>
                    <a:lnTo>
                      <a:pt x="724" y="172"/>
                    </a:lnTo>
                    <a:lnTo>
                      <a:pt x="720" y="172"/>
                    </a:lnTo>
                    <a:lnTo>
                      <a:pt x="716" y="172"/>
                    </a:lnTo>
                    <a:lnTo>
                      <a:pt x="716" y="172"/>
                    </a:lnTo>
                    <a:lnTo>
                      <a:pt x="716" y="172"/>
                    </a:lnTo>
                    <a:close/>
                    <a:moveTo>
                      <a:pt x="294" y="212"/>
                    </a:moveTo>
                    <a:lnTo>
                      <a:pt x="294" y="208"/>
                    </a:lnTo>
                    <a:lnTo>
                      <a:pt x="294" y="212"/>
                    </a:lnTo>
                    <a:lnTo>
                      <a:pt x="292" y="212"/>
                    </a:lnTo>
                    <a:lnTo>
                      <a:pt x="292" y="208"/>
                    </a:lnTo>
                    <a:lnTo>
                      <a:pt x="292" y="206"/>
                    </a:lnTo>
                    <a:lnTo>
                      <a:pt x="288" y="206"/>
                    </a:lnTo>
                    <a:lnTo>
                      <a:pt x="288" y="208"/>
                    </a:lnTo>
                    <a:lnTo>
                      <a:pt x="288" y="206"/>
                    </a:lnTo>
                    <a:lnTo>
                      <a:pt x="288" y="202"/>
                    </a:lnTo>
                    <a:lnTo>
                      <a:pt x="284" y="202"/>
                    </a:lnTo>
                    <a:lnTo>
                      <a:pt x="284" y="206"/>
                    </a:lnTo>
                    <a:lnTo>
                      <a:pt x="284" y="208"/>
                    </a:lnTo>
                    <a:lnTo>
                      <a:pt x="284" y="206"/>
                    </a:lnTo>
                    <a:lnTo>
                      <a:pt x="280" y="206"/>
                    </a:lnTo>
                    <a:lnTo>
                      <a:pt x="280" y="208"/>
                    </a:lnTo>
                    <a:lnTo>
                      <a:pt x="276" y="208"/>
                    </a:lnTo>
                    <a:lnTo>
                      <a:pt x="276" y="206"/>
                    </a:lnTo>
                    <a:lnTo>
                      <a:pt x="272" y="206"/>
                    </a:lnTo>
                    <a:lnTo>
                      <a:pt x="266" y="206"/>
                    </a:lnTo>
                    <a:lnTo>
                      <a:pt x="266" y="208"/>
                    </a:lnTo>
                    <a:lnTo>
                      <a:pt x="262" y="208"/>
                    </a:lnTo>
                    <a:lnTo>
                      <a:pt x="258" y="208"/>
                    </a:lnTo>
                    <a:lnTo>
                      <a:pt x="262" y="208"/>
                    </a:lnTo>
                    <a:lnTo>
                      <a:pt x="262" y="206"/>
                    </a:lnTo>
                    <a:lnTo>
                      <a:pt x="262" y="202"/>
                    </a:lnTo>
                    <a:lnTo>
                      <a:pt x="262" y="206"/>
                    </a:lnTo>
                    <a:lnTo>
                      <a:pt x="258" y="206"/>
                    </a:lnTo>
                    <a:lnTo>
                      <a:pt x="262" y="202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54" y="206"/>
                    </a:lnTo>
                    <a:lnTo>
                      <a:pt x="254" y="202"/>
                    </a:lnTo>
                    <a:lnTo>
                      <a:pt x="258" y="202"/>
                    </a:lnTo>
                    <a:lnTo>
                      <a:pt x="262" y="198"/>
                    </a:lnTo>
                    <a:lnTo>
                      <a:pt x="266" y="194"/>
                    </a:lnTo>
                    <a:lnTo>
                      <a:pt x="268" y="194"/>
                    </a:lnTo>
                    <a:lnTo>
                      <a:pt x="272" y="194"/>
                    </a:lnTo>
                    <a:lnTo>
                      <a:pt x="276" y="194"/>
                    </a:lnTo>
                    <a:lnTo>
                      <a:pt x="280" y="190"/>
                    </a:lnTo>
                    <a:lnTo>
                      <a:pt x="280" y="186"/>
                    </a:lnTo>
                    <a:lnTo>
                      <a:pt x="284" y="186"/>
                    </a:lnTo>
                    <a:lnTo>
                      <a:pt x="288" y="186"/>
                    </a:lnTo>
                    <a:lnTo>
                      <a:pt x="292" y="182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298" y="176"/>
                    </a:lnTo>
                    <a:lnTo>
                      <a:pt x="302" y="176"/>
                    </a:lnTo>
                    <a:lnTo>
                      <a:pt x="306" y="176"/>
                    </a:lnTo>
                    <a:lnTo>
                      <a:pt x="306" y="172"/>
                    </a:lnTo>
                    <a:lnTo>
                      <a:pt x="310" y="172"/>
                    </a:lnTo>
                    <a:lnTo>
                      <a:pt x="314" y="172"/>
                    </a:lnTo>
                    <a:lnTo>
                      <a:pt x="314" y="168"/>
                    </a:lnTo>
                    <a:lnTo>
                      <a:pt x="318" y="168"/>
                    </a:lnTo>
                    <a:lnTo>
                      <a:pt x="322" y="168"/>
                    </a:lnTo>
                    <a:lnTo>
                      <a:pt x="324" y="168"/>
                    </a:lnTo>
                    <a:lnTo>
                      <a:pt x="328" y="168"/>
                    </a:lnTo>
                    <a:lnTo>
                      <a:pt x="332" y="172"/>
                    </a:lnTo>
                    <a:lnTo>
                      <a:pt x="336" y="172"/>
                    </a:lnTo>
                    <a:lnTo>
                      <a:pt x="340" y="172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8"/>
                    </a:lnTo>
                    <a:lnTo>
                      <a:pt x="340" y="172"/>
                    </a:lnTo>
                    <a:lnTo>
                      <a:pt x="344" y="172"/>
                    </a:lnTo>
                    <a:lnTo>
                      <a:pt x="344" y="168"/>
                    </a:lnTo>
                    <a:lnTo>
                      <a:pt x="340" y="168"/>
                    </a:lnTo>
                    <a:lnTo>
                      <a:pt x="336" y="168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0" y="164"/>
                    </a:lnTo>
                    <a:lnTo>
                      <a:pt x="344" y="164"/>
                    </a:lnTo>
                    <a:lnTo>
                      <a:pt x="348" y="164"/>
                    </a:lnTo>
                    <a:lnTo>
                      <a:pt x="352" y="164"/>
                    </a:lnTo>
                    <a:lnTo>
                      <a:pt x="354" y="168"/>
                    </a:lnTo>
                    <a:lnTo>
                      <a:pt x="362" y="168"/>
                    </a:lnTo>
                    <a:lnTo>
                      <a:pt x="362" y="172"/>
                    </a:lnTo>
                    <a:lnTo>
                      <a:pt x="358" y="172"/>
                    </a:lnTo>
                    <a:lnTo>
                      <a:pt x="354" y="172"/>
                    </a:lnTo>
                    <a:lnTo>
                      <a:pt x="352" y="176"/>
                    </a:lnTo>
                    <a:lnTo>
                      <a:pt x="352" y="180"/>
                    </a:lnTo>
                    <a:lnTo>
                      <a:pt x="354" y="180"/>
                    </a:lnTo>
                    <a:lnTo>
                      <a:pt x="358" y="180"/>
                    </a:lnTo>
                    <a:lnTo>
                      <a:pt x="358" y="182"/>
                    </a:lnTo>
                    <a:lnTo>
                      <a:pt x="354" y="182"/>
                    </a:lnTo>
                    <a:lnTo>
                      <a:pt x="352" y="182"/>
                    </a:lnTo>
                    <a:lnTo>
                      <a:pt x="352" y="180"/>
                    </a:lnTo>
                    <a:lnTo>
                      <a:pt x="348" y="180"/>
                    </a:lnTo>
                    <a:lnTo>
                      <a:pt x="348" y="182"/>
                    </a:lnTo>
                    <a:lnTo>
                      <a:pt x="352" y="182"/>
                    </a:lnTo>
                    <a:lnTo>
                      <a:pt x="354" y="182"/>
                    </a:lnTo>
                    <a:lnTo>
                      <a:pt x="354" y="186"/>
                    </a:lnTo>
                    <a:lnTo>
                      <a:pt x="354" y="190"/>
                    </a:lnTo>
                    <a:lnTo>
                      <a:pt x="352" y="190"/>
                    </a:lnTo>
                    <a:lnTo>
                      <a:pt x="348" y="190"/>
                    </a:lnTo>
                    <a:lnTo>
                      <a:pt x="344" y="190"/>
                    </a:lnTo>
                    <a:lnTo>
                      <a:pt x="340" y="190"/>
                    </a:lnTo>
                    <a:lnTo>
                      <a:pt x="340" y="194"/>
                    </a:lnTo>
                    <a:lnTo>
                      <a:pt x="340" y="198"/>
                    </a:lnTo>
                    <a:lnTo>
                      <a:pt x="336" y="198"/>
                    </a:lnTo>
                    <a:lnTo>
                      <a:pt x="332" y="198"/>
                    </a:lnTo>
                    <a:lnTo>
                      <a:pt x="328" y="198"/>
                    </a:lnTo>
                    <a:lnTo>
                      <a:pt x="324" y="194"/>
                    </a:lnTo>
                    <a:lnTo>
                      <a:pt x="324" y="190"/>
                    </a:lnTo>
                    <a:lnTo>
                      <a:pt x="324" y="186"/>
                    </a:lnTo>
                    <a:lnTo>
                      <a:pt x="328" y="186"/>
                    </a:lnTo>
                    <a:lnTo>
                      <a:pt x="328" y="182"/>
                    </a:lnTo>
                    <a:lnTo>
                      <a:pt x="324" y="186"/>
                    </a:lnTo>
                    <a:lnTo>
                      <a:pt x="322" y="186"/>
                    </a:lnTo>
                    <a:lnTo>
                      <a:pt x="318" y="186"/>
                    </a:lnTo>
                    <a:lnTo>
                      <a:pt x="322" y="186"/>
                    </a:lnTo>
                    <a:lnTo>
                      <a:pt x="322" y="190"/>
                    </a:lnTo>
                    <a:lnTo>
                      <a:pt x="318" y="194"/>
                    </a:lnTo>
                    <a:lnTo>
                      <a:pt x="314" y="190"/>
                    </a:lnTo>
                    <a:lnTo>
                      <a:pt x="314" y="194"/>
                    </a:lnTo>
                    <a:lnTo>
                      <a:pt x="318" y="194"/>
                    </a:lnTo>
                    <a:lnTo>
                      <a:pt x="318" y="198"/>
                    </a:lnTo>
                    <a:lnTo>
                      <a:pt x="314" y="198"/>
                    </a:lnTo>
                    <a:lnTo>
                      <a:pt x="314" y="202"/>
                    </a:lnTo>
                    <a:lnTo>
                      <a:pt x="310" y="206"/>
                    </a:lnTo>
                    <a:lnTo>
                      <a:pt x="306" y="206"/>
                    </a:lnTo>
                    <a:lnTo>
                      <a:pt x="306" y="202"/>
                    </a:lnTo>
                    <a:lnTo>
                      <a:pt x="302" y="198"/>
                    </a:lnTo>
                    <a:lnTo>
                      <a:pt x="302" y="202"/>
                    </a:lnTo>
                    <a:lnTo>
                      <a:pt x="302" y="206"/>
                    </a:lnTo>
                    <a:lnTo>
                      <a:pt x="298" y="206"/>
                    </a:lnTo>
                    <a:lnTo>
                      <a:pt x="302" y="206"/>
                    </a:lnTo>
                    <a:lnTo>
                      <a:pt x="306" y="206"/>
                    </a:lnTo>
                    <a:lnTo>
                      <a:pt x="306" y="208"/>
                    </a:lnTo>
                    <a:lnTo>
                      <a:pt x="302" y="208"/>
                    </a:lnTo>
                    <a:lnTo>
                      <a:pt x="302" y="206"/>
                    </a:lnTo>
                    <a:lnTo>
                      <a:pt x="302" y="208"/>
                    </a:lnTo>
                    <a:lnTo>
                      <a:pt x="298" y="208"/>
                    </a:lnTo>
                    <a:lnTo>
                      <a:pt x="298" y="212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4" y="212"/>
                    </a:lnTo>
                    <a:close/>
                    <a:moveTo>
                      <a:pt x="706" y="172"/>
                    </a:moveTo>
                    <a:lnTo>
                      <a:pt x="708" y="172"/>
                    </a:lnTo>
                    <a:lnTo>
                      <a:pt x="712" y="172"/>
                    </a:lnTo>
                    <a:lnTo>
                      <a:pt x="712" y="176"/>
                    </a:lnTo>
                    <a:lnTo>
                      <a:pt x="708" y="176"/>
                    </a:lnTo>
                    <a:lnTo>
                      <a:pt x="706" y="176"/>
                    </a:lnTo>
                    <a:lnTo>
                      <a:pt x="706" y="172"/>
                    </a:lnTo>
                    <a:lnTo>
                      <a:pt x="706" y="172"/>
                    </a:lnTo>
                    <a:lnTo>
                      <a:pt x="706" y="172"/>
                    </a:lnTo>
                    <a:close/>
                    <a:moveTo>
                      <a:pt x="646" y="172"/>
                    </a:moveTo>
                    <a:lnTo>
                      <a:pt x="650" y="172"/>
                    </a:lnTo>
                    <a:lnTo>
                      <a:pt x="650" y="176"/>
                    </a:lnTo>
                    <a:lnTo>
                      <a:pt x="646" y="176"/>
                    </a:lnTo>
                    <a:lnTo>
                      <a:pt x="642" y="172"/>
                    </a:lnTo>
                    <a:lnTo>
                      <a:pt x="646" y="172"/>
                    </a:lnTo>
                    <a:lnTo>
                      <a:pt x="646" y="172"/>
                    </a:lnTo>
                    <a:lnTo>
                      <a:pt x="646" y="172"/>
                    </a:lnTo>
                    <a:close/>
                    <a:moveTo>
                      <a:pt x="522" y="176"/>
                    </a:moveTo>
                    <a:lnTo>
                      <a:pt x="518" y="176"/>
                    </a:lnTo>
                    <a:lnTo>
                      <a:pt x="522" y="176"/>
                    </a:lnTo>
                    <a:lnTo>
                      <a:pt x="522" y="176"/>
                    </a:lnTo>
                    <a:lnTo>
                      <a:pt x="522" y="176"/>
                    </a:lnTo>
                    <a:close/>
                    <a:moveTo>
                      <a:pt x="384" y="176"/>
                    </a:moveTo>
                    <a:lnTo>
                      <a:pt x="388" y="176"/>
                    </a:lnTo>
                    <a:lnTo>
                      <a:pt x="384" y="176"/>
                    </a:lnTo>
                    <a:lnTo>
                      <a:pt x="384" y="176"/>
                    </a:lnTo>
                    <a:lnTo>
                      <a:pt x="384" y="176"/>
                    </a:lnTo>
                    <a:close/>
                    <a:moveTo>
                      <a:pt x="858" y="236"/>
                    </a:moveTo>
                    <a:lnTo>
                      <a:pt x="862" y="236"/>
                    </a:lnTo>
                    <a:lnTo>
                      <a:pt x="858" y="236"/>
                    </a:lnTo>
                    <a:lnTo>
                      <a:pt x="862" y="236"/>
                    </a:lnTo>
                    <a:lnTo>
                      <a:pt x="864" y="236"/>
                    </a:lnTo>
                    <a:lnTo>
                      <a:pt x="868" y="236"/>
                    </a:lnTo>
                    <a:lnTo>
                      <a:pt x="872" y="236"/>
                    </a:lnTo>
                    <a:lnTo>
                      <a:pt x="872" y="238"/>
                    </a:lnTo>
                    <a:lnTo>
                      <a:pt x="868" y="238"/>
                    </a:lnTo>
                    <a:lnTo>
                      <a:pt x="864" y="238"/>
                    </a:lnTo>
                    <a:lnTo>
                      <a:pt x="862" y="238"/>
                    </a:lnTo>
                    <a:lnTo>
                      <a:pt x="858" y="238"/>
                    </a:lnTo>
                    <a:lnTo>
                      <a:pt x="858" y="236"/>
                    </a:lnTo>
                    <a:lnTo>
                      <a:pt x="858" y="238"/>
                    </a:lnTo>
                    <a:lnTo>
                      <a:pt x="862" y="238"/>
                    </a:lnTo>
                    <a:lnTo>
                      <a:pt x="862" y="242"/>
                    </a:lnTo>
                    <a:lnTo>
                      <a:pt x="862" y="246"/>
                    </a:lnTo>
                    <a:lnTo>
                      <a:pt x="858" y="246"/>
                    </a:lnTo>
                    <a:lnTo>
                      <a:pt x="854" y="246"/>
                    </a:lnTo>
                    <a:lnTo>
                      <a:pt x="850" y="246"/>
                    </a:lnTo>
                    <a:lnTo>
                      <a:pt x="846" y="246"/>
                    </a:lnTo>
                    <a:lnTo>
                      <a:pt x="842" y="246"/>
                    </a:lnTo>
                    <a:lnTo>
                      <a:pt x="838" y="246"/>
                    </a:lnTo>
                    <a:lnTo>
                      <a:pt x="838" y="250"/>
                    </a:lnTo>
                    <a:lnTo>
                      <a:pt x="834" y="250"/>
                    </a:lnTo>
                    <a:lnTo>
                      <a:pt x="832" y="246"/>
                    </a:lnTo>
                    <a:lnTo>
                      <a:pt x="828" y="246"/>
                    </a:lnTo>
                    <a:lnTo>
                      <a:pt x="824" y="246"/>
                    </a:lnTo>
                    <a:lnTo>
                      <a:pt x="820" y="246"/>
                    </a:lnTo>
                    <a:lnTo>
                      <a:pt x="820" y="242"/>
                    </a:lnTo>
                    <a:lnTo>
                      <a:pt x="820" y="238"/>
                    </a:lnTo>
                    <a:lnTo>
                      <a:pt x="816" y="238"/>
                    </a:lnTo>
                    <a:lnTo>
                      <a:pt x="812" y="236"/>
                    </a:lnTo>
                    <a:lnTo>
                      <a:pt x="812" y="238"/>
                    </a:lnTo>
                    <a:lnTo>
                      <a:pt x="816" y="238"/>
                    </a:lnTo>
                    <a:lnTo>
                      <a:pt x="816" y="242"/>
                    </a:lnTo>
                    <a:lnTo>
                      <a:pt x="812" y="246"/>
                    </a:lnTo>
                    <a:lnTo>
                      <a:pt x="808" y="246"/>
                    </a:lnTo>
                    <a:lnTo>
                      <a:pt x="806" y="246"/>
                    </a:lnTo>
                    <a:lnTo>
                      <a:pt x="802" y="246"/>
                    </a:lnTo>
                    <a:lnTo>
                      <a:pt x="798" y="246"/>
                    </a:lnTo>
                    <a:lnTo>
                      <a:pt x="794" y="246"/>
                    </a:lnTo>
                    <a:lnTo>
                      <a:pt x="790" y="246"/>
                    </a:lnTo>
                    <a:lnTo>
                      <a:pt x="794" y="242"/>
                    </a:lnTo>
                    <a:lnTo>
                      <a:pt x="790" y="242"/>
                    </a:lnTo>
                    <a:lnTo>
                      <a:pt x="790" y="246"/>
                    </a:lnTo>
                    <a:lnTo>
                      <a:pt x="786" y="246"/>
                    </a:lnTo>
                    <a:lnTo>
                      <a:pt x="786" y="242"/>
                    </a:lnTo>
                    <a:lnTo>
                      <a:pt x="782" y="242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2" y="246"/>
                    </a:lnTo>
                    <a:lnTo>
                      <a:pt x="778" y="246"/>
                    </a:lnTo>
                    <a:lnTo>
                      <a:pt x="776" y="246"/>
                    </a:lnTo>
                    <a:lnTo>
                      <a:pt x="772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8" y="246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0" y="250"/>
                    </a:lnTo>
                    <a:lnTo>
                      <a:pt x="760" y="246"/>
                    </a:lnTo>
                    <a:lnTo>
                      <a:pt x="756" y="250"/>
                    </a:lnTo>
                    <a:lnTo>
                      <a:pt x="752" y="250"/>
                    </a:lnTo>
                    <a:lnTo>
                      <a:pt x="752" y="246"/>
                    </a:lnTo>
                    <a:lnTo>
                      <a:pt x="752" y="250"/>
                    </a:lnTo>
                    <a:lnTo>
                      <a:pt x="748" y="250"/>
                    </a:lnTo>
                    <a:lnTo>
                      <a:pt x="746" y="246"/>
                    </a:lnTo>
                    <a:lnTo>
                      <a:pt x="742" y="246"/>
                    </a:lnTo>
                    <a:lnTo>
                      <a:pt x="746" y="242"/>
                    </a:lnTo>
                    <a:lnTo>
                      <a:pt x="746" y="238"/>
                    </a:lnTo>
                    <a:lnTo>
                      <a:pt x="742" y="238"/>
                    </a:lnTo>
                    <a:lnTo>
                      <a:pt x="742" y="236"/>
                    </a:lnTo>
                    <a:lnTo>
                      <a:pt x="742" y="238"/>
                    </a:lnTo>
                    <a:lnTo>
                      <a:pt x="738" y="238"/>
                    </a:lnTo>
                    <a:lnTo>
                      <a:pt x="738" y="242"/>
                    </a:lnTo>
                    <a:lnTo>
                      <a:pt x="738" y="238"/>
                    </a:lnTo>
                    <a:lnTo>
                      <a:pt x="734" y="238"/>
                    </a:lnTo>
                    <a:lnTo>
                      <a:pt x="734" y="242"/>
                    </a:lnTo>
                    <a:lnTo>
                      <a:pt x="732" y="242"/>
                    </a:lnTo>
                    <a:lnTo>
                      <a:pt x="732" y="238"/>
                    </a:lnTo>
                    <a:lnTo>
                      <a:pt x="732" y="242"/>
                    </a:lnTo>
                    <a:lnTo>
                      <a:pt x="734" y="242"/>
                    </a:lnTo>
                    <a:lnTo>
                      <a:pt x="734" y="246"/>
                    </a:lnTo>
                    <a:lnTo>
                      <a:pt x="732" y="246"/>
                    </a:lnTo>
                    <a:lnTo>
                      <a:pt x="728" y="246"/>
                    </a:lnTo>
                    <a:lnTo>
                      <a:pt x="724" y="246"/>
                    </a:lnTo>
                    <a:lnTo>
                      <a:pt x="720" y="246"/>
                    </a:lnTo>
                    <a:lnTo>
                      <a:pt x="716" y="246"/>
                    </a:lnTo>
                    <a:lnTo>
                      <a:pt x="712" y="246"/>
                    </a:lnTo>
                    <a:lnTo>
                      <a:pt x="712" y="242"/>
                    </a:lnTo>
                    <a:lnTo>
                      <a:pt x="708" y="242"/>
                    </a:lnTo>
                    <a:lnTo>
                      <a:pt x="708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6" y="238"/>
                    </a:lnTo>
                    <a:lnTo>
                      <a:pt x="706" y="242"/>
                    </a:lnTo>
                    <a:lnTo>
                      <a:pt x="702" y="242"/>
                    </a:lnTo>
                    <a:lnTo>
                      <a:pt x="698" y="242"/>
                    </a:lnTo>
                    <a:lnTo>
                      <a:pt x="694" y="242"/>
                    </a:lnTo>
                    <a:lnTo>
                      <a:pt x="694" y="238"/>
                    </a:lnTo>
                    <a:lnTo>
                      <a:pt x="694" y="236"/>
                    </a:lnTo>
                    <a:lnTo>
                      <a:pt x="690" y="236"/>
                    </a:lnTo>
                    <a:lnTo>
                      <a:pt x="690" y="232"/>
                    </a:lnTo>
                    <a:lnTo>
                      <a:pt x="694" y="232"/>
                    </a:lnTo>
                    <a:lnTo>
                      <a:pt x="690" y="232"/>
                    </a:lnTo>
                    <a:lnTo>
                      <a:pt x="686" y="228"/>
                    </a:lnTo>
                    <a:lnTo>
                      <a:pt x="686" y="224"/>
                    </a:lnTo>
                    <a:lnTo>
                      <a:pt x="686" y="220"/>
                    </a:lnTo>
                    <a:lnTo>
                      <a:pt x="690" y="220"/>
                    </a:lnTo>
                    <a:lnTo>
                      <a:pt x="694" y="220"/>
                    </a:lnTo>
                    <a:lnTo>
                      <a:pt x="694" y="216"/>
                    </a:lnTo>
                    <a:lnTo>
                      <a:pt x="690" y="212"/>
                    </a:lnTo>
                    <a:lnTo>
                      <a:pt x="690" y="208"/>
                    </a:lnTo>
                    <a:lnTo>
                      <a:pt x="686" y="208"/>
                    </a:lnTo>
                    <a:lnTo>
                      <a:pt x="686" y="206"/>
                    </a:lnTo>
                    <a:lnTo>
                      <a:pt x="682" y="206"/>
                    </a:lnTo>
                    <a:lnTo>
                      <a:pt x="682" y="202"/>
                    </a:lnTo>
                    <a:lnTo>
                      <a:pt x="678" y="202"/>
                    </a:lnTo>
                    <a:lnTo>
                      <a:pt x="678" y="198"/>
                    </a:lnTo>
                    <a:lnTo>
                      <a:pt x="676" y="198"/>
                    </a:lnTo>
                    <a:lnTo>
                      <a:pt x="672" y="198"/>
                    </a:lnTo>
                    <a:lnTo>
                      <a:pt x="668" y="198"/>
                    </a:lnTo>
                    <a:lnTo>
                      <a:pt x="668" y="202"/>
                    </a:lnTo>
                    <a:lnTo>
                      <a:pt x="664" y="198"/>
                    </a:lnTo>
                    <a:lnTo>
                      <a:pt x="660" y="198"/>
                    </a:lnTo>
                    <a:lnTo>
                      <a:pt x="656" y="198"/>
                    </a:lnTo>
                    <a:lnTo>
                      <a:pt x="652" y="198"/>
                    </a:lnTo>
                    <a:lnTo>
                      <a:pt x="650" y="202"/>
                    </a:lnTo>
                    <a:lnTo>
                      <a:pt x="646" y="202"/>
                    </a:lnTo>
                    <a:lnTo>
                      <a:pt x="646" y="198"/>
                    </a:lnTo>
                    <a:lnTo>
                      <a:pt x="650" y="198"/>
                    </a:lnTo>
                    <a:lnTo>
                      <a:pt x="652" y="198"/>
                    </a:lnTo>
                    <a:lnTo>
                      <a:pt x="650" y="198"/>
                    </a:lnTo>
                    <a:lnTo>
                      <a:pt x="646" y="198"/>
                    </a:lnTo>
                    <a:lnTo>
                      <a:pt x="642" y="198"/>
                    </a:lnTo>
                    <a:lnTo>
                      <a:pt x="642" y="194"/>
                    </a:lnTo>
                    <a:lnTo>
                      <a:pt x="638" y="194"/>
                    </a:lnTo>
                    <a:lnTo>
                      <a:pt x="634" y="194"/>
                    </a:lnTo>
                    <a:lnTo>
                      <a:pt x="638" y="194"/>
                    </a:lnTo>
                    <a:lnTo>
                      <a:pt x="642" y="194"/>
                    </a:lnTo>
                    <a:lnTo>
                      <a:pt x="642" y="190"/>
                    </a:lnTo>
                    <a:lnTo>
                      <a:pt x="638" y="190"/>
                    </a:lnTo>
                    <a:lnTo>
                      <a:pt x="634" y="190"/>
                    </a:lnTo>
                    <a:lnTo>
                      <a:pt x="630" y="190"/>
                    </a:lnTo>
                    <a:lnTo>
                      <a:pt x="630" y="186"/>
                    </a:lnTo>
                    <a:lnTo>
                      <a:pt x="626" y="186"/>
                    </a:lnTo>
                    <a:lnTo>
                      <a:pt x="622" y="186"/>
                    </a:lnTo>
                    <a:lnTo>
                      <a:pt x="622" y="182"/>
                    </a:lnTo>
                    <a:lnTo>
                      <a:pt x="626" y="186"/>
                    </a:lnTo>
                    <a:lnTo>
                      <a:pt x="630" y="186"/>
                    </a:lnTo>
                    <a:lnTo>
                      <a:pt x="634" y="186"/>
                    </a:lnTo>
                    <a:lnTo>
                      <a:pt x="630" y="182"/>
                    </a:lnTo>
                    <a:lnTo>
                      <a:pt x="626" y="182"/>
                    </a:lnTo>
                    <a:lnTo>
                      <a:pt x="622" y="182"/>
                    </a:lnTo>
                    <a:lnTo>
                      <a:pt x="626" y="180"/>
                    </a:lnTo>
                    <a:lnTo>
                      <a:pt x="630" y="180"/>
                    </a:lnTo>
                    <a:lnTo>
                      <a:pt x="634" y="180"/>
                    </a:lnTo>
                    <a:lnTo>
                      <a:pt x="638" y="180"/>
                    </a:lnTo>
                    <a:lnTo>
                      <a:pt x="642" y="176"/>
                    </a:lnTo>
                    <a:lnTo>
                      <a:pt x="642" y="180"/>
                    </a:lnTo>
                    <a:lnTo>
                      <a:pt x="646" y="180"/>
                    </a:lnTo>
                    <a:lnTo>
                      <a:pt x="650" y="180"/>
                    </a:lnTo>
                    <a:lnTo>
                      <a:pt x="652" y="180"/>
                    </a:lnTo>
                    <a:lnTo>
                      <a:pt x="656" y="180"/>
                    </a:lnTo>
                    <a:lnTo>
                      <a:pt x="660" y="182"/>
                    </a:lnTo>
                    <a:lnTo>
                      <a:pt x="664" y="182"/>
                    </a:lnTo>
                    <a:lnTo>
                      <a:pt x="664" y="180"/>
                    </a:lnTo>
                    <a:lnTo>
                      <a:pt x="668" y="180"/>
                    </a:lnTo>
                    <a:lnTo>
                      <a:pt x="668" y="182"/>
                    </a:lnTo>
                    <a:lnTo>
                      <a:pt x="672" y="182"/>
                    </a:lnTo>
                    <a:lnTo>
                      <a:pt x="676" y="186"/>
                    </a:lnTo>
                    <a:lnTo>
                      <a:pt x="676" y="190"/>
                    </a:lnTo>
                    <a:lnTo>
                      <a:pt x="672" y="194"/>
                    </a:lnTo>
                    <a:lnTo>
                      <a:pt x="672" y="198"/>
                    </a:lnTo>
                    <a:lnTo>
                      <a:pt x="672" y="194"/>
                    </a:lnTo>
                    <a:lnTo>
                      <a:pt x="676" y="194"/>
                    </a:lnTo>
                    <a:lnTo>
                      <a:pt x="678" y="190"/>
                    </a:lnTo>
                    <a:lnTo>
                      <a:pt x="682" y="190"/>
                    </a:lnTo>
                    <a:lnTo>
                      <a:pt x="686" y="190"/>
                    </a:lnTo>
                    <a:lnTo>
                      <a:pt x="690" y="190"/>
                    </a:lnTo>
                    <a:lnTo>
                      <a:pt x="694" y="190"/>
                    </a:lnTo>
                    <a:lnTo>
                      <a:pt x="694" y="186"/>
                    </a:lnTo>
                    <a:lnTo>
                      <a:pt x="698" y="186"/>
                    </a:lnTo>
                    <a:lnTo>
                      <a:pt x="702" y="186"/>
                    </a:lnTo>
                    <a:lnTo>
                      <a:pt x="706" y="186"/>
                    </a:lnTo>
                    <a:lnTo>
                      <a:pt x="708" y="190"/>
                    </a:lnTo>
                    <a:lnTo>
                      <a:pt x="712" y="190"/>
                    </a:lnTo>
                    <a:lnTo>
                      <a:pt x="716" y="190"/>
                    </a:lnTo>
                    <a:lnTo>
                      <a:pt x="716" y="194"/>
                    </a:lnTo>
                    <a:lnTo>
                      <a:pt x="712" y="194"/>
                    </a:lnTo>
                    <a:lnTo>
                      <a:pt x="708" y="194"/>
                    </a:lnTo>
                    <a:lnTo>
                      <a:pt x="706" y="194"/>
                    </a:lnTo>
                    <a:lnTo>
                      <a:pt x="702" y="194"/>
                    </a:lnTo>
                    <a:lnTo>
                      <a:pt x="706" y="194"/>
                    </a:lnTo>
                    <a:lnTo>
                      <a:pt x="708" y="194"/>
                    </a:lnTo>
                    <a:lnTo>
                      <a:pt x="712" y="194"/>
                    </a:lnTo>
                    <a:lnTo>
                      <a:pt x="716" y="194"/>
                    </a:lnTo>
                    <a:lnTo>
                      <a:pt x="716" y="198"/>
                    </a:lnTo>
                    <a:lnTo>
                      <a:pt x="720" y="198"/>
                    </a:lnTo>
                    <a:lnTo>
                      <a:pt x="724" y="198"/>
                    </a:lnTo>
                    <a:lnTo>
                      <a:pt x="728" y="198"/>
                    </a:lnTo>
                    <a:lnTo>
                      <a:pt x="732" y="198"/>
                    </a:lnTo>
                    <a:lnTo>
                      <a:pt x="734" y="202"/>
                    </a:lnTo>
                    <a:lnTo>
                      <a:pt x="732" y="202"/>
                    </a:lnTo>
                    <a:lnTo>
                      <a:pt x="728" y="202"/>
                    </a:lnTo>
                    <a:lnTo>
                      <a:pt x="724" y="202"/>
                    </a:lnTo>
                    <a:lnTo>
                      <a:pt x="716" y="202"/>
                    </a:lnTo>
                    <a:lnTo>
                      <a:pt x="720" y="202"/>
                    </a:lnTo>
                    <a:lnTo>
                      <a:pt x="716" y="202"/>
                    </a:lnTo>
                    <a:lnTo>
                      <a:pt x="712" y="202"/>
                    </a:lnTo>
                    <a:lnTo>
                      <a:pt x="708" y="202"/>
                    </a:lnTo>
                    <a:lnTo>
                      <a:pt x="706" y="202"/>
                    </a:lnTo>
                    <a:lnTo>
                      <a:pt x="702" y="202"/>
                    </a:lnTo>
                    <a:lnTo>
                      <a:pt x="702" y="198"/>
                    </a:lnTo>
                    <a:lnTo>
                      <a:pt x="698" y="198"/>
                    </a:lnTo>
                    <a:lnTo>
                      <a:pt x="698" y="202"/>
                    </a:lnTo>
                    <a:lnTo>
                      <a:pt x="702" y="202"/>
                    </a:lnTo>
                    <a:lnTo>
                      <a:pt x="706" y="202"/>
                    </a:lnTo>
                    <a:lnTo>
                      <a:pt x="708" y="202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6" y="206"/>
                    </a:lnTo>
                    <a:lnTo>
                      <a:pt x="720" y="206"/>
                    </a:lnTo>
                    <a:lnTo>
                      <a:pt x="716" y="206"/>
                    </a:lnTo>
                    <a:lnTo>
                      <a:pt x="712" y="206"/>
                    </a:lnTo>
                    <a:lnTo>
                      <a:pt x="708" y="206"/>
                    </a:lnTo>
                    <a:lnTo>
                      <a:pt x="706" y="206"/>
                    </a:lnTo>
                    <a:lnTo>
                      <a:pt x="708" y="208"/>
                    </a:lnTo>
                    <a:lnTo>
                      <a:pt x="706" y="208"/>
                    </a:lnTo>
                    <a:lnTo>
                      <a:pt x="706" y="212"/>
                    </a:lnTo>
                    <a:lnTo>
                      <a:pt x="706" y="208"/>
                    </a:lnTo>
                    <a:lnTo>
                      <a:pt x="708" y="208"/>
                    </a:lnTo>
                    <a:lnTo>
                      <a:pt x="708" y="206"/>
                    </a:lnTo>
                    <a:lnTo>
                      <a:pt x="712" y="206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12" y="208"/>
                    </a:lnTo>
                    <a:lnTo>
                      <a:pt x="716" y="208"/>
                    </a:lnTo>
                    <a:lnTo>
                      <a:pt x="720" y="208"/>
                    </a:lnTo>
                    <a:lnTo>
                      <a:pt x="720" y="206"/>
                    </a:lnTo>
                    <a:lnTo>
                      <a:pt x="724" y="206"/>
                    </a:lnTo>
                    <a:lnTo>
                      <a:pt x="724" y="208"/>
                    </a:lnTo>
                    <a:lnTo>
                      <a:pt x="728" y="208"/>
                    </a:lnTo>
                    <a:lnTo>
                      <a:pt x="724" y="212"/>
                    </a:lnTo>
                    <a:lnTo>
                      <a:pt x="728" y="212"/>
                    </a:lnTo>
                    <a:lnTo>
                      <a:pt x="728" y="208"/>
                    </a:lnTo>
                    <a:lnTo>
                      <a:pt x="732" y="212"/>
                    </a:lnTo>
                    <a:lnTo>
                      <a:pt x="734" y="212"/>
                    </a:lnTo>
                    <a:lnTo>
                      <a:pt x="732" y="216"/>
                    </a:lnTo>
                    <a:lnTo>
                      <a:pt x="728" y="216"/>
                    </a:lnTo>
                    <a:lnTo>
                      <a:pt x="724" y="220"/>
                    </a:lnTo>
                    <a:lnTo>
                      <a:pt x="728" y="216"/>
                    </a:lnTo>
                    <a:lnTo>
                      <a:pt x="728" y="220"/>
                    </a:lnTo>
                    <a:lnTo>
                      <a:pt x="728" y="216"/>
                    </a:lnTo>
                    <a:lnTo>
                      <a:pt x="732" y="216"/>
                    </a:lnTo>
                    <a:lnTo>
                      <a:pt x="734" y="220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38" y="220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6" y="216"/>
                    </a:lnTo>
                    <a:lnTo>
                      <a:pt x="746" y="220"/>
                    </a:lnTo>
                    <a:lnTo>
                      <a:pt x="748" y="220"/>
                    </a:lnTo>
                    <a:lnTo>
                      <a:pt x="752" y="220"/>
                    </a:lnTo>
                    <a:lnTo>
                      <a:pt x="756" y="220"/>
                    </a:lnTo>
                    <a:lnTo>
                      <a:pt x="756" y="216"/>
                    </a:lnTo>
                    <a:lnTo>
                      <a:pt x="760" y="216"/>
                    </a:lnTo>
                    <a:lnTo>
                      <a:pt x="764" y="216"/>
                    </a:lnTo>
                    <a:lnTo>
                      <a:pt x="764" y="220"/>
                    </a:lnTo>
                    <a:lnTo>
                      <a:pt x="768" y="220"/>
                    </a:lnTo>
                    <a:lnTo>
                      <a:pt x="772" y="220"/>
                    </a:lnTo>
                    <a:lnTo>
                      <a:pt x="772" y="224"/>
                    </a:lnTo>
                    <a:lnTo>
                      <a:pt x="768" y="224"/>
                    </a:lnTo>
                    <a:lnTo>
                      <a:pt x="772" y="224"/>
                    </a:lnTo>
                    <a:lnTo>
                      <a:pt x="776" y="224"/>
                    </a:lnTo>
                    <a:lnTo>
                      <a:pt x="778" y="224"/>
                    </a:lnTo>
                    <a:lnTo>
                      <a:pt x="782" y="224"/>
                    </a:lnTo>
                    <a:lnTo>
                      <a:pt x="778" y="220"/>
                    </a:lnTo>
                    <a:lnTo>
                      <a:pt x="776" y="220"/>
                    </a:lnTo>
                    <a:lnTo>
                      <a:pt x="778" y="220"/>
                    </a:lnTo>
                    <a:lnTo>
                      <a:pt x="782" y="220"/>
                    </a:lnTo>
                    <a:lnTo>
                      <a:pt x="786" y="220"/>
                    </a:lnTo>
                    <a:lnTo>
                      <a:pt x="790" y="216"/>
                    </a:lnTo>
                    <a:lnTo>
                      <a:pt x="794" y="216"/>
                    </a:lnTo>
                    <a:lnTo>
                      <a:pt x="798" y="216"/>
                    </a:lnTo>
                    <a:lnTo>
                      <a:pt x="802" y="216"/>
                    </a:lnTo>
                    <a:lnTo>
                      <a:pt x="806" y="212"/>
                    </a:lnTo>
                    <a:lnTo>
                      <a:pt x="808" y="212"/>
                    </a:lnTo>
                    <a:lnTo>
                      <a:pt x="812" y="212"/>
                    </a:lnTo>
                    <a:lnTo>
                      <a:pt x="816" y="212"/>
                    </a:lnTo>
                    <a:lnTo>
                      <a:pt x="820" y="212"/>
                    </a:lnTo>
                    <a:lnTo>
                      <a:pt x="824" y="212"/>
                    </a:lnTo>
                    <a:lnTo>
                      <a:pt x="828" y="212"/>
                    </a:lnTo>
                    <a:lnTo>
                      <a:pt x="832" y="212"/>
                    </a:lnTo>
                    <a:lnTo>
                      <a:pt x="834" y="212"/>
                    </a:lnTo>
                    <a:lnTo>
                      <a:pt x="838" y="212"/>
                    </a:lnTo>
                    <a:lnTo>
                      <a:pt x="842" y="212"/>
                    </a:lnTo>
                    <a:lnTo>
                      <a:pt x="846" y="212"/>
                    </a:lnTo>
                    <a:lnTo>
                      <a:pt x="846" y="216"/>
                    </a:lnTo>
                    <a:lnTo>
                      <a:pt x="850" y="216"/>
                    </a:lnTo>
                    <a:lnTo>
                      <a:pt x="854" y="216"/>
                    </a:lnTo>
                    <a:lnTo>
                      <a:pt x="858" y="216"/>
                    </a:lnTo>
                    <a:lnTo>
                      <a:pt x="862" y="216"/>
                    </a:lnTo>
                    <a:lnTo>
                      <a:pt x="864" y="220"/>
                    </a:lnTo>
                    <a:lnTo>
                      <a:pt x="862" y="220"/>
                    </a:lnTo>
                    <a:lnTo>
                      <a:pt x="858" y="220"/>
                    </a:lnTo>
                    <a:lnTo>
                      <a:pt x="862" y="220"/>
                    </a:lnTo>
                    <a:lnTo>
                      <a:pt x="864" y="220"/>
                    </a:lnTo>
                    <a:lnTo>
                      <a:pt x="868" y="220"/>
                    </a:lnTo>
                    <a:lnTo>
                      <a:pt x="868" y="224"/>
                    </a:lnTo>
                    <a:lnTo>
                      <a:pt x="868" y="228"/>
                    </a:lnTo>
                    <a:lnTo>
                      <a:pt x="872" y="228"/>
                    </a:lnTo>
                    <a:lnTo>
                      <a:pt x="868" y="228"/>
                    </a:lnTo>
                    <a:lnTo>
                      <a:pt x="864" y="232"/>
                    </a:lnTo>
                    <a:lnTo>
                      <a:pt x="864" y="228"/>
                    </a:lnTo>
                    <a:lnTo>
                      <a:pt x="864" y="232"/>
                    </a:lnTo>
                    <a:lnTo>
                      <a:pt x="862" y="232"/>
                    </a:lnTo>
                    <a:lnTo>
                      <a:pt x="858" y="232"/>
                    </a:lnTo>
                    <a:lnTo>
                      <a:pt x="858" y="236"/>
                    </a:lnTo>
                    <a:lnTo>
                      <a:pt x="858" y="236"/>
                    </a:lnTo>
                    <a:lnTo>
                      <a:pt x="858" y="236"/>
                    </a:lnTo>
                    <a:close/>
                    <a:moveTo>
                      <a:pt x="620" y="180"/>
                    </a:moveTo>
                    <a:lnTo>
                      <a:pt x="622" y="180"/>
                    </a:lnTo>
                    <a:lnTo>
                      <a:pt x="620" y="180"/>
                    </a:lnTo>
                    <a:lnTo>
                      <a:pt x="616" y="180"/>
                    </a:lnTo>
                    <a:lnTo>
                      <a:pt x="620" y="180"/>
                    </a:lnTo>
                    <a:lnTo>
                      <a:pt x="620" y="180"/>
                    </a:lnTo>
                    <a:lnTo>
                      <a:pt x="620" y="180"/>
                    </a:lnTo>
                    <a:close/>
                    <a:moveTo>
                      <a:pt x="380" y="186"/>
                    </a:moveTo>
                    <a:lnTo>
                      <a:pt x="374" y="186"/>
                    </a:lnTo>
                    <a:lnTo>
                      <a:pt x="370" y="186"/>
                    </a:lnTo>
                    <a:lnTo>
                      <a:pt x="370" y="182"/>
                    </a:lnTo>
                    <a:lnTo>
                      <a:pt x="374" y="182"/>
                    </a:lnTo>
                    <a:lnTo>
                      <a:pt x="378" y="182"/>
                    </a:lnTo>
                    <a:lnTo>
                      <a:pt x="380" y="182"/>
                    </a:lnTo>
                    <a:lnTo>
                      <a:pt x="384" y="182"/>
                    </a:lnTo>
                    <a:lnTo>
                      <a:pt x="388" y="182"/>
                    </a:lnTo>
                    <a:lnTo>
                      <a:pt x="388" y="186"/>
                    </a:lnTo>
                    <a:lnTo>
                      <a:pt x="384" y="186"/>
                    </a:lnTo>
                    <a:lnTo>
                      <a:pt x="380" y="186"/>
                    </a:lnTo>
                    <a:lnTo>
                      <a:pt x="380" y="186"/>
                    </a:lnTo>
                    <a:lnTo>
                      <a:pt x="380" y="186"/>
                    </a:lnTo>
                    <a:close/>
                    <a:moveTo>
                      <a:pt x="370" y="236"/>
                    </a:moveTo>
                    <a:lnTo>
                      <a:pt x="366" y="236"/>
                    </a:lnTo>
                    <a:lnTo>
                      <a:pt x="366" y="232"/>
                    </a:lnTo>
                    <a:lnTo>
                      <a:pt x="366" y="228"/>
                    </a:lnTo>
                    <a:lnTo>
                      <a:pt x="366" y="232"/>
                    </a:lnTo>
                    <a:lnTo>
                      <a:pt x="362" y="232"/>
                    </a:lnTo>
                    <a:lnTo>
                      <a:pt x="358" y="232"/>
                    </a:lnTo>
                    <a:lnTo>
                      <a:pt x="362" y="232"/>
                    </a:lnTo>
                    <a:lnTo>
                      <a:pt x="362" y="236"/>
                    </a:lnTo>
                    <a:lnTo>
                      <a:pt x="358" y="236"/>
                    </a:lnTo>
                    <a:lnTo>
                      <a:pt x="354" y="236"/>
                    </a:lnTo>
                    <a:lnTo>
                      <a:pt x="352" y="232"/>
                    </a:lnTo>
                    <a:lnTo>
                      <a:pt x="352" y="228"/>
                    </a:lnTo>
                    <a:lnTo>
                      <a:pt x="348" y="228"/>
                    </a:lnTo>
                    <a:lnTo>
                      <a:pt x="344" y="232"/>
                    </a:lnTo>
                    <a:lnTo>
                      <a:pt x="336" y="232"/>
                    </a:lnTo>
                    <a:lnTo>
                      <a:pt x="336" y="228"/>
                    </a:lnTo>
                    <a:lnTo>
                      <a:pt x="332" y="228"/>
                    </a:lnTo>
                    <a:lnTo>
                      <a:pt x="328" y="228"/>
                    </a:lnTo>
                    <a:lnTo>
                      <a:pt x="332" y="224"/>
                    </a:lnTo>
                    <a:lnTo>
                      <a:pt x="336" y="224"/>
                    </a:lnTo>
                    <a:lnTo>
                      <a:pt x="336" y="220"/>
                    </a:lnTo>
                    <a:lnTo>
                      <a:pt x="340" y="220"/>
                    </a:lnTo>
                    <a:lnTo>
                      <a:pt x="344" y="220"/>
                    </a:lnTo>
                    <a:lnTo>
                      <a:pt x="352" y="220"/>
                    </a:lnTo>
                    <a:lnTo>
                      <a:pt x="354" y="220"/>
                    </a:lnTo>
                    <a:lnTo>
                      <a:pt x="358" y="220"/>
                    </a:lnTo>
                    <a:lnTo>
                      <a:pt x="358" y="216"/>
                    </a:lnTo>
                    <a:lnTo>
                      <a:pt x="362" y="216"/>
                    </a:lnTo>
                    <a:lnTo>
                      <a:pt x="366" y="216"/>
                    </a:lnTo>
                    <a:lnTo>
                      <a:pt x="370" y="216"/>
                    </a:lnTo>
                    <a:lnTo>
                      <a:pt x="366" y="216"/>
                    </a:lnTo>
                    <a:lnTo>
                      <a:pt x="362" y="216"/>
                    </a:lnTo>
                    <a:lnTo>
                      <a:pt x="358" y="216"/>
                    </a:lnTo>
                    <a:lnTo>
                      <a:pt x="354" y="216"/>
                    </a:lnTo>
                    <a:lnTo>
                      <a:pt x="352" y="216"/>
                    </a:lnTo>
                    <a:lnTo>
                      <a:pt x="352" y="220"/>
                    </a:lnTo>
                    <a:lnTo>
                      <a:pt x="348" y="220"/>
                    </a:lnTo>
                    <a:lnTo>
                      <a:pt x="344" y="220"/>
                    </a:lnTo>
                    <a:lnTo>
                      <a:pt x="336" y="220"/>
                    </a:lnTo>
                    <a:lnTo>
                      <a:pt x="336" y="216"/>
                    </a:lnTo>
                    <a:lnTo>
                      <a:pt x="340" y="216"/>
                    </a:lnTo>
                    <a:lnTo>
                      <a:pt x="340" y="212"/>
                    </a:lnTo>
                    <a:lnTo>
                      <a:pt x="344" y="212"/>
                    </a:lnTo>
                    <a:lnTo>
                      <a:pt x="348" y="212"/>
                    </a:lnTo>
                    <a:lnTo>
                      <a:pt x="352" y="212"/>
                    </a:lnTo>
                    <a:lnTo>
                      <a:pt x="354" y="212"/>
                    </a:lnTo>
                    <a:lnTo>
                      <a:pt x="358" y="212"/>
                    </a:lnTo>
                    <a:lnTo>
                      <a:pt x="358" y="208"/>
                    </a:lnTo>
                    <a:lnTo>
                      <a:pt x="358" y="212"/>
                    </a:lnTo>
                    <a:lnTo>
                      <a:pt x="362" y="212"/>
                    </a:lnTo>
                    <a:lnTo>
                      <a:pt x="362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66" y="208"/>
                    </a:lnTo>
                    <a:lnTo>
                      <a:pt x="362" y="208"/>
                    </a:lnTo>
                    <a:lnTo>
                      <a:pt x="358" y="208"/>
                    </a:lnTo>
                    <a:lnTo>
                      <a:pt x="354" y="208"/>
                    </a:lnTo>
                    <a:lnTo>
                      <a:pt x="352" y="208"/>
                    </a:lnTo>
                    <a:lnTo>
                      <a:pt x="348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48" y="206"/>
                    </a:lnTo>
                    <a:lnTo>
                      <a:pt x="344" y="206"/>
                    </a:lnTo>
                    <a:lnTo>
                      <a:pt x="348" y="202"/>
                    </a:lnTo>
                    <a:lnTo>
                      <a:pt x="352" y="202"/>
                    </a:lnTo>
                    <a:lnTo>
                      <a:pt x="354" y="202"/>
                    </a:lnTo>
                    <a:lnTo>
                      <a:pt x="358" y="202"/>
                    </a:lnTo>
                    <a:lnTo>
                      <a:pt x="362" y="202"/>
                    </a:lnTo>
                    <a:lnTo>
                      <a:pt x="366" y="202"/>
                    </a:lnTo>
                    <a:lnTo>
                      <a:pt x="370" y="202"/>
                    </a:lnTo>
                    <a:lnTo>
                      <a:pt x="374" y="202"/>
                    </a:lnTo>
                    <a:lnTo>
                      <a:pt x="370" y="202"/>
                    </a:lnTo>
                    <a:lnTo>
                      <a:pt x="366" y="202"/>
                    </a:lnTo>
                    <a:lnTo>
                      <a:pt x="362" y="202"/>
                    </a:lnTo>
                    <a:lnTo>
                      <a:pt x="358" y="202"/>
                    </a:lnTo>
                    <a:lnTo>
                      <a:pt x="354" y="202"/>
                    </a:lnTo>
                    <a:lnTo>
                      <a:pt x="354" y="198"/>
                    </a:lnTo>
                    <a:lnTo>
                      <a:pt x="358" y="194"/>
                    </a:lnTo>
                    <a:lnTo>
                      <a:pt x="362" y="194"/>
                    </a:lnTo>
                    <a:lnTo>
                      <a:pt x="366" y="194"/>
                    </a:lnTo>
                    <a:lnTo>
                      <a:pt x="370" y="194"/>
                    </a:lnTo>
                    <a:lnTo>
                      <a:pt x="374" y="194"/>
                    </a:lnTo>
                    <a:lnTo>
                      <a:pt x="378" y="194"/>
                    </a:lnTo>
                    <a:lnTo>
                      <a:pt x="380" y="194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84" y="202"/>
                    </a:lnTo>
                    <a:lnTo>
                      <a:pt x="388" y="202"/>
                    </a:lnTo>
                    <a:lnTo>
                      <a:pt x="392" y="198"/>
                    </a:lnTo>
                    <a:lnTo>
                      <a:pt x="396" y="198"/>
                    </a:lnTo>
                    <a:lnTo>
                      <a:pt x="400" y="198"/>
                    </a:lnTo>
                    <a:lnTo>
                      <a:pt x="400" y="202"/>
                    </a:lnTo>
                    <a:lnTo>
                      <a:pt x="404" y="202"/>
                    </a:lnTo>
                    <a:lnTo>
                      <a:pt x="404" y="206"/>
                    </a:lnTo>
                    <a:lnTo>
                      <a:pt x="408" y="206"/>
                    </a:lnTo>
                    <a:lnTo>
                      <a:pt x="410" y="206"/>
                    </a:lnTo>
                    <a:lnTo>
                      <a:pt x="410" y="208"/>
                    </a:lnTo>
                    <a:lnTo>
                      <a:pt x="414" y="208"/>
                    </a:lnTo>
                    <a:lnTo>
                      <a:pt x="410" y="208"/>
                    </a:lnTo>
                    <a:lnTo>
                      <a:pt x="408" y="208"/>
                    </a:lnTo>
                    <a:lnTo>
                      <a:pt x="408" y="212"/>
                    </a:lnTo>
                    <a:lnTo>
                      <a:pt x="410" y="212"/>
                    </a:lnTo>
                    <a:lnTo>
                      <a:pt x="414" y="212"/>
                    </a:lnTo>
                    <a:lnTo>
                      <a:pt x="418" y="212"/>
                    </a:lnTo>
                    <a:lnTo>
                      <a:pt x="418" y="216"/>
                    </a:lnTo>
                    <a:lnTo>
                      <a:pt x="418" y="220"/>
                    </a:lnTo>
                    <a:lnTo>
                      <a:pt x="422" y="220"/>
                    </a:lnTo>
                    <a:lnTo>
                      <a:pt x="424" y="220"/>
                    </a:lnTo>
                    <a:lnTo>
                      <a:pt x="428" y="220"/>
                    </a:lnTo>
                    <a:lnTo>
                      <a:pt x="432" y="220"/>
                    </a:lnTo>
                    <a:lnTo>
                      <a:pt x="436" y="220"/>
                    </a:lnTo>
                    <a:lnTo>
                      <a:pt x="440" y="220"/>
                    </a:lnTo>
                    <a:lnTo>
                      <a:pt x="444" y="220"/>
                    </a:lnTo>
                    <a:lnTo>
                      <a:pt x="448" y="220"/>
                    </a:lnTo>
                    <a:lnTo>
                      <a:pt x="450" y="220"/>
                    </a:lnTo>
                    <a:lnTo>
                      <a:pt x="454" y="220"/>
                    </a:lnTo>
                    <a:lnTo>
                      <a:pt x="454" y="216"/>
                    </a:lnTo>
                    <a:lnTo>
                      <a:pt x="450" y="212"/>
                    </a:lnTo>
                    <a:lnTo>
                      <a:pt x="448" y="212"/>
                    </a:lnTo>
                    <a:lnTo>
                      <a:pt x="444" y="212"/>
                    </a:lnTo>
                    <a:lnTo>
                      <a:pt x="444" y="208"/>
                    </a:lnTo>
                    <a:lnTo>
                      <a:pt x="440" y="208"/>
                    </a:lnTo>
                    <a:lnTo>
                      <a:pt x="436" y="208"/>
                    </a:lnTo>
                    <a:lnTo>
                      <a:pt x="440" y="208"/>
                    </a:lnTo>
                    <a:lnTo>
                      <a:pt x="444" y="208"/>
                    </a:lnTo>
                    <a:lnTo>
                      <a:pt x="448" y="206"/>
                    </a:lnTo>
                    <a:lnTo>
                      <a:pt x="448" y="202"/>
                    </a:lnTo>
                    <a:lnTo>
                      <a:pt x="444" y="202"/>
                    </a:lnTo>
                    <a:lnTo>
                      <a:pt x="440" y="202"/>
                    </a:lnTo>
                    <a:lnTo>
                      <a:pt x="436" y="202"/>
                    </a:lnTo>
                    <a:lnTo>
                      <a:pt x="436" y="198"/>
                    </a:lnTo>
                    <a:lnTo>
                      <a:pt x="432" y="198"/>
                    </a:lnTo>
                    <a:lnTo>
                      <a:pt x="432" y="194"/>
                    </a:lnTo>
                    <a:lnTo>
                      <a:pt x="436" y="194"/>
                    </a:lnTo>
                    <a:lnTo>
                      <a:pt x="440" y="194"/>
                    </a:lnTo>
                    <a:lnTo>
                      <a:pt x="444" y="194"/>
                    </a:lnTo>
                    <a:lnTo>
                      <a:pt x="444" y="190"/>
                    </a:lnTo>
                    <a:lnTo>
                      <a:pt x="440" y="190"/>
                    </a:lnTo>
                    <a:lnTo>
                      <a:pt x="444" y="190"/>
                    </a:lnTo>
                    <a:lnTo>
                      <a:pt x="444" y="186"/>
                    </a:lnTo>
                    <a:lnTo>
                      <a:pt x="448" y="182"/>
                    </a:lnTo>
                    <a:lnTo>
                      <a:pt x="450" y="182"/>
                    </a:lnTo>
                    <a:lnTo>
                      <a:pt x="454" y="182"/>
                    </a:lnTo>
                    <a:lnTo>
                      <a:pt x="458" y="182"/>
                    </a:lnTo>
                    <a:lnTo>
                      <a:pt x="458" y="186"/>
                    </a:lnTo>
                    <a:lnTo>
                      <a:pt x="458" y="190"/>
                    </a:lnTo>
                    <a:lnTo>
                      <a:pt x="454" y="190"/>
                    </a:lnTo>
                    <a:lnTo>
                      <a:pt x="458" y="190"/>
                    </a:lnTo>
                    <a:lnTo>
                      <a:pt x="458" y="194"/>
                    </a:lnTo>
                    <a:lnTo>
                      <a:pt x="462" y="194"/>
                    </a:lnTo>
                    <a:lnTo>
                      <a:pt x="462" y="198"/>
                    </a:lnTo>
                    <a:lnTo>
                      <a:pt x="466" y="198"/>
                    </a:lnTo>
                    <a:lnTo>
                      <a:pt x="462" y="202"/>
                    </a:lnTo>
                    <a:lnTo>
                      <a:pt x="462" y="206"/>
                    </a:lnTo>
                    <a:lnTo>
                      <a:pt x="466" y="206"/>
                    </a:lnTo>
                    <a:lnTo>
                      <a:pt x="470" y="206"/>
                    </a:lnTo>
                    <a:lnTo>
                      <a:pt x="474" y="206"/>
                    </a:lnTo>
                    <a:lnTo>
                      <a:pt x="470" y="208"/>
                    </a:lnTo>
                    <a:lnTo>
                      <a:pt x="466" y="208"/>
                    </a:lnTo>
                    <a:lnTo>
                      <a:pt x="466" y="212"/>
                    </a:lnTo>
                    <a:lnTo>
                      <a:pt x="470" y="212"/>
                    </a:lnTo>
                    <a:lnTo>
                      <a:pt x="470" y="208"/>
                    </a:lnTo>
                    <a:lnTo>
                      <a:pt x="474" y="208"/>
                    </a:lnTo>
                    <a:lnTo>
                      <a:pt x="478" y="208"/>
                    </a:lnTo>
                    <a:lnTo>
                      <a:pt x="480" y="208"/>
                    </a:lnTo>
                    <a:lnTo>
                      <a:pt x="480" y="212"/>
                    </a:lnTo>
                    <a:lnTo>
                      <a:pt x="484" y="212"/>
                    </a:lnTo>
                    <a:lnTo>
                      <a:pt x="480" y="212"/>
                    </a:lnTo>
                    <a:lnTo>
                      <a:pt x="480" y="208"/>
                    </a:lnTo>
                    <a:lnTo>
                      <a:pt x="484" y="206"/>
                    </a:lnTo>
                    <a:lnTo>
                      <a:pt x="488" y="206"/>
                    </a:lnTo>
                    <a:lnTo>
                      <a:pt x="492" y="206"/>
                    </a:lnTo>
                    <a:lnTo>
                      <a:pt x="496" y="206"/>
                    </a:lnTo>
                    <a:lnTo>
                      <a:pt x="500" y="208"/>
                    </a:lnTo>
                    <a:lnTo>
                      <a:pt x="504" y="208"/>
                    </a:lnTo>
                    <a:lnTo>
                      <a:pt x="504" y="212"/>
                    </a:lnTo>
                    <a:lnTo>
                      <a:pt x="504" y="216"/>
                    </a:lnTo>
                    <a:lnTo>
                      <a:pt x="504" y="220"/>
                    </a:lnTo>
                    <a:lnTo>
                      <a:pt x="500" y="220"/>
                    </a:lnTo>
                    <a:lnTo>
                      <a:pt x="500" y="224"/>
                    </a:lnTo>
                    <a:lnTo>
                      <a:pt x="500" y="228"/>
                    </a:lnTo>
                    <a:lnTo>
                      <a:pt x="496" y="228"/>
                    </a:lnTo>
                    <a:lnTo>
                      <a:pt x="496" y="232"/>
                    </a:lnTo>
                    <a:lnTo>
                      <a:pt x="492" y="232"/>
                    </a:lnTo>
                    <a:lnTo>
                      <a:pt x="496" y="232"/>
                    </a:lnTo>
                    <a:lnTo>
                      <a:pt x="492" y="236"/>
                    </a:lnTo>
                    <a:lnTo>
                      <a:pt x="488" y="236"/>
                    </a:lnTo>
                    <a:lnTo>
                      <a:pt x="484" y="236"/>
                    </a:lnTo>
                    <a:lnTo>
                      <a:pt x="480" y="236"/>
                    </a:lnTo>
                    <a:lnTo>
                      <a:pt x="478" y="236"/>
                    </a:lnTo>
                    <a:lnTo>
                      <a:pt x="474" y="236"/>
                    </a:lnTo>
                    <a:lnTo>
                      <a:pt x="470" y="236"/>
                    </a:lnTo>
                    <a:lnTo>
                      <a:pt x="470" y="232"/>
                    </a:lnTo>
                    <a:lnTo>
                      <a:pt x="470" y="236"/>
                    </a:lnTo>
                    <a:lnTo>
                      <a:pt x="466" y="236"/>
                    </a:lnTo>
                    <a:lnTo>
                      <a:pt x="462" y="236"/>
                    </a:lnTo>
                    <a:lnTo>
                      <a:pt x="458" y="236"/>
                    </a:lnTo>
                    <a:lnTo>
                      <a:pt x="454" y="236"/>
                    </a:lnTo>
                    <a:lnTo>
                      <a:pt x="458" y="236"/>
                    </a:lnTo>
                    <a:lnTo>
                      <a:pt x="458" y="232"/>
                    </a:lnTo>
                    <a:lnTo>
                      <a:pt x="454" y="232"/>
                    </a:lnTo>
                    <a:lnTo>
                      <a:pt x="450" y="236"/>
                    </a:lnTo>
                    <a:lnTo>
                      <a:pt x="448" y="236"/>
                    </a:lnTo>
                    <a:lnTo>
                      <a:pt x="444" y="238"/>
                    </a:lnTo>
                    <a:lnTo>
                      <a:pt x="440" y="238"/>
                    </a:lnTo>
                    <a:lnTo>
                      <a:pt x="436" y="238"/>
                    </a:lnTo>
                    <a:lnTo>
                      <a:pt x="432" y="238"/>
                    </a:lnTo>
                    <a:lnTo>
                      <a:pt x="428" y="238"/>
                    </a:lnTo>
                    <a:lnTo>
                      <a:pt x="428" y="242"/>
                    </a:lnTo>
                    <a:lnTo>
                      <a:pt x="424" y="242"/>
                    </a:lnTo>
                    <a:lnTo>
                      <a:pt x="422" y="246"/>
                    </a:lnTo>
                    <a:lnTo>
                      <a:pt x="418" y="246"/>
                    </a:lnTo>
                    <a:lnTo>
                      <a:pt x="414" y="246"/>
                    </a:lnTo>
                    <a:lnTo>
                      <a:pt x="410" y="250"/>
                    </a:lnTo>
                    <a:lnTo>
                      <a:pt x="408" y="250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396" y="250"/>
                    </a:lnTo>
                    <a:lnTo>
                      <a:pt x="392" y="250"/>
                    </a:lnTo>
                    <a:lnTo>
                      <a:pt x="388" y="250"/>
                    </a:lnTo>
                    <a:lnTo>
                      <a:pt x="384" y="246"/>
                    </a:lnTo>
                    <a:lnTo>
                      <a:pt x="380" y="246"/>
                    </a:lnTo>
                    <a:lnTo>
                      <a:pt x="378" y="246"/>
                    </a:lnTo>
                    <a:lnTo>
                      <a:pt x="378" y="242"/>
                    </a:lnTo>
                    <a:lnTo>
                      <a:pt x="380" y="238"/>
                    </a:lnTo>
                    <a:lnTo>
                      <a:pt x="384" y="238"/>
                    </a:lnTo>
                    <a:lnTo>
                      <a:pt x="388" y="238"/>
                    </a:lnTo>
                    <a:lnTo>
                      <a:pt x="392" y="238"/>
                    </a:lnTo>
                    <a:lnTo>
                      <a:pt x="392" y="236"/>
                    </a:lnTo>
                    <a:lnTo>
                      <a:pt x="396" y="236"/>
                    </a:lnTo>
                    <a:lnTo>
                      <a:pt x="400" y="236"/>
                    </a:lnTo>
                    <a:lnTo>
                      <a:pt x="404" y="236"/>
                    </a:lnTo>
                    <a:lnTo>
                      <a:pt x="408" y="236"/>
                    </a:lnTo>
                    <a:lnTo>
                      <a:pt x="410" y="236"/>
                    </a:lnTo>
                    <a:lnTo>
                      <a:pt x="414" y="236"/>
                    </a:lnTo>
                    <a:lnTo>
                      <a:pt x="418" y="236"/>
                    </a:lnTo>
                    <a:lnTo>
                      <a:pt x="422" y="232"/>
                    </a:lnTo>
                    <a:lnTo>
                      <a:pt x="424" y="228"/>
                    </a:lnTo>
                    <a:lnTo>
                      <a:pt x="422" y="228"/>
                    </a:lnTo>
                    <a:lnTo>
                      <a:pt x="418" y="228"/>
                    </a:lnTo>
                    <a:lnTo>
                      <a:pt x="418" y="232"/>
                    </a:lnTo>
                    <a:lnTo>
                      <a:pt x="414" y="232"/>
                    </a:lnTo>
                    <a:lnTo>
                      <a:pt x="414" y="228"/>
                    </a:lnTo>
                    <a:lnTo>
                      <a:pt x="410" y="232"/>
                    </a:lnTo>
                    <a:lnTo>
                      <a:pt x="408" y="232"/>
                    </a:lnTo>
                    <a:lnTo>
                      <a:pt x="404" y="232"/>
                    </a:lnTo>
                    <a:lnTo>
                      <a:pt x="408" y="228"/>
                    </a:lnTo>
                    <a:lnTo>
                      <a:pt x="404" y="228"/>
                    </a:lnTo>
                    <a:lnTo>
                      <a:pt x="400" y="228"/>
                    </a:lnTo>
                    <a:lnTo>
                      <a:pt x="400" y="232"/>
                    </a:lnTo>
                    <a:lnTo>
                      <a:pt x="396" y="232"/>
                    </a:lnTo>
                    <a:lnTo>
                      <a:pt x="392" y="232"/>
                    </a:lnTo>
                    <a:lnTo>
                      <a:pt x="388" y="232"/>
                    </a:lnTo>
                    <a:lnTo>
                      <a:pt x="384" y="232"/>
                    </a:lnTo>
                    <a:lnTo>
                      <a:pt x="380" y="232"/>
                    </a:lnTo>
                    <a:lnTo>
                      <a:pt x="384" y="228"/>
                    </a:lnTo>
                    <a:lnTo>
                      <a:pt x="384" y="224"/>
                    </a:lnTo>
                    <a:lnTo>
                      <a:pt x="388" y="224"/>
                    </a:lnTo>
                    <a:lnTo>
                      <a:pt x="392" y="224"/>
                    </a:lnTo>
                    <a:lnTo>
                      <a:pt x="388" y="224"/>
                    </a:lnTo>
                    <a:lnTo>
                      <a:pt x="384" y="224"/>
                    </a:lnTo>
                    <a:lnTo>
                      <a:pt x="380" y="224"/>
                    </a:lnTo>
                    <a:lnTo>
                      <a:pt x="380" y="220"/>
                    </a:lnTo>
                    <a:lnTo>
                      <a:pt x="380" y="224"/>
                    </a:lnTo>
                    <a:lnTo>
                      <a:pt x="380" y="228"/>
                    </a:lnTo>
                    <a:lnTo>
                      <a:pt x="378" y="228"/>
                    </a:lnTo>
                    <a:lnTo>
                      <a:pt x="374" y="224"/>
                    </a:lnTo>
                    <a:lnTo>
                      <a:pt x="374" y="228"/>
                    </a:lnTo>
                    <a:lnTo>
                      <a:pt x="378" y="228"/>
                    </a:lnTo>
                    <a:lnTo>
                      <a:pt x="378" y="232"/>
                    </a:lnTo>
                    <a:lnTo>
                      <a:pt x="374" y="232"/>
                    </a:lnTo>
                    <a:lnTo>
                      <a:pt x="374" y="236"/>
                    </a:lnTo>
                    <a:lnTo>
                      <a:pt x="370" y="236"/>
                    </a:lnTo>
                    <a:lnTo>
                      <a:pt x="370" y="236"/>
                    </a:lnTo>
                    <a:lnTo>
                      <a:pt x="370" y="236"/>
                    </a:lnTo>
                    <a:close/>
                    <a:moveTo>
                      <a:pt x="724" y="194"/>
                    </a:moveTo>
                    <a:lnTo>
                      <a:pt x="720" y="194"/>
                    </a:lnTo>
                    <a:lnTo>
                      <a:pt x="720" y="190"/>
                    </a:lnTo>
                    <a:lnTo>
                      <a:pt x="716" y="190"/>
                    </a:lnTo>
                    <a:lnTo>
                      <a:pt x="716" y="186"/>
                    </a:lnTo>
                    <a:lnTo>
                      <a:pt x="712" y="186"/>
                    </a:lnTo>
                    <a:lnTo>
                      <a:pt x="716" y="186"/>
                    </a:lnTo>
                    <a:lnTo>
                      <a:pt x="716" y="182"/>
                    </a:lnTo>
                    <a:lnTo>
                      <a:pt x="720" y="182"/>
                    </a:lnTo>
                    <a:lnTo>
                      <a:pt x="724" y="182"/>
                    </a:lnTo>
                    <a:lnTo>
                      <a:pt x="724" y="186"/>
                    </a:lnTo>
                    <a:lnTo>
                      <a:pt x="728" y="186"/>
                    </a:lnTo>
                    <a:lnTo>
                      <a:pt x="724" y="186"/>
                    </a:lnTo>
                    <a:lnTo>
                      <a:pt x="724" y="190"/>
                    </a:lnTo>
                    <a:lnTo>
                      <a:pt x="724" y="194"/>
                    </a:lnTo>
                    <a:lnTo>
                      <a:pt x="728" y="194"/>
                    </a:lnTo>
                    <a:lnTo>
                      <a:pt x="724" y="194"/>
                    </a:lnTo>
                    <a:lnTo>
                      <a:pt x="724" y="194"/>
                    </a:lnTo>
                    <a:lnTo>
                      <a:pt x="724" y="194"/>
                    </a:lnTo>
                    <a:close/>
                    <a:moveTo>
                      <a:pt x="574" y="186"/>
                    </a:moveTo>
                    <a:lnTo>
                      <a:pt x="570" y="190"/>
                    </a:lnTo>
                    <a:lnTo>
                      <a:pt x="566" y="190"/>
                    </a:lnTo>
                    <a:lnTo>
                      <a:pt x="564" y="190"/>
                    </a:lnTo>
                    <a:lnTo>
                      <a:pt x="560" y="190"/>
                    </a:lnTo>
                    <a:lnTo>
                      <a:pt x="556" y="190"/>
                    </a:lnTo>
                    <a:lnTo>
                      <a:pt x="560" y="190"/>
                    </a:lnTo>
                    <a:lnTo>
                      <a:pt x="564" y="190"/>
                    </a:lnTo>
                    <a:lnTo>
                      <a:pt x="564" y="186"/>
                    </a:lnTo>
                    <a:lnTo>
                      <a:pt x="566" y="186"/>
                    </a:lnTo>
                    <a:lnTo>
                      <a:pt x="570" y="186"/>
                    </a:lnTo>
                    <a:lnTo>
                      <a:pt x="574" y="186"/>
                    </a:lnTo>
                    <a:lnTo>
                      <a:pt x="578" y="186"/>
                    </a:lnTo>
                    <a:lnTo>
                      <a:pt x="574" y="186"/>
                    </a:lnTo>
                    <a:lnTo>
                      <a:pt x="574" y="186"/>
                    </a:lnTo>
                    <a:lnTo>
                      <a:pt x="574" y="186"/>
                    </a:lnTo>
                    <a:close/>
                    <a:moveTo>
                      <a:pt x="586" y="186"/>
                    </a:moveTo>
                    <a:lnTo>
                      <a:pt x="590" y="186"/>
                    </a:lnTo>
                    <a:lnTo>
                      <a:pt x="586" y="186"/>
                    </a:lnTo>
                    <a:lnTo>
                      <a:pt x="582" y="186"/>
                    </a:lnTo>
                    <a:lnTo>
                      <a:pt x="578" y="186"/>
                    </a:lnTo>
                    <a:lnTo>
                      <a:pt x="582" y="186"/>
                    </a:lnTo>
                    <a:lnTo>
                      <a:pt x="586" y="186"/>
                    </a:lnTo>
                    <a:lnTo>
                      <a:pt x="586" y="186"/>
                    </a:lnTo>
                    <a:lnTo>
                      <a:pt x="586" y="186"/>
                    </a:lnTo>
                    <a:close/>
                    <a:moveTo>
                      <a:pt x="586" y="236"/>
                    </a:moveTo>
                    <a:lnTo>
                      <a:pt x="582" y="236"/>
                    </a:lnTo>
                    <a:lnTo>
                      <a:pt x="578" y="236"/>
                    </a:lnTo>
                    <a:lnTo>
                      <a:pt x="574" y="236"/>
                    </a:lnTo>
                    <a:lnTo>
                      <a:pt x="574" y="232"/>
                    </a:lnTo>
                    <a:lnTo>
                      <a:pt x="574" y="228"/>
                    </a:lnTo>
                    <a:lnTo>
                      <a:pt x="570" y="228"/>
                    </a:lnTo>
                    <a:lnTo>
                      <a:pt x="574" y="228"/>
                    </a:lnTo>
                    <a:lnTo>
                      <a:pt x="578" y="228"/>
                    </a:lnTo>
                    <a:lnTo>
                      <a:pt x="582" y="228"/>
                    </a:lnTo>
                    <a:lnTo>
                      <a:pt x="578" y="228"/>
                    </a:lnTo>
                    <a:lnTo>
                      <a:pt x="574" y="228"/>
                    </a:lnTo>
                    <a:lnTo>
                      <a:pt x="578" y="224"/>
                    </a:lnTo>
                    <a:lnTo>
                      <a:pt x="574" y="224"/>
                    </a:lnTo>
                    <a:lnTo>
                      <a:pt x="574" y="228"/>
                    </a:lnTo>
                    <a:lnTo>
                      <a:pt x="570" y="224"/>
                    </a:lnTo>
                    <a:lnTo>
                      <a:pt x="574" y="224"/>
                    </a:lnTo>
                    <a:lnTo>
                      <a:pt x="570" y="224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74" y="220"/>
                    </a:lnTo>
                    <a:lnTo>
                      <a:pt x="578" y="220"/>
                    </a:lnTo>
                    <a:lnTo>
                      <a:pt x="582" y="220"/>
                    </a:lnTo>
                    <a:lnTo>
                      <a:pt x="578" y="220"/>
                    </a:lnTo>
                    <a:lnTo>
                      <a:pt x="582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90" y="216"/>
                    </a:lnTo>
                    <a:lnTo>
                      <a:pt x="592" y="216"/>
                    </a:lnTo>
                    <a:lnTo>
                      <a:pt x="596" y="216"/>
                    </a:lnTo>
                    <a:lnTo>
                      <a:pt x="592" y="216"/>
                    </a:lnTo>
                    <a:lnTo>
                      <a:pt x="590" y="216"/>
                    </a:lnTo>
                    <a:lnTo>
                      <a:pt x="586" y="216"/>
                    </a:lnTo>
                    <a:lnTo>
                      <a:pt x="582" y="216"/>
                    </a:lnTo>
                    <a:lnTo>
                      <a:pt x="578" y="216"/>
                    </a:lnTo>
                    <a:lnTo>
                      <a:pt x="574" y="216"/>
                    </a:lnTo>
                    <a:lnTo>
                      <a:pt x="570" y="216"/>
                    </a:lnTo>
                    <a:lnTo>
                      <a:pt x="566" y="216"/>
                    </a:lnTo>
                    <a:lnTo>
                      <a:pt x="564" y="216"/>
                    </a:lnTo>
                    <a:lnTo>
                      <a:pt x="560" y="216"/>
                    </a:lnTo>
                    <a:lnTo>
                      <a:pt x="556" y="220"/>
                    </a:lnTo>
                    <a:lnTo>
                      <a:pt x="552" y="220"/>
                    </a:lnTo>
                    <a:lnTo>
                      <a:pt x="548" y="220"/>
                    </a:lnTo>
                    <a:lnTo>
                      <a:pt x="544" y="220"/>
                    </a:lnTo>
                    <a:lnTo>
                      <a:pt x="540" y="220"/>
                    </a:lnTo>
                    <a:lnTo>
                      <a:pt x="540" y="216"/>
                    </a:lnTo>
                    <a:lnTo>
                      <a:pt x="544" y="212"/>
                    </a:lnTo>
                    <a:lnTo>
                      <a:pt x="548" y="212"/>
                    </a:lnTo>
                    <a:lnTo>
                      <a:pt x="548" y="216"/>
                    </a:lnTo>
                    <a:lnTo>
                      <a:pt x="552" y="216"/>
                    </a:lnTo>
                    <a:lnTo>
                      <a:pt x="552" y="212"/>
                    </a:lnTo>
                    <a:lnTo>
                      <a:pt x="548" y="212"/>
                    </a:lnTo>
                    <a:lnTo>
                      <a:pt x="548" y="208"/>
                    </a:lnTo>
                    <a:lnTo>
                      <a:pt x="552" y="208"/>
                    </a:lnTo>
                    <a:lnTo>
                      <a:pt x="556" y="208"/>
                    </a:lnTo>
                    <a:lnTo>
                      <a:pt x="560" y="212"/>
                    </a:lnTo>
                    <a:lnTo>
                      <a:pt x="564" y="212"/>
                    </a:lnTo>
                    <a:lnTo>
                      <a:pt x="560" y="212"/>
                    </a:lnTo>
                    <a:lnTo>
                      <a:pt x="560" y="208"/>
                    </a:lnTo>
                    <a:lnTo>
                      <a:pt x="564" y="206"/>
                    </a:lnTo>
                    <a:lnTo>
                      <a:pt x="560" y="206"/>
                    </a:lnTo>
                    <a:lnTo>
                      <a:pt x="556" y="208"/>
                    </a:lnTo>
                    <a:lnTo>
                      <a:pt x="556" y="206"/>
                    </a:lnTo>
                    <a:lnTo>
                      <a:pt x="552" y="206"/>
                    </a:lnTo>
                    <a:lnTo>
                      <a:pt x="556" y="202"/>
                    </a:lnTo>
                    <a:lnTo>
                      <a:pt x="560" y="202"/>
                    </a:lnTo>
                    <a:lnTo>
                      <a:pt x="556" y="202"/>
                    </a:lnTo>
                    <a:lnTo>
                      <a:pt x="552" y="202"/>
                    </a:lnTo>
                    <a:lnTo>
                      <a:pt x="548" y="202"/>
                    </a:lnTo>
                    <a:lnTo>
                      <a:pt x="552" y="202"/>
                    </a:lnTo>
                    <a:lnTo>
                      <a:pt x="552" y="198"/>
                    </a:lnTo>
                    <a:lnTo>
                      <a:pt x="552" y="194"/>
                    </a:lnTo>
                    <a:lnTo>
                      <a:pt x="556" y="194"/>
                    </a:lnTo>
                    <a:lnTo>
                      <a:pt x="560" y="194"/>
                    </a:lnTo>
                    <a:lnTo>
                      <a:pt x="564" y="194"/>
                    </a:lnTo>
                    <a:lnTo>
                      <a:pt x="564" y="198"/>
                    </a:lnTo>
                    <a:lnTo>
                      <a:pt x="566" y="202"/>
                    </a:lnTo>
                    <a:lnTo>
                      <a:pt x="570" y="202"/>
                    </a:lnTo>
                    <a:lnTo>
                      <a:pt x="574" y="206"/>
                    </a:lnTo>
                    <a:lnTo>
                      <a:pt x="578" y="208"/>
                    </a:lnTo>
                    <a:lnTo>
                      <a:pt x="582" y="208"/>
                    </a:lnTo>
                    <a:lnTo>
                      <a:pt x="586" y="208"/>
                    </a:lnTo>
                    <a:lnTo>
                      <a:pt x="590" y="208"/>
                    </a:lnTo>
                    <a:lnTo>
                      <a:pt x="586" y="208"/>
                    </a:lnTo>
                    <a:lnTo>
                      <a:pt x="582" y="208"/>
                    </a:lnTo>
                    <a:lnTo>
                      <a:pt x="578" y="206"/>
                    </a:lnTo>
                    <a:lnTo>
                      <a:pt x="578" y="202"/>
                    </a:lnTo>
                    <a:lnTo>
                      <a:pt x="582" y="202"/>
                    </a:lnTo>
                    <a:lnTo>
                      <a:pt x="586" y="206"/>
                    </a:lnTo>
                    <a:lnTo>
                      <a:pt x="586" y="202"/>
                    </a:lnTo>
                    <a:lnTo>
                      <a:pt x="590" y="202"/>
                    </a:lnTo>
                    <a:lnTo>
                      <a:pt x="586" y="202"/>
                    </a:lnTo>
                    <a:lnTo>
                      <a:pt x="582" y="202"/>
                    </a:lnTo>
                    <a:lnTo>
                      <a:pt x="578" y="202"/>
                    </a:lnTo>
                    <a:lnTo>
                      <a:pt x="574" y="202"/>
                    </a:lnTo>
                    <a:lnTo>
                      <a:pt x="574" y="198"/>
                    </a:lnTo>
                    <a:lnTo>
                      <a:pt x="578" y="198"/>
                    </a:lnTo>
                    <a:lnTo>
                      <a:pt x="582" y="198"/>
                    </a:lnTo>
                    <a:lnTo>
                      <a:pt x="578" y="198"/>
                    </a:lnTo>
                    <a:lnTo>
                      <a:pt x="574" y="198"/>
                    </a:lnTo>
                    <a:lnTo>
                      <a:pt x="570" y="198"/>
                    </a:lnTo>
                    <a:lnTo>
                      <a:pt x="566" y="194"/>
                    </a:lnTo>
                    <a:lnTo>
                      <a:pt x="570" y="190"/>
                    </a:lnTo>
                    <a:lnTo>
                      <a:pt x="574" y="190"/>
                    </a:lnTo>
                    <a:lnTo>
                      <a:pt x="578" y="190"/>
                    </a:lnTo>
                    <a:lnTo>
                      <a:pt x="582" y="190"/>
                    </a:lnTo>
                    <a:lnTo>
                      <a:pt x="586" y="190"/>
                    </a:lnTo>
                    <a:lnTo>
                      <a:pt x="590" y="190"/>
                    </a:lnTo>
                    <a:lnTo>
                      <a:pt x="590" y="194"/>
                    </a:lnTo>
                    <a:lnTo>
                      <a:pt x="592" y="194"/>
                    </a:lnTo>
                    <a:lnTo>
                      <a:pt x="596" y="194"/>
                    </a:lnTo>
                    <a:lnTo>
                      <a:pt x="592" y="194"/>
                    </a:lnTo>
                    <a:lnTo>
                      <a:pt x="592" y="190"/>
                    </a:lnTo>
                    <a:lnTo>
                      <a:pt x="596" y="190"/>
                    </a:lnTo>
                    <a:lnTo>
                      <a:pt x="600" y="190"/>
                    </a:lnTo>
                    <a:lnTo>
                      <a:pt x="596" y="190"/>
                    </a:lnTo>
                    <a:lnTo>
                      <a:pt x="596" y="186"/>
                    </a:lnTo>
                    <a:lnTo>
                      <a:pt x="600" y="186"/>
                    </a:lnTo>
                    <a:lnTo>
                      <a:pt x="604" y="186"/>
                    </a:lnTo>
                    <a:lnTo>
                      <a:pt x="604" y="190"/>
                    </a:lnTo>
                    <a:lnTo>
                      <a:pt x="608" y="190"/>
                    </a:lnTo>
                    <a:lnTo>
                      <a:pt x="608" y="194"/>
                    </a:lnTo>
                    <a:lnTo>
                      <a:pt x="612" y="194"/>
                    </a:lnTo>
                    <a:lnTo>
                      <a:pt x="612" y="198"/>
                    </a:lnTo>
                    <a:lnTo>
                      <a:pt x="612" y="202"/>
                    </a:lnTo>
                    <a:lnTo>
                      <a:pt x="616" y="202"/>
                    </a:lnTo>
                    <a:lnTo>
                      <a:pt x="616" y="206"/>
                    </a:lnTo>
                    <a:lnTo>
                      <a:pt x="612" y="208"/>
                    </a:lnTo>
                    <a:lnTo>
                      <a:pt x="616" y="208"/>
                    </a:lnTo>
                    <a:lnTo>
                      <a:pt x="616" y="212"/>
                    </a:lnTo>
                    <a:lnTo>
                      <a:pt x="612" y="212"/>
                    </a:lnTo>
                    <a:lnTo>
                      <a:pt x="608" y="212"/>
                    </a:lnTo>
                    <a:lnTo>
                      <a:pt x="612" y="212"/>
                    </a:lnTo>
                    <a:lnTo>
                      <a:pt x="616" y="216"/>
                    </a:lnTo>
                    <a:lnTo>
                      <a:pt x="616" y="220"/>
                    </a:lnTo>
                    <a:lnTo>
                      <a:pt x="616" y="224"/>
                    </a:lnTo>
                    <a:lnTo>
                      <a:pt x="620" y="224"/>
                    </a:lnTo>
                    <a:lnTo>
                      <a:pt x="616" y="224"/>
                    </a:lnTo>
                    <a:lnTo>
                      <a:pt x="616" y="220"/>
                    </a:lnTo>
                    <a:lnTo>
                      <a:pt x="612" y="220"/>
                    </a:lnTo>
                    <a:lnTo>
                      <a:pt x="608" y="220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12" y="224"/>
                    </a:lnTo>
                    <a:lnTo>
                      <a:pt x="608" y="224"/>
                    </a:lnTo>
                    <a:lnTo>
                      <a:pt x="604" y="224"/>
                    </a:lnTo>
                    <a:lnTo>
                      <a:pt x="608" y="228"/>
                    </a:lnTo>
                    <a:lnTo>
                      <a:pt x="612" y="228"/>
                    </a:lnTo>
                    <a:lnTo>
                      <a:pt x="612" y="232"/>
                    </a:lnTo>
                    <a:lnTo>
                      <a:pt x="616" y="232"/>
                    </a:lnTo>
                    <a:lnTo>
                      <a:pt x="612" y="232"/>
                    </a:lnTo>
                    <a:lnTo>
                      <a:pt x="608" y="228"/>
                    </a:lnTo>
                    <a:lnTo>
                      <a:pt x="608" y="232"/>
                    </a:lnTo>
                    <a:lnTo>
                      <a:pt x="608" y="236"/>
                    </a:lnTo>
                    <a:lnTo>
                      <a:pt x="604" y="236"/>
                    </a:lnTo>
                    <a:lnTo>
                      <a:pt x="600" y="236"/>
                    </a:lnTo>
                    <a:lnTo>
                      <a:pt x="596" y="236"/>
                    </a:lnTo>
                    <a:lnTo>
                      <a:pt x="592" y="236"/>
                    </a:lnTo>
                    <a:lnTo>
                      <a:pt x="590" y="236"/>
                    </a:lnTo>
                    <a:lnTo>
                      <a:pt x="590" y="232"/>
                    </a:lnTo>
                    <a:lnTo>
                      <a:pt x="586" y="232"/>
                    </a:lnTo>
                    <a:lnTo>
                      <a:pt x="586" y="236"/>
                    </a:lnTo>
                    <a:lnTo>
                      <a:pt x="590" y="236"/>
                    </a:lnTo>
                    <a:lnTo>
                      <a:pt x="586" y="236"/>
                    </a:lnTo>
                    <a:lnTo>
                      <a:pt x="586" y="236"/>
                    </a:lnTo>
                    <a:lnTo>
                      <a:pt x="586" y="236"/>
                    </a:lnTo>
                    <a:close/>
                    <a:moveTo>
                      <a:pt x="522" y="186"/>
                    </a:moveTo>
                    <a:lnTo>
                      <a:pt x="522" y="190"/>
                    </a:lnTo>
                    <a:lnTo>
                      <a:pt x="526" y="190"/>
                    </a:lnTo>
                    <a:lnTo>
                      <a:pt x="522" y="190"/>
                    </a:lnTo>
                    <a:lnTo>
                      <a:pt x="526" y="190"/>
                    </a:lnTo>
                    <a:lnTo>
                      <a:pt x="530" y="190"/>
                    </a:lnTo>
                    <a:lnTo>
                      <a:pt x="530" y="194"/>
                    </a:lnTo>
                    <a:lnTo>
                      <a:pt x="534" y="194"/>
                    </a:lnTo>
                    <a:lnTo>
                      <a:pt x="536" y="194"/>
                    </a:lnTo>
                    <a:lnTo>
                      <a:pt x="536" y="198"/>
                    </a:lnTo>
                    <a:lnTo>
                      <a:pt x="534" y="198"/>
                    </a:lnTo>
                    <a:lnTo>
                      <a:pt x="530" y="198"/>
                    </a:lnTo>
                    <a:lnTo>
                      <a:pt x="526" y="198"/>
                    </a:lnTo>
                    <a:lnTo>
                      <a:pt x="522" y="198"/>
                    </a:lnTo>
                    <a:lnTo>
                      <a:pt x="518" y="198"/>
                    </a:lnTo>
                    <a:lnTo>
                      <a:pt x="518" y="194"/>
                    </a:lnTo>
                    <a:lnTo>
                      <a:pt x="514" y="194"/>
                    </a:lnTo>
                    <a:lnTo>
                      <a:pt x="514" y="190"/>
                    </a:lnTo>
                    <a:lnTo>
                      <a:pt x="518" y="190"/>
                    </a:lnTo>
                    <a:lnTo>
                      <a:pt x="518" y="186"/>
                    </a:lnTo>
                    <a:lnTo>
                      <a:pt x="522" y="186"/>
                    </a:lnTo>
                    <a:lnTo>
                      <a:pt x="522" y="186"/>
                    </a:lnTo>
                    <a:lnTo>
                      <a:pt x="522" y="186"/>
                    </a:lnTo>
                    <a:close/>
                    <a:moveTo>
                      <a:pt x="652" y="202"/>
                    </a:moveTo>
                    <a:lnTo>
                      <a:pt x="652" y="206"/>
                    </a:lnTo>
                    <a:lnTo>
                      <a:pt x="650" y="206"/>
                    </a:lnTo>
                    <a:lnTo>
                      <a:pt x="652" y="206"/>
                    </a:lnTo>
                    <a:lnTo>
                      <a:pt x="652" y="202"/>
                    </a:lnTo>
                    <a:lnTo>
                      <a:pt x="652" y="202"/>
                    </a:lnTo>
                    <a:lnTo>
                      <a:pt x="652" y="202"/>
                    </a:lnTo>
                    <a:close/>
                    <a:moveTo>
                      <a:pt x="332" y="206"/>
                    </a:moveTo>
                    <a:lnTo>
                      <a:pt x="332" y="208"/>
                    </a:lnTo>
                    <a:lnTo>
                      <a:pt x="328" y="208"/>
                    </a:lnTo>
                    <a:lnTo>
                      <a:pt x="324" y="212"/>
                    </a:lnTo>
                    <a:lnTo>
                      <a:pt x="324" y="216"/>
                    </a:lnTo>
                    <a:lnTo>
                      <a:pt x="322" y="216"/>
                    </a:lnTo>
                    <a:lnTo>
                      <a:pt x="322" y="220"/>
                    </a:lnTo>
                    <a:lnTo>
                      <a:pt x="318" y="220"/>
                    </a:lnTo>
                    <a:lnTo>
                      <a:pt x="314" y="220"/>
                    </a:lnTo>
                    <a:lnTo>
                      <a:pt x="310" y="220"/>
                    </a:lnTo>
                    <a:lnTo>
                      <a:pt x="306" y="216"/>
                    </a:lnTo>
                    <a:lnTo>
                      <a:pt x="310" y="216"/>
                    </a:lnTo>
                    <a:lnTo>
                      <a:pt x="310" y="212"/>
                    </a:lnTo>
                    <a:lnTo>
                      <a:pt x="314" y="212"/>
                    </a:lnTo>
                    <a:lnTo>
                      <a:pt x="314" y="208"/>
                    </a:lnTo>
                    <a:lnTo>
                      <a:pt x="318" y="208"/>
                    </a:lnTo>
                    <a:lnTo>
                      <a:pt x="322" y="208"/>
                    </a:lnTo>
                    <a:lnTo>
                      <a:pt x="324" y="208"/>
                    </a:lnTo>
                    <a:lnTo>
                      <a:pt x="324" y="206"/>
                    </a:lnTo>
                    <a:lnTo>
                      <a:pt x="328" y="206"/>
                    </a:lnTo>
                    <a:lnTo>
                      <a:pt x="332" y="206"/>
                    </a:lnTo>
                    <a:lnTo>
                      <a:pt x="332" y="206"/>
                    </a:lnTo>
                    <a:lnTo>
                      <a:pt x="332" y="206"/>
                    </a:lnTo>
                    <a:close/>
                    <a:moveTo>
                      <a:pt x="548" y="206"/>
                    </a:moveTo>
                    <a:lnTo>
                      <a:pt x="544" y="206"/>
                    </a:lnTo>
                    <a:lnTo>
                      <a:pt x="540" y="208"/>
                    </a:lnTo>
                    <a:lnTo>
                      <a:pt x="536" y="208"/>
                    </a:lnTo>
                    <a:lnTo>
                      <a:pt x="534" y="208"/>
                    </a:lnTo>
                    <a:lnTo>
                      <a:pt x="530" y="208"/>
                    </a:lnTo>
                    <a:lnTo>
                      <a:pt x="526" y="208"/>
                    </a:lnTo>
                    <a:lnTo>
                      <a:pt x="522" y="208"/>
                    </a:lnTo>
                    <a:lnTo>
                      <a:pt x="526" y="208"/>
                    </a:lnTo>
                    <a:lnTo>
                      <a:pt x="530" y="208"/>
                    </a:lnTo>
                    <a:lnTo>
                      <a:pt x="530" y="206"/>
                    </a:lnTo>
                    <a:lnTo>
                      <a:pt x="534" y="206"/>
                    </a:lnTo>
                    <a:lnTo>
                      <a:pt x="536" y="206"/>
                    </a:lnTo>
                    <a:lnTo>
                      <a:pt x="540" y="206"/>
                    </a:lnTo>
                    <a:lnTo>
                      <a:pt x="544" y="206"/>
                    </a:lnTo>
                    <a:lnTo>
                      <a:pt x="548" y="206"/>
                    </a:lnTo>
                    <a:lnTo>
                      <a:pt x="548" y="206"/>
                    </a:lnTo>
                    <a:lnTo>
                      <a:pt x="548" y="206"/>
                    </a:lnTo>
                    <a:close/>
                    <a:moveTo>
                      <a:pt x="552" y="208"/>
                    </a:moveTo>
                    <a:lnTo>
                      <a:pt x="548" y="208"/>
                    </a:lnTo>
                    <a:lnTo>
                      <a:pt x="544" y="208"/>
                    </a:lnTo>
                    <a:lnTo>
                      <a:pt x="544" y="212"/>
                    </a:lnTo>
                    <a:lnTo>
                      <a:pt x="540" y="212"/>
                    </a:lnTo>
                    <a:lnTo>
                      <a:pt x="536" y="212"/>
                    </a:lnTo>
                    <a:lnTo>
                      <a:pt x="534" y="212"/>
                    </a:lnTo>
                    <a:lnTo>
                      <a:pt x="536" y="208"/>
                    </a:lnTo>
                    <a:lnTo>
                      <a:pt x="540" y="208"/>
                    </a:lnTo>
                    <a:lnTo>
                      <a:pt x="544" y="208"/>
                    </a:lnTo>
                    <a:lnTo>
                      <a:pt x="548" y="208"/>
                    </a:lnTo>
                    <a:lnTo>
                      <a:pt x="548" y="206"/>
                    </a:lnTo>
                    <a:lnTo>
                      <a:pt x="552" y="208"/>
                    </a:lnTo>
                    <a:lnTo>
                      <a:pt x="552" y="208"/>
                    </a:lnTo>
                    <a:lnTo>
                      <a:pt x="552" y="208"/>
                    </a:lnTo>
                    <a:close/>
                    <a:moveTo>
                      <a:pt x="656" y="208"/>
                    </a:moveTo>
                    <a:lnTo>
                      <a:pt x="660" y="208"/>
                    </a:lnTo>
                    <a:lnTo>
                      <a:pt x="660" y="212"/>
                    </a:lnTo>
                    <a:lnTo>
                      <a:pt x="656" y="212"/>
                    </a:lnTo>
                    <a:lnTo>
                      <a:pt x="652" y="212"/>
                    </a:lnTo>
                    <a:lnTo>
                      <a:pt x="652" y="208"/>
                    </a:lnTo>
                    <a:lnTo>
                      <a:pt x="656" y="208"/>
                    </a:lnTo>
                    <a:lnTo>
                      <a:pt x="656" y="206"/>
                    </a:lnTo>
                    <a:lnTo>
                      <a:pt x="656" y="208"/>
                    </a:lnTo>
                    <a:lnTo>
                      <a:pt x="656" y="208"/>
                    </a:lnTo>
                    <a:lnTo>
                      <a:pt x="656" y="208"/>
                    </a:lnTo>
                    <a:close/>
                    <a:moveTo>
                      <a:pt x="630" y="212"/>
                    </a:moveTo>
                    <a:lnTo>
                      <a:pt x="626" y="212"/>
                    </a:lnTo>
                    <a:lnTo>
                      <a:pt x="630" y="212"/>
                    </a:lnTo>
                    <a:lnTo>
                      <a:pt x="630" y="212"/>
                    </a:lnTo>
                    <a:lnTo>
                      <a:pt x="630" y="212"/>
                    </a:lnTo>
                    <a:close/>
                    <a:moveTo>
                      <a:pt x="638" y="216"/>
                    </a:moveTo>
                    <a:lnTo>
                      <a:pt x="638" y="220"/>
                    </a:lnTo>
                    <a:lnTo>
                      <a:pt x="634" y="220"/>
                    </a:lnTo>
                    <a:lnTo>
                      <a:pt x="630" y="220"/>
                    </a:lnTo>
                    <a:lnTo>
                      <a:pt x="626" y="224"/>
                    </a:lnTo>
                    <a:lnTo>
                      <a:pt x="622" y="224"/>
                    </a:lnTo>
                    <a:lnTo>
                      <a:pt x="622" y="220"/>
                    </a:lnTo>
                    <a:lnTo>
                      <a:pt x="626" y="220"/>
                    </a:lnTo>
                    <a:lnTo>
                      <a:pt x="630" y="216"/>
                    </a:lnTo>
                    <a:lnTo>
                      <a:pt x="634" y="216"/>
                    </a:lnTo>
                    <a:lnTo>
                      <a:pt x="638" y="216"/>
                    </a:lnTo>
                    <a:lnTo>
                      <a:pt x="638" y="216"/>
                    </a:lnTo>
                    <a:lnTo>
                      <a:pt x="638" y="216"/>
                    </a:lnTo>
                    <a:close/>
                    <a:moveTo>
                      <a:pt x="638" y="238"/>
                    </a:moveTo>
                    <a:lnTo>
                      <a:pt x="634" y="236"/>
                    </a:lnTo>
                    <a:lnTo>
                      <a:pt x="630" y="236"/>
                    </a:lnTo>
                    <a:lnTo>
                      <a:pt x="626" y="236"/>
                    </a:lnTo>
                    <a:lnTo>
                      <a:pt x="626" y="232"/>
                    </a:lnTo>
                    <a:lnTo>
                      <a:pt x="630" y="232"/>
                    </a:lnTo>
                    <a:lnTo>
                      <a:pt x="630" y="228"/>
                    </a:lnTo>
                    <a:lnTo>
                      <a:pt x="634" y="228"/>
                    </a:lnTo>
                    <a:lnTo>
                      <a:pt x="638" y="228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34" y="224"/>
                    </a:lnTo>
                    <a:lnTo>
                      <a:pt x="638" y="224"/>
                    </a:lnTo>
                    <a:lnTo>
                      <a:pt x="642" y="224"/>
                    </a:lnTo>
                    <a:lnTo>
                      <a:pt x="638" y="224"/>
                    </a:lnTo>
                    <a:lnTo>
                      <a:pt x="638" y="220"/>
                    </a:lnTo>
                    <a:lnTo>
                      <a:pt x="642" y="220"/>
                    </a:lnTo>
                    <a:lnTo>
                      <a:pt x="646" y="220"/>
                    </a:lnTo>
                    <a:lnTo>
                      <a:pt x="646" y="216"/>
                    </a:lnTo>
                    <a:lnTo>
                      <a:pt x="650" y="216"/>
                    </a:lnTo>
                    <a:lnTo>
                      <a:pt x="652" y="216"/>
                    </a:lnTo>
                    <a:lnTo>
                      <a:pt x="656" y="216"/>
                    </a:lnTo>
                    <a:lnTo>
                      <a:pt x="660" y="216"/>
                    </a:lnTo>
                    <a:lnTo>
                      <a:pt x="660" y="220"/>
                    </a:lnTo>
                    <a:lnTo>
                      <a:pt x="664" y="220"/>
                    </a:lnTo>
                    <a:lnTo>
                      <a:pt x="664" y="224"/>
                    </a:lnTo>
                    <a:lnTo>
                      <a:pt x="668" y="224"/>
                    </a:lnTo>
                    <a:lnTo>
                      <a:pt x="672" y="228"/>
                    </a:lnTo>
                    <a:lnTo>
                      <a:pt x="672" y="232"/>
                    </a:lnTo>
                    <a:lnTo>
                      <a:pt x="672" y="236"/>
                    </a:lnTo>
                    <a:lnTo>
                      <a:pt x="676" y="238"/>
                    </a:lnTo>
                    <a:lnTo>
                      <a:pt x="672" y="242"/>
                    </a:lnTo>
                    <a:lnTo>
                      <a:pt x="668" y="242"/>
                    </a:lnTo>
                    <a:lnTo>
                      <a:pt x="664" y="242"/>
                    </a:lnTo>
                    <a:lnTo>
                      <a:pt x="660" y="242"/>
                    </a:lnTo>
                    <a:lnTo>
                      <a:pt x="656" y="242"/>
                    </a:lnTo>
                    <a:lnTo>
                      <a:pt x="650" y="242"/>
                    </a:lnTo>
                    <a:lnTo>
                      <a:pt x="646" y="238"/>
                    </a:lnTo>
                    <a:lnTo>
                      <a:pt x="642" y="238"/>
                    </a:lnTo>
                    <a:lnTo>
                      <a:pt x="638" y="238"/>
                    </a:lnTo>
                    <a:lnTo>
                      <a:pt x="638" y="238"/>
                    </a:lnTo>
                    <a:lnTo>
                      <a:pt x="638" y="238"/>
                    </a:lnTo>
                    <a:close/>
                    <a:moveTo>
                      <a:pt x="522" y="224"/>
                    </a:moveTo>
                    <a:lnTo>
                      <a:pt x="526" y="224"/>
                    </a:lnTo>
                    <a:lnTo>
                      <a:pt x="526" y="228"/>
                    </a:lnTo>
                    <a:lnTo>
                      <a:pt x="530" y="232"/>
                    </a:lnTo>
                    <a:lnTo>
                      <a:pt x="526" y="232"/>
                    </a:lnTo>
                    <a:lnTo>
                      <a:pt x="518" y="236"/>
                    </a:lnTo>
                    <a:lnTo>
                      <a:pt x="514" y="232"/>
                    </a:lnTo>
                    <a:lnTo>
                      <a:pt x="510" y="232"/>
                    </a:lnTo>
                    <a:lnTo>
                      <a:pt x="510" y="228"/>
                    </a:lnTo>
                    <a:lnTo>
                      <a:pt x="514" y="228"/>
                    </a:lnTo>
                    <a:lnTo>
                      <a:pt x="510" y="228"/>
                    </a:lnTo>
                    <a:lnTo>
                      <a:pt x="514" y="224"/>
                    </a:lnTo>
                    <a:lnTo>
                      <a:pt x="518" y="224"/>
                    </a:lnTo>
                    <a:lnTo>
                      <a:pt x="522" y="224"/>
                    </a:lnTo>
                    <a:lnTo>
                      <a:pt x="522" y="224"/>
                    </a:lnTo>
                    <a:lnTo>
                      <a:pt x="522" y="224"/>
                    </a:lnTo>
                    <a:close/>
                    <a:moveTo>
                      <a:pt x="642" y="242"/>
                    </a:moveTo>
                    <a:lnTo>
                      <a:pt x="646" y="242"/>
                    </a:lnTo>
                    <a:lnTo>
                      <a:pt x="646" y="246"/>
                    </a:lnTo>
                    <a:lnTo>
                      <a:pt x="650" y="246"/>
                    </a:lnTo>
                    <a:lnTo>
                      <a:pt x="646" y="246"/>
                    </a:lnTo>
                    <a:lnTo>
                      <a:pt x="642" y="246"/>
                    </a:lnTo>
                    <a:lnTo>
                      <a:pt x="638" y="246"/>
                    </a:lnTo>
                    <a:lnTo>
                      <a:pt x="642" y="242"/>
                    </a:lnTo>
                    <a:lnTo>
                      <a:pt x="642" y="242"/>
                    </a:lnTo>
                    <a:lnTo>
                      <a:pt x="642" y="242"/>
                    </a:lnTo>
                    <a:close/>
                    <a:moveTo>
                      <a:pt x="620" y="242"/>
                    </a:moveTo>
                    <a:lnTo>
                      <a:pt x="620" y="246"/>
                    </a:lnTo>
                    <a:lnTo>
                      <a:pt x="616" y="246"/>
                    </a:lnTo>
                    <a:lnTo>
                      <a:pt x="616" y="250"/>
                    </a:lnTo>
                    <a:lnTo>
                      <a:pt x="612" y="250"/>
                    </a:lnTo>
                    <a:lnTo>
                      <a:pt x="612" y="246"/>
                    </a:lnTo>
                    <a:lnTo>
                      <a:pt x="616" y="246"/>
                    </a:lnTo>
                    <a:lnTo>
                      <a:pt x="616" y="242"/>
                    </a:lnTo>
                    <a:lnTo>
                      <a:pt x="620" y="242"/>
                    </a:lnTo>
                    <a:lnTo>
                      <a:pt x="620" y="242"/>
                    </a:lnTo>
                    <a:lnTo>
                      <a:pt x="620" y="242"/>
                    </a:lnTo>
                    <a:close/>
                    <a:moveTo>
                      <a:pt x="250" y="332"/>
                    </a:moveTo>
                    <a:lnTo>
                      <a:pt x="246" y="332"/>
                    </a:lnTo>
                    <a:lnTo>
                      <a:pt x="246" y="328"/>
                    </a:lnTo>
                    <a:lnTo>
                      <a:pt x="242" y="324"/>
                    </a:lnTo>
                    <a:lnTo>
                      <a:pt x="242" y="322"/>
                    </a:lnTo>
                    <a:lnTo>
                      <a:pt x="238" y="322"/>
                    </a:lnTo>
                    <a:lnTo>
                      <a:pt x="236" y="322"/>
                    </a:lnTo>
                    <a:lnTo>
                      <a:pt x="232" y="322"/>
                    </a:lnTo>
                    <a:lnTo>
                      <a:pt x="232" y="318"/>
                    </a:lnTo>
                    <a:lnTo>
                      <a:pt x="228" y="318"/>
                    </a:lnTo>
                    <a:lnTo>
                      <a:pt x="224" y="318"/>
                    </a:lnTo>
                    <a:lnTo>
                      <a:pt x="224" y="314"/>
                    </a:lnTo>
                    <a:lnTo>
                      <a:pt x="228" y="318"/>
                    </a:lnTo>
                    <a:lnTo>
                      <a:pt x="228" y="314"/>
                    </a:lnTo>
                    <a:lnTo>
                      <a:pt x="224" y="314"/>
                    </a:lnTo>
                    <a:lnTo>
                      <a:pt x="220" y="314"/>
                    </a:lnTo>
                    <a:lnTo>
                      <a:pt x="216" y="314"/>
                    </a:lnTo>
                    <a:lnTo>
                      <a:pt x="212" y="314"/>
                    </a:lnTo>
                    <a:lnTo>
                      <a:pt x="216" y="314"/>
                    </a:lnTo>
                    <a:lnTo>
                      <a:pt x="216" y="310"/>
                    </a:lnTo>
                    <a:lnTo>
                      <a:pt x="216" y="306"/>
                    </a:lnTo>
                    <a:lnTo>
                      <a:pt x="220" y="306"/>
                    </a:lnTo>
                    <a:lnTo>
                      <a:pt x="220" y="302"/>
                    </a:lnTo>
                    <a:lnTo>
                      <a:pt x="224" y="302"/>
                    </a:lnTo>
                    <a:lnTo>
                      <a:pt x="224" y="298"/>
                    </a:lnTo>
                    <a:lnTo>
                      <a:pt x="228" y="298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32" y="292"/>
                    </a:lnTo>
                    <a:lnTo>
                      <a:pt x="236" y="292"/>
                    </a:lnTo>
                    <a:lnTo>
                      <a:pt x="236" y="288"/>
                    </a:lnTo>
                    <a:lnTo>
                      <a:pt x="232" y="288"/>
                    </a:lnTo>
                    <a:lnTo>
                      <a:pt x="228" y="288"/>
                    </a:lnTo>
                    <a:lnTo>
                      <a:pt x="228" y="284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36" y="280"/>
                    </a:lnTo>
                    <a:lnTo>
                      <a:pt x="236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42" y="268"/>
                    </a:lnTo>
                    <a:lnTo>
                      <a:pt x="242" y="264"/>
                    </a:lnTo>
                    <a:lnTo>
                      <a:pt x="238" y="264"/>
                    </a:lnTo>
                    <a:lnTo>
                      <a:pt x="236" y="262"/>
                    </a:lnTo>
                    <a:lnTo>
                      <a:pt x="236" y="258"/>
                    </a:lnTo>
                    <a:lnTo>
                      <a:pt x="232" y="254"/>
                    </a:lnTo>
                    <a:lnTo>
                      <a:pt x="228" y="254"/>
                    </a:lnTo>
                    <a:lnTo>
                      <a:pt x="232" y="250"/>
                    </a:lnTo>
                    <a:lnTo>
                      <a:pt x="236" y="250"/>
                    </a:lnTo>
                    <a:lnTo>
                      <a:pt x="238" y="250"/>
                    </a:lnTo>
                    <a:lnTo>
                      <a:pt x="242" y="250"/>
                    </a:lnTo>
                    <a:lnTo>
                      <a:pt x="246" y="250"/>
                    </a:lnTo>
                    <a:lnTo>
                      <a:pt x="250" y="250"/>
                    </a:lnTo>
                    <a:lnTo>
                      <a:pt x="254" y="250"/>
                    </a:lnTo>
                    <a:lnTo>
                      <a:pt x="258" y="250"/>
                    </a:lnTo>
                    <a:lnTo>
                      <a:pt x="262" y="250"/>
                    </a:lnTo>
                    <a:lnTo>
                      <a:pt x="266" y="250"/>
                    </a:lnTo>
                    <a:lnTo>
                      <a:pt x="268" y="246"/>
                    </a:lnTo>
                    <a:lnTo>
                      <a:pt x="272" y="246"/>
                    </a:lnTo>
                    <a:lnTo>
                      <a:pt x="276" y="246"/>
                    </a:lnTo>
                    <a:lnTo>
                      <a:pt x="280" y="246"/>
                    </a:lnTo>
                    <a:lnTo>
                      <a:pt x="284" y="246"/>
                    </a:lnTo>
                    <a:lnTo>
                      <a:pt x="284" y="250"/>
                    </a:lnTo>
                    <a:lnTo>
                      <a:pt x="288" y="250"/>
                    </a:lnTo>
                    <a:lnTo>
                      <a:pt x="292" y="254"/>
                    </a:lnTo>
                    <a:lnTo>
                      <a:pt x="294" y="254"/>
                    </a:lnTo>
                    <a:lnTo>
                      <a:pt x="298" y="254"/>
                    </a:lnTo>
                    <a:lnTo>
                      <a:pt x="302" y="254"/>
                    </a:lnTo>
                    <a:lnTo>
                      <a:pt x="302" y="258"/>
                    </a:lnTo>
                    <a:lnTo>
                      <a:pt x="298" y="258"/>
                    </a:lnTo>
                    <a:lnTo>
                      <a:pt x="298" y="262"/>
                    </a:lnTo>
                    <a:lnTo>
                      <a:pt x="302" y="262"/>
                    </a:lnTo>
                    <a:lnTo>
                      <a:pt x="302" y="258"/>
                    </a:lnTo>
                    <a:lnTo>
                      <a:pt x="306" y="254"/>
                    </a:lnTo>
                    <a:lnTo>
                      <a:pt x="310" y="254"/>
                    </a:lnTo>
                    <a:lnTo>
                      <a:pt x="310" y="258"/>
                    </a:lnTo>
                    <a:lnTo>
                      <a:pt x="310" y="262"/>
                    </a:lnTo>
                    <a:lnTo>
                      <a:pt x="314" y="262"/>
                    </a:lnTo>
                    <a:lnTo>
                      <a:pt x="314" y="258"/>
                    </a:lnTo>
                    <a:lnTo>
                      <a:pt x="314" y="254"/>
                    </a:lnTo>
                    <a:lnTo>
                      <a:pt x="318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32" y="254"/>
                    </a:lnTo>
                    <a:lnTo>
                      <a:pt x="336" y="254"/>
                    </a:lnTo>
                    <a:lnTo>
                      <a:pt x="336" y="258"/>
                    </a:lnTo>
                    <a:lnTo>
                      <a:pt x="344" y="258"/>
                    </a:lnTo>
                    <a:lnTo>
                      <a:pt x="344" y="262"/>
                    </a:lnTo>
                    <a:lnTo>
                      <a:pt x="348" y="262"/>
                    </a:lnTo>
                    <a:lnTo>
                      <a:pt x="348" y="264"/>
                    </a:lnTo>
                    <a:lnTo>
                      <a:pt x="352" y="264"/>
                    </a:lnTo>
                    <a:lnTo>
                      <a:pt x="354" y="264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62" y="276"/>
                    </a:lnTo>
                    <a:lnTo>
                      <a:pt x="358" y="276"/>
                    </a:lnTo>
                    <a:lnTo>
                      <a:pt x="354" y="280"/>
                    </a:lnTo>
                    <a:lnTo>
                      <a:pt x="352" y="280"/>
                    </a:lnTo>
                    <a:lnTo>
                      <a:pt x="348" y="280"/>
                    </a:lnTo>
                    <a:lnTo>
                      <a:pt x="344" y="284"/>
                    </a:lnTo>
                    <a:lnTo>
                      <a:pt x="340" y="284"/>
                    </a:lnTo>
                    <a:lnTo>
                      <a:pt x="336" y="284"/>
                    </a:lnTo>
                    <a:lnTo>
                      <a:pt x="336" y="288"/>
                    </a:lnTo>
                    <a:lnTo>
                      <a:pt x="332" y="288"/>
                    </a:lnTo>
                    <a:lnTo>
                      <a:pt x="328" y="288"/>
                    </a:lnTo>
                    <a:lnTo>
                      <a:pt x="328" y="292"/>
                    </a:lnTo>
                    <a:lnTo>
                      <a:pt x="324" y="292"/>
                    </a:lnTo>
                    <a:lnTo>
                      <a:pt x="322" y="292"/>
                    </a:lnTo>
                    <a:lnTo>
                      <a:pt x="318" y="294"/>
                    </a:lnTo>
                    <a:lnTo>
                      <a:pt x="314" y="294"/>
                    </a:lnTo>
                    <a:lnTo>
                      <a:pt x="310" y="298"/>
                    </a:lnTo>
                    <a:lnTo>
                      <a:pt x="306" y="302"/>
                    </a:lnTo>
                    <a:lnTo>
                      <a:pt x="306" y="306"/>
                    </a:lnTo>
                    <a:lnTo>
                      <a:pt x="302" y="306"/>
                    </a:lnTo>
                    <a:lnTo>
                      <a:pt x="302" y="310"/>
                    </a:lnTo>
                    <a:lnTo>
                      <a:pt x="298" y="310"/>
                    </a:lnTo>
                    <a:lnTo>
                      <a:pt x="294" y="306"/>
                    </a:lnTo>
                    <a:lnTo>
                      <a:pt x="294" y="310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8"/>
                    </a:lnTo>
                    <a:lnTo>
                      <a:pt x="292" y="322"/>
                    </a:lnTo>
                    <a:lnTo>
                      <a:pt x="292" y="324"/>
                    </a:lnTo>
                    <a:lnTo>
                      <a:pt x="288" y="328"/>
                    </a:lnTo>
                    <a:lnTo>
                      <a:pt x="284" y="328"/>
                    </a:lnTo>
                    <a:lnTo>
                      <a:pt x="280" y="328"/>
                    </a:lnTo>
                    <a:lnTo>
                      <a:pt x="276" y="328"/>
                    </a:lnTo>
                    <a:lnTo>
                      <a:pt x="272" y="328"/>
                    </a:lnTo>
                    <a:lnTo>
                      <a:pt x="268" y="328"/>
                    </a:lnTo>
                    <a:lnTo>
                      <a:pt x="268" y="332"/>
                    </a:lnTo>
                    <a:lnTo>
                      <a:pt x="266" y="332"/>
                    </a:lnTo>
                    <a:lnTo>
                      <a:pt x="266" y="336"/>
                    </a:lnTo>
                    <a:lnTo>
                      <a:pt x="262" y="336"/>
                    </a:lnTo>
                    <a:lnTo>
                      <a:pt x="258" y="336"/>
                    </a:lnTo>
                    <a:lnTo>
                      <a:pt x="258" y="340"/>
                    </a:lnTo>
                    <a:lnTo>
                      <a:pt x="254" y="340"/>
                    </a:lnTo>
                    <a:lnTo>
                      <a:pt x="254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0" y="332"/>
                    </a:lnTo>
                    <a:lnTo>
                      <a:pt x="250" y="332"/>
                    </a:lnTo>
                    <a:close/>
                    <a:moveTo>
                      <a:pt x="706" y="280"/>
                    </a:moveTo>
                    <a:lnTo>
                      <a:pt x="702" y="284"/>
                    </a:lnTo>
                    <a:lnTo>
                      <a:pt x="702" y="288"/>
                    </a:lnTo>
                    <a:lnTo>
                      <a:pt x="698" y="288"/>
                    </a:lnTo>
                    <a:lnTo>
                      <a:pt x="698" y="292"/>
                    </a:lnTo>
                    <a:lnTo>
                      <a:pt x="694" y="292"/>
                    </a:lnTo>
                    <a:lnTo>
                      <a:pt x="694" y="294"/>
                    </a:lnTo>
                    <a:lnTo>
                      <a:pt x="690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76" y="294"/>
                    </a:lnTo>
                    <a:lnTo>
                      <a:pt x="676" y="292"/>
                    </a:lnTo>
                    <a:lnTo>
                      <a:pt x="676" y="294"/>
                    </a:lnTo>
                    <a:lnTo>
                      <a:pt x="672" y="294"/>
                    </a:lnTo>
                    <a:lnTo>
                      <a:pt x="668" y="294"/>
                    </a:lnTo>
                    <a:lnTo>
                      <a:pt x="664" y="294"/>
                    </a:lnTo>
                    <a:lnTo>
                      <a:pt x="660" y="294"/>
                    </a:lnTo>
                    <a:lnTo>
                      <a:pt x="664" y="294"/>
                    </a:lnTo>
                    <a:lnTo>
                      <a:pt x="668" y="294"/>
                    </a:lnTo>
                    <a:lnTo>
                      <a:pt x="668" y="298"/>
                    </a:lnTo>
                    <a:lnTo>
                      <a:pt x="672" y="298"/>
                    </a:lnTo>
                    <a:lnTo>
                      <a:pt x="672" y="302"/>
                    </a:lnTo>
                    <a:lnTo>
                      <a:pt x="672" y="306"/>
                    </a:lnTo>
                    <a:lnTo>
                      <a:pt x="668" y="306"/>
                    </a:lnTo>
                    <a:lnTo>
                      <a:pt x="664" y="310"/>
                    </a:lnTo>
                    <a:lnTo>
                      <a:pt x="664" y="314"/>
                    </a:lnTo>
                    <a:lnTo>
                      <a:pt x="660" y="314"/>
                    </a:lnTo>
                    <a:lnTo>
                      <a:pt x="652" y="314"/>
                    </a:lnTo>
                    <a:lnTo>
                      <a:pt x="650" y="314"/>
                    </a:lnTo>
                    <a:lnTo>
                      <a:pt x="650" y="310"/>
                    </a:lnTo>
                    <a:lnTo>
                      <a:pt x="652" y="310"/>
                    </a:lnTo>
                    <a:lnTo>
                      <a:pt x="650" y="310"/>
                    </a:lnTo>
                    <a:lnTo>
                      <a:pt x="650" y="306"/>
                    </a:lnTo>
                    <a:lnTo>
                      <a:pt x="650" y="302"/>
                    </a:lnTo>
                    <a:lnTo>
                      <a:pt x="650" y="298"/>
                    </a:lnTo>
                    <a:lnTo>
                      <a:pt x="646" y="298"/>
                    </a:lnTo>
                    <a:lnTo>
                      <a:pt x="646" y="294"/>
                    </a:lnTo>
                    <a:lnTo>
                      <a:pt x="642" y="294"/>
                    </a:lnTo>
                    <a:lnTo>
                      <a:pt x="642" y="292"/>
                    </a:lnTo>
                    <a:lnTo>
                      <a:pt x="642" y="288"/>
                    </a:lnTo>
                    <a:lnTo>
                      <a:pt x="642" y="284"/>
                    </a:lnTo>
                    <a:lnTo>
                      <a:pt x="642" y="280"/>
                    </a:lnTo>
                    <a:lnTo>
                      <a:pt x="642" y="276"/>
                    </a:lnTo>
                    <a:lnTo>
                      <a:pt x="642" y="272"/>
                    </a:lnTo>
                    <a:lnTo>
                      <a:pt x="642" y="268"/>
                    </a:lnTo>
                    <a:lnTo>
                      <a:pt x="646" y="268"/>
                    </a:lnTo>
                    <a:lnTo>
                      <a:pt x="650" y="268"/>
                    </a:lnTo>
                    <a:lnTo>
                      <a:pt x="652" y="268"/>
                    </a:lnTo>
                    <a:lnTo>
                      <a:pt x="656" y="268"/>
                    </a:lnTo>
                    <a:lnTo>
                      <a:pt x="652" y="268"/>
                    </a:lnTo>
                    <a:lnTo>
                      <a:pt x="650" y="268"/>
                    </a:lnTo>
                    <a:lnTo>
                      <a:pt x="650" y="264"/>
                    </a:lnTo>
                    <a:lnTo>
                      <a:pt x="652" y="264"/>
                    </a:lnTo>
                    <a:lnTo>
                      <a:pt x="650" y="264"/>
                    </a:lnTo>
                    <a:lnTo>
                      <a:pt x="646" y="264"/>
                    </a:lnTo>
                    <a:lnTo>
                      <a:pt x="646" y="262"/>
                    </a:lnTo>
                    <a:lnTo>
                      <a:pt x="650" y="262"/>
                    </a:lnTo>
                    <a:lnTo>
                      <a:pt x="652" y="262"/>
                    </a:lnTo>
                    <a:lnTo>
                      <a:pt x="652" y="258"/>
                    </a:lnTo>
                    <a:lnTo>
                      <a:pt x="656" y="258"/>
                    </a:lnTo>
                    <a:lnTo>
                      <a:pt x="660" y="258"/>
                    </a:lnTo>
                    <a:lnTo>
                      <a:pt x="664" y="258"/>
                    </a:lnTo>
                    <a:lnTo>
                      <a:pt x="668" y="258"/>
                    </a:lnTo>
                    <a:lnTo>
                      <a:pt x="672" y="258"/>
                    </a:lnTo>
                    <a:lnTo>
                      <a:pt x="676" y="258"/>
                    </a:lnTo>
                    <a:lnTo>
                      <a:pt x="678" y="258"/>
                    </a:lnTo>
                    <a:lnTo>
                      <a:pt x="682" y="258"/>
                    </a:lnTo>
                    <a:lnTo>
                      <a:pt x="686" y="262"/>
                    </a:lnTo>
                    <a:lnTo>
                      <a:pt x="690" y="262"/>
                    </a:lnTo>
                    <a:lnTo>
                      <a:pt x="694" y="262"/>
                    </a:lnTo>
                    <a:lnTo>
                      <a:pt x="702" y="262"/>
                    </a:lnTo>
                    <a:lnTo>
                      <a:pt x="706" y="262"/>
                    </a:lnTo>
                    <a:lnTo>
                      <a:pt x="712" y="262"/>
                    </a:lnTo>
                    <a:lnTo>
                      <a:pt x="716" y="264"/>
                    </a:lnTo>
                    <a:lnTo>
                      <a:pt x="716" y="262"/>
                    </a:lnTo>
                    <a:lnTo>
                      <a:pt x="720" y="264"/>
                    </a:lnTo>
                    <a:lnTo>
                      <a:pt x="716" y="264"/>
                    </a:lnTo>
                    <a:lnTo>
                      <a:pt x="716" y="268"/>
                    </a:lnTo>
                    <a:lnTo>
                      <a:pt x="712" y="268"/>
                    </a:lnTo>
                    <a:lnTo>
                      <a:pt x="712" y="272"/>
                    </a:lnTo>
                    <a:lnTo>
                      <a:pt x="708" y="272"/>
                    </a:lnTo>
                    <a:lnTo>
                      <a:pt x="708" y="276"/>
                    </a:lnTo>
                    <a:lnTo>
                      <a:pt x="706" y="276"/>
                    </a:lnTo>
                    <a:lnTo>
                      <a:pt x="706" y="280"/>
                    </a:lnTo>
                    <a:lnTo>
                      <a:pt x="706" y="280"/>
                    </a:lnTo>
                    <a:lnTo>
                      <a:pt x="706" y="280"/>
                    </a:lnTo>
                    <a:close/>
                    <a:moveTo>
                      <a:pt x="720" y="262"/>
                    </a:moveTo>
                    <a:lnTo>
                      <a:pt x="716" y="262"/>
                    </a:lnTo>
                    <a:lnTo>
                      <a:pt x="720" y="262"/>
                    </a:lnTo>
                    <a:lnTo>
                      <a:pt x="720" y="258"/>
                    </a:lnTo>
                    <a:lnTo>
                      <a:pt x="724" y="258"/>
                    </a:lnTo>
                    <a:lnTo>
                      <a:pt x="724" y="262"/>
                    </a:lnTo>
                    <a:lnTo>
                      <a:pt x="720" y="262"/>
                    </a:lnTo>
                    <a:lnTo>
                      <a:pt x="720" y="262"/>
                    </a:lnTo>
                    <a:lnTo>
                      <a:pt x="720" y="262"/>
                    </a:lnTo>
                    <a:close/>
                    <a:moveTo>
                      <a:pt x="620" y="276"/>
                    </a:moveTo>
                    <a:lnTo>
                      <a:pt x="620" y="280"/>
                    </a:lnTo>
                    <a:lnTo>
                      <a:pt x="616" y="280"/>
                    </a:lnTo>
                    <a:lnTo>
                      <a:pt x="612" y="280"/>
                    </a:lnTo>
                    <a:lnTo>
                      <a:pt x="608" y="284"/>
                    </a:lnTo>
                    <a:lnTo>
                      <a:pt x="604" y="284"/>
                    </a:lnTo>
                    <a:lnTo>
                      <a:pt x="604" y="288"/>
                    </a:lnTo>
                    <a:lnTo>
                      <a:pt x="600" y="288"/>
                    </a:lnTo>
                    <a:lnTo>
                      <a:pt x="600" y="292"/>
                    </a:lnTo>
                    <a:lnTo>
                      <a:pt x="604" y="292"/>
                    </a:lnTo>
                    <a:lnTo>
                      <a:pt x="604" y="288"/>
                    </a:lnTo>
                    <a:lnTo>
                      <a:pt x="608" y="288"/>
                    </a:lnTo>
                    <a:lnTo>
                      <a:pt x="612" y="288"/>
                    </a:lnTo>
                    <a:lnTo>
                      <a:pt x="616" y="288"/>
                    </a:lnTo>
                    <a:lnTo>
                      <a:pt x="620" y="288"/>
                    </a:lnTo>
                    <a:lnTo>
                      <a:pt x="620" y="292"/>
                    </a:lnTo>
                    <a:lnTo>
                      <a:pt x="622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294"/>
                    </a:lnTo>
                    <a:lnTo>
                      <a:pt x="626" y="294"/>
                    </a:lnTo>
                    <a:lnTo>
                      <a:pt x="630" y="294"/>
                    </a:lnTo>
                    <a:lnTo>
                      <a:pt x="630" y="298"/>
                    </a:lnTo>
                    <a:lnTo>
                      <a:pt x="630" y="302"/>
                    </a:lnTo>
                    <a:lnTo>
                      <a:pt x="634" y="302"/>
                    </a:lnTo>
                    <a:lnTo>
                      <a:pt x="630" y="306"/>
                    </a:lnTo>
                    <a:lnTo>
                      <a:pt x="626" y="306"/>
                    </a:lnTo>
                    <a:lnTo>
                      <a:pt x="622" y="306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0" y="310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2" y="314"/>
                    </a:lnTo>
                    <a:lnTo>
                      <a:pt x="626" y="314"/>
                    </a:lnTo>
                    <a:lnTo>
                      <a:pt x="630" y="314"/>
                    </a:lnTo>
                    <a:lnTo>
                      <a:pt x="626" y="314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22"/>
                    </a:lnTo>
                    <a:lnTo>
                      <a:pt x="620" y="322"/>
                    </a:lnTo>
                    <a:lnTo>
                      <a:pt x="616" y="324"/>
                    </a:lnTo>
                    <a:lnTo>
                      <a:pt x="612" y="324"/>
                    </a:lnTo>
                    <a:lnTo>
                      <a:pt x="608" y="322"/>
                    </a:lnTo>
                    <a:lnTo>
                      <a:pt x="608" y="324"/>
                    </a:lnTo>
                    <a:lnTo>
                      <a:pt x="604" y="324"/>
                    </a:lnTo>
                    <a:lnTo>
                      <a:pt x="604" y="322"/>
                    </a:lnTo>
                    <a:lnTo>
                      <a:pt x="604" y="318"/>
                    </a:lnTo>
                    <a:lnTo>
                      <a:pt x="600" y="322"/>
                    </a:lnTo>
                    <a:lnTo>
                      <a:pt x="604" y="324"/>
                    </a:lnTo>
                    <a:lnTo>
                      <a:pt x="608" y="324"/>
                    </a:lnTo>
                    <a:lnTo>
                      <a:pt x="608" y="328"/>
                    </a:lnTo>
                    <a:lnTo>
                      <a:pt x="604" y="328"/>
                    </a:lnTo>
                    <a:lnTo>
                      <a:pt x="600" y="332"/>
                    </a:lnTo>
                    <a:lnTo>
                      <a:pt x="596" y="332"/>
                    </a:lnTo>
                    <a:lnTo>
                      <a:pt x="592" y="328"/>
                    </a:lnTo>
                    <a:lnTo>
                      <a:pt x="592" y="332"/>
                    </a:lnTo>
                    <a:lnTo>
                      <a:pt x="590" y="332"/>
                    </a:lnTo>
                    <a:lnTo>
                      <a:pt x="590" y="328"/>
                    </a:lnTo>
                    <a:lnTo>
                      <a:pt x="590" y="324"/>
                    </a:lnTo>
                    <a:lnTo>
                      <a:pt x="586" y="324"/>
                    </a:lnTo>
                    <a:lnTo>
                      <a:pt x="586" y="322"/>
                    </a:lnTo>
                    <a:lnTo>
                      <a:pt x="582" y="318"/>
                    </a:lnTo>
                    <a:lnTo>
                      <a:pt x="578" y="318"/>
                    </a:lnTo>
                    <a:lnTo>
                      <a:pt x="574" y="314"/>
                    </a:lnTo>
                    <a:lnTo>
                      <a:pt x="570" y="310"/>
                    </a:lnTo>
                    <a:lnTo>
                      <a:pt x="566" y="310"/>
                    </a:lnTo>
                    <a:lnTo>
                      <a:pt x="566" y="306"/>
                    </a:lnTo>
                    <a:lnTo>
                      <a:pt x="564" y="306"/>
                    </a:lnTo>
                    <a:lnTo>
                      <a:pt x="560" y="306"/>
                    </a:lnTo>
                    <a:lnTo>
                      <a:pt x="556" y="306"/>
                    </a:lnTo>
                    <a:lnTo>
                      <a:pt x="552" y="306"/>
                    </a:lnTo>
                    <a:lnTo>
                      <a:pt x="552" y="302"/>
                    </a:lnTo>
                    <a:lnTo>
                      <a:pt x="552" y="298"/>
                    </a:lnTo>
                    <a:lnTo>
                      <a:pt x="548" y="298"/>
                    </a:lnTo>
                    <a:lnTo>
                      <a:pt x="544" y="298"/>
                    </a:lnTo>
                    <a:lnTo>
                      <a:pt x="544" y="294"/>
                    </a:lnTo>
                    <a:lnTo>
                      <a:pt x="540" y="294"/>
                    </a:lnTo>
                    <a:lnTo>
                      <a:pt x="540" y="292"/>
                    </a:lnTo>
                    <a:lnTo>
                      <a:pt x="544" y="292"/>
                    </a:lnTo>
                    <a:lnTo>
                      <a:pt x="544" y="288"/>
                    </a:lnTo>
                    <a:lnTo>
                      <a:pt x="548" y="288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8"/>
                    </a:lnTo>
                    <a:lnTo>
                      <a:pt x="556" y="288"/>
                    </a:lnTo>
                    <a:lnTo>
                      <a:pt x="556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64" y="294"/>
                    </a:lnTo>
                    <a:lnTo>
                      <a:pt x="566" y="294"/>
                    </a:lnTo>
                    <a:lnTo>
                      <a:pt x="570" y="294"/>
                    </a:lnTo>
                    <a:lnTo>
                      <a:pt x="574" y="294"/>
                    </a:lnTo>
                    <a:lnTo>
                      <a:pt x="574" y="292"/>
                    </a:lnTo>
                    <a:lnTo>
                      <a:pt x="574" y="288"/>
                    </a:lnTo>
                    <a:lnTo>
                      <a:pt x="574" y="292"/>
                    </a:lnTo>
                    <a:lnTo>
                      <a:pt x="578" y="292"/>
                    </a:lnTo>
                    <a:lnTo>
                      <a:pt x="578" y="288"/>
                    </a:lnTo>
                    <a:lnTo>
                      <a:pt x="578" y="284"/>
                    </a:lnTo>
                    <a:lnTo>
                      <a:pt x="574" y="284"/>
                    </a:lnTo>
                    <a:lnTo>
                      <a:pt x="570" y="284"/>
                    </a:lnTo>
                    <a:lnTo>
                      <a:pt x="574" y="280"/>
                    </a:lnTo>
                    <a:lnTo>
                      <a:pt x="578" y="284"/>
                    </a:lnTo>
                    <a:lnTo>
                      <a:pt x="582" y="284"/>
                    </a:lnTo>
                    <a:lnTo>
                      <a:pt x="578" y="280"/>
                    </a:lnTo>
                    <a:lnTo>
                      <a:pt x="574" y="280"/>
                    </a:lnTo>
                    <a:lnTo>
                      <a:pt x="574" y="276"/>
                    </a:lnTo>
                    <a:lnTo>
                      <a:pt x="574" y="280"/>
                    </a:lnTo>
                    <a:lnTo>
                      <a:pt x="570" y="280"/>
                    </a:lnTo>
                    <a:lnTo>
                      <a:pt x="566" y="280"/>
                    </a:lnTo>
                    <a:lnTo>
                      <a:pt x="564" y="276"/>
                    </a:lnTo>
                    <a:lnTo>
                      <a:pt x="560" y="276"/>
                    </a:lnTo>
                    <a:lnTo>
                      <a:pt x="556" y="276"/>
                    </a:lnTo>
                    <a:lnTo>
                      <a:pt x="560" y="272"/>
                    </a:lnTo>
                    <a:lnTo>
                      <a:pt x="564" y="272"/>
                    </a:lnTo>
                    <a:lnTo>
                      <a:pt x="566" y="272"/>
                    </a:lnTo>
                    <a:lnTo>
                      <a:pt x="570" y="272"/>
                    </a:lnTo>
                    <a:lnTo>
                      <a:pt x="570" y="276"/>
                    </a:lnTo>
                    <a:lnTo>
                      <a:pt x="574" y="276"/>
                    </a:lnTo>
                    <a:lnTo>
                      <a:pt x="570" y="276"/>
                    </a:lnTo>
                    <a:lnTo>
                      <a:pt x="570" y="272"/>
                    </a:lnTo>
                    <a:lnTo>
                      <a:pt x="566" y="272"/>
                    </a:lnTo>
                    <a:lnTo>
                      <a:pt x="566" y="268"/>
                    </a:lnTo>
                    <a:lnTo>
                      <a:pt x="564" y="268"/>
                    </a:lnTo>
                    <a:lnTo>
                      <a:pt x="566" y="264"/>
                    </a:lnTo>
                    <a:lnTo>
                      <a:pt x="570" y="264"/>
                    </a:lnTo>
                    <a:lnTo>
                      <a:pt x="574" y="264"/>
                    </a:lnTo>
                    <a:lnTo>
                      <a:pt x="578" y="268"/>
                    </a:lnTo>
                    <a:lnTo>
                      <a:pt x="582" y="264"/>
                    </a:lnTo>
                    <a:lnTo>
                      <a:pt x="578" y="264"/>
                    </a:lnTo>
                    <a:lnTo>
                      <a:pt x="574" y="264"/>
                    </a:lnTo>
                    <a:lnTo>
                      <a:pt x="578" y="264"/>
                    </a:lnTo>
                    <a:lnTo>
                      <a:pt x="578" y="262"/>
                    </a:lnTo>
                    <a:lnTo>
                      <a:pt x="582" y="262"/>
                    </a:lnTo>
                    <a:lnTo>
                      <a:pt x="582" y="264"/>
                    </a:lnTo>
                    <a:lnTo>
                      <a:pt x="586" y="264"/>
                    </a:lnTo>
                    <a:lnTo>
                      <a:pt x="590" y="268"/>
                    </a:lnTo>
                    <a:lnTo>
                      <a:pt x="592" y="268"/>
                    </a:lnTo>
                    <a:lnTo>
                      <a:pt x="596" y="268"/>
                    </a:lnTo>
                    <a:lnTo>
                      <a:pt x="600" y="268"/>
                    </a:lnTo>
                    <a:lnTo>
                      <a:pt x="600" y="264"/>
                    </a:lnTo>
                    <a:lnTo>
                      <a:pt x="604" y="264"/>
                    </a:lnTo>
                    <a:lnTo>
                      <a:pt x="608" y="264"/>
                    </a:lnTo>
                    <a:lnTo>
                      <a:pt x="612" y="264"/>
                    </a:lnTo>
                    <a:lnTo>
                      <a:pt x="616" y="264"/>
                    </a:lnTo>
                    <a:lnTo>
                      <a:pt x="620" y="264"/>
                    </a:lnTo>
                    <a:lnTo>
                      <a:pt x="622" y="268"/>
                    </a:lnTo>
                    <a:lnTo>
                      <a:pt x="622" y="272"/>
                    </a:lnTo>
                    <a:lnTo>
                      <a:pt x="620" y="272"/>
                    </a:lnTo>
                    <a:lnTo>
                      <a:pt x="616" y="272"/>
                    </a:lnTo>
                    <a:lnTo>
                      <a:pt x="612" y="276"/>
                    </a:lnTo>
                    <a:lnTo>
                      <a:pt x="616" y="276"/>
                    </a:lnTo>
                    <a:lnTo>
                      <a:pt x="620" y="276"/>
                    </a:lnTo>
                    <a:lnTo>
                      <a:pt x="620" y="276"/>
                    </a:lnTo>
                    <a:lnTo>
                      <a:pt x="620" y="276"/>
                    </a:lnTo>
                    <a:close/>
                    <a:moveTo>
                      <a:pt x="1004" y="542"/>
                    </a:moveTo>
                    <a:lnTo>
                      <a:pt x="1000" y="542"/>
                    </a:lnTo>
                    <a:lnTo>
                      <a:pt x="996" y="542"/>
                    </a:lnTo>
                    <a:lnTo>
                      <a:pt x="992" y="538"/>
                    </a:lnTo>
                    <a:lnTo>
                      <a:pt x="988" y="538"/>
                    </a:lnTo>
                    <a:lnTo>
                      <a:pt x="992" y="538"/>
                    </a:lnTo>
                    <a:lnTo>
                      <a:pt x="992" y="534"/>
                    </a:lnTo>
                    <a:lnTo>
                      <a:pt x="988" y="534"/>
                    </a:lnTo>
                    <a:lnTo>
                      <a:pt x="988" y="538"/>
                    </a:lnTo>
                    <a:lnTo>
                      <a:pt x="984" y="534"/>
                    </a:lnTo>
                    <a:lnTo>
                      <a:pt x="980" y="534"/>
                    </a:lnTo>
                    <a:lnTo>
                      <a:pt x="980" y="530"/>
                    </a:lnTo>
                    <a:lnTo>
                      <a:pt x="980" y="526"/>
                    </a:lnTo>
                    <a:lnTo>
                      <a:pt x="976" y="526"/>
                    </a:lnTo>
                    <a:lnTo>
                      <a:pt x="974" y="526"/>
                    </a:lnTo>
                    <a:lnTo>
                      <a:pt x="976" y="526"/>
                    </a:lnTo>
                    <a:lnTo>
                      <a:pt x="980" y="526"/>
                    </a:lnTo>
                    <a:lnTo>
                      <a:pt x="984" y="526"/>
                    </a:lnTo>
                    <a:lnTo>
                      <a:pt x="984" y="522"/>
                    </a:lnTo>
                    <a:lnTo>
                      <a:pt x="988" y="522"/>
                    </a:lnTo>
                    <a:lnTo>
                      <a:pt x="984" y="522"/>
                    </a:lnTo>
                    <a:lnTo>
                      <a:pt x="980" y="522"/>
                    </a:lnTo>
                    <a:lnTo>
                      <a:pt x="980" y="520"/>
                    </a:lnTo>
                    <a:lnTo>
                      <a:pt x="976" y="520"/>
                    </a:lnTo>
                    <a:lnTo>
                      <a:pt x="976" y="522"/>
                    </a:lnTo>
                    <a:lnTo>
                      <a:pt x="974" y="520"/>
                    </a:lnTo>
                    <a:lnTo>
                      <a:pt x="974" y="522"/>
                    </a:lnTo>
                    <a:lnTo>
                      <a:pt x="970" y="520"/>
                    </a:lnTo>
                    <a:lnTo>
                      <a:pt x="974" y="520"/>
                    </a:lnTo>
                    <a:lnTo>
                      <a:pt x="974" y="516"/>
                    </a:lnTo>
                    <a:lnTo>
                      <a:pt x="970" y="516"/>
                    </a:lnTo>
                    <a:lnTo>
                      <a:pt x="970" y="520"/>
                    </a:lnTo>
                    <a:lnTo>
                      <a:pt x="970" y="516"/>
                    </a:lnTo>
                    <a:lnTo>
                      <a:pt x="966" y="516"/>
                    </a:lnTo>
                    <a:lnTo>
                      <a:pt x="970" y="512"/>
                    </a:lnTo>
                    <a:lnTo>
                      <a:pt x="966" y="512"/>
                    </a:lnTo>
                    <a:lnTo>
                      <a:pt x="966" y="516"/>
                    </a:lnTo>
                    <a:lnTo>
                      <a:pt x="966" y="512"/>
                    </a:lnTo>
                    <a:lnTo>
                      <a:pt x="962" y="512"/>
                    </a:lnTo>
                    <a:lnTo>
                      <a:pt x="962" y="508"/>
                    </a:lnTo>
                    <a:lnTo>
                      <a:pt x="958" y="508"/>
                    </a:lnTo>
                    <a:lnTo>
                      <a:pt x="954" y="504"/>
                    </a:lnTo>
                    <a:lnTo>
                      <a:pt x="958" y="500"/>
                    </a:lnTo>
                    <a:lnTo>
                      <a:pt x="958" y="496"/>
                    </a:lnTo>
                    <a:lnTo>
                      <a:pt x="958" y="500"/>
                    </a:lnTo>
                    <a:lnTo>
                      <a:pt x="954" y="500"/>
                    </a:lnTo>
                    <a:lnTo>
                      <a:pt x="954" y="496"/>
                    </a:lnTo>
                    <a:lnTo>
                      <a:pt x="950" y="496"/>
                    </a:lnTo>
                    <a:lnTo>
                      <a:pt x="950" y="500"/>
                    </a:lnTo>
                    <a:lnTo>
                      <a:pt x="948" y="500"/>
                    </a:lnTo>
                    <a:lnTo>
                      <a:pt x="950" y="500"/>
                    </a:lnTo>
                    <a:lnTo>
                      <a:pt x="948" y="504"/>
                    </a:lnTo>
                    <a:lnTo>
                      <a:pt x="948" y="500"/>
                    </a:lnTo>
                    <a:lnTo>
                      <a:pt x="948" y="496"/>
                    </a:lnTo>
                    <a:lnTo>
                      <a:pt x="944" y="496"/>
                    </a:lnTo>
                    <a:lnTo>
                      <a:pt x="944" y="500"/>
                    </a:lnTo>
                    <a:lnTo>
                      <a:pt x="940" y="500"/>
                    </a:lnTo>
                    <a:lnTo>
                      <a:pt x="940" y="496"/>
                    </a:lnTo>
                    <a:lnTo>
                      <a:pt x="940" y="494"/>
                    </a:lnTo>
                    <a:lnTo>
                      <a:pt x="936" y="494"/>
                    </a:lnTo>
                    <a:lnTo>
                      <a:pt x="936" y="496"/>
                    </a:lnTo>
                    <a:lnTo>
                      <a:pt x="936" y="494"/>
                    </a:lnTo>
                    <a:lnTo>
                      <a:pt x="932" y="494"/>
                    </a:lnTo>
                    <a:lnTo>
                      <a:pt x="936" y="496"/>
                    </a:lnTo>
                    <a:lnTo>
                      <a:pt x="940" y="496"/>
                    </a:lnTo>
                    <a:lnTo>
                      <a:pt x="940" y="500"/>
                    </a:lnTo>
                    <a:lnTo>
                      <a:pt x="940" y="504"/>
                    </a:lnTo>
                    <a:lnTo>
                      <a:pt x="936" y="504"/>
                    </a:lnTo>
                    <a:lnTo>
                      <a:pt x="932" y="504"/>
                    </a:lnTo>
                    <a:lnTo>
                      <a:pt x="932" y="500"/>
                    </a:lnTo>
                    <a:lnTo>
                      <a:pt x="932" y="504"/>
                    </a:lnTo>
                    <a:lnTo>
                      <a:pt x="928" y="504"/>
                    </a:lnTo>
                    <a:lnTo>
                      <a:pt x="928" y="500"/>
                    </a:lnTo>
                    <a:lnTo>
                      <a:pt x="924" y="500"/>
                    </a:lnTo>
                    <a:lnTo>
                      <a:pt x="920" y="500"/>
                    </a:lnTo>
                    <a:lnTo>
                      <a:pt x="924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20" y="500"/>
                    </a:lnTo>
                    <a:lnTo>
                      <a:pt x="924" y="504"/>
                    </a:lnTo>
                    <a:lnTo>
                      <a:pt x="920" y="504"/>
                    </a:lnTo>
                    <a:lnTo>
                      <a:pt x="918" y="504"/>
                    </a:lnTo>
                    <a:lnTo>
                      <a:pt x="918" y="508"/>
                    </a:lnTo>
                    <a:lnTo>
                      <a:pt x="914" y="508"/>
                    </a:lnTo>
                    <a:lnTo>
                      <a:pt x="910" y="508"/>
                    </a:lnTo>
                    <a:lnTo>
                      <a:pt x="906" y="508"/>
                    </a:lnTo>
                    <a:lnTo>
                      <a:pt x="902" y="508"/>
                    </a:lnTo>
                    <a:lnTo>
                      <a:pt x="898" y="508"/>
                    </a:lnTo>
                    <a:lnTo>
                      <a:pt x="898" y="504"/>
                    </a:lnTo>
                    <a:lnTo>
                      <a:pt x="894" y="504"/>
                    </a:lnTo>
                    <a:lnTo>
                      <a:pt x="890" y="504"/>
                    </a:lnTo>
                    <a:lnTo>
                      <a:pt x="888" y="500"/>
                    </a:lnTo>
                    <a:lnTo>
                      <a:pt x="888" y="496"/>
                    </a:lnTo>
                    <a:lnTo>
                      <a:pt x="890" y="494"/>
                    </a:lnTo>
                    <a:lnTo>
                      <a:pt x="888" y="490"/>
                    </a:lnTo>
                    <a:lnTo>
                      <a:pt x="890" y="490"/>
                    </a:lnTo>
                    <a:lnTo>
                      <a:pt x="894" y="486"/>
                    </a:lnTo>
                    <a:lnTo>
                      <a:pt x="898" y="486"/>
                    </a:lnTo>
                    <a:lnTo>
                      <a:pt x="902" y="486"/>
                    </a:lnTo>
                    <a:lnTo>
                      <a:pt x="898" y="482"/>
                    </a:lnTo>
                    <a:lnTo>
                      <a:pt x="902" y="482"/>
                    </a:lnTo>
                    <a:lnTo>
                      <a:pt x="898" y="478"/>
                    </a:lnTo>
                    <a:lnTo>
                      <a:pt x="902" y="478"/>
                    </a:lnTo>
                    <a:lnTo>
                      <a:pt x="906" y="478"/>
                    </a:lnTo>
                    <a:lnTo>
                      <a:pt x="910" y="482"/>
                    </a:lnTo>
                    <a:lnTo>
                      <a:pt x="914" y="482"/>
                    </a:lnTo>
                    <a:lnTo>
                      <a:pt x="918" y="482"/>
                    </a:lnTo>
                    <a:lnTo>
                      <a:pt x="920" y="482"/>
                    </a:lnTo>
                    <a:lnTo>
                      <a:pt x="920" y="486"/>
                    </a:lnTo>
                    <a:lnTo>
                      <a:pt x="924" y="486"/>
                    </a:lnTo>
                    <a:lnTo>
                      <a:pt x="928" y="490"/>
                    </a:lnTo>
                    <a:lnTo>
                      <a:pt x="924" y="490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6"/>
                    </a:lnTo>
                    <a:lnTo>
                      <a:pt x="928" y="494"/>
                    </a:lnTo>
                    <a:lnTo>
                      <a:pt x="924" y="494"/>
                    </a:lnTo>
                    <a:lnTo>
                      <a:pt x="928" y="494"/>
                    </a:lnTo>
                    <a:lnTo>
                      <a:pt x="928" y="490"/>
                    </a:lnTo>
                    <a:lnTo>
                      <a:pt x="932" y="490"/>
                    </a:lnTo>
                    <a:lnTo>
                      <a:pt x="932" y="486"/>
                    </a:lnTo>
                    <a:lnTo>
                      <a:pt x="928" y="486"/>
                    </a:lnTo>
                    <a:lnTo>
                      <a:pt x="928" y="490"/>
                    </a:lnTo>
                    <a:lnTo>
                      <a:pt x="928" y="486"/>
                    </a:lnTo>
                    <a:lnTo>
                      <a:pt x="924" y="486"/>
                    </a:lnTo>
                    <a:lnTo>
                      <a:pt x="920" y="486"/>
                    </a:lnTo>
                    <a:lnTo>
                      <a:pt x="920" y="482"/>
                    </a:lnTo>
                    <a:lnTo>
                      <a:pt x="924" y="482"/>
                    </a:lnTo>
                    <a:lnTo>
                      <a:pt x="928" y="482"/>
                    </a:lnTo>
                    <a:lnTo>
                      <a:pt x="932" y="482"/>
                    </a:lnTo>
                    <a:lnTo>
                      <a:pt x="936" y="482"/>
                    </a:lnTo>
                    <a:lnTo>
                      <a:pt x="940" y="482"/>
                    </a:lnTo>
                    <a:lnTo>
                      <a:pt x="944" y="478"/>
                    </a:lnTo>
                    <a:lnTo>
                      <a:pt x="948" y="478"/>
                    </a:lnTo>
                    <a:lnTo>
                      <a:pt x="950" y="478"/>
                    </a:lnTo>
                    <a:lnTo>
                      <a:pt x="954" y="478"/>
                    </a:lnTo>
                    <a:lnTo>
                      <a:pt x="954" y="474"/>
                    </a:lnTo>
                    <a:lnTo>
                      <a:pt x="950" y="474"/>
                    </a:lnTo>
                    <a:lnTo>
                      <a:pt x="950" y="470"/>
                    </a:lnTo>
                    <a:lnTo>
                      <a:pt x="948" y="470"/>
                    </a:lnTo>
                    <a:lnTo>
                      <a:pt x="948" y="466"/>
                    </a:lnTo>
                    <a:lnTo>
                      <a:pt x="944" y="466"/>
                    </a:lnTo>
                    <a:lnTo>
                      <a:pt x="944" y="464"/>
                    </a:lnTo>
                    <a:lnTo>
                      <a:pt x="940" y="464"/>
                    </a:lnTo>
                    <a:lnTo>
                      <a:pt x="944" y="460"/>
                    </a:lnTo>
                    <a:lnTo>
                      <a:pt x="948" y="460"/>
                    </a:lnTo>
                    <a:lnTo>
                      <a:pt x="950" y="456"/>
                    </a:lnTo>
                    <a:lnTo>
                      <a:pt x="954" y="452"/>
                    </a:lnTo>
                    <a:lnTo>
                      <a:pt x="958" y="448"/>
                    </a:lnTo>
                    <a:lnTo>
                      <a:pt x="962" y="448"/>
                    </a:lnTo>
                    <a:lnTo>
                      <a:pt x="962" y="444"/>
                    </a:lnTo>
                    <a:lnTo>
                      <a:pt x="966" y="440"/>
                    </a:lnTo>
                    <a:lnTo>
                      <a:pt x="970" y="440"/>
                    </a:lnTo>
                    <a:lnTo>
                      <a:pt x="970" y="436"/>
                    </a:lnTo>
                    <a:lnTo>
                      <a:pt x="974" y="436"/>
                    </a:lnTo>
                    <a:lnTo>
                      <a:pt x="974" y="434"/>
                    </a:lnTo>
                    <a:lnTo>
                      <a:pt x="970" y="434"/>
                    </a:lnTo>
                    <a:lnTo>
                      <a:pt x="970" y="430"/>
                    </a:lnTo>
                    <a:lnTo>
                      <a:pt x="970" y="426"/>
                    </a:lnTo>
                    <a:lnTo>
                      <a:pt x="966" y="426"/>
                    </a:lnTo>
                    <a:lnTo>
                      <a:pt x="966" y="422"/>
                    </a:lnTo>
                    <a:lnTo>
                      <a:pt x="970" y="422"/>
                    </a:lnTo>
                    <a:lnTo>
                      <a:pt x="966" y="422"/>
                    </a:lnTo>
                    <a:lnTo>
                      <a:pt x="966" y="418"/>
                    </a:lnTo>
                    <a:lnTo>
                      <a:pt x="962" y="418"/>
                    </a:lnTo>
                    <a:lnTo>
                      <a:pt x="962" y="414"/>
                    </a:lnTo>
                    <a:lnTo>
                      <a:pt x="962" y="410"/>
                    </a:lnTo>
                    <a:lnTo>
                      <a:pt x="958" y="410"/>
                    </a:lnTo>
                    <a:lnTo>
                      <a:pt x="954" y="410"/>
                    </a:lnTo>
                    <a:lnTo>
                      <a:pt x="954" y="408"/>
                    </a:lnTo>
                    <a:lnTo>
                      <a:pt x="958" y="408"/>
                    </a:lnTo>
                    <a:lnTo>
                      <a:pt x="954" y="408"/>
                    </a:lnTo>
                    <a:lnTo>
                      <a:pt x="954" y="410"/>
                    </a:lnTo>
                    <a:lnTo>
                      <a:pt x="950" y="408"/>
                    </a:lnTo>
                    <a:lnTo>
                      <a:pt x="950" y="404"/>
                    </a:lnTo>
                    <a:lnTo>
                      <a:pt x="950" y="400"/>
                    </a:lnTo>
                    <a:lnTo>
                      <a:pt x="948" y="400"/>
                    </a:lnTo>
                    <a:lnTo>
                      <a:pt x="950" y="404"/>
                    </a:lnTo>
                    <a:lnTo>
                      <a:pt x="948" y="404"/>
                    </a:lnTo>
                    <a:lnTo>
                      <a:pt x="944" y="404"/>
                    </a:lnTo>
                    <a:lnTo>
                      <a:pt x="940" y="400"/>
                    </a:lnTo>
                    <a:lnTo>
                      <a:pt x="936" y="400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40" y="396"/>
                    </a:lnTo>
                    <a:lnTo>
                      <a:pt x="936" y="396"/>
                    </a:lnTo>
                    <a:lnTo>
                      <a:pt x="936" y="392"/>
                    </a:lnTo>
                    <a:lnTo>
                      <a:pt x="932" y="392"/>
                    </a:lnTo>
                    <a:lnTo>
                      <a:pt x="936" y="392"/>
                    </a:lnTo>
                    <a:lnTo>
                      <a:pt x="940" y="392"/>
                    </a:lnTo>
                    <a:lnTo>
                      <a:pt x="940" y="388"/>
                    </a:lnTo>
                    <a:lnTo>
                      <a:pt x="936" y="388"/>
                    </a:lnTo>
                    <a:lnTo>
                      <a:pt x="932" y="392"/>
                    </a:lnTo>
                    <a:lnTo>
                      <a:pt x="928" y="392"/>
                    </a:lnTo>
                    <a:lnTo>
                      <a:pt x="924" y="392"/>
                    </a:lnTo>
                    <a:lnTo>
                      <a:pt x="924" y="396"/>
                    </a:lnTo>
                    <a:lnTo>
                      <a:pt x="920" y="396"/>
                    </a:lnTo>
                    <a:lnTo>
                      <a:pt x="918" y="396"/>
                    </a:lnTo>
                    <a:lnTo>
                      <a:pt x="918" y="400"/>
                    </a:lnTo>
                    <a:lnTo>
                      <a:pt x="914" y="400"/>
                    </a:lnTo>
                    <a:lnTo>
                      <a:pt x="910" y="400"/>
                    </a:lnTo>
                    <a:lnTo>
                      <a:pt x="910" y="396"/>
                    </a:lnTo>
                    <a:lnTo>
                      <a:pt x="914" y="396"/>
                    </a:lnTo>
                    <a:lnTo>
                      <a:pt x="910" y="396"/>
                    </a:lnTo>
                    <a:lnTo>
                      <a:pt x="910" y="392"/>
                    </a:lnTo>
                    <a:lnTo>
                      <a:pt x="914" y="388"/>
                    </a:lnTo>
                    <a:lnTo>
                      <a:pt x="918" y="388"/>
                    </a:lnTo>
                    <a:lnTo>
                      <a:pt x="918" y="392"/>
                    </a:lnTo>
                    <a:lnTo>
                      <a:pt x="920" y="392"/>
                    </a:lnTo>
                    <a:lnTo>
                      <a:pt x="920" y="388"/>
                    </a:lnTo>
                    <a:lnTo>
                      <a:pt x="924" y="388"/>
                    </a:lnTo>
                    <a:lnTo>
                      <a:pt x="924" y="384"/>
                    </a:lnTo>
                    <a:lnTo>
                      <a:pt x="920" y="384"/>
                    </a:lnTo>
                    <a:lnTo>
                      <a:pt x="920" y="380"/>
                    </a:lnTo>
                    <a:lnTo>
                      <a:pt x="918" y="380"/>
                    </a:lnTo>
                    <a:lnTo>
                      <a:pt x="914" y="380"/>
                    </a:lnTo>
                    <a:lnTo>
                      <a:pt x="910" y="378"/>
                    </a:lnTo>
                    <a:lnTo>
                      <a:pt x="914" y="374"/>
                    </a:lnTo>
                    <a:lnTo>
                      <a:pt x="918" y="374"/>
                    </a:lnTo>
                    <a:lnTo>
                      <a:pt x="914" y="374"/>
                    </a:lnTo>
                    <a:lnTo>
                      <a:pt x="910" y="374"/>
                    </a:lnTo>
                    <a:lnTo>
                      <a:pt x="914" y="374"/>
                    </a:lnTo>
                    <a:lnTo>
                      <a:pt x="910" y="378"/>
                    </a:lnTo>
                    <a:lnTo>
                      <a:pt x="906" y="378"/>
                    </a:lnTo>
                    <a:lnTo>
                      <a:pt x="902" y="374"/>
                    </a:lnTo>
                    <a:lnTo>
                      <a:pt x="906" y="374"/>
                    </a:lnTo>
                    <a:lnTo>
                      <a:pt x="910" y="374"/>
                    </a:lnTo>
                    <a:lnTo>
                      <a:pt x="906" y="370"/>
                    </a:lnTo>
                    <a:lnTo>
                      <a:pt x="902" y="370"/>
                    </a:lnTo>
                    <a:lnTo>
                      <a:pt x="906" y="366"/>
                    </a:lnTo>
                    <a:lnTo>
                      <a:pt x="902" y="366"/>
                    </a:lnTo>
                    <a:lnTo>
                      <a:pt x="902" y="370"/>
                    </a:lnTo>
                    <a:lnTo>
                      <a:pt x="898" y="370"/>
                    </a:lnTo>
                    <a:lnTo>
                      <a:pt x="898" y="374"/>
                    </a:lnTo>
                    <a:lnTo>
                      <a:pt x="894" y="374"/>
                    </a:lnTo>
                    <a:lnTo>
                      <a:pt x="894" y="370"/>
                    </a:lnTo>
                    <a:lnTo>
                      <a:pt x="894" y="366"/>
                    </a:lnTo>
                    <a:lnTo>
                      <a:pt x="894" y="362"/>
                    </a:lnTo>
                    <a:lnTo>
                      <a:pt x="894" y="358"/>
                    </a:lnTo>
                    <a:lnTo>
                      <a:pt x="890" y="358"/>
                    </a:lnTo>
                    <a:lnTo>
                      <a:pt x="888" y="358"/>
                    </a:lnTo>
                    <a:lnTo>
                      <a:pt x="888" y="362"/>
                    </a:lnTo>
                    <a:lnTo>
                      <a:pt x="884" y="358"/>
                    </a:lnTo>
                    <a:lnTo>
                      <a:pt x="884" y="354"/>
                    </a:lnTo>
                    <a:lnTo>
                      <a:pt x="884" y="358"/>
                    </a:lnTo>
                    <a:lnTo>
                      <a:pt x="880" y="354"/>
                    </a:lnTo>
                    <a:lnTo>
                      <a:pt x="876" y="354"/>
                    </a:lnTo>
                    <a:lnTo>
                      <a:pt x="876" y="350"/>
                    </a:lnTo>
                    <a:lnTo>
                      <a:pt x="880" y="350"/>
                    </a:lnTo>
                    <a:lnTo>
                      <a:pt x="876" y="350"/>
                    </a:lnTo>
                    <a:lnTo>
                      <a:pt x="876" y="348"/>
                    </a:lnTo>
                    <a:lnTo>
                      <a:pt x="876" y="350"/>
                    </a:lnTo>
                    <a:lnTo>
                      <a:pt x="876" y="354"/>
                    </a:lnTo>
                    <a:lnTo>
                      <a:pt x="872" y="354"/>
                    </a:lnTo>
                    <a:lnTo>
                      <a:pt x="868" y="354"/>
                    </a:lnTo>
                    <a:lnTo>
                      <a:pt x="872" y="354"/>
                    </a:lnTo>
                    <a:lnTo>
                      <a:pt x="872" y="358"/>
                    </a:lnTo>
                    <a:lnTo>
                      <a:pt x="876" y="358"/>
                    </a:lnTo>
                    <a:lnTo>
                      <a:pt x="880" y="358"/>
                    </a:lnTo>
                    <a:lnTo>
                      <a:pt x="880" y="362"/>
                    </a:lnTo>
                    <a:lnTo>
                      <a:pt x="880" y="366"/>
                    </a:lnTo>
                    <a:lnTo>
                      <a:pt x="880" y="370"/>
                    </a:lnTo>
                    <a:lnTo>
                      <a:pt x="876" y="370"/>
                    </a:lnTo>
                    <a:lnTo>
                      <a:pt x="872" y="370"/>
                    </a:lnTo>
                    <a:lnTo>
                      <a:pt x="868" y="370"/>
                    </a:lnTo>
                    <a:lnTo>
                      <a:pt x="864" y="370"/>
                    </a:lnTo>
                    <a:lnTo>
                      <a:pt x="864" y="366"/>
                    </a:lnTo>
                    <a:lnTo>
                      <a:pt x="862" y="366"/>
                    </a:lnTo>
                    <a:lnTo>
                      <a:pt x="858" y="366"/>
                    </a:lnTo>
                    <a:lnTo>
                      <a:pt x="854" y="366"/>
                    </a:lnTo>
                    <a:lnTo>
                      <a:pt x="850" y="366"/>
                    </a:lnTo>
                    <a:lnTo>
                      <a:pt x="850" y="362"/>
                    </a:lnTo>
                    <a:lnTo>
                      <a:pt x="846" y="362"/>
                    </a:lnTo>
                    <a:lnTo>
                      <a:pt x="842" y="362"/>
                    </a:lnTo>
                    <a:lnTo>
                      <a:pt x="838" y="362"/>
                    </a:lnTo>
                    <a:lnTo>
                      <a:pt x="838" y="366"/>
                    </a:lnTo>
                    <a:lnTo>
                      <a:pt x="842" y="366"/>
                    </a:lnTo>
                    <a:lnTo>
                      <a:pt x="846" y="366"/>
                    </a:lnTo>
                    <a:lnTo>
                      <a:pt x="846" y="370"/>
                    </a:lnTo>
                    <a:lnTo>
                      <a:pt x="850" y="370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46" y="374"/>
                    </a:lnTo>
                    <a:lnTo>
                      <a:pt x="846" y="370"/>
                    </a:lnTo>
                    <a:lnTo>
                      <a:pt x="842" y="370"/>
                    </a:lnTo>
                    <a:lnTo>
                      <a:pt x="842" y="366"/>
                    </a:lnTo>
                    <a:lnTo>
                      <a:pt x="838" y="366"/>
                    </a:lnTo>
                    <a:lnTo>
                      <a:pt x="834" y="366"/>
                    </a:lnTo>
                    <a:lnTo>
                      <a:pt x="834" y="362"/>
                    </a:lnTo>
                    <a:lnTo>
                      <a:pt x="832" y="362"/>
                    </a:lnTo>
                    <a:lnTo>
                      <a:pt x="828" y="362"/>
                    </a:lnTo>
                    <a:lnTo>
                      <a:pt x="824" y="358"/>
                    </a:lnTo>
                    <a:lnTo>
                      <a:pt x="820" y="358"/>
                    </a:lnTo>
                    <a:lnTo>
                      <a:pt x="824" y="358"/>
                    </a:lnTo>
                    <a:lnTo>
                      <a:pt x="824" y="362"/>
                    </a:lnTo>
                    <a:lnTo>
                      <a:pt x="828" y="362"/>
                    </a:lnTo>
                    <a:lnTo>
                      <a:pt x="832" y="362"/>
                    </a:lnTo>
                    <a:lnTo>
                      <a:pt x="834" y="366"/>
                    </a:lnTo>
                    <a:lnTo>
                      <a:pt x="838" y="366"/>
                    </a:lnTo>
                    <a:lnTo>
                      <a:pt x="838" y="370"/>
                    </a:lnTo>
                    <a:lnTo>
                      <a:pt x="834" y="370"/>
                    </a:lnTo>
                    <a:lnTo>
                      <a:pt x="832" y="370"/>
                    </a:lnTo>
                    <a:lnTo>
                      <a:pt x="828" y="370"/>
                    </a:lnTo>
                    <a:lnTo>
                      <a:pt x="824" y="370"/>
                    </a:lnTo>
                    <a:lnTo>
                      <a:pt x="820" y="366"/>
                    </a:lnTo>
                    <a:lnTo>
                      <a:pt x="816" y="366"/>
                    </a:lnTo>
                    <a:lnTo>
                      <a:pt x="812" y="366"/>
                    </a:lnTo>
                    <a:lnTo>
                      <a:pt x="808" y="366"/>
                    </a:lnTo>
                    <a:lnTo>
                      <a:pt x="806" y="366"/>
                    </a:lnTo>
                    <a:lnTo>
                      <a:pt x="802" y="366"/>
                    </a:lnTo>
                    <a:lnTo>
                      <a:pt x="798" y="366"/>
                    </a:lnTo>
                    <a:lnTo>
                      <a:pt x="794" y="366"/>
                    </a:lnTo>
                    <a:lnTo>
                      <a:pt x="790" y="362"/>
                    </a:lnTo>
                    <a:lnTo>
                      <a:pt x="786" y="362"/>
                    </a:lnTo>
                    <a:lnTo>
                      <a:pt x="782" y="362"/>
                    </a:lnTo>
                    <a:lnTo>
                      <a:pt x="778" y="362"/>
                    </a:lnTo>
                    <a:lnTo>
                      <a:pt x="778" y="366"/>
                    </a:lnTo>
                    <a:lnTo>
                      <a:pt x="782" y="362"/>
                    </a:lnTo>
                    <a:lnTo>
                      <a:pt x="786" y="366"/>
                    </a:lnTo>
                    <a:lnTo>
                      <a:pt x="790" y="366"/>
                    </a:lnTo>
                    <a:lnTo>
                      <a:pt x="786" y="366"/>
                    </a:lnTo>
                    <a:lnTo>
                      <a:pt x="782" y="366"/>
                    </a:lnTo>
                    <a:lnTo>
                      <a:pt x="778" y="366"/>
                    </a:lnTo>
                    <a:lnTo>
                      <a:pt x="776" y="366"/>
                    </a:lnTo>
                    <a:lnTo>
                      <a:pt x="776" y="362"/>
                    </a:lnTo>
                    <a:lnTo>
                      <a:pt x="772" y="362"/>
                    </a:lnTo>
                    <a:lnTo>
                      <a:pt x="772" y="358"/>
                    </a:lnTo>
                    <a:lnTo>
                      <a:pt x="768" y="354"/>
                    </a:lnTo>
                    <a:lnTo>
                      <a:pt x="772" y="354"/>
                    </a:lnTo>
                    <a:lnTo>
                      <a:pt x="776" y="354"/>
                    </a:lnTo>
                    <a:lnTo>
                      <a:pt x="772" y="354"/>
                    </a:lnTo>
                    <a:lnTo>
                      <a:pt x="772" y="350"/>
                    </a:lnTo>
                    <a:lnTo>
                      <a:pt x="772" y="354"/>
                    </a:lnTo>
                    <a:lnTo>
                      <a:pt x="768" y="354"/>
                    </a:lnTo>
                    <a:lnTo>
                      <a:pt x="768" y="358"/>
                    </a:lnTo>
                    <a:lnTo>
                      <a:pt x="764" y="358"/>
                    </a:lnTo>
                    <a:lnTo>
                      <a:pt x="764" y="354"/>
                    </a:lnTo>
                    <a:lnTo>
                      <a:pt x="760" y="354"/>
                    </a:lnTo>
                    <a:lnTo>
                      <a:pt x="764" y="354"/>
                    </a:lnTo>
                    <a:lnTo>
                      <a:pt x="764" y="358"/>
                    </a:lnTo>
                    <a:lnTo>
                      <a:pt x="760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56" y="358"/>
                    </a:lnTo>
                    <a:lnTo>
                      <a:pt x="752" y="358"/>
                    </a:lnTo>
                    <a:lnTo>
                      <a:pt x="748" y="358"/>
                    </a:lnTo>
                    <a:lnTo>
                      <a:pt x="746" y="358"/>
                    </a:lnTo>
                    <a:lnTo>
                      <a:pt x="748" y="358"/>
                    </a:lnTo>
                    <a:lnTo>
                      <a:pt x="748" y="354"/>
                    </a:lnTo>
                    <a:lnTo>
                      <a:pt x="746" y="354"/>
                    </a:lnTo>
                    <a:lnTo>
                      <a:pt x="742" y="354"/>
                    </a:lnTo>
                    <a:lnTo>
                      <a:pt x="738" y="354"/>
                    </a:lnTo>
                    <a:lnTo>
                      <a:pt x="738" y="350"/>
                    </a:lnTo>
                    <a:lnTo>
                      <a:pt x="734" y="350"/>
                    </a:lnTo>
                    <a:lnTo>
                      <a:pt x="734" y="348"/>
                    </a:lnTo>
                    <a:lnTo>
                      <a:pt x="732" y="348"/>
                    </a:lnTo>
                    <a:lnTo>
                      <a:pt x="732" y="344"/>
                    </a:lnTo>
                    <a:lnTo>
                      <a:pt x="734" y="340"/>
                    </a:lnTo>
                    <a:lnTo>
                      <a:pt x="732" y="340"/>
                    </a:lnTo>
                    <a:lnTo>
                      <a:pt x="728" y="340"/>
                    </a:lnTo>
                    <a:lnTo>
                      <a:pt x="728" y="336"/>
                    </a:lnTo>
                    <a:lnTo>
                      <a:pt x="732" y="340"/>
                    </a:lnTo>
                    <a:lnTo>
                      <a:pt x="734" y="340"/>
                    </a:lnTo>
                    <a:lnTo>
                      <a:pt x="738" y="340"/>
                    </a:lnTo>
                    <a:lnTo>
                      <a:pt x="742" y="340"/>
                    </a:lnTo>
                    <a:lnTo>
                      <a:pt x="746" y="340"/>
                    </a:lnTo>
                    <a:lnTo>
                      <a:pt x="748" y="344"/>
                    </a:lnTo>
                    <a:lnTo>
                      <a:pt x="752" y="340"/>
                    </a:lnTo>
                    <a:lnTo>
                      <a:pt x="756" y="340"/>
                    </a:lnTo>
                    <a:lnTo>
                      <a:pt x="760" y="340"/>
                    </a:lnTo>
                    <a:lnTo>
                      <a:pt x="764" y="340"/>
                    </a:lnTo>
                    <a:lnTo>
                      <a:pt x="760" y="340"/>
                    </a:lnTo>
                    <a:lnTo>
                      <a:pt x="756" y="340"/>
                    </a:lnTo>
                    <a:lnTo>
                      <a:pt x="756" y="336"/>
                    </a:lnTo>
                    <a:lnTo>
                      <a:pt x="752" y="336"/>
                    </a:lnTo>
                    <a:lnTo>
                      <a:pt x="752" y="332"/>
                    </a:lnTo>
                    <a:lnTo>
                      <a:pt x="748" y="332"/>
                    </a:lnTo>
                    <a:lnTo>
                      <a:pt x="748" y="336"/>
                    </a:lnTo>
                    <a:lnTo>
                      <a:pt x="746" y="332"/>
                    </a:lnTo>
                    <a:lnTo>
                      <a:pt x="742" y="332"/>
                    </a:lnTo>
                    <a:lnTo>
                      <a:pt x="738" y="332"/>
                    </a:lnTo>
                    <a:lnTo>
                      <a:pt x="734" y="332"/>
                    </a:lnTo>
                    <a:lnTo>
                      <a:pt x="732" y="332"/>
                    </a:lnTo>
                    <a:lnTo>
                      <a:pt x="728" y="332"/>
                    </a:lnTo>
                    <a:lnTo>
                      <a:pt x="724" y="332"/>
                    </a:lnTo>
                    <a:lnTo>
                      <a:pt x="724" y="328"/>
                    </a:lnTo>
                    <a:lnTo>
                      <a:pt x="720" y="324"/>
                    </a:lnTo>
                    <a:lnTo>
                      <a:pt x="724" y="324"/>
                    </a:lnTo>
                    <a:lnTo>
                      <a:pt x="724" y="322"/>
                    </a:lnTo>
                    <a:lnTo>
                      <a:pt x="724" y="318"/>
                    </a:lnTo>
                    <a:lnTo>
                      <a:pt x="720" y="318"/>
                    </a:lnTo>
                    <a:lnTo>
                      <a:pt x="720" y="314"/>
                    </a:lnTo>
                    <a:lnTo>
                      <a:pt x="724" y="314"/>
                    </a:lnTo>
                    <a:lnTo>
                      <a:pt x="724" y="310"/>
                    </a:lnTo>
                    <a:lnTo>
                      <a:pt x="728" y="310"/>
                    </a:lnTo>
                    <a:lnTo>
                      <a:pt x="724" y="310"/>
                    </a:lnTo>
                    <a:lnTo>
                      <a:pt x="724" y="306"/>
                    </a:lnTo>
                    <a:lnTo>
                      <a:pt x="724" y="302"/>
                    </a:lnTo>
                    <a:lnTo>
                      <a:pt x="724" y="298"/>
                    </a:lnTo>
                    <a:lnTo>
                      <a:pt x="728" y="298"/>
                    </a:lnTo>
                    <a:lnTo>
                      <a:pt x="728" y="294"/>
                    </a:lnTo>
                    <a:lnTo>
                      <a:pt x="732" y="294"/>
                    </a:lnTo>
                    <a:lnTo>
                      <a:pt x="732" y="288"/>
                    </a:lnTo>
                    <a:lnTo>
                      <a:pt x="732" y="284"/>
                    </a:lnTo>
                    <a:lnTo>
                      <a:pt x="734" y="280"/>
                    </a:lnTo>
                    <a:lnTo>
                      <a:pt x="738" y="280"/>
                    </a:lnTo>
                    <a:lnTo>
                      <a:pt x="738" y="276"/>
                    </a:lnTo>
                    <a:lnTo>
                      <a:pt x="742" y="276"/>
                    </a:lnTo>
                    <a:lnTo>
                      <a:pt x="742" y="272"/>
                    </a:lnTo>
                    <a:lnTo>
                      <a:pt x="746" y="272"/>
                    </a:lnTo>
                    <a:lnTo>
                      <a:pt x="748" y="272"/>
                    </a:lnTo>
                    <a:lnTo>
                      <a:pt x="748" y="268"/>
                    </a:lnTo>
                    <a:lnTo>
                      <a:pt x="752" y="268"/>
                    </a:lnTo>
                    <a:lnTo>
                      <a:pt x="756" y="268"/>
                    </a:lnTo>
                    <a:lnTo>
                      <a:pt x="760" y="264"/>
                    </a:lnTo>
                    <a:lnTo>
                      <a:pt x="764" y="264"/>
                    </a:lnTo>
                    <a:lnTo>
                      <a:pt x="768" y="264"/>
                    </a:lnTo>
                    <a:lnTo>
                      <a:pt x="772" y="264"/>
                    </a:lnTo>
                    <a:lnTo>
                      <a:pt x="776" y="264"/>
                    </a:lnTo>
                    <a:lnTo>
                      <a:pt x="782" y="264"/>
                    </a:lnTo>
                    <a:lnTo>
                      <a:pt x="786" y="264"/>
                    </a:lnTo>
                    <a:lnTo>
                      <a:pt x="790" y="264"/>
                    </a:lnTo>
                    <a:lnTo>
                      <a:pt x="794" y="268"/>
                    </a:lnTo>
                    <a:lnTo>
                      <a:pt x="790" y="268"/>
                    </a:lnTo>
                    <a:lnTo>
                      <a:pt x="786" y="272"/>
                    </a:lnTo>
                    <a:lnTo>
                      <a:pt x="782" y="276"/>
                    </a:lnTo>
                    <a:lnTo>
                      <a:pt x="778" y="276"/>
                    </a:lnTo>
                    <a:lnTo>
                      <a:pt x="778" y="280"/>
                    </a:lnTo>
                    <a:lnTo>
                      <a:pt x="776" y="280"/>
                    </a:lnTo>
                    <a:lnTo>
                      <a:pt x="776" y="284"/>
                    </a:lnTo>
                    <a:lnTo>
                      <a:pt x="776" y="288"/>
                    </a:lnTo>
                    <a:lnTo>
                      <a:pt x="772" y="288"/>
                    </a:lnTo>
                    <a:lnTo>
                      <a:pt x="768" y="292"/>
                    </a:lnTo>
                    <a:lnTo>
                      <a:pt x="768" y="294"/>
                    </a:lnTo>
                    <a:lnTo>
                      <a:pt x="768" y="298"/>
                    </a:lnTo>
                    <a:lnTo>
                      <a:pt x="772" y="298"/>
                    </a:lnTo>
                    <a:lnTo>
                      <a:pt x="772" y="302"/>
                    </a:lnTo>
                    <a:lnTo>
                      <a:pt x="776" y="302"/>
                    </a:lnTo>
                    <a:lnTo>
                      <a:pt x="772" y="306"/>
                    </a:lnTo>
                    <a:lnTo>
                      <a:pt x="772" y="310"/>
                    </a:lnTo>
                    <a:lnTo>
                      <a:pt x="772" y="314"/>
                    </a:lnTo>
                    <a:lnTo>
                      <a:pt x="776" y="318"/>
                    </a:lnTo>
                    <a:lnTo>
                      <a:pt x="776" y="322"/>
                    </a:lnTo>
                    <a:lnTo>
                      <a:pt x="778" y="322"/>
                    </a:lnTo>
                    <a:lnTo>
                      <a:pt x="786" y="328"/>
                    </a:lnTo>
                    <a:lnTo>
                      <a:pt x="790" y="328"/>
                    </a:lnTo>
                    <a:lnTo>
                      <a:pt x="794" y="328"/>
                    </a:lnTo>
                    <a:lnTo>
                      <a:pt x="794" y="332"/>
                    </a:lnTo>
                    <a:lnTo>
                      <a:pt x="790" y="332"/>
                    </a:lnTo>
                    <a:lnTo>
                      <a:pt x="786" y="336"/>
                    </a:lnTo>
                    <a:lnTo>
                      <a:pt x="782" y="336"/>
                    </a:lnTo>
                    <a:lnTo>
                      <a:pt x="778" y="336"/>
                    </a:lnTo>
                    <a:lnTo>
                      <a:pt x="776" y="336"/>
                    </a:lnTo>
                    <a:lnTo>
                      <a:pt x="776" y="340"/>
                    </a:lnTo>
                    <a:lnTo>
                      <a:pt x="772" y="340"/>
                    </a:lnTo>
                    <a:lnTo>
                      <a:pt x="768" y="340"/>
                    </a:lnTo>
                    <a:lnTo>
                      <a:pt x="772" y="340"/>
                    </a:lnTo>
                    <a:lnTo>
                      <a:pt x="776" y="340"/>
                    </a:lnTo>
                    <a:lnTo>
                      <a:pt x="778" y="340"/>
                    </a:lnTo>
                    <a:lnTo>
                      <a:pt x="778" y="336"/>
                    </a:lnTo>
                    <a:lnTo>
                      <a:pt x="782" y="336"/>
                    </a:lnTo>
                    <a:lnTo>
                      <a:pt x="786" y="336"/>
                    </a:lnTo>
                    <a:lnTo>
                      <a:pt x="790" y="336"/>
                    </a:lnTo>
                    <a:lnTo>
                      <a:pt x="794" y="336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0" y="336"/>
                    </a:lnTo>
                    <a:lnTo>
                      <a:pt x="790" y="340"/>
                    </a:lnTo>
                    <a:lnTo>
                      <a:pt x="794" y="340"/>
                    </a:lnTo>
                    <a:lnTo>
                      <a:pt x="794" y="344"/>
                    </a:lnTo>
                    <a:lnTo>
                      <a:pt x="794" y="340"/>
                    </a:lnTo>
                    <a:lnTo>
                      <a:pt x="794" y="336"/>
                    </a:lnTo>
                    <a:lnTo>
                      <a:pt x="794" y="332"/>
                    </a:lnTo>
                    <a:lnTo>
                      <a:pt x="794" y="328"/>
                    </a:lnTo>
                    <a:lnTo>
                      <a:pt x="798" y="328"/>
                    </a:lnTo>
                    <a:lnTo>
                      <a:pt x="798" y="324"/>
                    </a:lnTo>
                    <a:lnTo>
                      <a:pt x="798" y="322"/>
                    </a:lnTo>
                    <a:lnTo>
                      <a:pt x="794" y="322"/>
                    </a:lnTo>
                    <a:lnTo>
                      <a:pt x="794" y="324"/>
                    </a:lnTo>
                    <a:lnTo>
                      <a:pt x="790" y="324"/>
                    </a:lnTo>
                    <a:lnTo>
                      <a:pt x="790" y="322"/>
                    </a:lnTo>
                    <a:lnTo>
                      <a:pt x="786" y="322"/>
                    </a:lnTo>
                    <a:lnTo>
                      <a:pt x="782" y="322"/>
                    </a:lnTo>
                    <a:lnTo>
                      <a:pt x="786" y="322"/>
                    </a:lnTo>
                    <a:lnTo>
                      <a:pt x="786" y="318"/>
                    </a:lnTo>
                    <a:lnTo>
                      <a:pt x="782" y="318"/>
                    </a:lnTo>
                    <a:lnTo>
                      <a:pt x="778" y="314"/>
                    </a:lnTo>
                    <a:lnTo>
                      <a:pt x="776" y="314"/>
                    </a:lnTo>
                    <a:lnTo>
                      <a:pt x="778" y="314"/>
                    </a:lnTo>
                    <a:lnTo>
                      <a:pt x="782" y="314"/>
                    </a:lnTo>
                    <a:lnTo>
                      <a:pt x="786" y="314"/>
                    </a:lnTo>
                    <a:lnTo>
                      <a:pt x="786" y="310"/>
                    </a:lnTo>
                    <a:lnTo>
                      <a:pt x="786" y="306"/>
                    </a:lnTo>
                    <a:lnTo>
                      <a:pt x="790" y="306"/>
                    </a:lnTo>
                    <a:lnTo>
                      <a:pt x="794" y="306"/>
                    </a:lnTo>
                    <a:lnTo>
                      <a:pt x="794" y="310"/>
                    </a:lnTo>
                    <a:lnTo>
                      <a:pt x="798" y="310"/>
                    </a:lnTo>
                    <a:lnTo>
                      <a:pt x="802" y="314"/>
                    </a:lnTo>
                    <a:lnTo>
                      <a:pt x="802" y="318"/>
                    </a:lnTo>
                    <a:lnTo>
                      <a:pt x="806" y="318"/>
                    </a:lnTo>
                    <a:lnTo>
                      <a:pt x="806" y="314"/>
                    </a:lnTo>
                    <a:lnTo>
                      <a:pt x="802" y="314"/>
                    </a:lnTo>
                    <a:lnTo>
                      <a:pt x="802" y="310"/>
                    </a:lnTo>
                    <a:lnTo>
                      <a:pt x="798" y="310"/>
                    </a:lnTo>
                    <a:lnTo>
                      <a:pt x="794" y="310"/>
                    </a:lnTo>
                    <a:lnTo>
                      <a:pt x="794" y="306"/>
                    </a:lnTo>
                    <a:lnTo>
                      <a:pt x="798" y="306"/>
                    </a:lnTo>
                    <a:lnTo>
                      <a:pt x="802" y="302"/>
                    </a:lnTo>
                    <a:lnTo>
                      <a:pt x="798" y="302"/>
                    </a:lnTo>
                    <a:lnTo>
                      <a:pt x="798" y="306"/>
                    </a:lnTo>
                    <a:lnTo>
                      <a:pt x="794" y="306"/>
                    </a:lnTo>
                    <a:lnTo>
                      <a:pt x="794" y="302"/>
                    </a:lnTo>
                    <a:lnTo>
                      <a:pt x="790" y="302"/>
                    </a:lnTo>
                    <a:lnTo>
                      <a:pt x="790" y="306"/>
                    </a:lnTo>
                    <a:lnTo>
                      <a:pt x="786" y="302"/>
                    </a:lnTo>
                    <a:lnTo>
                      <a:pt x="782" y="302"/>
                    </a:lnTo>
                    <a:lnTo>
                      <a:pt x="782" y="298"/>
                    </a:lnTo>
                    <a:lnTo>
                      <a:pt x="786" y="298"/>
                    </a:lnTo>
                    <a:lnTo>
                      <a:pt x="782" y="298"/>
                    </a:lnTo>
                    <a:lnTo>
                      <a:pt x="782" y="294"/>
                    </a:lnTo>
                    <a:lnTo>
                      <a:pt x="782" y="292"/>
                    </a:lnTo>
                    <a:lnTo>
                      <a:pt x="782" y="288"/>
                    </a:lnTo>
                    <a:lnTo>
                      <a:pt x="786" y="288"/>
                    </a:lnTo>
                    <a:lnTo>
                      <a:pt x="790" y="292"/>
                    </a:lnTo>
                    <a:lnTo>
                      <a:pt x="794" y="292"/>
                    </a:lnTo>
                    <a:lnTo>
                      <a:pt x="798" y="292"/>
                    </a:lnTo>
                    <a:lnTo>
                      <a:pt x="802" y="292"/>
                    </a:lnTo>
                    <a:lnTo>
                      <a:pt x="802" y="294"/>
                    </a:lnTo>
                    <a:lnTo>
                      <a:pt x="806" y="294"/>
                    </a:lnTo>
                    <a:lnTo>
                      <a:pt x="802" y="294"/>
                    </a:lnTo>
                    <a:lnTo>
                      <a:pt x="802" y="292"/>
                    </a:lnTo>
                    <a:lnTo>
                      <a:pt x="798" y="292"/>
                    </a:lnTo>
                    <a:lnTo>
                      <a:pt x="794" y="292"/>
                    </a:lnTo>
                    <a:lnTo>
                      <a:pt x="794" y="288"/>
                    </a:lnTo>
                    <a:lnTo>
                      <a:pt x="790" y="288"/>
                    </a:lnTo>
                    <a:lnTo>
                      <a:pt x="782" y="288"/>
                    </a:lnTo>
                    <a:lnTo>
                      <a:pt x="786" y="284"/>
                    </a:lnTo>
                    <a:lnTo>
                      <a:pt x="786" y="288"/>
                    </a:lnTo>
                    <a:lnTo>
                      <a:pt x="790" y="288"/>
                    </a:lnTo>
                    <a:lnTo>
                      <a:pt x="790" y="284"/>
                    </a:lnTo>
                    <a:lnTo>
                      <a:pt x="794" y="284"/>
                    </a:lnTo>
                    <a:lnTo>
                      <a:pt x="794" y="288"/>
                    </a:lnTo>
                    <a:lnTo>
                      <a:pt x="798" y="288"/>
                    </a:lnTo>
                    <a:lnTo>
                      <a:pt x="802" y="288"/>
                    </a:lnTo>
                    <a:lnTo>
                      <a:pt x="806" y="288"/>
                    </a:lnTo>
                    <a:lnTo>
                      <a:pt x="808" y="288"/>
                    </a:lnTo>
                    <a:lnTo>
                      <a:pt x="812" y="288"/>
                    </a:lnTo>
                    <a:lnTo>
                      <a:pt x="808" y="288"/>
                    </a:lnTo>
                    <a:lnTo>
                      <a:pt x="806" y="288"/>
                    </a:lnTo>
                    <a:lnTo>
                      <a:pt x="802" y="288"/>
                    </a:lnTo>
                    <a:lnTo>
                      <a:pt x="802" y="284"/>
                    </a:lnTo>
                    <a:lnTo>
                      <a:pt x="798" y="284"/>
                    </a:lnTo>
                    <a:lnTo>
                      <a:pt x="794" y="284"/>
                    </a:lnTo>
                    <a:lnTo>
                      <a:pt x="790" y="284"/>
                    </a:lnTo>
                    <a:lnTo>
                      <a:pt x="790" y="280"/>
                    </a:lnTo>
                    <a:lnTo>
                      <a:pt x="794" y="280"/>
                    </a:lnTo>
                    <a:lnTo>
                      <a:pt x="794" y="276"/>
                    </a:lnTo>
                    <a:lnTo>
                      <a:pt x="798" y="280"/>
                    </a:lnTo>
                    <a:lnTo>
                      <a:pt x="802" y="280"/>
                    </a:lnTo>
                    <a:lnTo>
                      <a:pt x="798" y="280"/>
                    </a:lnTo>
                    <a:lnTo>
                      <a:pt x="798" y="276"/>
                    </a:lnTo>
                    <a:lnTo>
                      <a:pt x="802" y="276"/>
                    </a:lnTo>
                    <a:lnTo>
                      <a:pt x="806" y="276"/>
                    </a:lnTo>
                    <a:lnTo>
                      <a:pt x="808" y="276"/>
                    </a:lnTo>
                    <a:lnTo>
                      <a:pt x="808" y="280"/>
                    </a:lnTo>
                    <a:lnTo>
                      <a:pt x="812" y="280"/>
                    </a:lnTo>
                    <a:lnTo>
                      <a:pt x="812" y="276"/>
                    </a:lnTo>
                    <a:lnTo>
                      <a:pt x="808" y="276"/>
                    </a:lnTo>
                    <a:lnTo>
                      <a:pt x="806" y="276"/>
                    </a:lnTo>
                    <a:lnTo>
                      <a:pt x="806" y="272"/>
                    </a:lnTo>
                    <a:lnTo>
                      <a:pt x="808" y="272"/>
                    </a:lnTo>
                    <a:lnTo>
                      <a:pt x="812" y="272"/>
                    </a:lnTo>
                    <a:lnTo>
                      <a:pt x="816" y="268"/>
                    </a:lnTo>
                    <a:lnTo>
                      <a:pt x="820" y="268"/>
                    </a:lnTo>
                    <a:lnTo>
                      <a:pt x="824" y="268"/>
                    </a:lnTo>
                    <a:lnTo>
                      <a:pt x="828" y="268"/>
                    </a:lnTo>
                    <a:lnTo>
                      <a:pt x="832" y="268"/>
                    </a:lnTo>
                    <a:lnTo>
                      <a:pt x="834" y="268"/>
                    </a:lnTo>
                    <a:lnTo>
                      <a:pt x="838" y="268"/>
                    </a:lnTo>
                    <a:lnTo>
                      <a:pt x="842" y="268"/>
                    </a:lnTo>
                    <a:lnTo>
                      <a:pt x="846" y="272"/>
                    </a:lnTo>
                    <a:lnTo>
                      <a:pt x="846" y="276"/>
                    </a:lnTo>
                    <a:lnTo>
                      <a:pt x="846" y="280"/>
                    </a:lnTo>
                    <a:lnTo>
                      <a:pt x="850" y="284"/>
                    </a:lnTo>
                    <a:lnTo>
                      <a:pt x="854" y="284"/>
                    </a:lnTo>
                    <a:lnTo>
                      <a:pt x="854" y="288"/>
                    </a:lnTo>
                    <a:lnTo>
                      <a:pt x="854" y="292"/>
                    </a:lnTo>
                    <a:lnTo>
                      <a:pt x="858" y="292"/>
                    </a:lnTo>
                    <a:lnTo>
                      <a:pt x="858" y="294"/>
                    </a:lnTo>
                    <a:lnTo>
                      <a:pt x="854" y="298"/>
                    </a:lnTo>
                    <a:lnTo>
                      <a:pt x="850" y="302"/>
                    </a:lnTo>
                    <a:lnTo>
                      <a:pt x="846" y="306"/>
                    </a:lnTo>
                    <a:lnTo>
                      <a:pt x="842" y="306"/>
                    </a:lnTo>
                    <a:lnTo>
                      <a:pt x="846" y="306"/>
                    </a:lnTo>
                    <a:lnTo>
                      <a:pt x="850" y="302"/>
                    </a:lnTo>
                    <a:lnTo>
                      <a:pt x="854" y="302"/>
                    </a:lnTo>
                    <a:lnTo>
                      <a:pt x="858" y="302"/>
                    </a:lnTo>
                    <a:lnTo>
                      <a:pt x="854" y="302"/>
                    </a:lnTo>
                    <a:lnTo>
                      <a:pt x="854" y="306"/>
                    </a:lnTo>
                    <a:lnTo>
                      <a:pt x="850" y="306"/>
                    </a:lnTo>
                    <a:lnTo>
                      <a:pt x="850" y="310"/>
                    </a:lnTo>
                    <a:lnTo>
                      <a:pt x="854" y="310"/>
                    </a:lnTo>
                    <a:lnTo>
                      <a:pt x="854" y="314"/>
                    </a:lnTo>
                    <a:lnTo>
                      <a:pt x="854" y="310"/>
                    </a:lnTo>
                    <a:lnTo>
                      <a:pt x="850" y="314"/>
                    </a:lnTo>
                    <a:lnTo>
                      <a:pt x="846" y="314"/>
                    </a:lnTo>
                    <a:lnTo>
                      <a:pt x="850" y="314"/>
                    </a:lnTo>
                    <a:lnTo>
                      <a:pt x="850" y="318"/>
                    </a:lnTo>
                    <a:lnTo>
                      <a:pt x="854" y="318"/>
                    </a:lnTo>
                    <a:lnTo>
                      <a:pt x="854" y="314"/>
                    </a:lnTo>
                    <a:lnTo>
                      <a:pt x="858" y="314"/>
                    </a:lnTo>
                    <a:lnTo>
                      <a:pt x="858" y="310"/>
                    </a:lnTo>
                    <a:lnTo>
                      <a:pt x="862" y="310"/>
                    </a:lnTo>
                    <a:lnTo>
                      <a:pt x="858" y="310"/>
                    </a:lnTo>
                    <a:lnTo>
                      <a:pt x="858" y="306"/>
                    </a:lnTo>
                    <a:lnTo>
                      <a:pt x="862" y="306"/>
                    </a:lnTo>
                    <a:lnTo>
                      <a:pt x="862" y="310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4" y="310"/>
                    </a:lnTo>
                    <a:lnTo>
                      <a:pt x="862" y="306"/>
                    </a:lnTo>
                    <a:lnTo>
                      <a:pt x="862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4" y="302"/>
                    </a:lnTo>
                    <a:lnTo>
                      <a:pt x="868" y="302"/>
                    </a:lnTo>
                    <a:lnTo>
                      <a:pt x="868" y="306"/>
                    </a:lnTo>
                    <a:lnTo>
                      <a:pt x="864" y="306"/>
                    </a:lnTo>
                    <a:lnTo>
                      <a:pt x="864" y="310"/>
                    </a:lnTo>
                    <a:lnTo>
                      <a:pt x="868" y="310"/>
                    </a:lnTo>
                    <a:lnTo>
                      <a:pt x="868" y="306"/>
                    </a:lnTo>
                    <a:lnTo>
                      <a:pt x="872" y="302"/>
                    </a:lnTo>
                    <a:lnTo>
                      <a:pt x="876" y="306"/>
                    </a:lnTo>
                    <a:lnTo>
                      <a:pt x="876" y="310"/>
                    </a:lnTo>
                    <a:lnTo>
                      <a:pt x="876" y="314"/>
                    </a:lnTo>
                    <a:lnTo>
                      <a:pt x="872" y="314"/>
                    </a:lnTo>
                    <a:lnTo>
                      <a:pt x="876" y="314"/>
                    </a:lnTo>
                    <a:lnTo>
                      <a:pt x="880" y="318"/>
                    </a:lnTo>
                    <a:lnTo>
                      <a:pt x="884" y="318"/>
                    </a:lnTo>
                    <a:lnTo>
                      <a:pt x="880" y="314"/>
                    </a:lnTo>
                    <a:lnTo>
                      <a:pt x="880" y="310"/>
                    </a:lnTo>
                    <a:lnTo>
                      <a:pt x="884" y="310"/>
                    </a:lnTo>
                    <a:lnTo>
                      <a:pt x="884" y="314"/>
                    </a:lnTo>
                    <a:lnTo>
                      <a:pt x="888" y="314"/>
                    </a:lnTo>
                    <a:lnTo>
                      <a:pt x="888" y="318"/>
                    </a:lnTo>
                    <a:lnTo>
                      <a:pt x="890" y="318"/>
                    </a:lnTo>
                    <a:lnTo>
                      <a:pt x="890" y="322"/>
                    </a:lnTo>
                    <a:lnTo>
                      <a:pt x="890" y="318"/>
                    </a:lnTo>
                    <a:lnTo>
                      <a:pt x="888" y="318"/>
                    </a:lnTo>
                    <a:lnTo>
                      <a:pt x="888" y="314"/>
                    </a:lnTo>
                    <a:lnTo>
                      <a:pt x="890" y="318"/>
                    </a:lnTo>
                    <a:lnTo>
                      <a:pt x="894" y="322"/>
                    </a:lnTo>
                    <a:lnTo>
                      <a:pt x="894" y="318"/>
                    </a:lnTo>
                    <a:lnTo>
                      <a:pt x="890" y="318"/>
                    </a:lnTo>
                    <a:lnTo>
                      <a:pt x="890" y="314"/>
                    </a:lnTo>
                    <a:lnTo>
                      <a:pt x="888" y="314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84" y="306"/>
                    </a:lnTo>
                    <a:lnTo>
                      <a:pt x="884" y="310"/>
                    </a:lnTo>
                    <a:lnTo>
                      <a:pt x="888" y="310"/>
                    </a:lnTo>
                    <a:lnTo>
                      <a:pt x="884" y="310"/>
                    </a:lnTo>
                    <a:lnTo>
                      <a:pt x="884" y="306"/>
                    </a:lnTo>
                    <a:lnTo>
                      <a:pt x="888" y="306"/>
                    </a:lnTo>
                    <a:lnTo>
                      <a:pt x="890" y="306"/>
                    </a:lnTo>
                    <a:lnTo>
                      <a:pt x="894" y="306"/>
                    </a:lnTo>
                    <a:lnTo>
                      <a:pt x="894" y="310"/>
                    </a:lnTo>
                    <a:lnTo>
                      <a:pt x="898" y="310"/>
                    </a:lnTo>
                    <a:lnTo>
                      <a:pt x="902" y="310"/>
                    </a:lnTo>
                    <a:lnTo>
                      <a:pt x="906" y="310"/>
                    </a:lnTo>
                    <a:lnTo>
                      <a:pt x="902" y="310"/>
                    </a:lnTo>
                    <a:lnTo>
                      <a:pt x="898" y="310"/>
                    </a:lnTo>
                    <a:lnTo>
                      <a:pt x="894" y="310"/>
                    </a:lnTo>
                    <a:lnTo>
                      <a:pt x="894" y="306"/>
                    </a:lnTo>
                    <a:lnTo>
                      <a:pt x="890" y="306"/>
                    </a:lnTo>
                    <a:lnTo>
                      <a:pt x="888" y="306"/>
                    </a:lnTo>
                    <a:lnTo>
                      <a:pt x="884" y="302"/>
                    </a:lnTo>
                    <a:lnTo>
                      <a:pt x="884" y="298"/>
                    </a:lnTo>
                    <a:lnTo>
                      <a:pt x="888" y="298"/>
                    </a:lnTo>
                    <a:lnTo>
                      <a:pt x="890" y="294"/>
                    </a:lnTo>
                    <a:lnTo>
                      <a:pt x="894" y="294"/>
                    </a:lnTo>
                    <a:lnTo>
                      <a:pt x="898" y="294"/>
                    </a:lnTo>
                    <a:lnTo>
                      <a:pt x="902" y="294"/>
                    </a:lnTo>
                    <a:lnTo>
                      <a:pt x="906" y="294"/>
                    </a:lnTo>
                    <a:lnTo>
                      <a:pt x="910" y="294"/>
                    </a:lnTo>
                    <a:lnTo>
                      <a:pt x="910" y="298"/>
                    </a:lnTo>
                    <a:lnTo>
                      <a:pt x="914" y="298"/>
                    </a:lnTo>
                    <a:lnTo>
                      <a:pt x="918" y="298"/>
                    </a:lnTo>
                    <a:lnTo>
                      <a:pt x="918" y="302"/>
                    </a:lnTo>
                    <a:lnTo>
                      <a:pt x="918" y="298"/>
                    </a:lnTo>
                    <a:lnTo>
                      <a:pt x="920" y="298"/>
                    </a:lnTo>
                    <a:lnTo>
                      <a:pt x="924" y="298"/>
                    </a:lnTo>
                    <a:lnTo>
                      <a:pt x="928" y="298"/>
                    </a:lnTo>
                    <a:lnTo>
                      <a:pt x="928" y="302"/>
                    </a:lnTo>
                    <a:lnTo>
                      <a:pt x="932" y="302"/>
                    </a:lnTo>
                    <a:lnTo>
                      <a:pt x="932" y="306"/>
                    </a:lnTo>
                    <a:lnTo>
                      <a:pt x="936" y="306"/>
                    </a:lnTo>
                    <a:lnTo>
                      <a:pt x="932" y="310"/>
                    </a:lnTo>
                    <a:lnTo>
                      <a:pt x="928" y="310"/>
                    </a:lnTo>
                    <a:lnTo>
                      <a:pt x="924" y="310"/>
                    </a:lnTo>
                    <a:lnTo>
                      <a:pt x="920" y="310"/>
                    </a:lnTo>
                    <a:lnTo>
                      <a:pt x="920" y="314"/>
                    </a:lnTo>
                    <a:lnTo>
                      <a:pt x="918" y="314"/>
                    </a:lnTo>
                    <a:lnTo>
                      <a:pt x="914" y="318"/>
                    </a:lnTo>
                    <a:lnTo>
                      <a:pt x="918" y="314"/>
                    </a:lnTo>
                    <a:lnTo>
                      <a:pt x="920" y="314"/>
                    </a:lnTo>
                    <a:lnTo>
                      <a:pt x="920" y="310"/>
                    </a:lnTo>
                    <a:lnTo>
                      <a:pt x="924" y="310"/>
                    </a:lnTo>
                    <a:lnTo>
                      <a:pt x="928" y="310"/>
                    </a:lnTo>
                    <a:lnTo>
                      <a:pt x="932" y="314"/>
                    </a:lnTo>
                    <a:lnTo>
                      <a:pt x="928" y="314"/>
                    </a:lnTo>
                    <a:lnTo>
                      <a:pt x="924" y="314"/>
                    </a:lnTo>
                    <a:lnTo>
                      <a:pt x="924" y="318"/>
                    </a:lnTo>
                    <a:lnTo>
                      <a:pt x="920" y="322"/>
                    </a:lnTo>
                    <a:lnTo>
                      <a:pt x="918" y="322"/>
                    </a:lnTo>
                    <a:lnTo>
                      <a:pt x="920" y="322"/>
                    </a:lnTo>
                    <a:lnTo>
                      <a:pt x="924" y="318"/>
                    </a:lnTo>
                    <a:lnTo>
                      <a:pt x="924" y="314"/>
                    </a:lnTo>
                    <a:lnTo>
                      <a:pt x="928" y="314"/>
                    </a:lnTo>
                    <a:lnTo>
                      <a:pt x="932" y="314"/>
                    </a:lnTo>
                    <a:lnTo>
                      <a:pt x="932" y="310"/>
                    </a:lnTo>
                    <a:lnTo>
                      <a:pt x="936" y="310"/>
                    </a:lnTo>
                    <a:lnTo>
                      <a:pt x="940" y="310"/>
                    </a:lnTo>
                    <a:lnTo>
                      <a:pt x="944" y="314"/>
                    </a:lnTo>
                    <a:lnTo>
                      <a:pt x="948" y="314"/>
                    </a:lnTo>
                    <a:lnTo>
                      <a:pt x="948" y="318"/>
                    </a:lnTo>
                    <a:lnTo>
                      <a:pt x="944" y="318"/>
                    </a:lnTo>
                    <a:lnTo>
                      <a:pt x="944" y="322"/>
                    </a:lnTo>
                    <a:lnTo>
                      <a:pt x="940" y="318"/>
                    </a:lnTo>
                    <a:lnTo>
                      <a:pt x="940" y="322"/>
                    </a:lnTo>
                    <a:lnTo>
                      <a:pt x="936" y="322"/>
                    </a:lnTo>
                    <a:lnTo>
                      <a:pt x="932" y="322"/>
                    </a:lnTo>
                    <a:lnTo>
                      <a:pt x="928" y="322"/>
                    </a:lnTo>
                    <a:lnTo>
                      <a:pt x="932" y="322"/>
                    </a:lnTo>
                    <a:lnTo>
                      <a:pt x="936" y="322"/>
                    </a:lnTo>
                    <a:lnTo>
                      <a:pt x="932" y="324"/>
                    </a:lnTo>
                    <a:lnTo>
                      <a:pt x="928" y="324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2"/>
                    </a:lnTo>
                    <a:lnTo>
                      <a:pt x="940" y="322"/>
                    </a:lnTo>
                    <a:lnTo>
                      <a:pt x="940" y="324"/>
                    </a:lnTo>
                    <a:lnTo>
                      <a:pt x="936" y="324"/>
                    </a:lnTo>
                    <a:lnTo>
                      <a:pt x="932" y="324"/>
                    </a:lnTo>
                    <a:lnTo>
                      <a:pt x="932" y="328"/>
                    </a:lnTo>
                    <a:lnTo>
                      <a:pt x="932" y="324"/>
                    </a:lnTo>
                    <a:lnTo>
                      <a:pt x="936" y="324"/>
                    </a:lnTo>
                    <a:lnTo>
                      <a:pt x="936" y="328"/>
                    </a:lnTo>
                    <a:lnTo>
                      <a:pt x="940" y="328"/>
                    </a:lnTo>
                    <a:lnTo>
                      <a:pt x="936" y="332"/>
                    </a:lnTo>
                    <a:lnTo>
                      <a:pt x="932" y="336"/>
                    </a:lnTo>
                    <a:lnTo>
                      <a:pt x="936" y="332"/>
                    </a:lnTo>
                    <a:lnTo>
                      <a:pt x="940" y="332"/>
                    </a:lnTo>
                    <a:lnTo>
                      <a:pt x="940" y="328"/>
                    </a:lnTo>
                    <a:lnTo>
                      <a:pt x="936" y="328"/>
                    </a:lnTo>
                    <a:lnTo>
                      <a:pt x="936" y="324"/>
                    </a:lnTo>
                    <a:lnTo>
                      <a:pt x="940" y="324"/>
                    </a:lnTo>
                    <a:lnTo>
                      <a:pt x="944" y="322"/>
                    </a:lnTo>
                    <a:lnTo>
                      <a:pt x="948" y="322"/>
                    </a:lnTo>
                    <a:lnTo>
                      <a:pt x="948" y="324"/>
                    </a:lnTo>
                    <a:lnTo>
                      <a:pt x="944" y="324"/>
                    </a:lnTo>
                    <a:lnTo>
                      <a:pt x="948" y="324"/>
                    </a:lnTo>
                    <a:lnTo>
                      <a:pt x="948" y="322"/>
                    </a:lnTo>
                    <a:lnTo>
                      <a:pt x="950" y="322"/>
                    </a:lnTo>
                    <a:lnTo>
                      <a:pt x="954" y="322"/>
                    </a:lnTo>
                    <a:lnTo>
                      <a:pt x="950" y="322"/>
                    </a:lnTo>
                    <a:lnTo>
                      <a:pt x="950" y="324"/>
                    </a:lnTo>
                    <a:lnTo>
                      <a:pt x="948" y="324"/>
                    </a:lnTo>
                    <a:lnTo>
                      <a:pt x="948" y="328"/>
                    </a:lnTo>
                    <a:lnTo>
                      <a:pt x="944" y="328"/>
                    </a:lnTo>
                    <a:lnTo>
                      <a:pt x="948" y="328"/>
                    </a:lnTo>
                    <a:lnTo>
                      <a:pt x="948" y="332"/>
                    </a:lnTo>
                    <a:lnTo>
                      <a:pt x="944" y="332"/>
                    </a:lnTo>
                    <a:lnTo>
                      <a:pt x="944" y="336"/>
                    </a:lnTo>
                    <a:lnTo>
                      <a:pt x="948" y="336"/>
                    </a:lnTo>
                    <a:lnTo>
                      <a:pt x="948" y="332"/>
                    </a:lnTo>
                    <a:lnTo>
                      <a:pt x="948" y="328"/>
                    </a:lnTo>
                    <a:lnTo>
                      <a:pt x="950" y="324"/>
                    </a:lnTo>
                    <a:lnTo>
                      <a:pt x="954" y="324"/>
                    </a:lnTo>
                    <a:lnTo>
                      <a:pt x="954" y="328"/>
                    </a:lnTo>
                    <a:lnTo>
                      <a:pt x="954" y="332"/>
                    </a:lnTo>
                    <a:lnTo>
                      <a:pt x="954" y="328"/>
                    </a:lnTo>
                    <a:lnTo>
                      <a:pt x="958" y="328"/>
                    </a:lnTo>
                    <a:lnTo>
                      <a:pt x="954" y="332"/>
                    </a:lnTo>
                    <a:lnTo>
                      <a:pt x="950" y="332"/>
                    </a:lnTo>
                    <a:lnTo>
                      <a:pt x="950" y="336"/>
                    </a:lnTo>
                    <a:lnTo>
                      <a:pt x="950" y="340"/>
                    </a:lnTo>
                    <a:lnTo>
                      <a:pt x="950" y="336"/>
                    </a:lnTo>
                    <a:lnTo>
                      <a:pt x="954" y="332"/>
                    </a:lnTo>
                    <a:lnTo>
                      <a:pt x="958" y="332"/>
                    </a:lnTo>
                    <a:lnTo>
                      <a:pt x="962" y="332"/>
                    </a:lnTo>
                    <a:lnTo>
                      <a:pt x="958" y="332"/>
                    </a:lnTo>
                    <a:lnTo>
                      <a:pt x="958" y="336"/>
                    </a:lnTo>
                    <a:lnTo>
                      <a:pt x="958" y="340"/>
                    </a:lnTo>
                    <a:lnTo>
                      <a:pt x="954" y="340"/>
                    </a:lnTo>
                    <a:lnTo>
                      <a:pt x="958" y="340"/>
                    </a:lnTo>
                    <a:lnTo>
                      <a:pt x="958" y="336"/>
                    </a:lnTo>
                    <a:lnTo>
                      <a:pt x="962" y="332"/>
                    </a:lnTo>
                    <a:lnTo>
                      <a:pt x="962" y="336"/>
                    </a:lnTo>
                    <a:lnTo>
                      <a:pt x="962" y="332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6" y="324"/>
                    </a:lnTo>
                    <a:lnTo>
                      <a:pt x="970" y="324"/>
                    </a:lnTo>
                    <a:lnTo>
                      <a:pt x="970" y="322"/>
                    </a:lnTo>
                    <a:lnTo>
                      <a:pt x="970" y="324"/>
                    </a:lnTo>
                    <a:lnTo>
                      <a:pt x="974" y="324"/>
                    </a:lnTo>
                    <a:lnTo>
                      <a:pt x="976" y="324"/>
                    </a:lnTo>
                    <a:lnTo>
                      <a:pt x="980" y="324"/>
                    </a:lnTo>
                    <a:lnTo>
                      <a:pt x="980" y="328"/>
                    </a:lnTo>
                    <a:lnTo>
                      <a:pt x="984" y="328"/>
                    </a:lnTo>
                    <a:lnTo>
                      <a:pt x="988" y="332"/>
                    </a:lnTo>
                    <a:lnTo>
                      <a:pt x="988" y="336"/>
                    </a:lnTo>
                    <a:lnTo>
                      <a:pt x="984" y="336"/>
                    </a:lnTo>
                    <a:lnTo>
                      <a:pt x="984" y="340"/>
                    </a:lnTo>
                    <a:lnTo>
                      <a:pt x="980" y="340"/>
                    </a:lnTo>
                    <a:lnTo>
                      <a:pt x="980" y="336"/>
                    </a:lnTo>
                    <a:lnTo>
                      <a:pt x="976" y="336"/>
                    </a:lnTo>
                    <a:lnTo>
                      <a:pt x="974" y="340"/>
                    </a:lnTo>
                    <a:lnTo>
                      <a:pt x="974" y="344"/>
                    </a:lnTo>
                    <a:lnTo>
                      <a:pt x="970" y="344"/>
                    </a:lnTo>
                    <a:lnTo>
                      <a:pt x="966" y="344"/>
                    </a:lnTo>
                    <a:lnTo>
                      <a:pt x="970" y="344"/>
                    </a:lnTo>
                    <a:lnTo>
                      <a:pt x="974" y="344"/>
                    </a:lnTo>
                    <a:lnTo>
                      <a:pt x="970" y="348"/>
                    </a:lnTo>
                    <a:lnTo>
                      <a:pt x="970" y="350"/>
                    </a:lnTo>
                    <a:lnTo>
                      <a:pt x="966" y="350"/>
                    </a:lnTo>
                    <a:lnTo>
                      <a:pt x="970" y="350"/>
                    </a:lnTo>
                    <a:lnTo>
                      <a:pt x="970" y="348"/>
                    </a:lnTo>
                    <a:lnTo>
                      <a:pt x="974" y="348"/>
                    </a:lnTo>
                    <a:lnTo>
                      <a:pt x="976" y="348"/>
                    </a:lnTo>
                    <a:lnTo>
                      <a:pt x="976" y="344"/>
                    </a:lnTo>
                    <a:lnTo>
                      <a:pt x="980" y="344"/>
                    </a:lnTo>
                    <a:lnTo>
                      <a:pt x="984" y="344"/>
                    </a:lnTo>
                    <a:lnTo>
                      <a:pt x="988" y="340"/>
                    </a:lnTo>
                    <a:lnTo>
                      <a:pt x="992" y="336"/>
                    </a:lnTo>
                    <a:lnTo>
                      <a:pt x="996" y="336"/>
                    </a:lnTo>
                    <a:lnTo>
                      <a:pt x="996" y="340"/>
                    </a:lnTo>
                    <a:lnTo>
                      <a:pt x="996" y="344"/>
                    </a:lnTo>
                    <a:lnTo>
                      <a:pt x="996" y="348"/>
                    </a:lnTo>
                    <a:lnTo>
                      <a:pt x="992" y="348"/>
                    </a:lnTo>
                    <a:lnTo>
                      <a:pt x="988" y="348"/>
                    </a:lnTo>
                    <a:lnTo>
                      <a:pt x="988" y="350"/>
                    </a:lnTo>
                    <a:lnTo>
                      <a:pt x="984" y="350"/>
                    </a:lnTo>
                    <a:lnTo>
                      <a:pt x="980" y="350"/>
                    </a:lnTo>
                    <a:lnTo>
                      <a:pt x="980" y="354"/>
                    </a:lnTo>
                    <a:lnTo>
                      <a:pt x="980" y="358"/>
                    </a:lnTo>
                    <a:lnTo>
                      <a:pt x="976" y="358"/>
                    </a:lnTo>
                    <a:lnTo>
                      <a:pt x="980" y="358"/>
                    </a:lnTo>
                    <a:lnTo>
                      <a:pt x="980" y="354"/>
                    </a:lnTo>
                    <a:lnTo>
                      <a:pt x="984" y="350"/>
                    </a:lnTo>
                    <a:lnTo>
                      <a:pt x="988" y="350"/>
                    </a:lnTo>
                    <a:lnTo>
                      <a:pt x="988" y="354"/>
                    </a:lnTo>
                    <a:lnTo>
                      <a:pt x="984" y="358"/>
                    </a:lnTo>
                    <a:lnTo>
                      <a:pt x="984" y="362"/>
                    </a:lnTo>
                    <a:lnTo>
                      <a:pt x="984" y="366"/>
                    </a:lnTo>
                    <a:lnTo>
                      <a:pt x="984" y="362"/>
                    </a:lnTo>
                    <a:lnTo>
                      <a:pt x="988" y="358"/>
                    </a:lnTo>
                    <a:lnTo>
                      <a:pt x="988" y="354"/>
                    </a:lnTo>
                    <a:lnTo>
                      <a:pt x="988" y="350"/>
                    </a:lnTo>
                    <a:lnTo>
                      <a:pt x="992" y="350"/>
                    </a:lnTo>
                    <a:lnTo>
                      <a:pt x="992" y="348"/>
                    </a:lnTo>
                    <a:lnTo>
                      <a:pt x="996" y="348"/>
                    </a:lnTo>
                    <a:lnTo>
                      <a:pt x="1000" y="348"/>
                    </a:lnTo>
                    <a:lnTo>
                      <a:pt x="1000" y="344"/>
                    </a:lnTo>
                    <a:lnTo>
                      <a:pt x="1004" y="344"/>
                    </a:lnTo>
                    <a:lnTo>
                      <a:pt x="1006" y="344"/>
                    </a:lnTo>
                    <a:lnTo>
                      <a:pt x="1006" y="348"/>
                    </a:lnTo>
                    <a:lnTo>
                      <a:pt x="1004" y="348"/>
                    </a:lnTo>
                    <a:lnTo>
                      <a:pt x="1004" y="350"/>
                    </a:lnTo>
                    <a:lnTo>
                      <a:pt x="1000" y="350"/>
                    </a:lnTo>
                    <a:lnTo>
                      <a:pt x="1000" y="354"/>
                    </a:lnTo>
                    <a:lnTo>
                      <a:pt x="1000" y="350"/>
                    </a:lnTo>
                    <a:lnTo>
                      <a:pt x="1004" y="350"/>
                    </a:lnTo>
                    <a:lnTo>
                      <a:pt x="1004" y="348"/>
                    </a:lnTo>
                    <a:lnTo>
                      <a:pt x="1006" y="348"/>
                    </a:lnTo>
                    <a:lnTo>
                      <a:pt x="1010" y="348"/>
                    </a:lnTo>
                    <a:lnTo>
                      <a:pt x="1014" y="348"/>
                    </a:lnTo>
                    <a:lnTo>
                      <a:pt x="1018" y="348"/>
                    </a:lnTo>
                    <a:lnTo>
                      <a:pt x="1022" y="350"/>
                    </a:lnTo>
                    <a:lnTo>
                      <a:pt x="1026" y="350"/>
                    </a:lnTo>
                    <a:lnTo>
                      <a:pt x="1030" y="350"/>
                    </a:lnTo>
                    <a:lnTo>
                      <a:pt x="1030" y="354"/>
                    </a:lnTo>
                    <a:lnTo>
                      <a:pt x="1026" y="354"/>
                    </a:lnTo>
                    <a:lnTo>
                      <a:pt x="1022" y="354"/>
                    </a:lnTo>
                    <a:lnTo>
                      <a:pt x="1022" y="358"/>
                    </a:lnTo>
                    <a:lnTo>
                      <a:pt x="1018" y="358"/>
                    </a:lnTo>
                    <a:lnTo>
                      <a:pt x="1014" y="358"/>
                    </a:lnTo>
                    <a:lnTo>
                      <a:pt x="1010" y="358"/>
                    </a:lnTo>
                    <a:lnTo>
                      <a:pt x="1010" y="362"/>
                    </a:lnTo>
                    <a:lnTo>
                      <a:pt x="1006" y="362"/>
                    </a:lnTo>
                    <a:lnTo>
                      <a:pt x="1004" y="362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4" y="366"/>
                    </a:lnTo>
                    <a:lnTo>
                      <a:pt x="1000" y="370"/>
                    </a:lnTo>
                    <a:lnTo>
                      <a:pt x="1004" y="370"/>
                    </a:lnTo>
                    <a:lnTo>
                      <a:pt x="1004" y="366"/>
                    </a:lnTo>
                    <a:lnTo>
                      <a:pt x="1006" y="366"/>
                    </a:lnTo>
                    <a:lnTo>
                      <a:pt x="1006" y="362"/>
                    </a:lnTo>
                    <a:lnTo>
                      <a:pt x="1010" y="362"/>
                    </a:lnTo>
                    <a:lnTo>
                      <a:pt x="1014" y="362"/>
                    </a:lnTo>
                    <a:lnTo>
                      <a:pt x="1018" y="362"/>
                    </a:lnTo>
                    <a:lnTo>
                      <a:pt x="1022" y="362"/>
                    </a:lnTo>
                    <a:lnTo>
                      <a:pt x="1026" y="362"/>
                    </a:lnTo>
                    <a:lnTo>
                      <a:pt x="1022" y="366"/>
                    </a:lnTo>
                    <a:lnTo>
                      <a:pt x="1018" y="366"/>
                    </a:lnTo>
                    <a:lnTo>
                      <a:pt x="1014" y="370"/>
                    </a:lnTo>
                    <a:lnTo>
                      <a:pt x="1010" y="370"/>
                    </a:lnTo>
                    <a:lnTo>
                      <a:pt x="1006" y="370"/>
                    </a:lnTo>
                    <a:lnTo>
                      <a:pt x="1004" y="374"/>
                    </a:lnTo>
                    <a:lnTo>
                      <a:pt x="1004" y="378"/>
                    </a:lnTo>
                    <a:lnTo>
                      <a:pt x="1006" y="374"/>
                    </a:lnTo>
                    <a:lnTo>
                      <a:pt x="1006" y="370"/>
                    </a:lnTo>
                    <a:lnTo>
                      <a:pt x="1010" y="370"/>
                    </a:lnTo>
                    <a:lnTo>
                      <a:pt x="1014" y="370"/>
                    </a:lnTo>
                    <a:lnTo>
                      <a:pt x="1018" y="370"/>
                    </a:lnTo>
                    <a:lnTo>
                      <a:pt x="1018" y="366"/>
                    </a:lnTo>
                    <a:lnTo>
                      <a:pt x="1022" y="366"/>
                    </a:lnTo>
                    <a:lnTo>
                      <a:pt x="1026" y="366"/>
                    </a:lnTo>
                    <a:lnTo>
                      <a:pt x="1030" y="366"/>
                    </a:lnTo>
                    <a:lnTo>
                      <a:pt x="1030" y="362"/>
                    </a:lnTo>
                    <a:lnTo>
                      <a:pt x="1030" y="358"/>
                    </a:lnTo>
                    <a:lnTo>
                      <a:pt x="1032" y="358"/>
                    </a:lnTo>
                    <a:lnTo>
                      <a:pt x="1036" y="358"/>
                    </a:lnTo>
                    <a:lnTo>
                      <a:pt x="1036" y="362"/>
                    </a:lnTo>
                    <a:lnTo>
                      <a:pt x="1040" y="362"/>
                    </a:lnTo>
                    <a:lnTo>
                      <a:pt x="1040" y="366"/>
                    </a:lnTo>
                    <a:lnTo>
                      <a:pt x="1044" y="366"/>
                    </a:lnTo>
                    <a:lnTo>
                      <a:pt x="1044" y="370"/>
                    </a:lnTo>
                    <a:lnTo>
                      <a:pt x="1044" y="374"/>
                    </a:lnTo>
                    <a:lnTo>
                      <a:pt x="1040" y="374"/>
                    </a:lnTo>
                    <a:lnTo>
                      <a:pt x="1036" y="374"/>
                    </a:lnTo>
                    <a:lnTo>
                      <a:pt x="1036" y="370"/>
                    </a:lnTo>
                    <a:lnTo>
                      <a:pt x="1032" y="370"/>
                    </a:lnTo>
                    <a:lnTo>
                      <a:pt x="1032" y="374"/>
                    </a:lnTo>
                    <a:lnTo>
                      <a:pt x="1030" y="374"/>
                    </a:lnTo>
                    <a:lnTo>
                      <a:pt x="1026" y="374"/>
                    </a:lnTo>
                    <a:lnTo>
                      <a:pt x="1022" y="378"/>
                    </a:lnTo>
                    <a:lnTo>
                      <a:pt x="1018" y="378"/>
                    </a:lnTo>
                    <a:lnTo>
                      <a:pt x="1014" y="378"/>
                    </a:lnTo>
                    <a:lnTo>
                      <a:pt x="1010" y="378"/>
                    </a:lnTo>
                    <a:lnTo>
                      <a:pt x="1006" y="378"/>
                    </a:lnTo>
                    <a:lnTo>
                      <a:pt x="1004" y="378"/>
                    </a:lnTo>
                    <a:lnTo>
                      <a:pt x="1006" y="378"/>
                    </a:lnTo>
                    <a:lnTo>
                      <a:pt x="1010" y="378"/>
                    </a:lnTo>
                    <a:lnTo>
                      <a:pt x="1014" y="378"/>
                    </a:lnTo>
                    <a:lnTo>
                      <a:pt x="1018" y="378"/>
                    </a:lnTo>
                    <a:lnTo>
                      <a:pt x="1022" y="378"/>
                    </a:lnTo>
                    <a:lnTo>
                      <a:pt x="1026" y="378"/>
                    </a:lnTo>
                    <a:lnTo>
                      <a:pt x="1030" y="378"/>
                    </a:lnTo>
                    <a:lnTo>
                      <a:pt x="1032" y="380"/>
                    </a:lnTo>
                    <a:lnTo>
                      <a:pt x="1036" y="380"/>
                    </a:lnTo>
                    <a:lnTo>
                      <a:pt x="1036" y="378"/>
                    </a:lnTo>
                    <a:lnTo>
                      <a:pt x="1040" y="380"/>
                    </a:lnTo>
                    <a:lnTo>
                      <a:pt x="1044" y="380"/>
                    </a:lnTo>
                    <a:lnTo>
                      <a:pt x="1048" y="380"/>
                    </a:lnTo>
                    <a:lnTo>
                      <a:pt x="1052" y="380"/>
                    </a:lnTo>
                    <a:lnTo>
                      <a:pt x="1052" y="384"/>
                    </a:lnTo>
                    <a:lnTo>
                      <a:pt x="1052" y="388"/>
                    </a:lnTo>
                    <a:lnTo>
                      <a:pt x="1048" y="388"/>
                    </a:lnTo>
                    <a:lnTo>
                      <a:pt x="1044" y="384"/>
                    </a:lnTo>
                    <a:lnTo>
                      <a:pt x="1040" y="384"/>
                    </a:lnTo>
                    <a:lnTo>
                      <a:pt x="1040" y="388"/>
                    </a:lnTo>
                    <a:lnTo>
                      <a:pt x="1036" y="388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22" y="380"/>
                    </a:lnTo>
                    <a:lnTo>
                      <a:pt x="1018" y="380"/>
                    </a:lnTo>
                    <a:lnTo>
                      <a:pt x="1014" y="384"/>
                    </a:lnTo>
                    <a:lnTo>
                      <a:pt x="1018" y="384"/>
                    </a:lnTo>
                    <a:lnTo>
                      <a:pt x="1018" y="380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30" y="384"/>
                    </a:lnTo>
                    <a:lnTo>
                      <a:pt x="1032" y="384"/>
                    </a:lnTo>
                    <a:lnTo>
                      <a:pt x="1030" y="384"/>
                    </a:lnTo>
                    <a:lnTo>
                      <a:pt x="1026" y="384"/>
                    </a:lnTo>
                    <a:lnTo>
                      <a:pt x="1022" y="384"/>
                    </a:lnTo>
                    <a:lnTo>
                      <a:pt x="1018" y="384"/>
                    </a:lnTo>
                    <a:lnTo>
                      <a:pt x="1022" y="384"/>
                    </a:lnTo>
                    <a:lnTo>
                      <a:pt x="1026" y="384"/>
                    </a:lnTo>
                    <a:lnTo>
                      <a:pt x="1022" y="388"/>
                    </a:lnTo>
                    <a:lnTo>
                      <a:pt x="1018" y="388"/>
                    </a:lnTo>
                    <a:lnTo>
                      <a:pt x="1018" y="392"/>
                    </a:lnTo>
                    <a:lnTo>
                      <a:pt x="1022" y="388"/>
                    </a:lnTo>
                    <a:lnTo>
                      <a:pt x="1026" y="388"/>
                    </a:lnTo>
                    <a:lnTo>
                      <a:pt x="1030" y="388"/>
                    </a:lnTo>
                    <a:lnTo>
                      <a:pt x="1032" y="388"/>
                    </a:lnTo>
                    <a:lnTo>
                      <a:pt x="1036" y="392"/>
                    </a:lnTo>
                    <a:lnTo>
                      <a:pt x="1032" y="392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30" y="392"/>
                    </a:lnTo>
                    <a:lnTo>
                      <a:pt x="1032" y="392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30" y="392"/>
                    </a:lnTo>
                    <a:lnTo>
                      <a:pt x="1026" y="392"/>
                    </a:lnTo>
                    <a:lnTo>
                      <a:pt x="1026" y="396"/>
                    </a:lnTo>
                    <a:lnTo>
                      <a:pt x="1030" y="396"/>
                    </a:lnTo>
                    <a:lnTo>
                      <a:pt x="1032" y="396"/>
                    </a:lnTo>
                    <a:lnTo>
                      <a:pt x="1036" y="396"/>
                    </a:lnTo>
                    <a:lnTo>
                      <a:pt x="1032" y="396"/>
                    </a:lnTo>
                    <a:lnTo>
                      <a:pt x="1030" y="396"/>
                    </a:lnTo>
                    <a:lnTo>
                      <a:pt x="1026" y="396"/>
                    </a:lnTo>
                    <a:lnTo>
                      <a:pt x="1022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14" y="396"/>
                    </a:lnTo>
                    <a:lnTo>
                      <a:pt x="1018" y="396"/>
                    </a:lnTo>
                    <a:lnTo>
                      <a:pt x="1030" y="400"/>
                    </a:lnTo>
                    <a:lnTo>
                      <a:pt x="1032" y="400"/>
                    </a:lnTo>
                    <a:lnTo>
                      <a:pt x="1030" y="400"/>
                    </a:lnTo>
                    <a:lnTo>
                      <a:pt x="1026" y="400"/>
                    </a:lnTo>
                    <a:lnTo>
                      <a:pt x="1022" y="400"/>
                    </a:lnTo>
                    <a:lnTo>
                      <a:pt x="1026" y="400"/>
                    </a:lnTo>
                    <a:lnTo>
                      <a:pt x="1026" y="404"/>
                    </a:lnTo>
                    <a:lnTo>
                      <a:pt x="1022" y="404"/>
                    </a:lnTo>
                    <a:lnTo>
                      <a:pt x="1026" y="404"/>
                    </a:lnTo>
                    <a:lnTo>
                      <a:pt x="1026" y="400"/>
                    </a:lnTo>
                    <a:lnTo>
                      <a:pt x="1030" y="400"/>
                    </a:lnTo>
                    <a:lnTo>
                      <a:pt x="1030" y="404"/>
                    </a:lnTo>
                    <a:lnTo>
                      <a:pt x="1032" y="404"/>
                    </a:lnTo>
                    <a:lnTo>
                      <a:pt x="1036" y="404"/>
                    </a:lnTo>
                    <a:lnTo>
                      <a:pt x="1040" y="404"/>
                    </a:lnTo>
                    <a:lnTo>
                      <a:pt x="1036" y="404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04"/>
                    </a:lnTo>
                    <a:lnTo>
                      <a:pt x="1044" y="404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4" y="404"/>
                    </a:lnTo>
                    <a:lnTo>
                      <a:pt x="1048" y="404"/>
                    </a:lnTo>
                    <a:lnTo>
                      <a:pt x="1052" y="404"/>
                    </a:lnTo>
                    <a:lnTo>
                      <a:pt x="1052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0" y="408"/>
                    </a:lnTo>
                    <a:lnTo>
                      <a:pt x="1036" y="408"/>
                    </a:lnTo>
                    <a:lnTo>
                      <a:pt x="1032" y="408"/>
                    </a:lnTo>
                    <a:lnTo>
                      <a:pt x="1032" y="410"/>
                    </a:lnTo>
                    <a:lnTo>
                      <a:pt x="1036" y="410"/>
                    </a:lnTo>
                    <a:lnTo>
                      <a:pt x="1036" y="408"/>
                    </a:lnTo>
                    <a:lnTo>
                      <a:pt x="1040" y="408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08"/>
                    </a:lnTo>
                    <a:lnTo>
                      <a:pt x="1044" y="408"/>
                    </a:lnTo>
                    <a:lnTo>
                      <a:pt x="1048" y="408"/>
                    </a:lnTo>
                    <a:lnTo>
                      <a:pt x="1044" y="408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44" y="410"/>
                    </a:lnTo>
                    <a:lnTo>
                      <a:pt x="1040" y="410"/>
                    </a:lnTo>
                    <a:lnTo>
                      <a:pt x="1036" y="410"/>
                    </a:lnTo>
                    <a:lnTo>
                      <a:pt x="1040" y="410"/>
                    </a:lnTo>
                    <a:lnTo>
                      <a:pt x="1040" y="414"/>
                    </a:lnTo>
                    <a:lnTo>
                      <a:pt x="1044" y="410"/>
                    </a:lnTo>
                    <a:lnTo>
                      <a:pt x="1048" y="408"/>
                    </a:lnTo>
                    <a:lnTo>
                      <a:pt x="1048" y="410"/>
                    </a:lnTo>
                    <a:lnTo>
                      <a:pt x="1052" y="410"/>
                    </a:lnTo>
                    <a:lnTo>
                      <a:pt x="1048" y="414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2" y="414"/>
                    </a:lnTo>
                    <a:lnTo>
                      <a:pt x="1052" y="418"/>
                    </a:lnTo>
                    <a:lnTo>
                      <a:pt x="1052" y="414"/>
                    </a:lnTo>
                    <a:lnTo>
                      <a:pt x="1052" y="410"/>
                    </a:lnTo>
                    <a:lnTo>
                      <a:pt x="1056" y="410"/>
                    </a:lnTo>
                    <a:lnTo>
                      <a:pt x="1056" y="414"/>
                    </a:lnTo>
                    <a:lnTo>
                      <a:pt x="1060" y="414"/>
                    </a:lnTo>
                    <a:lnTo>
                      <a:pt x="1056" y="414"/>
                    </a:lnTo>
                    <a:lnTo>
                      <a:pt x="1056" y="418"/>
                    </a:lnTo>
                    <a:lnTo>
                      <a:pt x="1052" y="418"/>
                    </a:lnTo>
                    <a:lnTo>
                      <a:pt x="1056" y="422"/>
                    </a:lnTo>
                    <a:lnTo>
                      <a:pt x="1056" y="418"/>
                    </a:lnTo>
                    <a:lnTo>
                      <a:pt x="1060" y="418"/>
                    </a:lnTo>
                    <a:lnTo>
                      <a:pt x="1062" y="414"/>
                    </a:lnTo>
                    <a:lnTo>
                      <a:pt x="1062" y="410"/>
                    </a:lnTo>
                    <a:lnTo>
                      <a:pt x="1062" y="414"/>
                    </a:lnTo>
                    <a:lnTo>
                      <a:pt x="1062" y="418"/>
                    </a:lnTo>
                    <a:lnTo>
                      <a:pt x="1060" y="418"/>
                    </a:lnTo>
                    <a:lnTo>
                      <a:pt x="1062" y="418"/>
                    </a:lnTo>
                    <a:lnTo>
                      <a:pt x="1062" y="422"/>
                    </a:lnTo>
                    <a:lnTo>
                      <a:pt x="1060" y="422"/>
                    </a:lnTo>
                    <a:lnTo>
                      <a:pt x="1060" y="426"/>
                    </a:lnTo>
                    <a:lnTo>
                      <a:pt x="1062" y="426"/>
                    </a:lnTo>
                    <a:lnTo>
                      <a:pt x="1062" y="422"/>
                    </a:lnTo>
                    <a:lnTo>
                      <a:pt x="1062" y="418"/>
                    </a:lnTo>
                    <a:lnTo>
                      <a:pt x="1066" y="414"/>
                    </a:lnTo>
                    <a:lnTo>
                      <a:pt x="1070" y="414"/>
                    </a:lnTo>
                    <a:lnTo>
                      <a:pt x="1070" y="418"/>
                    </a:lnTo>
                    <a:lnTo>
                      <a:pt x="1066" y="418"/>
                    </a:lnTo>
                    <a:lnTo>
                      <a:pt x="1066" y="422"/>
                    </a:lnTo>
                    <a:lnTo>
                      <a:pt x="1070" y="422"/>
                    </a:lnTo>
                    <a:lnTo>
                      <a:pt x="1070" y="426"/>
                    </a:lnTo>
                    <a:lnTo>
                      <a:pt x="1070" y="422"/>
                    </a:lnTo>
                    <a:lnTo>
                      <a:pt x="1066" y="422"/>
                    </a:lnTo>
                    <a:lnTo>
                      <a:pt x="1070" y="418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8"/>
                    </a:lnTo>
                    <a:lnTo>
                      <a:pt x="1074" y="418"/>
                    </a:lnTo>
                    <a:lnTo>
                      <a:pt x="1074" y="422"/>
                    </a:lnTo>
                    <a:lnTo>
                      <a:pt x="1074" y="426"/>
                    </a:lnTo>
                    <a:lnTo>
                      <a:pt x="1074" y="422"/>
                    </a:lnTo>
                    <a:lnTo>
                      <a:pt x="1076" y="422"/>
                    </a:lnTo>
                    <a:lnTo>
                      <a:pt x="1076" y="426"/>
                    </a:lnTo>
                    <a:lnTo>
                      <a:pt x="1076" y="422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0" y="422"/>
                    </a:lnTo>
                    <a:lnTo>
                      <a:pt x="1080" y="426"/>
                    </a:lnTo>
                    <a:lnTo>
                      <a:pt x="1080" y="422"/>
                    </a:lnTo>
                    <a:lnTo>
                      <a:pt x="1084" y="422"/>
                    </a:lnTo>
                    <a:lnTo>
                      <a:pt x="1088" y="426"/>
                    </a:lnTo>
                    <a:lnTo>
                      <a:pt x="1088" y="430"/>
                    </a:lnTo>
                    <a:lnTo>
                      <a:pt x="1084" y="430"/>
                    </a:lnTo>
                    <a:lnTo>
                      <a:pt x="1080" y="430"/>
                    </a:lnTo>
                    <a:lnTo>
                      <a:pt x="1084" y="430"/>
                    </a:lnTo>
                    <a:lnTo>
                      <a:pt x="1088" y="430"/>
                    </a:lnTo>
                    <a:lnTo>
                      <a:pt x="1088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4"/>
                    </a:lnTo>
                    <a:lnTo>
                      <a:pt x="1080" y="434"/>
                    </a:lnTo>
                    <a:lnTo>
                      <a:pt x="1084" y="434"/>
                    </a:lnTo>
                    <a:lnTo>
                      <a:pt x="1080" y="434"/>
                    </a:lnTo>
                    <a:lnTo>
                      <a:pt x="1076" y="436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4" y="434"/>
                    </a:lnTo>
                    <a:lnTo>
                      <a:pt x="1088" y="434"/>
                    </a:lnTo>
                    <a:lnTo>
                      <a:pt x="1088" y="436"/>
                    </a:lnTo>
                    <a:lnTo>
                      <a:pt x="1084" y="436"/>
                    </a:lnTo>
                    <a:lnTo>
                      <a:pt x="1080" y="436"/>
                    </a:lnTo>
                    <a:lnTo>
                      <a:pt x="1076" y="440"/>
                    </a:lnTo>
                    <a:lnTo>
                      <a:pt x="1080" y="440"/>
                    </a:lnTo>
                    <a:lnTo>
                      <a:pt x="1080" y="436"/>
                    </a:lnTo>
                    <a:lnTo>
                      <a:pt x="1084" y="436"/>
                    </a:lnTo>
                    <a:lnTo>
                      <a:pt x="1088" y="436"/>
                    </a:lnTo>
                    <a:lnTo>
                      <a:pt x="1092" y="436"/>
                    </a:lnTo>
                    <a:lnTo>
                      <a:pt x="1092" y="434"/>
                    </a:lnTo>
                    <a:lnTo>
                      <a:pt x="1096" y="436"/>
                    </a:lnTo>
                    <a:lnTo>
                      <a:pt x="1096" y="440"/>
                    </a:lnTo>
                    <a:lnTo>
                      <a:pt x="1092" y="440"/>
                    </a:lnTo>
                    <a:lnTo>
                      <a:pt x="1096" y="440"/>
                    </a:lnTo>
                    <a:lnTo>
                      <a:pt x="1096" y="436"/>
                    </a:lnTo>
                    <a:lnTo>
                      <a:pt x="1100" y="434"/>
                    </a:lnTo>
                    <a:lnTo>
                      <a:pt x="1104" y="434"/>
                    </a:lnTo>
                    <a:lnTo>
                      <a:pt x="1104" y="436"/>
                    </a:lnTo>
                    <a:lnTo>
                      <a:pt x="1100" y="436"/>
                    </a:lnTo>
                    <a:lnTo>
                      <a:pt x="1100" y="440"/>
                    </a:lnTo>
                    <a:lnTo>
                      <a:pt x="1096" y="444"/>
                    </a:lnTo>
                    <a:lnTo>
                      <a:pt x="1092" y="444"/>
                    </a:lnTo>
                    <a:lnTo>
                      <a:pt x="1096" y="444"/>
                    </a:lnTo>
                    <a:lnTo>
                      <a:pt x="1096" y="448"/>
                    </a:lnTo>
                    <a:lnTo>
                      <a:pt x="1100" y="444"/>
                    </a:lnTo>
                    <a:lnTo>
                      <a:pt x="1104" y="440"/>
                    </a:lnTo>
                    <a:lnTo>
                      <a:pt x="1106" y="440"/>
                    </a:lnTo>
                    <a:lnTo>
                      <a:pt x="1106" y="444"/>
                    </a:lnTo>
                    <a:lnTo>
                      <a:pt x="1106" y="448"/>
                    </a:lnTo>
                    <a:lnTo>
                      <a:pt x="1104" y="448"/>
                    </a:lnTo>
                    <a:lnTo>
                      <a:pt x="1106" y="448"/>
                    </a:lnTo>
                    <a:lnTo>
                      <a:pt x="1106" y="444"/>
                    </a:lnTo>
                    <a:lnTo>
                      <a:pt x="1106" y="440"/>
                    </a:lnTo>
                    <a:lnTo>
                      <a:pt x="1110" y="440"/>
                    </a:lnTo>
                    <a:lnTo>
                      <a:pt x="1110" y="444"/>
                    </a:lnTo>
                    <a:lnTo>
                      <a:pt x="1114" y="448"/>
                    </a:lnTo>
                    <a:lnTo>
                      <a:pt x="1110" y="444"/>
                    </a:lnTo>
                    <a:lnTo>
                      <a:pt x="1110" y="440"/>
                    </a:lnTo>
                    <a:lnTo>
                      <a:pt x="1114" y="440"/>
                    </a:lnTo>
                    <a:lnTo>
                      <a:pt x="1118" y="440"/>
                    </a:lnTo>
                    <a:lnTo>
                      <a:pt x="1114" y="444"/>
                    </a:lnTo>
                    <a:lnTo>
                      <a:pt x="1118" y="444"/>
                    </a:lnTo>
                    <a:lnTo>
                      <a:pt x="1118" y="440"/>
                    </a:lnTo>
                    <a:lnTo>
                      <a:pt x="1122" y="440"/>
                    </a:lnTo>
                    <a:lnTo>
                      <a:pt x="1122" y="444"/>
                    </a:lnTo>
                    <a:lnTo>
                      <a:pt x="1126" y="448"/>
                    </a:lnTo>
                    <a:lnTo>
                      <a:pt x="1130" y="452"/>
                    </a:lnTo>
                    <a:lnTo>
                      <a:pt x="1126" y="452"/>
                    </a:lnTo>
                    <a:lnTo>
                      <a:pt x="1122" y="452"/>
                    </a:lnTo>
                    <a:lnTo>
                      <a:pt x="1122" y="448"/>
                    </a:lnTo>
                    <a:lnTo>
                      <a:pt x="1118" y="448"/>
                    </a:lnTo>
                    <a:lnTo>
                      <a:pt x="1114" y="452"/>
                    </a:lnTo>
                    <a:lnTo>
                      <a:pt x="1118" y="452"/>
                    </a:lnTo>
                    <a:lnTo>
                      <a:pt x="1118" y="448"/>
                    </a:lnTo>
                    <a:lnTo>
                      <a:pt x="1118" y="452"/>
                    </a:lnTo>
                    <a:lnTo>
                      <a:pt x="1122" y="452"/>
                    </a:lnTo>
                    <a:lnTo>
                      <a:pt x="1122" y="456"/>
                    </a:lnTo>
                    <a:lnTo>
                      <a:pt x="1118" y="456"/>
                    </a:lnTo>
                    <a:lnTo>
                      <a:pt x="1122" y="456"/>
                    </a:lnTo>
                    <a:lnTo>
                      <a:pt x="1126" y="456"/>
                    </a:lnTo>
                    <a:lnTo>
                      <a:pt x="1122" y="456"/>
                    </a:lnTo>
                    <a:lnTo>
                      <a:pt x="1118" y="460"/>
                    </a:lnTo>
                    <a:lnTo>
                      <a:pt x="1114" y="460"/>
                    </a:lnTo>
                    <a:lnTo>
                      <a:pt x="1114" y="456"/>
                    </a:lnTo>
                    <a:lnTo>
                      <a:pt x="1110" y="456"/>
                    </a:lnTo>
                    <a:lnTo>
                      <a:pt x="1106" y="456"/>
                    </a:lnTo>
                    <a:lnTo>
                      <a:pt x="1110" y="456"/>
                    </a:lnTo>
                    <a:lnTo>
                      <a:pt x="1110" y="460"/>
                    </a:lnTo>
                    <a:lnTo>
                      <a:pt x="1114" y="460"/>
                    </a:lnTo>
                    <a:lnTo>
                      <a:pt x="1110" y="460"/>
                    </a:lnTo>
                    <a:lnTo>
                      <a:pt x="1106" y="460"/>
                    </a:lnTo>
                    <a:lnTo>
                      <a:pt x="1104" y="456"/>
                    </a:lnTo>
                    <a:lnTo>
                      <a:pt x="1106" y="460"/>
                    </a:lnTo>
                    <a:lnTo>
                      <a:pt x="1110" y="460"/>
                    </a:lnTo>
                    <a:lnTo>
                      <a:pt x="1114" y="464"/>
                    </a:lnTo>
                    <a:lnTo>
                      <a:pt x="1118" y="464"/>
                    </a:lnTo>
                    <a:lnTo>
                      <a:pt x="1114" y="466"/>
                    </a:lnTo>
                    <a:lnTo>
                      <a:pt x="1110" y="466"/>
                    </a:lnTo>
                    <a:lnTo>
                      <a:pt x="1110" y="464"/>
                    </a:lnTo>
                    <a:lnTo>
                      <a:pt x="1106" y="464"/>
                    </a:lnTo>
                    <a:lnTo>
                      <a:pt x="1104" y="464"/>
                    </a:lnTo>
                    <a:lnTo>
                      <a:pt x="1106" y="464"/>
                    </a:lnTo>
                    <a:lnTo>
                      <a:pt x="1106" y="466"/>
                    </a:lnTo>
                    <a:lnTo>
                      <a:pt x="1110" y="466"/>
                    </a:lnTo>
                    <a:lnTo>
                      <a:pt x="1114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66"/>
                    </a:lnTo>
                    <a:lnTo>
                      <a:pt x="1104" y="466"/>
                    </a:lnTo>
                    <a:lnTo>
                      <a:pt x="1106" y="470"/>
                    </a:lnTo>
                    <a:lnTo>
                      <a:pt x="1110" y="470"/>
                    </a:lnTo>
                    <a:lnTo>
                      <a:pt x="1106" y="470"/>
                    </a:lnTo>
                    <a:lnTo>
                      <a:pt x="1106" y="474"/>
                    </a:lnTo>
                    <a:lnTo>
                      <a:pt x="1104" y="474"/>
                    </a:lnTo>
                    <a:lnTo>
                      <a:pt x="1104" y="470"/>
                    </a:lnTo>
                    <a:lnTo>
                      <a:pt x="1104" y="474"/>
                    </a:lnTo>
                    <a:lnTo>
                      <a:pt x="1100" y="474"/>
                    </a:lnTo>
                    <a:lnTo>
                      <a:pt x="1096" y="470"/>
                    </a:lnTo>
                    <a:lnTo>
                      <a:pt x="1100" y="474"/>
                    </a:lnTo>
                    <a:lnTo>
                      <a:pt x="1096" y="474"/>
                    </a:lnTo>
                    <a:lnTo>
                      <a:pt x="1092" y="474"/>
                    </a:lnTo>
                    <a:lnTo>
                      <a:pt x="1096" y="474"/>
                    </a:lnTo>
                    <a:lnTo>
                      <a:pt x="1100" y="474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6" y="474"/>
                    </a:lnTo>
                    <a:lnTo>
                      <a:pt x="1096" y="478"/>
                    </a:lnTo>
                    <a:lnTo>
                      <a:pt x="1100" y="478"/>
                    </a:lnTo>
                    <a:lnTo>
                      <a:pt x="1096" y="478"/>
                    </a:lnTo>
                    <a:lnTo>
                      <a:pt x="1092" y="478"/>
                    </a:lnTo>
                    <a:lnTo>
                      <a:pt x="1096" y="478"/>
                    </a:lnTo>
                    <a:lnTo>
                      <a:pt x="1100" y="482"/>
                    </a:lnTo>
                    <a:lnTo>
                      <a:pt x="1096" y="486"/>
                    </a:lnTo>
                    <a:lnTo>
                      <a:pt x="1096" y="490"/>
                    </a:lnTo>
                    <a:lnTo>
                      <a:pt x="1096" y="494"/>
                    </a:lnTo>
                    <a:lnTo>
                      <a:pt x="1092" y="494"/>
                    </a:lnTo>
                    <a:lnTo>
                      <a:pt x="1092" y="490"/>
                    </a:lnTo>
                    <a:lnTo>
                      <a:pt x="1088" y="486"/>
                    </a:lnTo>
                    <a:lnTo>
                      <a:pt x="1088" y="490"/>
                    </a:lnTo>
                    <a:lnTo>
                      <a:pt x="1084" y="486"/>
                    </a:lnTo>
                    <a:lnTo>
                      <a:pt x="1088" y="486"/>
                    </a:lnTo>
                    <a:lnTo>
                      <a:pt x="1084" y="486"/>
                    </a:lnTo>
                    <a:lnTo>
                      <a:pt x="1084" y="482"/>
                    </a:lnTo>
                    <a:lnTo>
                      <a:pt x="1084" y="478"/>
                    </a:lnTo>
                    <a:lnTo>
                      <a:pt x="1080" y="482"/>
                    </a:lnTo>
                    <a:lnTo>
                      <a:pt x="1080" y="486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76" y="486"/>
                    </a:lnTo>
                    <a:lnTo>
                      <a:pt x="1076" y="482"/>
                    </a:lnTo>
                    <a:lnTo>
                      <a:pt x="1080" y="482"/>
                    </a:lnTo>
                    <a:lnTo>
                      <a:pt x="1076" y="482"/>
                    </a:lnTo>
                    <a:lnTo>
                      <a:pt x="1080" y="478"/>
                    </a:lnTo>
                    <a:lnTo>
                      <a:pt x="1084" y="478"/>
                    </a:lnTo>
                    <a:lnTo>
                      <a:pt x="1080" y="478"/>
                    </a:lnTo>
                    <a:lnTo>
                      <a:pt x="1076" y="478"/>
                    </a:lnTo>
                    <a:lnTo>
                      <a:pt x="1074" y="478"/>
                    </a:lnTo>
                    <a:lnTo>
                      <a:pt x="1074" y="482"/>
                    </a:lnTo>
                    <a:lnTo>
                      <a:pt x="1074" y="478"/>
                    </a:lnTo>
                    <a:lnTo>
                      <a:pt x="1076" y="478"/>
                    </a:lnTo>
                    <a:lnTo>
                      <a:pt x="1076" y="474"/>
                    </a:lnTo>
                    <a:lnTo>
                      <a:pt x="1074" y="478"/>
                    </a:lnTo>
                    <a:lnTo>
                      <a:pt x="1070" y="478"/>
                    </a:lnTo>
                    <a:lnTo>
                      <a:pt x="1070" y="474"/>
                    </a:lnTo>
                    <a:lnTo>
                      <a:pt x="1074" y="474"/>
                    </a:lnTo>
                    <a:lnTo>
                      <a:pt x="1076" y="474"/>
                    </a:lnTo>
                    <a:lnTo>
                      <a:pt x="1076" y="470"/>
                    </a:lnTo>
                    <a:lnTo>
                      <a:pt x="1074" y="470"/>
                    </a:lnTo>
                    <a:lnTo>
                      <a:pt x="1074" y="474"/>
                    </a:lnTo>
                    <a:lnTo>
                      <a:pt x="1070" y="474"/>
                    </a:lnTo>
                    <a:lnTo>
                      <a:pt x="1070" y="470"/>
                    </a:lnTo>
                    <a:lnTo>
                      <a:pt x="1066" y="470"/>
                    </a:lnTo>
                    <a:lnTo>
                      <a:pt x="1070" y="470"/>
                    </a:lnTo>
                    <a:lnTo>
                      <a:pt x="1070" y="466"/>
                    </a:lnTo>
                    <a:lnTo>
                      <a:pt x="1074" y="466"/>
                    </a:lnTo>
                    <a:lnTo>
                      <a:pt x="1076" y="466"/>
                    </a:lnTo>
                    <a:lnTo>
                      <a:pt x="1076" y="464"/>
                    </a:lnTo>
                    <a:lnTo>
                      <a:pt x="1076" y="460"/>
                    </a:lnTo>
                    <a:lnTo>
                      <a:pt x="1080" y="460"/>
                    </a:lnTo>
                    <a:lnTo>
                      <a:pt x="1084" y="460"/>
                    </a:lnTo>
                    <a:lnTo>
                      <a:pt x="1084" y="456"/>
                    </a:lnTo>
                    <a:lnTo>
                      <a:pt x="1080" y="456"/>
                    </a:lnTo>
                    <a:lnTo>
                      <a:pt x="1076" y="460"/>
                    </a:lnTo>
                    <a:lnTo>
                      <a:pt x="1076" y="464"/>
                    </a:lnTo>
                    <a:lnTo>
                      <a:pt x="1074" y="464"/>
                    </a:lnTo>
                    <a:lnTo>
                      <a:pt x="1070" y="466"/>
                    </a:lnTo>
                    <a:lnTo>
                      <a:pt x="1062" y="466"/>
                    </a:lnTo>
                    <a:lnTo>
                      <a:pt x="1062" y="464"/>
                    </a:lnTo>
                    <a:lnTo>
                      <a:pt x="1066" y="464"/>
                    </a:lnTo>
                    <a:lnTo>
                      <a:pt x="1066" y="460"/>
                    </a:lnTo>
                    <a:lnTo>
                      <a:pt x="1070" y="456"/>
                    </a:lnTo>
                    <a:lnTo>
                      <a:pt x="1066" y="460"/>
                    </a:lnTo>
                    <a:lnTo>
                      <a:pt x="1062" y="464"/>
                    </a:lnTo>
                    <a:lnTo>
                      <a:pt x="1060" y="464"/>
                    </a:lnTo>
                    <a:lnTo>
                      <a:pt x="1060" y="460"/>
                    </a:lnTo>
                    <a:lnTo>
                      <a:pt x="1056" y="460"/>
                    </a:lnTo>
                    <a:lnTo>
                      <a:pt x="1052" y="456"/>
                    </a:lnTo>
                    <a:lnTo>
                      <a:pt x="1056" y="456"/>
                    </a:lnTo>
                    <a:lnTo>
                      <a:pt x="1052" y="456"/>
                    </a:lnTo>
                    <a:lnTo>
                      <a:pt x="1048" y="456"/>
                    </a:lnTo>
                    <a:lnTo>
                      <a:pt x="1048" y="452"/>
                    </a:lnTo>
                    <a:lnTo>
                      <a:pt x="1048" y="448"/>
                    </a:lnTo>
                    <a:lnTo>
                      <a:pt x="1048" y="452"/>
                    </a:lnTo>
                    <a:lnTo>
                      <a:pt x="1044" y="452"/>
                    </a:lnTo>
                    <a:lnTo>
                      <a:pt x="1040" y="452"/>
                    </a:lnTo>
                    <a:lnTo>
                      <a:pt x="1036" y="452"/>
                    </a:lnTo>
                    <a:lnTo>
                      <a:pt x="1040" y="452"/>
                    </a:lnTo>
                    <a:lnTo>
                      <a:pt x="1044" y="452"/>
                    </a:lnTo>
                    <a:lnTo>
                      <a:pt x="1044" y="456"/>
                    </a:lnTo>
                    <a:lnTo>
                      <a:pt x="1040" y="456"/>
                    </a:lnTo>
                    <a:lnTo>
                      <a:pt x="1044" y="456"/>
                    </a:lnTo>
                    <a:lnTo>
                      <a:pt x="1044" y="460"/>
                    </a:lnTo>
                    <a:lnTo>
                      <a:pt x="1040" y="460"/>
                    </a:lnTo>
                    <a:lnTo>
                      <a:pt x="1040" y="456"/>
                    </a:lnTo>
                    <a:lnTo>
                      <a:pt x="1036" y="456"/>
                    </a:lnTo>
                    <a:lnTo>
                      <a:pt x="1036" y="452"/>
                    </a:lnTo>
                    <a:lnTo>
                      <a:pt x="1032" y="452"/>
                    </a:lnTo>
                    <a:lnTo>
                      <a:pt x="1032" y="456"/>
                    </a:lnTo>
                    <a:lnTo>
                      <a:pt x="1036" y="456"/>
                    </a:lnTo>
                    <a:lnTo>
                      <a:pt x="1036" y="460"/>
                    </a:lnTo>
                    <a:lnTo>
                      <a:pt x="1040" y="460"/>
                    </a:lnTo>
                    <a:lnTo>
                      <a:pt x="1040" y="464"/>
                    </a:lnTo>
                    <a:lnTo>
                      <a:pt x="1044" y="464"/>
                    </a:lnTo>
                    <a:lnTo>
                      <a:pt x="1044" y="466"/>
                    </a:lnTo>
                    <a:lnTo>
                      <a:pt x="1040" y="466"/>
                    </a:lnTo>
                    <a:lnTo>
                      <a:pt x="1036" y="466"/>
                    </a:lnTo>
                    <a:lnTo>
                      <a:pt x="1032" y="466"/>
                    </a:lnTo>
                    <a:lnTo>
                      <a:pt x="1032" y="464"/>
                    </a:lnTo>
                    <a:lnTo>
                      <a:pt x="1030" y="464"/>
                    </a:lnTo>
                    <a:lnTo>
                      <a:pt x="1030" y="460"/>
                    </a:lnTo>
                    <a:lnTo>
                      <a:pt x="1026" y="460"/>
                    </a:lnTo>
                    <a:lnTo>
                      <a:pt x="1022" y="460"/>
                    </a:lnTo>
                    <a:lnTo>
                      <a:pt x="1026" y="460"/>
                    </a:lnTo>
                    <a:lnTo>
                      <a:pt x="1026" y="464"/>
                    </a:lnTo>
                    <a:lnTo>
                      <a:pt x="1030" y="464"/>
                    </a:lnTo>
                    <a:lnTo>
                      <a:pt x="1032" y="464"/>
                    </a:lnTo>
                    <a:lnTo>
                      <a:pt x="1032" y="466"/>
                    </a:lnTo>
                    <a:lnTo>
                      <a:pt x="1030" y="466"/>
                    </a:lnTo>
                    <a:lnTo>
                      <a:pt x="1030" y="464"/>
                    </a:lnTo>
                    <a:lnTo>
                      <a:pt x="1030" y="466"/>
                    </a:lnTo>
                    <a:lnTo>
                      <a:pt x="1030" y="470"/>
                    </a:lnTo>
                    <a:lnTo>
                      <a:pt x="1032" y="470"/>
                    </a:lnTo>
                    <a:lnTo>
                      <a:pt x="1036" y="470"/>
                    </a:lnTo>
                    <a:lnTo>
                      <a:pt x="1032" y="474"/>
                    </a:lnTo>
                    <a:lnTo>
                      <a:pt x="1032" y="478"/>
                    </a:lnTo>
                    <a:lnTo>
                      <a:pt x="1032" y="474"/>
                    </a:lnTo>
                    <a:lnTo>
                      <a:pt x="1036" y="474"/>
                    </a:lnTo>
                    <a:lnTo>
                      <a:pt x="1040" y="474"/>
                    </a:lnTo>
                    <a:lnTo>
                      <a:pt x="1044" y="474"/>
                    </a:lnTo>
                    <a:lnTo>
                      <a:pt x="1040" y="478"/>
                    </a:lnTo>
                    <a:lnTo>
                      <a:pt x="1044" y="478"/>
                    </a:lnTo>
                    <a:lnTo>
                      <a:pt x="1048" y="478"/>
                    </a:lnTo>
                    <a:lnTo>
                      <a:pt x="1044" y="482"/>
                    </a:lnTo>
                    <a:lnTo>
                      <a:pt x="1040" y="482"/>
                    </a:lnTo>
                    <a:lnTo>
                      <a:pt x="1044" y="482"/>
                    </a:lnTo>
                    <a:lnTo>
                      <a:pt x="1048" y="486"/>
                    </a:lnTo>
                    <a:lnTo>
                      <a:pt x="1044" y="486"/>
                    </a:lnTo>
                    <a:lnTo>
                      <a:pt x="1044" y="490"/>
                    </a:lnTo>
                    <a:lnTo>
                      <a:pt x="1048" y="486"/>
                    </a:lnTo>
                    <a:lnTo>
                      <a:pt x="1052" y="486"/>
                    </a:lnTo>
                    <a:lnTo>
                      <a:pt x="1048" y="490"/>
                    </a:lnTo>
                    <a:lnTo>
                      <a:pt x="1052" y="490"/>
                    </a:lnTo>
                    <a:lnTo>
                      <a:pt x="1052" y="494"/>
                    </a:lnTo>
                    <a:lnTo>
                      <a:pt x="1052" y="496"/>
                    </a:lnTo>
                    <a:lnTo>
                      <a:pt x="1052" y="494"/>
                    </a:lnTo>
                    <a:lnTo>
                      <a:pt x="1052" y="490"/>
                    </a:lnTo>
                    <a:lnTo>
                      <a:pt x="1056" y="490"/>
                    </a:lnTo>
                    <a:lnTo>
                      <a:pt x="1056" y="494"/>
                    </a:lnTo>
                    <a:lnTo>
                      <a:pt x="1060" y="494"/>
                    </a:lnTo>
                    <a:lnTo>
                      <a:pt x="1060" y="496"/>
                    </a:lnTo>
                    <a:lnTo>
                      <a:pt x="1060" y="494"/>
                    </a:lnTo>
                    <a:lnTo>
                      <a:pt x="1062" y="494"/>
                    </a:lnTo>
                    <a:lnTo>
                      <a:pt x="1060" y="496"/>
                    </a:lnTo>
                    <a:lnTo>
                      <a:pt x="1062" y="496"/>
                    </a:lnTo>
                    <a:lnTo>
                      <a:pt x="1062" y="494"/>
                    </a:lnTo>
                    <a:lnTo>
                      <a:pt x="1066" y="494"/>
                    </a:lnTo>
                    <a:lnTo>
                      <a:pt x="1066" y="496"/>
                    </a:lnTo>
                    <a:lnTo>
                      <a:pt x="1066" y="500"/>
                    </a:lnTo>
                    <a:lnTo>
                      <a:pt x="1070" y="500"/>
                    </a:lnTo>
                    <a:lnTo>
                      <a:pt x="1074" y="500"/>
                    </a:lnTo>
                    <a:lnTo>
                      <a:pt x="1074" y="504"/>
                    </a:lnTo>
                    <a:lnTo>
                      <a:pt x="1074" y="508"/>
                    </a:lnTo>
                    <a:lnTo>
                      <a:pt x="1070" y="508"/>
                    </a:lnTo>
                    <a:lnTo>
                      <a:pt x="1070" y="504"/>
                    </a:lnTo>
                    <a:lnTo>
                      <a:pt x="1066" y="504"/>
                    </a:lnTo>
                    <a:lnTo>
                      <a:pt x="1066" y="508"/>
                    </a:lnTo>
                    <a:lnTo>
                      <a:pt x="1070" y="508"/>
                    </a:lnTo>
                    <a:lnTo>
                      <a:pt x="1074" y="512"/>
                    </a:lnTo>
                    <a:lnTo>
                      <a:pt x="1076" y="512"/>
                    </a:lnTo>
                    <a:lnTo>
                      <a:pt x="1080" y="512"/>
                    </a:lnTo>
                    <a:lnTo>
                      <a:pt x="1080" y="516"/>
                    </a:lnTo>
                    <a:lnTo>
                      <a:pt x="1076" y="516"/>
                    </a:lnTo>
                    <a:lnTo>
                      <a:pt x="1074" y="516"/>
                    </a:lnTo>
                    <a:lnTo>
                      <a:pt x="1074" y="520"/>
                    </a:lnTo>
                    <a:lnTo>
                      <a:pt x="1076" y="520"/>
                    </a:lnTo>
                    <a:lnTo>
                      <a:pt x="1080" y="520"/>
                    </a:lnTo>
                    <a:lnTo>
                      <a:pt x="1080" y="522"/>
                    </a:lnTo>
                    <a:lnTo>
                      <a:pt x="1080" y="526"/>
                    </a:lnTo>
                    <a:lnTo>
                      <a:pt x="1080" y="530"/>
                    </a:lnTo>
                    <a:lnTo>
                      <a:pt x="1076" y="530"/>
                    </a:lnTo>
                    <a:lnTo>
                      <a:pt x="1076" y="526"/>
                    </a:lnTo>
                    <a:lnTo>
                      <a:pt x="1076" y="522"/>
                    </a:lnTo>
                    <a:lnTo>
                      <a:pt x="1074" y="522"/>
                    </a:lnTo>
                    <a:lnTo>
                      <a:pt x="1074" y="520"/>
                    </a:lnTo>
                    <a:lnTo>
                      <a:pt x="1070" y="520"/>
                    </a:lnTo>
                    <a:lnTo>
                      <a:pt x="1074" y="520"/>
                    </a:lnTo>
                    <a:lnTo>
                      <a:pt x="1074" y="522"/>
                    </a:lnTo>
                    <a:lnTo>
                      <a:pt x="1074" y="526"/>
                    </a:lnTo>
                    <a:lnTo>
                      <a:pt x="1076" y="530"/>
                    </a:lnTo>
                    <a:lnTo>
                      <a:pt x="1074" y="530"/>
                    </a:lnTo>
                    <a:lnTo>
                      <a:pt x="1074" y="534"/>
                    </a:lnTo>
                    <a:lnTo>
                      <a:pt x="1076" y="534"/>
                    </a:lnTo>
                    <a:lnTo>
                      <a:pt x="1076" y="538"/>
                    </a:lnTo>
                    <a:lnTo>
                      <a:pt x="1080" y="538"/>
                    </a:lnTo>
                    <a:lnTo>
                      <a:pt x="1076" y="542"/>
                    </a:lnTo>
                    <a:lnTo>
                      <a:pt x="1074" y="538"/>
                    </a:lnTo>
                    <a:lnTo>
                      <a:pt x="1070" y="538"/>
                    </a:lnTo>
                    <a:lnTo>
                      <a:pt x="1074" y="542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4" y="546"/>
                    </a:lnTo>
                    <a:lnTo>
                      <a:pt x="1074" y="550"/>
                    </a:lnTo>
                    <a:lnTo>
                      <a:pt x="1070" y="546"/>
                    </a:lnTo>
                    <a:lnTo>
                      <a:pt x="1070" y="542"/>
                    </a:lnTo>
                    <a:lnTo>
                      <a:pt x="1066" y="542"/>
                    </a:lnTo>
                    <a:lnTo>
                      <a:pt x="1066" y="538"/>
                    </a:lnTo>
                    <a:lnTo>
                      <a:pt x="1062" y="538"/>
                    </a:lnTo>
                    <a:lnTo>
                      <a:pt x="1060" y="538"/>
                    </a:lnTo>
                    <a:lnTo>
                      <a:pt x="1060" y="534"/>
                    </a:lnTo>
                    <a:lnTo>
                      <a:pt x="1056" y="534"/>
                    </a:lnTo>
                    <a:lnTo>
                      <a:pt x="1060" y="538"/>
                    </a:lnTo>
                    <a:lnTo>
                      <a:pt x="1056" y="538"/>
                    </a:lnTo>
                    <a:lnTo>
                      <a:pt x="1056" y="534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52" y="526"/>
                    </a:lnTo>
                    <a:lnTo>
                      <a:pt x="1052" y="530"/>
                    </a:lnTo>
                    <a:lnTo>
                      <a:pt x="1052" y="534"/>
                    </a:lnTo>
                    <a:lnTo>
                      <a:pt x="1052" y="538"/>
                    </a:lnTo>
                    <a:lnTo>
                      <a:pt x="1052" y="534"/>
                    </a:lnTo>
                    <a:lnTo>
                      <a:pt x="1052" y="530"/>
                    </a:lnTo>
                    <a:lnTo>
                      <a:pt x="1048" y="530"/>
                    </a:lnTo>
                    <a:lnTo>
                      <a:pt x="1048" y="534"/>
                    </a:lnTo>
                    <a:lnTo>
                      <a:pt x="1048" y="530"/>
                    </a:lnTo>
                    <a:lnTo>
                      <a:pt x="1048" y="526"/>
                    </a:lnTo>
                    <a:lnTo>
                      <a:pt x="1048" y="530"/>
                    </a:lnTo>
                    <a:lnTo>
                      <a:pt x="1044" y="530"/>
                    </a:lnTo>
                    <a:lnTo>
                      <a:pt x="1040" y="526"/>
                    </a:lnTo>
                    <a:lnTo>
                      <a:pt x="1036" y="522"/>
                    </a:lnTo>
                    <a:lnTo>
                      <a:pt x="1036" y="520"/>
                    </a:lnTo>
                    <a:lnTo>
                      <a:pt x="1032" y="520"/>
                    </a:lnTo>
                    <a:lnTo>
                      <a:pt x="1036" y="522"/>
                    </a:lnTo>
                    <a:lnTo>
                      <a:pt x="1036" y="526"/>
                    </a:lnTo>
                    <a:lnTo>
                      <a:pt x="1036" y="530"/>
                    </a:lnTo>
                    <a:lnTo>
                      <a:pt x="1036" y="526"/>
                    </a:lnTo>
                    <a:lnTo>
                      <a:pt x="1032" y="526"/>
                    </a:lnTo>
                    <a:lnTo>
                      <a:pt x="1032" y="522"/>
                    </a:lnTo>
                    <a:lnTo>
                      <a:pt x="1030" y="522"/>
                    </a:lnTo>
                    <a:lnTo>
                      <a:pt x="1026" y="522"/>
                    </a:lnTo>
                    <a:lnTo>
                      <a:pt x="1026" y="520"/>
                    </a:lnTo>
                    <a:lnTo>
                      <a:pt x="1022" y="520"/>
                    </a:lnTo>
                    <a:lnTo>
                      <a:pt x="1018" y="520"/>
                    </a:lnTo>
                    <a:lnTo>
                      <a:pt x="1022" y="522"/>
                    </a:lnTo>
                    <a:lnTo>
                      <a:pt x="1026" y="526"/>
                    </a:lnTo>
                    <a:lnTo>
                      <a:pt x="1030" y="530"/>
                    </a:lnTo>
                    <a:lnTo>
                      <a:pt x="1030" y="534"/>
                    </a:lnTo>
                    <a:lnTo>
                      <a:pt x="1032" y="534"/>
                    </a:lnTo>
                    <a:lnTo>
                      <a:pt x="1036" y="534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36" y="538"/>
                    </a:lnTo>
                    <a:lnTo>
                      <a:pt x="1040" y="538"/>
                    </a:lnTo>
                    <a:lnTo>
                      <a:pt x="1044" y="542"/>
                    </a:lnTo>
                    <a:lnTo>
                      <a:pt x="1048" y="542"/>
                    </a:lnTo>
                    <a:lnTo>
                      <a:pt x="1048" y="546"/>
                    </a:lnTo>
                    <a:lnTo>
                      <a:pt x="1052" y="546"/>
                    </a:lnTo>
                    <a:lnTo>
                      <a:pt x="1056" y="550"/>
                    </a:lnTo>
                    <a:lnTo>
                      <a:pt x="1056" y="552"/>
                    </a:lnTo>
                    <a:lnTo>
                      <a:pt x="1060" y="552"/>
                    </a:lnTo>
                    <a:lnTo>
                      <a:pt x="1060" y="556"/>
                    </a:lnTo>
                    <a:lnTo>
                      <a:pt x="1062" y="556"/>
                    </a:lnTo>
                    <a:lnTo>
                      <a:pt x="1060" y="556"/>
                    </a:lnTo>
                    <a:lnTo>
                      <a:pt x="1060" y="560"/>
                    </a:lnTo>
                    <a:lnTo>
                      <a:pt x="1062" y="560"/>
                    </a:lnTo>
                    <a:lnTo>
                      <a:pt x="1062" y="564"/>
                    </a:lnTo>
                    <a:lnTo>
                      <a:pt x="1060" y="564"/>
                    </a:lnTo>
                    <a:lnTo>
                      <a:pt x="1056" y="564"/>
                    </a:lnTo>
                    <a:lnTo>
                      <a:pt x="1052" y="564"/>
                    </a:lnTo>
                    <a:lnTo>
                      <a:pt x="1052" y="560"/>
                    </a:lnTo>
                    <a:lnTo>
                      <a:pt x="1048" y="560"/>
                    </a:lnTo>
                    <a:lnTo>
                      <a:pt x="1044" y="560"/>
                    </a:lnTo>
                    <a:lnTo>
                      <a:pt x="1040" y="556"/>
                    </a:lnTo>
                    <a:lnTo>
                      <a:pt x="1036" y="556"/>
                    </a:lnTo>
                    <a:lnTo>
                      <a:pt x="1032" y="556"/>
                    </a:lnTo>
                    <a:lnTo>
                      <a:pt x="1030" y="556"/>
                    </a:lnTo>
                    <a:lnTo>
                      <a:pt x="1026" y="556"/>
                    </a:lnTo>
                    <a:lnTo>
                      <a:pt x="1026" y="552"/>
                    </a:lnTo>
                    <a:lnTo>
                      <a:pt x="1022" y="552"/>
                    </a:lnTo>
                    <a:lnTo>
                      <a:pt x="1018" y="552"/>
                    </a:lnTo>
                    <a:lnTo>
                      <a:pt x="1018" y="550"/>
                    </a:lnTo>
                    <a:lnTo>
                      <a:pt x="1014" y="550"/>
                    </a:lnTo>
                    <a:lnTo>
                      <a:pt x="1014" y="546"/>
                    </a:lnTo>
                    <a:lnTo>
                      <a:pt x="1014" y="550"/>
                    </a:lnTo>
                    <a:lnTo>
                      <a:pt x="1010" y="546"/>
                    </a:lnTo>
                    <a:lnTo>
                      <a:pt x="1010" y="542"/>
                    </a:lnTo>
                    <a:lnTo>
                      <a:pt x="1006" y="542"/>
                    </a:lnTo>
                    <a:lnTo>
                      <a:pt x="1004" y="542"/>
                    </a:lnTo>
                    <a:lnTo>
                      <a:pt x="1004" y="542"/>
                    </a:lnTo>
                    <a:lnTo>
                      <a:pt x="1004" y="542"/>
                    </a:lnTo>
                    <a:close/>
                    <a:moveTo>
                      <a:pt x="902" y="292"/>
                    </a:moveTo>
                    <a:lnTo>
                      <a:pt x="898" y="292"/>
                    </a:lnTo>
                    <a:lnTo>
                      <a:pt x="894" y="292"/>
                    </a:lnTo>
                    <a:lnTo>
                      <a:pt x="890" y="292"/>
                    </a:lnTo>
                    <a:lnTo>
                      <a:pt x="888" y="292"/>
                    </a:lnTo>
                    <a:lnTo>
                      <a:pt x="884" y="292"/>
                    </a:lnTo>
                    <a:lnTo>
                      <a:pt x="880" y="292"/>
                    </a:lnTo>
                    <a:lnTo>
                      <a:pt x="876" y="294"/>
                    </a:lnTo>
                    <a:lnTo>
                      <a:pt x="872" y="294"/>
                    </a:lnTo>
                    <a:lnTo>
                      <a:pt x="868" y="294"/>
                    </a:lnTo>
                    <a:lnTo>
                      <a:pt x="864" y="292"/>
                    </a:lnTo>
                    <a:lnTo>
                      <a:pt x="862" y="292"/>
                    </a:lnTo>
                    <a:lnTo>
                      <a:pt x="862" y="288"/>
                    </a:lnTo>
                    <a:lnTo>
                      <a:pt x="862" y="284"/>
                    </a:lnTo>
                    <a:lnTo>
                      <a:pt x="862" y="280"/>
                    </a:lnTo>
                    <a:lnTo>
                      <a:pt x="858" y="280"/>
                    </a:lnTo>
                    <a:lnTo>
                      <a:pt x="854" y="280"/>
                    </a:lnTo>
                    <a:lnTo>
                      <a:pt x="850" y="280"/>
                    </a:lnTo>
                    <a:lnTo>
                      <a:pt x="850" y="276"/>
                    </a:lnTo>
                    <a:lnTo>
                      <a:pt x="850" y="268"/>
                    </a:lnTo>
                    <a:lnTo>
                      <a:pt x="854" y="268"/>
                    </a:lnTo>
                    <a:lnTo>
                      <a:pt x="858" y="268"/>
                    </a:lnTo>
                    <a:lnTo>
                      <a:pt x="862" y="268"/>
                    </a:lnTo>
                    <a:lnTo>
                      <a:pt x="864" y="268"/>
                    </a:lnTo>
                    <a:lnTo>
                      <a:pt x="868" y="268"/>
                    </a:lnTo>
                    <a:lnTo>
                      <a:pt x="868" y="272"/>
                    </a:lnTo>
                    <a:lnTo>
                      <a:pt x="872" y="272"/>
                    </a:lnTo>
                    <a:lnTo>
                      <a:pt x="876" y="272"/>
                    </a:lnTo>
                    <a:lnTo>
                      <a:pt x="876" y="268"/>
                    </a:lnTo>
                    <a:lnTo>
                      <a:pt x="880" y="268"/>
                    </a:lnTo>
                    <a:lnTo>
                      <a:pt x="884" y="268"/>
                    </a:lnTo>
                    <a:lnTo>
                      <a:pt x="888" y="268"/>
                    </a:lnTo>
                    <a:lnTo>
                      <a:pt x="890" y="268"/>
                    </a:lnTo>
                    <a:lnTo>
                      <a:pt x="890" y="272"/>
                    </a:lnTo>
                    <a:lnTo>
                      <a:pt x="894" y="272"/>
                    </a:lnTo>
                    <a:lnTo>
                      <a:pt x="898" y="272"/>
                    </a:lnTo>
                    <a:lnTo>
                      <a:pt x="902" y="272"/>
                    </a:lnTo>
                    <a:lnTo>
                      <a:pt x="902" y="276"/>
                    </a:lnTo>
                    <a:lnTo>
                      <a:pt x="906" y="276"/>
                    </a:lnTo>
                    <a:lnTo>
                      <a:pt x="906" y="280"/>
                    </a:lnTo>
                    <a:lnTo>
                      <a:pt x="910" y="280"/>
                    </a:lnTo>
                    <a:lnTo>
                      <a:pt x="910" y="284"/>
                    </a:lnTo>
                    <a:lnTo>
                      <a:pt x="914" y="284"/>
                    </a:lnTo>
                    <a:lnTo>
                      <a:pt x="914" y="288"/>
                    </a:lnTo>
                    <a:lnTo>
                      <a:pt x="918" y="288"/>
                    </a:lnTo>
                    <a:lnTo>
                      <a:pt x="918" y="292"/>
                    </a:lnTo>
                    <a:lnTo>
                      <a:pt x="914" y="292"/>
                    </a:lnTo>
                    <a:lnTo>
                      <a:pt x="910" y="292"/>
                    </a:lnTo>
                    <a:lnTo>
                      <a:pt x="906" y="292"/>
                    </a:lnTo>
                    <a:lnTo>
                      <a:pt x="902" y="292"/>
                    </a:lnTo>
                    <a:lnTo>
                      <a:pt x="902" y="292"/>
                    </a:lnTo>
                    <a:lnTo>
                      <a:pt x="902" y="292"/>
                    </a:lnTo>
                    <a:close/>
                    <a:moveTo>
                      <a:pt x="508" y="292"/>
                    </a:moveTo>
                    <a:lnTo>
                      <a:pt x="504" y="288"/>
                    </a:lnTo>
                    <a:lnTo>
                      <a:pt x="504" y="292"/>
                    </a:lnTo>
                    <a:lnTo>
                      <a:pt x="508" y="292"/>
                    </a:lnTo>
                    <a:lnTo>
                      <a:pt x="504" y="292"/>
                    </a:lnTo>
                    <a:lnTo>
                      <a:pt x="500" y="288"/>
                    </a:lnTo>
                    <a:lnTo>
                      <a:pt x="496" y="284"/>
                    </a:lnTo>
                    <a:lnTo>
                      <a:pt x="492" y="284"/>
                    </a:lnTo>
                    <a:lnTo>
                      <a:pt x="492" y="280"/>
                    </a:lnTo>
                    <a:lnTo>
                      <a:pt x="488" y="276"/>
                    </a:lnTo>
                    <a:lnTo>
                      <a:pt x="484" y="276"/>
                    </a:lnTo>
                    <a:lnTo>
                      <a:pt x="480" y="276"/>
                    </a:lnTo>
                    <a:lnTo>
                      <a:pt x="480" y="272"/>
                    </a:lnTo>
                    <a:lnTo>
                      <a:pt x="484" y="268"/>
                    </a:lnTo>
                    <a:lnTo>
                      <a:pt x="488" y="268"/>
                    </a:lnTo>
                    <a:lnTo>
                      <a:pt x="492" y="268"/>
                    </a:lnTo>
                    <a:lnTo>
                      <a:pt x="496" y="268"/>
                    </a:lnTo>
                    <a:lnTo>
                      <a:pt x="500" y="268"/>
                    </a:lnTo>
                    <a:lnTo>
                      <a:pt x="504" y="268"/>
                    </a:lnTo>
                    <a:lnTo>
                      <a:pt x="508" y="268"/>
                    </a:lnTo>
                    <a:lnTo>
                      <a:pt x="510" y="268"/>
                    </a:lnTo>
                    <a:lnTo>
                      <a:pt x="514" y="272"/>
                    </a:lnTo>
                    <a:lnTo>
                      <a:pt x="514" y="276"/>
                    </a:lnTo>
                    <a:lnTo>
                      <a:pt x="514" y="280"/>
                    </a:lnTo>
                    <a:lnTo>
                      <a:pt x="510" y="284"/>
                    </a:lnTo>
                    <a:lnTo>
                      <a:pt x="510" y="288"/>
                    </a:lnTo>
                    <a:lnTo>
                      <a:pt x="508" y="288"/>
                    </a:lnTo>
                    <a:lnTo>
                      <a:pt x="508" y="292"/>
                    </a:lnTo>
                    <a:lnTo>
                      <a:pt x="508" y="292"/>
                    </a:lnTo>
                    <a:lnTo>
                      <a:pt x="508" y="292"/>
                    </a:lnTo>
                    <a:close/>
                    <a:moveTo>
                      <a:pt x="236" y="272"/>
                    </a:moveTo>
                    <a:lnTo>
                      <a:pt x="238" y="272"/>
                    </a:lnTo>
                    <a:lnTo>
                      <a:pt x="236" y="272"/>
                    </a:lnTo>
                    <a:lnTo>
                      <a:pt x="236" y="272"/>
                    </a:lnTo>
                    <a:lnTo>
                      <a:pt x="236" y="272"/>
                    </a:lnTo>
                    <a:close/>
                    <a:moveTo>
                      <a:pt x="474" y="272"/>
                    </a:moveTo>
                    <a:lnTo>
                      <a:pt x="470" y="272"/>
                    </a:lnTo>
                    <a:lnTo>
                      <a:pt x="466" y="272"/>
                    </a:lnTo>
                    <a:lnTo>
                      <a:pt x="470" y="272"/>
                    </a:lnTo>
                    <a:lnTo>
                      <a:pt x="474" y="272"/>
                    </a:lnTo>
                    <a:lnTo>
                      <a:pt x="474" y="272"/>
                    </a:lnTo>
                    <a:lnTo>
                      <a:pt x="474" y="272"/>
                    </a:lnTo>
                    <a:close/>
                    <a:moveTo>
                      <a:pt x="354" y="350"/>
                    </a:moveTo>
                    <a:lnTo>
                      <a:pt x="352" y="350"/>
                    </a:lnTo>
                    <a:lnTo>
                      <a:pt x="348" y="350"/>
                    </a:lnTo>
                    <a:lnTo>
                      <a:pt x="344" y="350"/>
                    </a:lnTo>
                    <a:lnTo>
                      <a:pt x="340" y="350"/>
                    </a:lnTo>
                    <a:lnTo>
                      <a:pt x="336" y="350"/>
                    </a:lnTo>
                    <a:lnTo>
                      <a:pt x="332" y="350"/>
                    </a:lnTo>
                    <a:lnTo>
                      <a:pt x="328" y="350"/>
                    </a:lnTo>
                    <a:lnTo>
                      <a:pt x="328" y="348"/>
                    </a:lnTo>
                    <a:lnTo>
                      <a:pt x="324" y="348"/>
                    </a:lnTo>
                    <a:lnTo>
                      <a:pt x="324" y="344"/>
                    </a:lnTo>
                    <a:lnTo>
                      <a:pt x="322" y="344"/>
                    </a:lnTo>
                    <a:lnTo>
                      <a:pt x="322" y="340"/>
                    </a:lnTo>
                    <a:lnTo>
                      <a:pt x="324" y="336"/>
                    </a:lnTo>
                    <a:lnTo>
                      <a:pt x="328" y="336"/>
                    </a:lnTo>
                    <a:lnTo>
                      <a:pt x="332" y="336"/>
                    </a:lnTo>
                    <a:lnTo>
                      <a:pt x="336" y="336"/>
                    </a:lnTo>
                    <a:lnTo>
                      <a:pt x="340" y="332"/>
                    </a:lnTo>
                    <a:lnTo>
                      <a:pt x="344" y="332"/>
                    </a:lnTo>
                    <a:lnTo>
                      <a:pt x="348" y="332"/>
                    </a:lnTo>
                    <a:lnTo>
                      <a:pt x="352" y="332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58" y="328"/>
                    </a:lnTo>
                    <a:lnTo>
                      <a:pt x="354" y="328"/>
                    </a:lnTo>
                    <a:lnTo>
                      <a:pt x="358" y="328"/>
                    </a:lnTo>
                    <a:lnTo>
                      <a:pt x="362" y="328"/>
                    </a:lnTo>
                    <a:lnTo>
                      <a:pt x="366" y="328"/>
                    </a:lnTo>
                    <a:lnTo>
                      <a:pt x="366" y="324"/>
                    </a:lnTo>
                    <a:lnTo>
                      <a:pt x="366" y="328"/>
                    </a:lnTo>
                    <a:lnTo>
                      <a:pt x="362" y="328"/>
                    </a:lnTo>
                    <a:lnTo>
                      <a:pt x="362" y="324"/>
                    </a:lnTo>
                    <a:lnTo>
                      <a:pt x="358" y="324"/>
                    </a:lnTo>
                    <a:lnTo>
                      <a:pt x="354" y="324"/>
                    </a:lnTo>
                    <a:lnTo>
                      <a:pt x="352" y="328"/>
                    </a:lnTo>
                    <a:lnTo>
                      <a:pt x="348" y="328"/>
                    </a:lnTo>
                    <a:lnTo>
                      <a:pt x="344" y="328"/>
                    </a:lnTo>
                    <a:lnTo>
                      <a:pt x="340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32" y="328"/>
                    </a:lnTo>
                    <a:lnTo>
                      <a:pt x="332" y="332"/>
                    </a:lnTo>
                    <a:lnTo>
                      <a:pt x="328" y="328"/>
                    </a:lnTo>
                    <a:lnTo>
                      <a:pt x="328" y="332"/>
                    </a:lnTo>
                    <a:lnTo>
                      <a:pt x="328" y="328"/>
                    </a:lnTo>
                    <a:lnTo>
                      <a:pt x="324" y="328"/>
                    </a:lnTo>
                    <a:lnTo>
                      <a:pt x="322" y="328"/>
                    </a:lnTo>
                    <a:lnTo>
                      <a:pt x="324" y="324"/>
                    </a:lnTo>
                    <a:lnTo>
                      <a:pt x="328" y="324"/>
                    </a:lnTo>
                    <a:lnTo>
                      <a:pt x="332" y="324"/>
                    </a:lnTo>
                    <a:lnTo>
                      <a:pt x="328" y="324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2"/>
                    </a:lnTo>
                    <a:lnTo>
                      <a:pt x="314" y="322"/>
                    </a:lnTo>
                    <a:lnTo>
                      <a:pt x="314" y="324"/>
                    </a:lnTo>
                    <a:lnTo>
                      <a:pt x="310" y="324"/>
                    </a:lnTo>
                    <a:lnTo>
                      <a:pt x="310" y="322"/>
                    </a:lnTo>
                    <a:lnTo>
                      <a:pt x="310" y="318"/>
                    </a:lnTo>
                    <a:lnTo>
                      <a:pt x="314" y="314"/>
                    </a:lnTo>
                    <a:lnTo>
                      <a:pt x="318" y="314"/>
                    </a:lnTo>
                    <a:lnTo>
                      <a:pt x="314" y="310"/>
                    </a:lnTo>
                    <a:lnTo>
                      <a:pt x="318" y="310"/>
                    </a:lnTo>
                    <a:lnTo>
                      <a:pt x="322" y="310"/>
                    </a:lnTo>
                    <a:lnTo>
                      <a:pt x="324" y="310"/>
                    </a:lnTo>
                    <a:lnTo>
                      <a:pt x="324" y="306"/>
                    </a:lnTo>
                    <a:lnTo>
                      <a:pt x="322" y="306"/>
                    </a:lnTo>
                    <a:lnTo>
                      <a:pt x="318" y="306"/>
                    </a:lnTo>
                    <a:lnTo>
                      <a:pt x="318" y="302"/>
                    </a:lnTo>
                    <a:lnTo>
                      <a:pt x="322" y="298"/>
                    </a:lnTo>
                    <a:lnTo>
                      <a:pt x="324" y="298"/>
                    </a:lnTo>
                    <a:lnTo>
                      <a:pt x="328" y="294"/>
                    </a:lnTo>
                    <a:lnTo>
                      <a:pt x="332" y="294"/>
                    </a:lnTo>
                    <a:lnTo>
                      <a:pt x="332" y="292"/>
                    </a:lnTo>
                    <a:lnTo>
                      <a:pt x="336" y="292"/>
                    </a:lnTo>
                    <a:lnTo>
                      <a:pt x="340" y="292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8" y="288"/>
                    </a:lnTo>
                    <a:lnTo>
                      <a:pt x="352" y="284"/>
                    </a:lnTo>
                    <a:lnTo>
                      <a:pt x="354" y="284"/>
                    </a:lnTo>
                    <a:lnTo>
                      <a:pt x="358" y="284"/>
                    </a:lnTo>
                    <a:lnTo>
                      <a:pt x="362" y="280"/>
                    </a:lnTo>
                    <a:lnTo>
                      <a:pt x="366" y="280"/>
                    </a:lnTo>
                    <a:lnTo>
                      <a:pt x="370" y="280"/>
                    </a:lnTo>
                    <a:lnTo>
                      <a:pt x="374" y="276"/>
                    </a:lnTo>
                    <a:lnTo>
                      <a:pt x="378" y="280"/>
                    </a:lnTo>
                    <a:lnTo>
                      <a:pt x="380" y="280"/>
                    </a:lnTo>
                    <a:lnTo>
                      <a:pt x="380" y="284"/>
                    </a:lnTo>
                    <a:lnTo>
                      <a:pt x="384" y="284"/>
                    </a:lnTo>
                    <a:lnTo>
                      <a:pt x="380" y="288"/>
                    </a:lnTo>
                    <a:lnTo>
                      <a:pt x="380" y="292"/>
                    </a:lnTo>
                    <a:lnTo>
                      <a:pt x="380" y="294"/>
                    </a:lnTo>
                    <a:lnTo>
                      <a:pt x="378" y="294"/>
                    </a:lnTo>
                    <a:lnTo>
                      <a:pt x="378" y="298"/>
                    </a:lnTo>
                    <a:lnTo>
                      <a:pt x="374" y="298"/>
                    </a:lnTo>
                    <a:lnTo>
                      <a:pt x="378" y="298"/>
                    </a:lnTo>
                    <a:lnTo>
                      <a:pt x="380" y="298"/>
                    </a:lnTo>
                    <a:lnTo>
                      <a:pt x="384" y="294"/>
                    </a:lnTo>
                    <a:lnTo>
                      <a:pt x="384" y="298"/>
                    </a:lnTo>
                    <a:lnTo>
                      <a:pt x="388" y="294"/>
                    </a:lnTo>
                    <a:lnTo>
                      <a:pt x="388" y="298"/>
                    </a:lnTo>
                    <a:lnTo>
                      <a:pt x="384" y="298"/>
                    </a:lnTo>
                    <a:lnTo>
                      <a:pt x="388" y="298"/>
                    </a:lnTo>
                    <a:lnTo>
                      <a:pt x="388" y="294"/>
                    </a:lnTo>
                    <a:lnTo>
                      <a:pt x="392" y="294"/>
                    </a:lnTo>
                    <a:lnTo>
                      <a:pt x="388" y="294"/>
                    </a:lnTo>
                    <a:lnTo>
                      <a:pt x="392" y="292"/>
                    </a:lnTo>
                    <a:lnTo>
                      <a:pt x="392" y="288"/>
                    </a:lnTo>
                    <a:lnTo>
                      <a:pt x="396" y="288"/>
                    </a:lnTo>
                    <a:lnTo>
                      <a:pt x="400" y="288"/>
                    </a:lnTo>
                    <a:lnTo>
                      <a:pt x="404" y="288"/>
                    </a:lnTo>
                    <a:lnTo>
                      <a:pt x="404" y="292"/>
                    </a:lnTo>
                    <a:lnTo>
                      <a:pt x="408" y="292"/>
                    </a:lnTo>
                    <a:lnTo>
                      <a:pt x="410" y="292"/>
                    </a:lnTo>
                    <a:lnTo>
                      <a:pt x="414" y="292"/>
                    </a:lnTo>
                    <a:lnTo>
                      <a:pt x="418" y="292"/>
                    </a:lnTo>
                    <a:lnTo>
                      <a:pt x="418" y="294"/>
                    </a:lnTo>
                    <a:lnTo>
                      <a:pt x="422" y="294"/>
                    </a:lnTo>
                    <a:lnTo>
                      <a:pt x="422" y="298"/>
                    </a:lnTo>
                    <a:lnTo>
                      <a:pt x="418" y="302"/>
                    </a:lnTo>
                    <a:lnTo>
                      <a:pt x="414" y="302"/>
                    </a:lnTo>
                    <a:lnTo>
                      <a:pt x="414" y="306"/>
                    </a:lnTo>
                    <a:lnTo>
                      <a:pt x="410" y="306"/>
                    </a:lnTo>
                    <a:lnTo>
                      <a:pt x="414" y="306"/>
                    </a:lnTo>
                    <a:lnTo>
                      <a:pt x="418" y="306"/>
                    </a:lnTo>
                    <a:lnTo>
                      <a:pt x="414" y="306"/>
                    </a:lnTo>
                    <a:lnTo>
                      <a:pt x="418" y="302"/>
                    </a:lnTo>
                    <a:lnTo>
                      <a:pt x="422" y="302"/>
                    </a:lnTo>
                    <a:lnTo>
                      <a:pt x="422" y="306"/>
                    </a:lnTo>
                    <a:lnTo>
                      <a:pt x="422" y="302"/>
                    </a:lnTo>
                    <a:lnTo>
                      <a:pt x="424" y="302"/>
                    </a:lnTo>
                    <a:lnTo>
                      <a:pt x="428" y="302"/>
                    </a:lnTo>
                    <a:lnTo>
                      <a:pt x="424" y="302"/>
                    </a:lnTo>
                    <a:lnTo>
                      <a:pt x="428" y="298"/>
                    </a:lnTo>
                    <a:lnTo>
                      <a:pt x="432" y="298"/>
                    </a:lnTo>
                    <a:lnTo>
                      <a:pt x="428" y="302"/>
                    </a:lnTo>
                    <a:lnTo>
                      <a:pt x="432" y="302"/>
                    </a:lnTo>
                    <a:lnTo>
                      <a:pt x="432" y="298"/>
                    </a:lnTo>
                    <a:lnTo>
                      <a:pt x="436" y="302"/>
                    </a:lnTo>
                    <a:lnTo>
                      <a:pt x="440" y="302"/>
                    </a:lnTo>
                    <a:lnTo>
                      <a:pt x="436" y="302"/>
                    </a:lnTo>
                    <a:lnTo>
                      <a:pt x="436" y="298"/>
                    </a:lnTo>
                    <a:lnTo>
                      <a:pt x="440" y="298"/>
                    </a:lnTo>
                    <a:lnTo>
                      <a:pt x="440" y="302"/>
                    </a:lnTo>
                    <a:lnTo>
                      <a:pt x="440" y="298"/>
                    </a:lnTo>
                    <a:lnTo>
                      <a:pt x="436" y="298"/>
                    </a:lnTo>
                    <a:lnTo>
                      <a:pt x="432" y="294"/>
                    </a:lnTo>
                    <a:lnTo>
                      <a:pt x="436" y="294"/>
                    </a:lnTo>
                    <a:lnTo>
                      <a:pt x="440" y="294"/>
                    </a:lnTo>
                    <a:lnTo>
                      <a:pt x="436" y="294"/>
                    </a:lnTo>
                    <a:lnTo>
                      <a:pt x="436" y="292"/>
                    </a:lnTo>
                    <a:lnTo>
                      <a:pt x="432" y="292"/>
                    </a:lnTo>
                    <a:lnTo>
                      <a:pt x="428" y="292"/>
                    </a:lnTo>
                    <a:lnTo>
                      <a:pt x="428" y="288"/>
                    </a:lnTo>
                    <a:lnTo>
                      <a:pt x="432" y="288"/>
                    </a:lnTo>
                    <a:lnTo>
                      <a:pt x="436" y="288"/>
                    </a:lnTo>
                    <a:lnTo>
                      <a:pt x="440" y="288"/>
                    </a:lnTo>
                    <a:lnTo>
                      <a:pt x="444" y="292"/>
                    </a:lnTo>
                    <a:lnTo>
                      <a:pt x="448" y="294"/>
                    </a:lnTo>
                    <a:lnTo>
                      <a:pt x="450" y="294"/>
                    </a:lnTo>
                    <a:lnTo>
                      <a:pt x="450" y="298"/>
                    </a:lnTo>
                    <a:lnTo>
                      <a:pt x="454" y="298"/>
                    </a:lnTo>
                    <a:lnTo>
                      <a:pt x="458" y="298"/>
                    </a:lnTo>
                    <a:lnTo>
                      <a:pt x="458" y="302"/>
                    </a:lnTo>
                    <a:lnTo>
                      <a:pt x="458" y="306"/>
                    </a:lnTo>
                    <a:lnTo>
                      <a:pt x="458" y="310"/>
                    </a:lnTo>
                    <a:lnTo>
                      <a:pt x="462" y="310"/>
                    </a:lnTo>
                    <a:lnTo>
                      <a:pt x="462" y="314"/>
                    </a:lnTo>
                    <a:lnTo>
                      <a:pt x="462" y="318"/>
                    </a:lnTo>
                    <a:lnTo>
                      <a:pt x="462" y="322"/>
                    </a:lnTo>
                    <a:lnTo>
                      <a:pt x="466" y="322"/>
                    </a:lnTo>
                    <a:lnTo>
                      <a:pt x="466" y="324"/>
                    </a:lnTo>
                    <a:lnTo>
                      <a:pt x="470" y="324"/>
                    </a:lnTo>
                    <a:lnTo>
                      <a:pt x="470" y="322"/>
                    </a:lnTo>
                    <a:lnTo>
                      <a:pt x="474" y="322"/>
                    </a:lnTo>
                    <a:lnTo>
                      <a:pt x="474" y="318"/>
                    </a:lnTo>
                    <a:lnTo>
                      <a:pt x="478" y="318"/>
                    </a:lnTo>
                    <a:lnTo>
                      <a:pt x="474" y="314"/>
                    </a:lnTo>
                    <a:lnTo>
                      <a:pt x="470" y="314"/>
                    </a:lnTo>
                    <a:lnTo>
                      <a:pt x="474" y="314"/>
                    </a:lnTo>
                    <a:lnTo>
                      <a:pt x="474" y="310"/>
                    </a:lnTo>
                    <a:lnTo>
                      <a:pt x="470" y="310"/>
                    </a:lnTo>
                    <a:lnTo>
                      <a:pt x="470" y="306"/>
                    </a:lnTo>
                    <a:lnTo>
                      <a:pt x="470" y="302"/>
                    </a:lnTo>
                    <a:lnTo>
                      <a:pt x="470" y="298"/>
                    </a:lnTo>
                    <a:lnTo>
                      <a:pt x="466" y="298"/>
                    </a:lnTo>
                    <a:lnTo>
                      <a:pt x="466" y="294"/>
                    </a:lnTo>
                    <a:lnTo>
                      <a:pt x="466" y="292"/>
                    </a:lnTo>
                    <a:lnTo>
                      <a:pt x="466" y="288"/>
                    </a:lnTo>
                    <a:lnTo>
                      <a:pt x="462" y="284"/>
                    </a:lnTo>
                    <a:lnTo>
                      <a:pt x="466" y="284"/>
                    </a:lnTo>
                    <a:lnTo>
                      <a:pt x="470" y="284"/>
                    </a:lnTo>
                    <a:lnTo>
                      <a:pt x="466" y="284"/>
                    </a:lnTo>
                    <a:lnTo>
                      <a:pt x="466" y="280"/>
                    </a:lnTo>
                    <a:lnTo>
                      <a:pt x="470" y="280"/>
                    </a:lnTo>
                    <a:lnTo>
                      <a:pt x="474" y="280"/>
                    </a:lnTo>
                    <a:lnTo>
                      <a:pt x="478" y="280"/>
                    </a:lnTo>
                    <a:lnTo>
                      <a:pt x="478" y="284"/>
                    </a:lnTo>
                    <a:lnTo>
                      <a:pt x="480" y="284"/>
                    </a:lnTo>
                    <a:lnTo>
                      <a:pt x="480" y="280"/>
                    </a:lnTo>
                    <a:lnTo>
                      <a:pt x="484" y="280"/>
                    </a:lnTo>
                    <a:lnTo>
                      <a:pt x="484" y="284"/>
                    </a:lnTo>
                    <a:lnTo>
                      <a:pt x="488" y="284"/>
                    </a:lnTo>
                    <a:lnTo>
                      <a:pt x="492" y="284"/>
                    </a:lnTo>
                    <a:lnTo>
                      <a:pt x="496" y="288"/>
                    </a:lnTo>
                    <a:lnTo>
                      <a:pt x="500" y="288"/>
                    </a:lnTo>
                    <a:lnTo>
                      <a:pt x="500" y="292"/>
                    </a:lnTo>
                    <a:lnTo>
                      <a:pt x="504" y="292"/>
                    </a:lnTo>
                    <a:lnTo>
                      <a:pt x="504" y="294"/>
                    </a:lnTo>
                    <a:lnTo>
                      <a:pt x="504" y="298"/>
                    </a:lnTo>
                    <a:lnTo>
                      <a:pt x="508" y="298"/>
                    </a:lnTo>
                    <a:lnTo>
                      <a:pt x="508" y="302"/>
                    </a:lnTo>
                    <a:lnTo>
                      <a:pt x="504" y="302"/>
                    </a:lnTo>
                    <a:lnTo>
                      <a:pt x="508" y="302"/>
                    </a:lnTo>
                    <a:lnTo>
                      <a:pt x="508" y="306"/>
                    </a:lnTo>
                    <a:lnTo>
                      <a:pt x="508" y="310"/>
                    </a:lnTo>
                    <a:lnTo>
                      <a:pt x="510" y="310"/>
                    </a:lnTo>
                    <a:lnTo>
                      <a:pt x="508" y="310"/>
                    </a:lnTo>
                    <a:lnTo>
                      <a:pt x="508" y="314"/>
                    </a:lnTo>
                    <a:lnTo>
                      <a:pt x="510" y="314"/>
                    </a:lnTo>
                    <a:lnTo>
                      <a:pt x="510" y="318"/>
                    </a:lnTo>
                    <a:lnTo>
                      <a:pt x="514" y="318"/>
                    </a:lnTo>
                    <a:lnTo>
                      <a:pt x="514" y="322"/>
                    </a:lnTo>
                    <a:lnTo>
                      <a:pt x="518" y="324"/>
                    </a:lnTo>
                    <a:lnTo>
                      <a:pt x="518" y="328"/>
                    </a:lnTo>
                    <a:lnTo>
                      <a:pt x="518" y="332"/>
                    </a:lnTo>
                    <a:lnTo>
                      <a:pt x="514" y="332"/>
                    </a:lnTo>
                    <a:lnTo>
                      <a:pt x="518" y="332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4" y="340"/>
                    </a:lnTo>
                    <a:lnTo>
                      <a:pt x="518" y="340"/>
                    </a:lnTo>
                    <a:lnTo>
                      <a:pt x="522" y="344"/>
                    </a:lnTo>
                    <a:lnTo>
                      <a:pt x="522" y="348"/>
                    </a:lnTo>
                    <a:lnTo>
                      <a:pt x="526" y="348"/>
                    </a:lnTo>
                    <a:lnTo>
                      <a:pt x="530" y="350"/>
                    </a:lnTo>
                    <a:lnTo>
                      <a:pt x="534" y="350"/>
                    </a:lnTo>
                    <a:lnTo>
                      <a:pt x="536" y="350"/>
                    </a:lnTo>
                    <a:lnTo>
                      <a:pt x="536" y="354"/>
                    </a:lnTo>
                    <a:lnTo>
                      <a:pt x="536" y="350"/>
                    </a:lnTo>
                    <a:lnTo>
                      <a:pt x="536" y="348"/>
                    </a:lnTo>
                    <a:lnTo>
                      <a:pt x="540" y="350"/>
                    </a:lnTo>
                    <a:lnTo>
                      <a:pt x="540" y="354"/>
                    </a:lnTo>
                    <a:lnTo>
                      <a:pt x="544" y="354"/>
                    </a:lnTo>
                    <a:lnTo>
                      <a:pt x="548" y="354"/>
                    </a:lnTo>
                    <a:lnTo>
                      <a:pt x="548" y="358"/>
                    </a:lnTo>
                    <a:lnTo>
                      <a:pt x="552" y="358"/>
                    </a:lnTo>
                    <a:lnTo>
                      <a:pt x="556" y="358"/>
                    </a:lnTo>
                    <a:lnTo>
                      <a:pt x="556" y="362"/>
                    </a:lnTo>
                    <a:lnTo>
                      <a:pt x="560" y="362"/>
                    </a:lnTo>
                    <a:lnTo>
                      <a:pt x="564" y="362"/>
                    </a:lnTo>
                    <a:lnTo>
                      <a:pt x="566" y="362"/>
                    </a:lnTo>
                    <a:lnTo>
                      <a:pt x="566" y="366"/>
                    </a:lnTo>
                    <a:lnTo>
                      <a:pt x="566" y="370"/>
                    </a:lnTo>
                    <a:lnTo>
                      <a:pt x="566" y="374"/>
                    </a:lnTo>
                    <a:lnTo>
                      <a:pt x="564" y="374"/>
                    </a:lnTo>
                    <a:lnTo>
                      <a:pt x="560" y="374"/>
                    </a:lnTo>
                    <a:lnTo>
                      <a:pt x="560" y="370"/>
                    </a:lnTo>
                    <a:lnTo>
                      <a:pt x="560" y="374"/>
                    </a:lnTo>
                    <a:lnTo>
                      <a:pt x="556" y="374"/>
                    </a:lnTo>
                    <a:lnTo>
                      <a:pt x="552" y="374"/>
                    </a:lnTo>
                    <a:lnTo>
                      <a:pt x="552" y="370"/>
                    </a:lnTo>
                    <a:lnTo>
                      <a:pt x="548" y="370"/>
                    </a:lnTo>
                    <a:lnTo>
                      <a:pt x="544" y="374"/>
                    </a:lnTo>
                    <a:lnTo>
                      <a:pt x="540" y="374"/>
                    </a:lnTo>
                    <a:lnTo>
                      <a:pt x="544" y="374"/>
                    </a:lnTo>
                    <a:lnTo>
                      <a:pt x="544" y="378"/>
                    </a:lnTo>
                    <a:lnTo>
                      <a:pt x="540" y="378"/>
                    </a:lnTo>
                    <a:lnTo>
                      <a:pt x="536" y="378"/>
                    </a:lnTo>
                    <a:lnTo>
                      <a:pt x="534" y="374"/>
                    </a:lnTo>
                    <a:lnTo>
                      <a:pt x="530" y="374"/>
                    </a:lnTo>
                    <a:lnTo>
                      <a:pt x="530" y="378"/>
                    </a:lnTo>
                    <a:lnTo>
                      <a:pt x="534" y="378"/>
                    </a:lnTo>
                    <a:lnTo>
                      <a:pt x="536" y="378"/>
                    </a:lnTo>
                    <a:lnTo>
                      <a:pt x="536" y="380"/>
                    </a:lnTo>
                    <a:lnTo>
                      <a:pt x="536" y="384"/>
                    </a:lnTo>
                    <a:lnTo>
                      <a:pt x="534" y="384"/>
                    </a:lnTo>
                    <a:lnTo>
                      <a:pt x="534" y="388"/>
                    </a:lnTo>
                    <a:lnTo>
                      <a:pt x="536" y="388"/>
                    </a:lnTo>
                    <a:lnTo>
                      <a:pt x="536" y="384"/>
                    </a:lnTo>
                    <a:lnTo>
                      <a:pt x="540" y="380"/>
                    </a:lnTo>
                    <a:lnTo>
                      <a:pt x="544" y="380"/>
                    </a:lnTo>
                    <a:lnTo>
                      <a:pt x="544" y="378"/>
                    </a:lnTo>
                    <a:lnTo>
                      <a:pt x="548" y="378"/>
                    </a:lnTo>
                    <a:lnTo>
                      <a:pt x="552" y="378"/>
                    </a:lnTo>
                    <a:lnTo>
                      <a:pt x="552" y="380"/>
                    </a:lnTo>
                    <a:lnTo>
                      <a:pt x="552" y="384"/>
                    </a:lnTo>
                    <a:lnTo>
                      <a:pt x="548" y="384"/>
                    </a:lnTo>
                    <a:lnTo>
                      <a:pt x="548" y="388"/>
                    </a:lnTo>
                    <a:lnTo>
                      <a:pt x="552" y="388"/>
                    </a:lnTo>
                    <a:lnTo>
                      <a:pt x="552" y="384"/>
                    </a:lnTo>
                    <a:lnTo>
                      <a:pt x="556" y="384"/>
                    </a:lnTo>
                    <a:lnTo>
                      <a:pt x="556" y="388"/>
                    </a:lnTo>
                    <a:lnTo>
                      <a:pt x="556" y="392"/>
                    </a:lnTo>
                    <a:lnTo>
                      <a:pt x="552" y="392"/>
                    </a:lnTo>
                    <a:lnTo>
                      <a:pt x="548" y="392"/>
                    </a:lnTo>
                    <a:lnTo>
                      <a:pt x="544" y="392"/>
                    </a:lnTo>
                    <a:lnTo>
                      <a:pt x="544" y="396"/>
                    </a:lnTo>
                    <a:lnTo>
                      <a:pt x="540" y="396"/>
                    </a:lnTo>
                    <a:lnTo>
                      <a:pt x="536" y="396"/>
                    </a:lnTo>
                    <a:lnTo>
                      <a:pt x="534" y="396"/>
                    </a:lnTo>
                    <a:lnTo>
                      <a:pt x="530" y="396"/>
                    </a:lnTo>
                    <a:lnTo>
                      <a:pt x="526" y="396"/>
                    </a:lnTo>
                    <a:lnTo>
                      <a:pt x="522" y="396"/>
                    </a:lnTo>
                    <a:lnTo>
                      <a:pt x="518" y="392"/>
                    </a:lnTo>
                    <a:lnTo>
                      <a:pt x="514" y="396"/>
                    </a:lnTo>
                    <a:lnTo>
                      <a:pt x="510" y="396"/>
                    </a:lnTo>
                    <a:lnTo>
                      <a:pt x="508" y="392"/>
                    </a:lnTo>
                    <a:lnTo>
                      <a:pt x="510" y="388"/>
                    </a:lnTo>
                    <a:lnTo>
                      <a:pt x="508" y="388"/>
                    </a:lnTo>
                    <a:lnTo>
                      <a:pt x="504" y="388"/>
                    </a:lnTo>
                    <a:lnTo>
                      <a:pt x="500" y="388"/>
                    </a:lnTo>
                    <a:lnTo>
                      <a:pt x="496" y="388"/>
                    </a:lnTo>
                    <a:lnTo>
                      <a:pt x="492" y="388"/>
                    </a:lnTo>
                    <a:lnTo>
                      <a:pt x="488" y="384"/>
                    </a:lnTo>
                    <a:lnTo>
                      <a:pt x="492" y="384"/>
                    </a:lnTo>
                    <a:lnTo>
                      <a:pt x="492" y="380"/>
                    </a:lnTo>
                    <a:lnTo>
                      <a:pt x="488" y="380"/>
                    </a:lnTo>
                    <a:lnTo>
                      <a:pt x="488" y="378"/>
                    </a:lnTo>
                    <a:lnTo>
                      <a:pt x="484" y="378"/>
                    </a:lnTo>
                    <a:lnTo>
                      <a:pt x="484" y="380"/>
                    </a:lnTo>
                    <a:lnTo>
                      <a:pt x="480" y="380"/>
                    </a:lnTo>
                    <a:lnTo>
                      <a:pt x="480" y="384"/>
                    </a:lnTo>
                    <a:lnTo>
                      <a:pt x="480" y="388"/>
                    </a:lnTo>
                    <a:lnTo>
                      <a:pt x="478" y="388"/>
                    </a:lnTo>
                    <a:lnTo>
                      <a:pt x="478" y="392"/>
                    </a:lnTo>
                    <a:lnTo>
                      <a:pt x="474" y="392"/>
                    </a:lnTo>
                    <a:lnTo>
                      <a:pt x="470" y="392"/>
                    </a:lnTo>
                    <a:lnTo>
                      <a:pt x="466" y="392"/>
                    </a:lnTo>
                    <a:lnTo>
                      <a:pt x="462" y="392"/>
                    </a:lnTo>
                    <a:lnTo>
                      <a:pt x="458" y="392"/>
                    </a:lnTo>
                    <a:lnTo>
                      <a:pt x="458" y="396"/>
                    </a:lnTo>
                    <a:lnTo>
                      <a:pt x="454" y="396"/>
                    </a:lnTo>
                    <a:lnTo>
                      <a:pt x="450" y="400"/>
                    </a:lnTo>
                    <a:lnTo>
                      <a:pt x="448" y="400"/>
                    </a:lnTo>
                    <a:lnTo>
                      <a:pt x="444" y="400"/>
                    </a:lnTo>
                    <a:lnTo>
                      <a:pt x="440" y="400"/>
                    </a:lnTo>
                    <a:lnTo>
                      <a:pt x="436" y="400"/>
                    </a:lnTo>
                    <a:lnTo>
                      <a:pt x="432" y="400"/>
                    </a:lnTo>
                    <a:lnTo>
                      <a:pt x="432" y="404"/>
                    </a:lnTo>
                    <a:lnTo>
                      <a:pt x="432" y="400"/>
                    </a:lnTo>
                    <a:lnTo>
                      <a:pt x="428" y="400"/>
                    </a:lnTo>
                    <a:lnTo>
                      <a:pt x="428" y="404"/>
                    </a:lnTo>
                    <a:lnTo>
                      <a:pt x="424" y="404"/>
                    </a:lnTo>
                    <a:lnTo>
                      <a:pt x="424" y="400"/>
                    </a:lnTo>
                    <a:lnTo>
                      <a:pt x="424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22" y="404"/>
                    </a:lnTo>
                    <a:lnTo>
                      <a:pt x="418" y="404"/>
                    </a:lnTo>
                    <a:lnTo>
                      <a:pt x="414" y="404"/>
                    </a:lnTo>
                    <a:lnTo>
                      <a:pt x="410" y="404"/>
                    </a:lnTo>
                    <a:lnTo>
                      <a:pt x="408" y="404"/>
                    </a:lnTo>
                    <a:lnTo>
                      <a:pt x="404" y="404"/>
                    </a:lnTo>
                    <a:lnTo>
                      <a:pt x="400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6" y="404"/>
                    </a:lnTo>
                    <a:lnTo>
                      <a:pt x="392" y="404"/>
                    </a:lnTo>
                    <a:lnTo>
                      <a:pt x="392" y="400"/>
                    </a:lnTo>
                    <a:lnTo>
                      <a:pt x="388" y="400"/>
                    </a:lnTo>
                    <a:lnTo>
                      <a:pt x="388" y="396"/>
                    </a:lnTo>
                    <a:lnTo>
                      <a:pt x="388" y="392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8" y="388"/>
                    </a:lnTo>
                    <a:lnTo>
                      <a:pt x="388" y="384"/>
                    </a:lnTo>
                    <a:lnTo>
                      <a:pt x="384" y="384"/>
                    </a:lnTo>
                    <a:lnTo>
                      <a:pt x="378" y="384"/>
                    </a:lnTo>
                    <a:lnTo>
                      <a:pt x="374" y="384"/>
                    </a:lnTo>
                    <a:lnTo>
                      <a:pt x="370" y="384"/>
                    </a:lnTo>
                    <a:lnTo>
                      <a:pt x="366" y="384"/>
                    </a:lnTo>
                    <a:lnTo>
                      <a:pt x="362" y="384"/>
                    </a:lnTo>
                    <a:lnTo>
                      <a:pt x="358" y="384"/>
                    </a:lnTo>
                    <a:lnTo>
                      <a:pt x="354" y="384"/>
                    </a:lnTo>
                    <a:lnTo>
                      <a:pt x="352" y="380"/>
                    </a:lnTo>
                    <a:lnTo>
                      <a:pt x="348" y="380"/>
                    </a:lnTo>
                    <a:lnTo>
                      <a:pt x="344" y="380"/>
                    </a:lnTo>
                    <a:lnTo>
                      <a:pt x="348" y="378"/>
                    </a:lnTo>
                    <a:lnTo>
                      <a:pt x="344" y="378"/>
                    </a:lnTo>
                    <a:lnTo>
                      <a:pt x="340" y="378"/>
                    </a:lnTo>
                    <a:lnTo>
                      <a:pt x="344" y="378"/>
                    </a:lnTo>
                    <a:lnTo>
                      <a:pt x="344" y="374"/>
                    </a:lnTo>
                    <a:lnTo>
                      <a:pt x="340" y="374"/>
                    </a:lnTo>
                    <a:lnTo>
                      <a:pt x="336" y="374"/>
                    </a:lnTo>
                    <a:lnTo>
                      <a:pt x="336" y="370"/>
                    </a:lnTo>
                    <a:lnTo>
                      <a:pt x="336" y="366"/>
                    </a:lnTo>
                    <a:lnTo>
                      <a:pt x="332" y="366"/>
                    </a:lnTo>
                    <a:lnTo>
                      <a:pt x="336" y="366"/>
                    </a:lnTo>
                    <a:lnTo>
                      <a:pt x="336" y="362"/>
                    </a:lnTo>
                    <a:lnTo>
                      <a:pt x="340" y="362"/>
                    </a:lnTo>
                    <a:lnTo>
                      <a:pt x="348" y="362"/>
                    </a:lnTo>
                    <a:lnTo>
                      <a:pt x="352" y="362"/>
                    </a:lnTo>
                    <a:lnTo>
                      <a:pt x="354" y="358"/>
                    </a:lnTo>
                    <a:lnTo>
                      <a:pt x="358" y="358"/>
                    </a:lnTo>
                    <a:lnTo>
                      <a:pt x="362" y="358"/>
                    </a:lnTo>
                    <a:lnTo>
                      <a:pt x="366" y="358"/>
                    </a:lnTo>
                    <a:lnTo>
                      <a:pt x="370" y="358"/>
                    </a:lnTo>
                    <a:lnTo>
                      <a:pt x="374" y="358"/>
                    </a:lnTo>
                    <a:lnTo>
                      <a:pt x="378" y="358"/>
                    </a:lnTo>
                    <a:lnTo>
                      <a:pt x="380" y="358"/>
                    </a:lnTo>
                    <a:lnTo>
                      <a:pt x="384" y="358"/>
                    </a:lnTo>
                    <a:lnTo>
                      <a:pt x="388" y="358"/>
                    </a:lnTo>
                    <a:lnTo>
                      <a:pt x="392" y="358"/>
                    </a:lnTo>
                    <a:lnTo>
                      <a:pt x="396" y="358"/>
                    </a:lnTo>
                    <a:lnTo>
                      <a:pt x="400" y="362"/>
                    </a:lnTo>
                    <a:lnTo>
                      <a:pt x="404" y="362"/>
                    </a:lnTo>
                    <a:lnTo>
                      <a:pt x="404" y="358"/>
                    </a:lnTo>
                    <a:lnTo>
                      <a:pt x="408" y="358"/>
                    </a:lnTo>
                    <a:lnTo>
                      <a:pt x="410" y="358"/>
                    </a:lnTo>
                    <a:lnTo>
                      <a:pt x="414" y="358"/>
                    </a:lnTo>
                    <a:lnTo>
                      <a:pt x="418" y="358"/>
                    </a:lnTo>
                    <a:lnTo>
                      <a:pt x="414" y="354"/>
                    </a:lnTo>
                    <a:lnTo>
                      <a:pt x="414" y="358"/>
                    </a:lnTo>
                    <a:lnTo>
                      <a:pt x="410" y="354"/>
                    </a:lnTo>
                    <a:lnTo>
                      <a:pt x="408" y="354"/>
                    </a:lnTo>
                    <a:lnTo>
                      <a:pt x="404" y="350"/>
                    </a:lnTo>
                    <a:lnTo>
                      <a:pt x="400" y="350"/>
                    </a:lnTo>
                    <a:lnTo>
                      <a:pt x="396" y="350"/>
                    </a:lnTo>
                    <a:lnTo>
                      <a:pt x="392" y="350"/>
                    </a:lnTo>
                    <a:lnTo>
                      <a:pt x="388" y="348"/>
                    </a:lnTo>
                    <a:lnTo>
                      <a:pt x="388" y="350"/>
                    </a:lnTo>
                    <a:lnTo>
                      <a:pt x="388" y="348"/>
                    </a:lnTo>
                    <a:lnTo>
                      <a:pt x="384" y="348"/>
                    </a:lnTo>
                    <a:lnTo>
                      <a:pt x="380" y="348"/>
                    </a:lnTo>
                    <a:lnTo>
                      <a:pt x="378" y="348"/>
                    </a:lnTo>
                    <a:lnTo>
                      <a:pt x="378" y="350"/>
                    </a:lnTo>
                    <a:lnTo>
                      <a:pt x="374" y="350"/>
                    </a:lnTo>
                    <a:lnTo>
                      <a:pt x="370" y="350"/>
                    </a:lnTo>
                    <a:lnTo>
                      <a:pt x="366" y="350"/>
                    </a:lnTo>
                    <a:lnTo>
                      <a:pt x="362" y="350"/>
                    </a:lnTo>
                    <a:lnTo>
                      <a:pt x="354" y="350"/>
                    </a:lnTo>
                    <a:lnTo>
                      <a:pt x="354" y="350"/>
                    </a:lnTo>
                    <a:lnTo>
                      <a:pt x="354" y="350"/>
                    </a:lnTo>
                    <a:close/>
                    <a:moveTo>
                      <a:pt x="626" y="284"/>
                    </a:moveTo>
                    <a:lnTo>
                      <a:pt x="630" y="288"/>
                    </a:lnTo>
                    <a:lnTo>
                      <a:pt x="626" y="288"/>
                    </a:lnTo>
                    <a:lnTo>
                      <a:pt x="626" y="292"/>
                    </a:lnTo>
                    <a:lnTo>
                      <a:pt x="622" y="292"/>
                    </a:lnTo>
                    <a:lnTo>
                      <a:pt x="622" y="288"/>
                    </a:lnTo>
                    <a:lnTo>
                      <a:pt x="620" y="288"/>
                    </a:lnTo>
                    <a:lnTo>
                      <a:pt x="620" y="284"/>
                    </a:lnTo>
                    <a:lnTo>
                      <a:pt x="622" y="284"/>
                    </a:lnTo>
                    <a:lnTo>
                      <a:pt x="626" y="284"/>
                    </a:lnTo>
                    <a:lnTo>
                      <a:pt x="626" y="284"/>
                    </a:lnTo>
                    <a:lnTo>
                      <a:pt x="626" y="284"/>
                    </a:lnTo>
                    <a:close/>
                    <a:moveTo>
                      <a:pt x="626" y="292"/>
                    </a:moveTo>
                    <a:lnTo>
                      <a:pt x="626" y="294"/>
                    </a:lnTo>
                    <a:lnTo>
                      <a:pt x="622" y="294"/>
                    </a:lnTo>
                    <a:lnTo>
                      <a:pt x="622" y="292"/>
                    </a:lnTo>
                    <a:lnTo>
                      <a:pt x="626" y="292"/>
                    </a:lnTo>
                    <a:lnTo>
                      <a:pt x="626" y="292"/>
                    </a:lnTo>
                    <a:lnTo>
                      <a:pt x="626" y="292"/>
                    </a:lnTo>
                    <a:close/>
                    <a:moveTo>
                      <a:pt x="936" y="310"/>
                    </a:moveTo>
                    <a:lnTo>
                      <a:pt x="940" y="310"/>
                    </a:lnTo>
                    <a:lnTo>
                      <a:pt x="936" y="310"/>
                    </a:lnTo>
                    <a:lnTo>
                      <a:pt x="936" y="310"/>
                    </a:lnTo>
                    <a:lnTo>
                      <a:pt x="936" y="310"/>
                    </a:lnTo>
                    <a:close/>
                    <a:moveTo>
                      <a:pt x="958" y="322"/>
                    </a:moveTo>
                    <a:lnTo>
                      <a:pt x="958" y="324"/>
                    </a:lnTo>
                    <a:lnTo>
                      <a:pt x="954" y="324"/>
                    </a:lnTo>
                    <a:lnTo>
                      <a:pt x="958" y="324"/>
                    </a:lnTo>
                    <a:lnTo>
                      <a:pt x="958" y="322"/>
                    </a:lnTo>
                    <a:lnTo>
                      <a:pt x="958" y="322"/>
                    </a:lnTo>
                    <a:lnTo>
                      <a:pt x="958" y="322"/>
                    </a:lnTo>
                    <a:close/>
                    <a:moveTo>
                      <a:pt x="962" y="324"/>
                    </a:moveTo>
                    <a:lnTo>
                      <a:pt x="966" y="324"/>
                    </a:lnTo>
                    <a:lnTo>
                      <a:pt x="966" y="322"/>
                    </a:lnTo>
                    <a:lnTo>
                      <a:pt x="966" y="324"/>
                    </a:lnTo>
                    <a:lnTo>
                      <a:pt x="962" y="324"/>
                    </a:lnTo>
                    <a:lnTo>
                      <a:pt x="962" y="324"/>
                    </a:lnTo>
                    <a:lnTo>
                      <a:pt x="962" y="324"/>
                    </a:lnTo>
                    <a:close/>
                    <a:moveTo>
                      <a:pt x="962" y="332"/>
                    </a:moveTo>
                    <a:lnTo>
                      <a:pt x="958" y="332"/>
                    </a:lnTo>
                    <a:lnTo>
                      <a:pt x="958" y="328"/>
                    </a:lnTo>
                    <a:lnTo>
                      <a:pt x="958" y="324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58" y="328"/>
                    </a:lnTo>
                    <a:lnTo>
                      <a:pt x="962" y="328"/>
                    </a:lnTo>
                    <a:lnTo>
                      <a:pt x="962" y="324"/>
                    </a:lnTo>
                    <a:lnTo>
                      <a:pt x="962" y="328"/>
                    </a:lnTo>
                    <a:lnTo>
                      <a:pt x="966" y="328"/>
                    </a:lnTo>
                    <a:lnTo>
                      <a:pt x="962" y="328"/>
                    </a:lnTo>
                    <a:lnTo>
                      <a:pt x="962" y="332"/>
                    </a:lnTo>
                    <a:lnTo>
                      <a:pt x="962" y="332"/>
                    </a:lnTo>
                    <a:lnTo>
                      <a:pt x="962" y="332"/>
                    </a:lnTo>
                    <a:close/>
                    <a:moveTo>
                      <a:pt x="988" y="336"/>
                    </a:moveTo>
                    <a:lnTo>
                      <a:pt x="988" y="340"/>
                    </a:lnTo>
                    <a:lnTo>
                      <a:pt x="988" y="336"/>
                    </a:lnTo>
                    <a:lnTo>
                      <a:pt x="988" y="336"/>
                    </a:lnTo>
                    <a:lnTo>
                      <a:pt x="988" y="336"/>
                    </a:lnTo>
                    <a:close/>
                    <a:moveTo>
                      <a:pt x="980" y="340"/>
                    </a:moveTo>
                    <a:lnTo>
                      <a:pt x="984" y="340"/>
                    </a:lnTo>
                    <a:lnTo>
                      <a:pt x="984" y="344"/>
                    </a:lnTo>
                    <a:lnTo>
                      <a:pt x="980" y="344"/>
                    </a:lnTo>
                    <a:lnTo>
                      <a:pt x="976" y="344"/>
                    </a:lnTo>
                    <a:lnTo>
                      <a:pt x="974" y="344"/>
                    </a:lnTo>
                    <a:lnTo>
                      <a:pt x="976" y="344"/>
                    </a:lnTo>
                    <a:lnTo>
                      <a:pt x="976" y="340"/>
                    </a:lnTo>
                    <a:lnTo>
                      <a:pt x="980" y="340"/>
                    </a:lnTo>
                    <a:lnTo>
                      <a:pt x="980" y="340"/>
                    </a:lnTo>
                    <a:lnTo>
                      <a:pt x="980" y="340"/>
                    </a:lnTo>
                    <a:close/>
                    <a:moveTo>
                      <a:pt x="574" y="348"/>
                    </a:moveTo>
                    <a:lnTo>
                      <a:pt x="574" y="350"/>
                    </a:lnTo>
                    <a:lnTo>
                      <a:pt x="578" y="350"/>
                    </a:lnTo>
                    <a:lnTo>
                      <a:pt x="578" y="354"/>
                    </a:lnTo>
                    <a:lnTo>
                      <a:pt x="574" y="354"/>
                    </a:lnTo>
                    <a:lnTo>
                      <a:pt x="574" y="350"/>
                    </a:lnTo>
                    <a:lnTo>
                      <a:pt x="570" y="350"/>
                    </a:lnTo>
                    <a:lnTo>
                      <a:pt x="570" y="348"/>
                    </a:lnTo>
                    <a:lnTo>
                      <a:pt x="574" y="348"/>
                    </a:lnTo>
                    <a:lnTo>
                      <a:pt x="574" y="348"/>
                    </a:lnTo>
                    <a:lnTo>
                      <a:pt x="574" y="348"/>
                    </a:lnTo>
                    <a:close/>
                    <a:moveTo>
                      <a:pt x="182" y="350"/>
                    </a:moveTo>
                    <a:lnTo>
                      <a:pt x="180" y="350"/>
                    </a:lnTo>
                    <a:lnTo>
                      <a:pt x="180" y="348"/>
                    </a:lnTo>
                    <a:lnTo>
                      <a:pt x="182" y="350"/>
                    </a:lnTo>
                    <a:lnTo>
                      <a:pt x="182" y="350"/>
                    </a:lnTo>
                    <a:lnTo>
                      <a:pt x="182" y="350"/>
                    </a:lnTo>
                    <a:close/>
                    <a:moveTo>
                      <a:pt x="760" y="362"/>
                    </a:moveTo>
                    <a:lnTo>
                      <a:pt x="764" y="362"/>
                    </a:lnTo>
                    <a:lnTo>
                      <a:pt x="768" y="362"/>
                    </a:lnTo>
                    <a:lnTo>
                      <a:pt x="772" y="362"/>
                    </a:lnTo>
                    <a:lnTo>
                      <a:pt x="772" y="366"/>
                    </a:lnTo>
                    <a:lnTo>
                      <a:pt x="768" y="366"/>
                    </a:lnTo>
                    <a:lnTo>
                      <a:pt x="764" y="366"/>
                    </a:lnTo>
                    <a:lnTo>
                      <a:pt x="760" y="366"/>
                    </a:lnTo>
                    <a:lnTo>
                      <a:pt x="760" y="362"/>
                    </a:lnTo>
                    <a:lnTo>
                      <a:pt x="756" y="362"/>
                    </a:lnTo>
                    <a:lnTo>
                      <a:pt x="760" y="362"/>
                    </a:lnTo>
                    <a:lnTo>
                      <a:pt x="760" y="362"/>
                    </a:lnTo>
                    <a:lnTo>
                      <a:pt x="760" y="362"/>
                    </a:lnTo>
                    <a:close/>
                    <a:moveTo>
                      <a:pt x="638" y="396"/>
                    </a:moveTo>
                    <a:lnTo>
                      <a:pt x="642" y="392"/>
                    </a:lnTo>
                    <a:lnTo>
                      <a:pt x="642" y="396"/>
                    </a:lnTo>
                    <a:lnTo>
                      <a:pt x="646" y="396"/>
                    </a:lnTo>
                    <a:lnTo>
                      <a:pt x="646" y="392"/>
                    </a:lnTo>
                    <a:lnTo>
                      <a:pt x="650" y="396"/>
                    </a:lnTo>
                    <a:lnTo>
                      <a:pt x="646" y="396"/>
                    </a:lnTo>
                    <a:lnTo>
                      <a:pt x="646" y="400"/>
                    </a:lnTo>
                    <a:lnTo>
                      <a:pt x="642" y="400"/>
                    </a:lnTo>
                    <a:lnTo>
                      <a:pt x="642" y="396"/>
                    </a:lnTo>
                    <a:lnTo>
                      <a:pt x="638" y="400"/>
                    </a:lnTo>
                    <a:lnTo>
                      <a:pt x="634" y="404"/>
                    </a:lnTo>
                    <a:lnTo>
                      <a:pt x="630" y="404"/>
                    </a:lnTo>
                    <a:lnTo>
                      <a:pt x="626" y="404"/>
                    </a:lnTo>
                    <a:lnTo>
                      <a:pt x="622" y="404"/>
                    </a:lnTo>
                    <a:lnTo>
                      <a:pt x="620" y="404"/>
                    </a:lnTo>
                    <a:lnTo>
                      <a:pt x="616" y="404"/>
                    </a:lnTo>
                    <a:lnTo>
                      <a:pt x="612" y="400"/>
                    </a:lnTo>
                    <a:lnTo>
                      <a:pt x="608" y="400"/>
                    </a:lnTo>
                    <a:lnTo>
                      <a:pt x="604" y="400"/>
                    </a:lnTo>
                    <a:lnTo>
                      <a:pt x="604" y="396"/>
                    </a:lnTo>
                    <a:lnTo>
                      <a:pt x="600" y="396"/>
                    </a:lnTo>
                    <a:lnTo>
                      <a:pt x="596" y="396"/>
                    </a:lnTo>
                    <a:lnTo>
                      <a:pt x="596" y="392"/>
                    </a:lnTo>
                    <a:lnTo>
                      <a:pt x="592" y="392"/>
                    </a:lnTo>
                    <a:lnTo>
                      <a:pt x="592" y="396"/>
                    </a:lnTo>
                    <a:lnTo>
                      <a:pt x="590" y="396"/>
                    </a:lnTo>
                    <a:lnTo>
                      <a:pt x="590" y="392"/>
                    </a:lnTo>
                    <a:lnTo>
                      <a:pt x="586" y="392"/>
                    </a:lnTo>
                    <a:lnTo>
                      <a:pt x="586" y="388"/>
                    </a:lnTo>
                    <a:lnTo>
                      <a:pt x="590" y="388"/>
                    </a:lnTo>
                    <a:lnTo>
                      <a:pt x="592" y="388"/>
                    </a:lnTo>
                    <a:lnTo>
                      <a:pt x="596" y="388"/>
                    </a:lnTo>
                    <a:lnTo>
                      <a:pt x="596" y="384"/>
                    </a:lnTo>
                    <a:lnTo>
                      <a:pt x="600" y="384"/>
                    </a:lnTo>
                    <a:lnTo>
                      <a:pt x="604" y="384"/>
                    </a:lnTo>
                    <a:lnTo>
                      <a:pt x="600" y="380"/>
                    </a:lnTo>
                    <a:lnTo>
                      <a:pt x="604" y="380"/>
                    </a:lnTo>
                    <a:lnTo>
                      <a:pt x="600" y="378"/>
                    </a:lnTo>
                    <a:lnTo>
                      <a:pt x="604" y="378"/>
                    </a:lnTo>
                    <a:lnTo>
                      <a:pt x="608" y="380"/>
                    </a:lnTo>
                    <a:lnTo>
                      <a:pt x="604" y="378"/>
                    </a:lnTo>
                    <a:lnTo>
                      <a:pt x="604" y="374"/>
                    </a:lnTo>
                    <a:lnTo>
                      <a:pt x="604" y="370"/>
                    </a:lnTo>
                    <a:lnTo>
                      <a:pt x="608" y="370"/>
                    </a:lnTo>
                    <a:lnTo>
                      <a:pt x="612" y="370"/>
                    </a:lnTo>
                    <a:lnTo>
                      <a:pt x="616" y="370"/>
                    </a:lnTo>
                    <a:lnTo>
                      <a:pt x="616" y="374"/>
                    </a:lnTo>
                    <a:lnTo>
                      <a:pt x="620" y="374"/>
                    </a:lnTo>
                    <a:lnTo>
                      <a:pt x="616" y="374"/>
                    </a:lnTo>
                    <a:lnTo>
                      <a:pt x="616" y="378"/>
                    </a:lnTo>
                    <a:lnTo>
                      <a:pt x="620" y="374"/>
                    </a:lnTo>
                    <a:lnTo>
                      <a:pt x="620" y="378"/>
                    </a:lnTo>
                    <a:lnTo>
                      <a:pt x="622" y="378"/>
                    </a:lnTo>
                    <a:lnTo>
                      <a:pt x="626" y="380"/>
                    </a:lnTo>
                    <a:lnTo>
                      <a:pt x="630" y="380"/>
                    </a:lnTo>
                    <a:lnTo>
                      <a:pt x="634" y="380"/>
                    </a:lnTo>
                    <a:lnTo>
                      <a:pt x="634" y="384"/>
                    </a:lnTo>
                    <a:lnTo>
                      <a:pt x="634" y="388"/>
                    </a:lnTo>
                    <a:lnTo>
                      <a:pt x="634" y="392"/>
                    </a:lnTo>
                    <a:lnTo>
                      <a:pt x="634" y="388"/>
                    </a:lnTo>
                    <a:lnTo>
                      <a:pt x="634" y="384"/>
                    </a:lnTo>
                    <a:lnTo>
                      <a:pt x="638" y="384"/>
                    </a:lnTo>
                    <a:lnTo>
                      <a:pt x="638" y="388"/>
                    </a:lnTo>
                    <a:lnTo>
                      <a:pt x="638" y="392"/>
                    </a:lnTo>
                    <a:lnTo>
                      <a:pt x="638" y="396"/>
                    </a:lnTo>
                    <a:lnTo>
                      <a:pt x="638" y="396"/>
                    </a:lnTo>
                    <a:lnTo>
                      <a:pt x="638" y="396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12" y="370"/>
                    </a:moveTo>
                    <a:lnTo>
                      <a:pt x="808" y="374"/>
                    </a:lnTo>
                    <a:lnTo>
                      <a:pt x="812" y="374"/>
                    </a:lnTo>
                    <a:lnTo>
                      <a:pt x="808" y="374"/>
                    </a:lnTo>
                    <a:lnTo>
                      <a:pt x="808" y="370"/>
                    </a:lnTo>
                    <a:lnTo>
                      <a:pt x="812" y="370"/>
                    </a:lnTo>
                    <a:lnTo>
                      <a:pt x="812" y="370"/>
                    </a:lnTo>
                    <a:lnTo>
                      <a:pt x="812" y="370"/>
                    </a:lnTo>
                    <a:close/>
                    <a:moveTo>
                      <a:pt x="864" y="374"/>
                    </a:moveTo>
                    <a:lnTo>
                      <a:pt x="864" y="370"/>
                    </a:lnTo>
                    <a:lnTo>
                      <a:pt x="868" y="370"/>
                    </a:lnTo>
                    <a:lnTo>
                      <a:pt x="872" y="370"/>
                    </a:lnTo>
                    <a:lnTo>
                      <a:pt x="872" y="374"/>
                    </a:lnTo>
                    <a:lnTo>
                      <a:pt x="868" y="374"/>
                    </a:lnTo>
                    <a:lnTo>
                      <a:pt x="868" y="378"/>
                    </a:lnTo>
                    <a:lnTo>
                      <a:pt x="864" y="378"/>
                    </a:lnTo>
                    <a:lnTo>
                      <a:pt x="864" y="374"/>
                    </a:lnTo>
                    <a:lnTo>
                      <a:pt x="862" y="374"/>
                    </a:lnTo>
                    <a:lnTo>
                      <a:pt x="862" y="378"/>
                    </a:lnTo>
                    <a:lnTo>
                      <a:pt x="864" y="378"/>
                    </a:lnTo>
                    <a:lnTo>
                      <a:pt x="862" y="378"/>
                    </a:lnTo>
                    <a:lnTo>
                      <a:pt x="858" y="378"/>
                    </a:lnTo>
                    <a:lnTo>
                      <a:pt x="858" y="374"/>
                    </a:lnTo>
                    <a:lnTo>
                      <a:pt x="854" y="374"/>
                    </a:lnTo>
                    <a:lnTo>
                      <a:pt x="850" y="374"/>
                    </a:lnTo>
                    <a:lnTo>
                      <a:pt x="854" y="374"/>
                    </a:lnTo>
                    <a:lnTo>
                      <a:pt x="858" y="374"/>
                    </a:lnTo>
                    <a:lnTo>
                      <a:pt x="858" y="370"/>
                    </a:lnTo>
                    <a:lnTo>
                      <a:pt x="862" y="370"/>
                    </a:lnTo>
                    <a:lnTo>
                      <a:pt x="862" y="374"/>
                    </a:lnTo>
                    <a:lnTo>
                      <a:pt x="864" y="374"/>
                    </a:lnTo>
                    <a:lnTo>
                      <a:pt x="864" y="374"/>
                    </a:lnTo>
                    <a:lnTo>
                      <a:pt x="864" y="374"/>
                    </a:lnTo>
                    <a:close/>
                    <a:moveTo>
                      <a:pt x="824" y="370"/>
                    </a:moveTo>
                    <a:lnTo>
                      <a:pt x="828" y="370"/>
                    </a:lnTo>
                    <a:lnTo>
                      <a:pt x="828" y="374"/>
                    </a:lnTo>
                    <a:lnTo>
                      <a:pt x="824" y="374"/>
                    </a:lnTo>
                    <a:lnTo>
                      <a:pt x="820" y="370"/>
                    </a:lnTo>
                    <a:lnTo>
                      <a:pt x="824" y="370"/>
                    </a:lnTo>
                    <a:lnTo>
                      <a:pt x="824" y="370"/>
                    </a:lnTo>
                    <a:lnTo>
                      <a:pt x="824" y="370"/>
                    </a:lnTo>
                    <a:close/>
                    <a:moveTo>
                      <a:pt x="888" y="374"/>
                    </a:moveTo>
                    <a:lnTo>
                      <a:pt x="890" y="374"/>
                    </a:lnTo>
                    <a:lnTo>
                      <a:pt x="890" y="378"/>
                    </a:lnTo>
                    <a:lnTo>
                      <a:pt x="888" y="378"/>
                    </a:lnTo>
                    <a:lnTo>
                      <a:pt x="884" y="378"/>
                    </a:lnTo>
                    <a:lnTo>
                      <a:pt x="880" y="378"/>
                    </a:lnTo>
                    <a:lnTo>
                      <a:pt x="880" y="380"/>
                    </a:lnTo>
                    <a:lnTo>
                      <a:pt x="880" y="378"/>
                    </a:lnTo>
                    <a:lnTo>
                      <a:pt x="884" y="378"/>
                    </a:lnTo>
                    <a:lnTo>
                      <a:pt x="884" y="374"/>
                    </a:lnTo>
                    <a:lnTo>
                      <a:pt x="888" y="374"/>
                    </a:lnTo>
                    <a:lnTo>
                      <a:pt x="888" y="374"/>
                    </a:lnTo>
                    <a:lnTo>
                      <a:pt x="888" y="374"/>
                    </a:lnTo>
                    <a:close/>
                    <a:moveTo>
                      <a:pt x="76" y="392"/>
                    </a:moveTo>
                    <a:lnTo>
                      <a:pt x="80" y="392"/>
                    </a:lnTo>
                    <a:lnTo>
                      <a:pt x="76" y="388"/>
                    </a:lnTo>
                    <a:lnTo>
                      <a:pt x="72" y="388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76" y="388"/>
                    </a:lnTo>
                    <a:lnTo>
                      <a:pt x="80" y="388"/>
                    </a:lnTo>
                    <a:lnTo>
                      <a:pt x="76" y="388"/>
                    </a:lnTo>
                    <a:lnTo>
                      <a:pt x="76" y="384"/>
                    </a:lnTo>
                    <a:lnTo>
                      <a:pt x="72" y="384"/>
                    </a:lnTo>
                    <a:lnTo>
                      <a:pt x="76" y="384"/>
                    </a:lnTo>
                    <a:lnTo>
                      <a:pt x="80" y="380"/>
                    </a:lnTo>
                    <a:lnTo>
                      <a:pt x="80" y="384"/>
                    </a:lnTo>
                    <a:lnTo>
                      <a:pt x="82" y="384"/>
                    </a:lnTo>
                    <a:lnTo>
                      <a:pt x="82" y="380"/>
                    </a:lnTo>
                    <a:lnTo>
                      <a:pt x="86" y="378"/>
                    </a:lnTo>
                    <a:lnTo>
                      <a:pt x="90" y="378"/>
                    </a:lnTo>
                    <a:lnTo>
                      <a:pt x="90" y="380"/>
                    </a:lnTo>
                    <a:lnTo>
                      <a:pt x="94" y="380"/>
                    </a:lnTo>
                    <a:lnTo>
                      <a:pt x="94" y="378"/>
                    </a:lnTo>
                    <a:lnTo>
                      <a:pt x="94" y="374"/>
                    </a:lnTo>
                    <a:lnTo>
                      <a:pt x="96" y="374"/>
                    </a:lnTo>
                    <a:lnTo>
                      <a:pt x="96" y="378"/>
                    </a:lnTo>
                    <a:lnTo>
                      <a:pt x="100" y="378"/>
                    </a:lnTo>
                    <a:lnTo>
                      <a:pt x="100" y="380"/>
                    </a:lnTo>
                    <a:lnTo>
                      <a:pt x="96" y="380"/>
                    </a:lnTo>
                    <a:lnTo>
                      <a:pt x="96" y="384"/>
                    </a:lnTo>
                    <a:lnTo>
                      <a:pt x="94" y="384"/>
                    </a:lnTo>
                    <a:lnTo>
                      <a:pt x="94" y="388"/>
                    </a:lnTo>
                    <a:lnTo>
                      <a:pt x="90" y="388"/>
                    </a:lnTo>
                    <a:lnTo>
                      <a:pt x="90" y="392"/>
                    </a:lnTo>
                    <a:lnTo>
                      <a:pt x="94" y="396"/>
                    </a:lnTo>
                    <a:lnTo>
                      <a:pt x="96" y="400"/>
                    </a:lnTo>
                    <a:lnTo>
                      <a:pt x="94" y="400"/>
                    </a:lnTo>
                    <a:lnTo>
                      <a:pt x="90" y="396"/>
                    </a:lnTo>
                    <a:lnTo>
                      <a:pt x="90" y="392"/>
                    </a:lnTo>
                    <a:lnTo>
                      <a:pt x="86" y="392"/>
                    </a:lnTo>
                    <a:lnTo>
                      <a:pt x="82" y="392"/>
                    </a:lnTo>
                    <a:lnTo>
                      <a:pt x="80" y="392"/>
                    </a:lnTo>
                    <a:lnTo>
                      <a:pt x="76" y="392"/>
                    </a:lnTo>
                    <a:lnTo>
                      <a:pt x="72" y="392"/>
                    </a:lnTo>
                    <a:lnTo>
                      <a:pt x="72" y="388"/>
                    </a:lnTo>
                    <a:lnTo>
                      <a:pt x="72" y="392"/>
                    </a:lnTo>
                    <a:lnTo>
                      <a:pt x="76" y="392"/>
                    </a:lnTo>
                    <a:lnTo>
                      <a:pt x="76" y="392"/>
                    </a:lnTo>
                    <a:lnTo>
                      <a:pt x="76" y="392"/>
                    </a:lnTo>
                    <a:close/>
                    <a:moveTo>
                      <a:pt x="1032" y="374"/>
                    </a:moveTo>
                    <a:lnTo>
                      <a:pt x="1036" y="374"/>
                    </a:lnTo>
                    <a:lnTo>
                      <a:pt x="1036" y="378"/>
                    </a:lnTo>
                    <a:lnTo>
                      <a:pt x="1032" y="378"/>
                    </a:lnTo>
                    <a:lnTo>
                      <a:pt x="1030" y="378"/>
                    </a:lnTo>
                    <a:lnTo>
                      <a:pt x="1032" y="374"/>
                    </a:lnTo>
                    <a:lnTo>
                      <a:pt x="1032" y="374"/>
                    </a:lnTo>
                    <a:lnTo>
                      <a:pt x="1032" y="374"/>
                    </a:lnTo>
                    <a:close/>
                    <a:moveTo>
                      <a:pt x="26" y="378"/>
                    </a:moveTo>
                    <a:lnTo>
                      <a:pt x="24" y="378"/>
                    </a:lnTo>
                    <a:lnTo>
                      <a:pt x="26" y="378"/>
                    </a:lnTo>
                    <a:lnTo>
                      <a:pt x="26" y="374"/>
                    </a:lnTo>
                    <a:lnTo>
                      <a:pt x="30" y="378"/>
                    </a:lnTo>
                    <a:lnTo>
                      <a:pt x="26" y="378"/>
                    </a:lnTo>
                    <a:lnTo>
                      <a:pt x="26" y="378"/>
                    </a:lnTo>
                    <a:lnTo>
                      <a:pt x="26" y="378"/>
                    </a:lnTo>
                    <a:close/>
                    <a:moveTo>
                      <a:pt x="646" y="378"/>
                    </a:moveTo>
                    <a:lnTo>
                      <a:pt x="646" y="380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80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42" y="378"/>
                    </a:lnTo>
                    <a:lnTo>
                      <a:pt x="646" y="378"/>
                    </a:lnTo>
                    <a:lnTo>
                      <a:pt x="646" y="378"/>
                    </a:lnTo>
                    <a:lnTo>
                      <a:pt x="646" y="378"/>
                    </a:lnTo>
                    <a:close/>
                    <a:moveTo>
                      <a:pt x="1040" y="378"/>
                    </a:moveTo>
                    <a:lnTo>
                      <a:pt x="1036" y="378"/>
                    </a:lnTo>
                    <a:lnTo>
                      <a:pt x="1040" y="378"/>
                    </a:lnTo>
                    <a:lnTo>
                      <a:pt x="1044" y="378"/>
                    </a:lnTo>
                    <a:lnTo>
                      <a:pt x="1040" y="378"/>
                    </a:lnTo>
                    <a:lnTo>
                      <a:pt x="1040" y="378"/>
                    </a:lnTo>
                    <a:lnTo>
                      <a:pt x="1040" y="378"/>
                    </a:lnTo>
                    <a:close/>
                    <a:moveTo>
                      <a:pt x="566" y="378"/>
                    </a:moveTo>
                    <a:lnTo>
                      <a:pt x="566" y="380"/>
                    </a:lnTo>
                    <a:lnTo>
                      <a:pt x="564" y="380"/>
                    </a:lnTo>
                    <a:lnTo>
                      <a:pt x="564" y="378"/>
                    </a:lnTo>
                    <a:lnTo>
                      <a:pt x="560" y="378"/>
                    </a:lnTo>
                    <a:lnTo>
                      <a:pt x="564" y="378"/>
                    </a:lnTo>
                    <a:lnTo>
                      <a:pt x="566" y="378"/>
                    </a:lnTo>
                    <a:lnTo>
                      <a:pt x="566" y="378"/>
                    </a:lnTo>
                    <a:lnTo>
                      <a:pt x="566" y="378"/>
                    </a:lnTo>
                    <a:close/>
                    <a:moveTo>
                      <a:pt x="902" y="380"/>
                    </a:moveTo>
                    <a:lnTo>
                      <a:pt x="906" y="380"/>
                    </a:lnTo>
                    <a:lnTo>
                      <a:pt x="910" y="380"/>
                    </a:lnTo>
                    <a:lnTo>
                      <a:pt x="910" y="384"/>
                    </a:lnTo>
                    <a:lnTo>
                      <a:pt x="906" y="384"/>
                    </a:lnTo>
                    <a:lnTo>
                      <a:pt x="906" y="388"/>
                    </a:lnTo>
                    <a:lnTo>
                      <a:pt x="902" y="388"/>
                    </a:lnTo>
                    <a:lnTo>
                      <a:pt x="898" y="384"/>
                    </a:lnTo>
                    <a:lnTo>
                      <a:pt x="898" y="380"/>
                    </a:lnTo>
                    <a:lnTo>
                      <a:pt x="902" y="380"/>
                    </a:lnTo>
                    <a:lnTo>
                      <a:pt x="902" y="380"/>
                    </a:lnTo>
                    <a:lnTo>
                      <a:pt x="902" y="380"/>
                    </a:lnTo>
                    <a:close/>
                    <a:moveTo>
                      <a:pt x="884" y="380"/>
                    </a:moveTo>
                    <a:lnTo>
                      <a:pt x="888" y="380"/>
                    </a:lnTo>
                    <a:lnTo>
                      <a:pt x="888" y="384"/>
                    </a:lnTo>
                    <a:lnTo>
                      <a:pt x="884" y="384"/>
                    </a:lnTo>
                    <a:lnTo>
                      <a:pt x="884" y="388"/>
                    </a:lnTo>
                    <a:lnTo>
                      <a:pt x="880" y="392"/>
                    </a:lnTo>
                    <a:lnTo>
                      <a:pt x="876" y="392"/>
                    </a:lnTo>
                    <a:lnTo>
                      <a:pt x="876" y="396"/>
                    </a:lnTo>
                    <a:lnTo>
                      <a:pt x="872" y="396"/>
                    </a:lnTo>
                    <a:lnTo>
                      <a:pt x="872" y="392"/>
                    </a:lnTo>
                    <a:lnTo>
                      <a:pt x="872" y="388"/>
                    </a:lnTo>
                    <a:lnTo>
                      <a:pt x="876" y="388"/>
                    </a:lnTo>
                    <a:lnTo>
                      <a:pt x="880" y="388"/>
                    </a:lnTo>
                    <a:lnTo>
                      <a:pt x="880" y="384"/>
                    </a:lnTo>
                    <a:lnTo>
                      <a:pt x="880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close/>
                    <a:moveTo>
                      <a:pt x="556" y="396"/>
                    </a:moveTo>
                    <a:lnTo>
                      <a:pt x="556" y="400"/>
                    </a:lnTo>
                    <a:lnTo>
                      <a:pt x="556" y="404"/>
                    </a:lnTo>
                    <a:lnTo>
                      <a:pt x="552" y="404"/>
                    </a:lnTo>
                    <a:lnTo>
                      <a:pt x="552" y="400"/>
                    </a:lnTo>
                    <a:lnTo>
                      <a:pt x="548" y="400"/>
                    </a:lnTo>
                    <a:lnTo>
                      <a:pt x="548" y="396"/>
                    </a:lnTo>
                    <a:lnTo>
                      <a:pt x="552" y="396"/>
                    </a:lnTo>
                    <a:lnTo>
                      <a:pt x="556" y="396"/>
                    </a:lnTo>
                    <a:lnTo>
                      <a:pt x="556" y="396"/>
                    </a:lnTo>
                    <a:lnTo>
                      <a:pt x="556" y="396"/>
                    </a:lnTo>
                    <a:close/>
                    <a:moveTo>
                      <a:pt x="932" y="400"/>
                    </a:moveTo>
                    <a:lnTo>
                      <a:pt x="936" y="404"/>
                    </a:lnTo>
                    <a:lnTo>
                      <a:pt x="936" y="408"/>
                    </a:lnTo>
                    <a:lnTo>
                      <a:pt x="932" y="408"/>
                    </a:lnTo>
                    <a:lnTo>
                      <a:pt x="928" y="408"/>
                    </a:lnTo>
                    <a:lnTo>
                      <a:pt x="928" y="404"/>
                    </a:lnTo>
                    <a:lnTo>
                      <a:pt x="928" y="400"/>
                    </a:lnTo>
                    <a:lnTo>
                      <a:pt x="932" y="400"/>
                    </a:lnTo>
                    <a:lnTo>
                      <a:pt x="932" y="400"/>
                    </a:lnTo>
                    <a:lnTo>
                      <a:pt x="932" y="400"/>
                    </a:lnTo>
                    <a:close/>
                    <a:moveTo>
                      <a:pt x="936" y="400"/>
                    </a:moveTo>
                    <a:lnTo>
                      <a:pt x="940" y="400"/>
                    </a:lnTo>
                    <a:lnTo>
                      <a:pt x="940" y="404"/>
                    </a:lnTo>
                    <a:lnTo>
                      <a:pt x="936" y="404"/>
                    </a:lnTo>
                    <a:lnTo>
                      <a:pt x="936" y="400"/>
                    </a:lnTo>
                    <a:lnTo>
                      <a:pt x="936" y="400"/>
                    </a:lnTo>
                    <a:lnTo>
                      <a:pt x="936" y="400"/>
                    </a:lnTo>
                    <a:close/>
                    <a:moveTo>
                      <a:pt x="880" y="408"/>
                    </a:moveTo>
                    <a:lnTo>
                      <a:pt x="880" y="404"/>
                    </a:lnTo>
                    <a:lnTo>
                      <a:pt x="876" y="404"/>
                    </a:lnTo>
                    <a:lnTo>
                      <a:pt x="880" y="404"/>
                    </a:lnTo>
                    <a:lnTo>
                      <a:pt x="880" y="400"/>
                    </a:lnTo>
                    <a:lnTo>
                      <a:pt x="884" y="400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4" y="404"/>
                    </a:lnTo>
                    <a:lnTo>
                      <a:pt x="880" y="404"/>
                    </a:lnTo>
                    <a:lnTo>
                      <a:pt x="880" y="408"/>
                    </a:lnTo>
                    <a:lnTo>
                      <a:pt x="880" y="408"/>
                    </a:lnTo>
                    <a:lnTo>
                      <a:pt x="880" y="408"/>
                    </a:lnTo>
                    <a:close/>
                    <a:moveTo>
                      <a:pt x="514" y="404"/>
                    </a:moveTo>
                    <a:lnTo>
                      <a:pt x="518" y="404"/>
                    </a:lnTo>
                    <a:lnTo>
                      <a:pt x="518" y="408"/>
                    </a:lnTo>
                    <a:lnTo>
                      <a:pt x="514" y="408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08" y="404"/>
                    </a:lnTo>
                    <a:lnTo>
                      <a:pt x="510" y="404"/>
                    </a:lnTo>
                    <a:lnTo>
                      <a:pt x="514" y="404"/>
                    </a:lnTo>
                    <a:lnTo>
                      <a:pt x="514" y="404"/>
                    </a:lnTo>
                    <a:lnTo>
                      <a:pt x="514" y="404"/>
                    </a:lnTo>
                    <a:close/>
                    <a:moveTo>
                      <a:pt x="944" y="404"/>
                    </a:moveTo>
                    <a:lnTo>
                      <a:pt x="944" y="408"/>
                    </a:lnTo>
                    <a:lnTo>
                      <a:pt x="948" y="408"/>
                    </a:lnTo>
                    <a:lnTo>
                      <a:pt x="948" y="410"/>
                    </a:lnTo>
                    <a:lnTo>
                      <a:pt x="944" y="410"/>
                    </a:lnTo>
                    <a:lnTo>
                      <a:pt x="944" y="408"/>
                    </a:lnTo>
                    <a:lnTo>
                      <a:pt x="944" y="404"/>
                    </a:lnTo>
                    <a:lnTo>
                      <a:pt x="944" y="404"/>
                    </a:lnTo>
                    <a:lnTo>
                      <a:pt x="944" y="404"/>
                    </a:lnTo>
                    <a:close/>
                    <a:moveTo>
                      <a:pt x="876" y="408"/>
                    </a:moveTo>
                    <a:lnTo>
                      <a:pt x="880" y="408"/>
                    </a:lnTo>
                    <a:lnTo>
                      <a:pt x="880" y="410"/>
                    </a:lnTo>
                    <a:lnTo>
                      <a:pt x="876" y="410"/>
                    </a:lnTo>
                    <a:lnTo>
                      <a:pt x="872" y="410"/>
                    </a:lnTo>
                    <a:lnTo>
                      <a:pt x="872" y="408"/>
                    </a:lnTo>
                    <a:lnTo>
                      <a:pt x="876" y="408"/>
                    </a:lnTo>
                    <a:lnTo>
                      <a:pt x="876" y="408"/>
                    </a:lnTo>
                    <a:lnTo>
                      <a:pt x="876" y="408"/>
                    </a:lnTo>
                    <a:close/>
                    <a:moveTo>
                      <a:pt x="910" y="436"/>
                    </a:moveTo>
                    <a:lnTo>
                      <a:pt x="906" y="434"/>
                    </a:lnTo>
                    <a:lnTo>
                      <a:pt x="902" y="434"/>
                    </a:lnTo>
                    <a:lnTo>
                      <a:pt x="902" y="430"/>
                    </a:lnTo>
                    <a:lnTo>
                      <a:pt x="902" y="426"/>
                    </a:lnTo>
                    <a:lnTo>
                      <a:pt x="902" y="422"/>
                    </a:lnTo>
                    <a:lnTo>
                      <a:pt x="902" y="418"/>
                    </a:lnTo>
                    <a:lnTo>
                      <a:pt x="906" y="410"/>
                    </a:lnTo>
                    <a:lnTo>
                      <a:pt x="910" y="410"/>
                    </a:lnTo>
                    <a:lnTo>
                      <a:pt x="918" y="408"/>
                    </a:lnTo>
                    <a:lnTo>
                      <a:pt x="920" y="408"/>
                    </a:lnTo>
                    <a:lnTo>
                      <a:pt x="924" y="408"/>
                    </a:lnTo>
                    <a:lnTo>
                      <a:pt x="928" y="410"/>
                    </a:lnTo>
                    <a:lnTo>
                      <a:pt x="932" y="410"/>
                    </a:lnTo>
                    <a:lnTo>
                      <a:pt x="932" y="414"/>
                    </a:lnTo>
                    <a:lnTo>
                      <a:pt x="932" y="418"/>
                    </a:lnTo>
                    <a:lnTo>
                      <a:pt x="932" y="422"/>
                    </a:lnTo>
                    <a:lnTo>
                      <a:pt x="932" y="426"/>
                    </a:lnTo>
                    <a:lnTo>
                      <a:pt x="932" y="430"/>
                    </a:lnTo>
                    <a:lnTo>
                      <a:pt x="928" y="434"/>
                    </a:lnTo>
                    <a:lnTo>
                      <a:pt x="924" y="434"/>
                    </a:lnTo>
                    <a:lnTo>
                      <a:pt x="920" y="434"/>
                    </a:lnTo>
                    <a:lnTo>
                      <a:pt x="918" y="434"/>
                    </a:lnTo>
                    <a:lnTo>
                      <a:pt x="914" y="434"/>
                    </a:lnTo>
                    <a:lnTo>
                      <a:pt x="914" y="436"/>
                    </a:lnTo>
                    <a:lnTo>
                      <a:pt x="910" y="436"/>
                    </a:lnTo>
                    <a:lnTo>
                      <a:pt x="910" y="436"/>
                    </a:lnTo>
                    <a:lnTo>
                      <a:pt x="910" y="436"/>
                    </a:lnTo>
                    <a:close/>
                    <a:moveTo>
                      <a:pt x="772" y="410"/>
                    </a:moveTo>
                    <a:lnTo>
                      <a:pt x="772" y="414"/>
                    </a:lnTo>
                    <a:lnTo>
                      <a:pt x="772" y="418"/>
                    </a:lnTo>
                    <a:lnTo>
                      <a:pt x="772" y="422"/>
                    </a:lnTo>
                    <a:lnTo>
                      <a:pt x="768" y="422"/>
                    </a:lnTo>
                    <a:lnTo>
                      <a:pt x="764" y="422"/>
                    </a:lnTo>
                    <a:lnTo>
                      <a:pt x="764" y="418"/>
                    </a:lnTo>
                    <a:lnTo>
                      <a:pt x="764" y="414"/>
                    </a:lnTo>
                    <a:lnTo>
                      <a:pt x="764" y="410"/>
                    </a:lnTo>
                    <a:lnTo>
                      <a:pt x="768" y="410"/>
                    </a:lnTo>
                    <a:lnTo>
                      <a:pt x="768" y="408"/>
                    </a:lnTo>
                    <a:lnTo>
                      <a:pt x="772" y="410"/>
                    </a:lnTo>
                    <a:lnTo>
                      <a:pt x="772" y="410"/>
                    </a:lnTo>
                    <a:lnTo>
                      <a:pt x="772" y="410"/>
                    </a:lnTo>
                    <a:close/>
                    <a:moveTo>
                      <a:pt x="1066" y="410"/>
                    </a:moveTo>
                    <a:lnTo>
                      <a:pt x="1066" y="414"/>
                    </a:lnTo>
                    <a:lnTo>
                      <a:pt x="1066" y="410"/>
                    </a:lnTo>
                    <a:lnTo>
                      <a:pt x="1066" y="410"/>
                    </a:lnTo>
                    <a:lnTo>
                      <a:pt x="1066" y="410"/>
                    </a:lnTo>
                    <a:close/>
                    <a:moveTo>
                      <a:pt x="950" y="414"/>
                    </a:moveTo>
                    <a:lnTo>
                      <a:pt x="954" y="414"/>
                    </a:lnTo>
                    <a:lnTo>
                      <a:pt x="954" y="418"/>
                    </a:lnTo>
                    <a:lnTo>
                      <a:pt x="958" y="422"/>
                    </a:lnTo>
                    <a:lnTo>
                      <a:pt x="954" y="422"/>
                    </a:lnTo>
                    <a:lnTo>
                      <a:pt x="950" y="422"/>
                    </a:lnTo>
                    <a:lnTo>
                      <a:pt x="948" y="422"/>
                    </a:lnTo>
                    <a:lnTo>
                      <a:pt x="944" y="422"/>
                    </a:lnTo>
                    <a:lnTo>
                      <a:pt x="940" y="422"/>
                    </a:lnTo>
                    <a:lnTo>
                      <a:pt x="940" y="418"/>
                    </a:lnTo>
                    <a:lnTo>
                      <a:pt x="936" y="418"/>
                    </a:lnTo>
                    <a:lnTo>
                      <a:pt x="936" y="414"/>
                    </a:lnTo>
                    <a:lnTo>
                      <a:pt x="940" y="414"/>
                    </a:lnTo>
                    <a:lnTo>
                      <a:pt x="944" y="414"/>
                    </a:lnTo>
                    <a:lnTo>
                      <a:pt x="944" y="410"/>
                    </a:lnTo>
                    <a:lnTo>
                      <a:pt x="944" y="414"/>
                    </a:lnTo>
                    <a:lnTo>
                      <a:pt x="948" y="414"/>
                    </a:lnTo>
                    <a:lnTo>
                      <a:pt x="950" y="414"/>
                    </a:lnTo>
                    <a:lnTo>
                      <a:pt x="950" y="414"/>
                    </a:lnTo>
                    <a:lnTo>
                      <a:pt x="950" y="414"/>
                    </a:lnTo>
                    <a:close/>
                    <a:moveTo>
                      <a:pt x="454" y="418"/>
                    </a:moveTo>
                    <a:lnTo>
                      <a:pt x="450" y="418"/>
                    </a:lnTo>
                    <a:lnTo>
                      <a:pt x="454" y="418"/>
                    </a:lnTo>
                    <a:lnTo>
                      <a:pt x="454" y="418"/>
                    </a:lnTo>
                    <a:lnTo>
                      <a:pt x="454" y="418"/>
                    </a:lnTo>
                    <a:close/>
                    <a:moveTo>
                      <a:pt x="424" y="418"/>
                    </a:moveTo>
                    <a:lnTo>
                      <a:pt x="422" y="418"/>
                    </a:lnTo>
                    <a:lnTo>
                      <a:pt x="424" y="418"/>
                    </a:lnTo>
                    <a:lnTo>
                      <a:pt x="424" y="418"/>
                    </a:lnTo>
                    <a:lnTo>
                      <a:pt x="424" y="418"/>
                    </a:lnTo>
                    <a:close/>
                    <a:moveTo>
                      <a:pt x="462" y="430"/>
                    </a:moveTo>
                    <a:lnTo>
                      <a:pt x="458" y="430"/>
                    </a:lnTo>
                    <a:lnTo>
                      <a:pt x="458" y="426"/>
                    </a:lnTo>
                    <a:lnTo>
                      <a:pt x="462" y="426"/>
                    </a:lnTo>
                    <a:lnTo>
                      <a:pt x="462" y="430"/>
                    </a:lnTo>
                    <a:lnTo>
                      <a:pt x="462" y="430"/>
                    </a:lnTo>
                    <a:lnTo>
                      <a:pt x="462" y="430"/>
                    </a:lnTo>
                    <a:close/>
                    <a:moveTo>
                      <a:pt x="470" y="430"/>
                    </a:moveTo>
                    <a:lnTo>
                      <a:pt x="470" y="434"/>
                    </a:lnTo>
                    <a:lnTo>
                      <a:pt x="466" y="434"/>
                    </a:lnTo>
                    <a:lnTo>
                      <a:pt x="466" y="430"/>
                    </a:lnTo>
                    <a:lnTo>
                      <a:pt x="470" y="430"/>
                    </a:lnTo>
                    <a:lnTo>
                      <a:pt x="470" y="430"/>
                    </a:lnTo>
                    <a:lnTo>
                      <a:pt x="470" y="430"/>
                    </a:lnTo>
                    <a:close/>
                    <a:moveTo>
                      <a:pt x="1104" y="440"/>
                    </a:moveTo>
                    <a:lnTo>
                      <a:pt x="1106" y="440"/>
                    </a:lnTo>
                    <a:lnTo>
                      <a:pt x="1106" y="436"/>
                    </a:lnTo>
                    <a:lnTo>
                      <a:pt x="1110" y="436"/>
                    </a:lnTo>
                    <a:lnTo>
                      <a:pt x="1106" y="436"/>
                    </a:lnTo>
                    <a:lnTo>
                      <a:pt x="1106" y="440"/>
                    </a:lnTo>
                    <a:lnTo>
                      <a:pt x="1104" y="440"/>
                    </a:lnTo>
                    <a:lnTo>
                      <a:pt x="1104" y="440"/>
                    </a:lnTo>
                    <a:lnTo>
                      <a:pt x="1104" y="440"/>
                    </a:lnTo>
                    <a:close/>
                    <a:moveTo>
                      <a:pt x="1048" y="456"/>
                    </a:moveTo>
                    <a:lnTo>
                      <a:pt x="1052" y="456"/>
                    </a:lnTo>
                    <a:lnTo>
                      <a:pt x="1052" y="460"/>
                    </a:lnTo>
                    <a:lnTo>
                      <a:pt x="1048" y="456"/>
                    </a:lnTo>
                    <a:lnTo>
                      <a:pt x="1048" y="456"/>
                    </a:lnTo>
                    <a:lnTo>
                      <a:pt x="1048" y="456"/>
                    </a:lnTo>
                    <a:close/>
                    <a:moveTo>
                      <a:pt x="820" y="460"/>
                    </a:moveTo>
                    <a:lnTo>
                      <a:pt x="816" y="460"/>
                    </a:lnTo>
                    <a:lnTo>
                      <a:pt x="816" y="456"/>
                    </a:lnTo>
                    <a:lnTo>
                      <a:pt x="816" y="460"/>
                    </a:lnTo>
                    <a:lnTo>
                      <a:pt x="820" y="460"/>
                    </a:lnTo>
                    <a:lnTo>
                      <a:pt x="820" y="460"/>
                    </a:lnTo>
                    <a:lnTo>
                      <a:pt x="820" y="460"/>
                    </a:lnTo>
                    <a:close/>
                    <a:moveTo>
                      <a:pt x="808" y="466"/>
                    </a:moveTo>
                    <a:lnTo>
                      <a:pt x="808" y="470"/>
                    </a:lnTo>
                    <a:lnTo>
                      <a:pt x="812" y="470"/>
                    </a:lnTo>
                    <a:lnTo>
                      <a:pt x="816" y="470"/>
                    </a:lnTo>
                    <a:lnTo>
                      <a:pt x="816" y="474"/>
                    </a:lnTo>
                    <a:lnTo>
                      <a:pt x="812" y="474"/>
                    </a:lnTo>
                    <a:lnTo>
                      <a:pt x="808" y="474"/>
                    </a:lnTo>
                    <a:lnTo>
                      <a:pt x="808" y="470"/>
                    </a:lnTo>
                    <a:lnTo>
                      <a:pt x="806" y="470"/>
                    </a:lnTo>
                    <a:lnTo>
                      <a:pt x="806" y="466"/>
                    </a:lnTo>
                    <a:lnTo>
                      <a:pt x="802" y="466"/>
                    </a:lnTo>
                    <a:lnTo>
                      <a:pt x="802" y="464"/>
                    </a:lnTo>
                    <a:lnTo>
                      <a:pt x="798" y="464"/>
                    </a:lnTo>
                    <a:lnTo>
                      <a:pt x="802" y="464"/>
                    </a:lnTo>
                    <a:lnTo>
                      <a:pt x="806" y="464"/>
                    </a:lnTo>
                    <a:lnTo>
                      <a:pt x="808" y="466"/>
                    </a:lnTo>
                    <a:lnTo>
                      <a:pt x="808" y="466"/>
                    </a:lnTo>
                    <a:lnTo>
                      <a:pt x="808" y="466"/>
                    </a:lnTo>
                    <a:close/>
                    <a:moveTo>
                      <a:pt x="794" y="466"/>
                    </a:moveTo>
                    <a:lnTo>
                      <a:pt x="794" y="470"/>
                    </a:lnTo>
                    <a:lnTo>
                      <a:pt x="798" y="470"/>
                    </a:lnTo>
                    <a:lnTo>
                      <a:pt x="798" y="474"/>
                    </a:lnTo>
                    <a:lnTo>
                      <a:pt x="794" y="478"/>
                    </a:lnTo>
                    <a:lnTo>
                      <a:pt x="794" y="474"/>
                    </a:lnTo>
                    <a:lnTo>
                      <a:pt x="790" y="470"/>
                    </a:lnTo>
                    <a:lnTo>
                      <a:pt x="790" y="466"/>
                    </a:lnTo>
                    <a:lnTo>
                      <a:pt x="790" y="464"/>
                    </a:lnTo>
                    <a:lnTo>
                      <a:pt x="794" y="466"/>
                    </a:lnTo>
                    <a:lnTo>
                      <a:pt x="794" y="466"/>
                    </a:lnTo>
                    <a:lnTo>
                      <a:pt x="794" y="466"/>
                    </a:lnTo>
                    <a:close/>
                    <a:moveTo>
                      <a:pt x="772" y="496"/>
                    </a:moveTo>
                    <a:lnTo>
                      <a:pt x="776" y="496"/>
                    </a:lnTo>
                    <a:lnTo>
                      <a:pt x="776" y="494"/>
                    </a:lnTo>
                    <a:lnTo>
                      <a:pt x="776" y="490"/>
                    </a:lnTo>
                    <a:lnTo>
                      <a:pt x="776" y="486"/>
                    </a:lnTo>
                    <a:lnTo>
                      <a:pt x="776" y="482"/>
                    </a:lnTo>
                    <a:lnTo>
                      <a:pt x="776" y="478"/>
                    </a:lnTo>
                    <a:lnTo>
                      <a:pt x="778" y="470"/>
                    </a:lnTo>
                    <a:lnTo>
                      <a:pt x="782" y="470"/>
                    </a:lnTo>
                    <a:lnTo>
                      <a:pt x="782" y="466"/>
                    </a:lnTo>
                    <a:lnTo>
                      <a:pt x="786" y="466"/>
                    </a:lnTo>
                    <a:lnTo>
                      <a:pt x="786" y="470"/>
                    </a:lnTo>
                    <a:lnTo>
                      <a:pt x="782" y="470"/>
                    </a:lnTo>
                    <a:lnTo>
                      <a:pt x="786" y="470"/>
                    </a:lnTo>
                    <a:lnTo>
                      <a:pt x="790" y="470"/>
                    </a:lnTo>
                    <a:lnTo>
                      <a:pt x="790" y="474"/>
                    </a:lnTo>
                    <a:lnTo>
                      <a:pt x="790" y="478"/>
                    </a:lnTo>
                    <a:lnTo>
                      <a:pt x="786" y="474"/>
                    </a:lnTo>
                    <a:lnTo>
                      <a:pt x="786" y="478"/>
                    </a:lnTo>
                    <a:lnTo>
                      <a:pt x="790" y="478"/>
                    </a:lnTo>
                    <a:lnTo>
                      <a:pt x="790" y="482"/>
                    </a:lnTo>
                    <a:lnTo>
                      <a:pt x="794" y="486"/>
                    </a:lnTo>
                    <a:lnTo>
                      <a:pt x="794" y="482"/>
                    </a:lnTo>
                    <a:lnTo>
                      <a:pt x="798" y="478"/>
                    </a:lnTo>
                    <a:lnTo>
                      <a:pt x="802" y="478"/>
                    </a:lnTo>
                    <a:lnTo>
                      <a:pt x="802" y="482"/>
                    </a:lnTo>
                    <a:lnTo>
                      <a:pt x="806" y="482"/>
                    </a:lnTo>
                    <a:lnTo>
                      <a:pt x="802" y="482"/>
                    </a:lnTo>
                    <a:lnTo>
                      <a:pt x="806" y="486"/>
                    </a:lnTo>
                    <a:lnTo>
                      <a:pt x="808" y="486"/>
                    </a:lnTo>
                    <a:lnTo>
                      <a:pt x="812" y="486"/>
                    </a:lnTo>
                    <a:lnTo>
                      <a:pt x="816" y="486"/>
                    </a:lnTo>
                    <a:lnTo>
                      <a:pt x="816" y="490"/>
                    </a:lnTo>
                    <a:lnTo>
                      <a:pt x="820" y="494"/>
                    </a:lnTo>
                    <a:lnTo>
                      <a:pt x="824" y="494"/>
                    </a:lnTo>
                    <a:lnTo>
                      <a:pt x="824" y="496"/>
                    </a:lnTo>
                    <a:lnTo>
                      <a:pt x="828" y="496"/>
                    </a:lnTo>
                    <a:lnTo>
                      <a:pt x="832" y="496"/>
                    </a:lnTo>
                    <a:lnTo>
                      <a:pt x="834" y="496"/>
                    </a:lnTo>
                    <a:lnTo>
                      <a:pt x="834" y="500"/>
                    </a:lnTo>
                    <a:lnTo>
                      <a:pt x="838" y="500"/>
                    </a:lnTo>
                    <a:lnTo>
                      <a:pt x="838" y="504"/>
                    </a:lnTo>
                    <a:lnTo>
                      <a:pt x="838" y="508"/>
                    </a:lnTo>
                    <a:lnTo>
                      <a:pt x="838" y="512"/>
                    </a:lnTo>
                    <a:lnTo>
                      <a:pt x="834" y="512"/>
                    </a:lnTo>
                    <a:lnTo>
                      <a:pt x="834" y="516"/>
                    </a:lnTo>
                    <a:lnTo>
                      <a:pt x="838" y="512"/>
                    </a:lnTo>
                    <a:lnTo>
                      <a:pt x="842" y="512"/>
                    </a:lnTo>
                    <a:lnTo>
                      <a:pt x="846" y="512"/>
                    </a:lnTo>
                    <a:lnTo>
                      <a:pt x="850" y="516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4" y="516"/>
                    </a:lnTo>
                    <a:lnTo>
                      <a:pt x="858" y="516"/>
                    </a:lnTo>
                    <a:lnTo>
                      <a:pt x="858" y="520"/>
                    </a:lnTo>
                    <a:lnTo>
                      <a:pt x="862" y="520"/>
                    </a:lnTo>
                    <a:lnTo>
                      <a:pt x="858" y="520"/>
                    </a:lnTo>
                    <a:lnTo>
                      <a:pt x="854" y="522"/>
                    </a:lnTo>
                    <a:lnTo>
                      <a:pt x="850" y="522"/>
                    </a:lnTo>
                    <a:lnTo>
                      <a:pt x="850" y="526"/>
                    </a:lnTo>
                    <a:lnTo>
                      <a:pt x="846" y="526"/>
                    </a:lnTo>
                    <a:lnTo>
                      <a:pt x="842" y="526"/>
                    </a:lnTo>
                    <a:lnTo>
                      <a:pt x="838" y="522"/>
                    </a:lnTo>
                    <a:lnTo>
                      <a:pt x="834" y="522"/>
                    </a:lnTo>
                    <a:lnTo>
                      <a:pt x="834" y="520"/>
                    </a:lnTo>
                    <a:lnTo>
                      <a:pt x="832" y="520"/>
                    </a:lnTo>
                    <a:lnTo>
                      <a:pt x="832" y="522"/>
                    </a:lnTo>
                    <a:lnTo>
                      <a:pt x="828" y="522"/>
                    </a:lnTo>
                    <a:lnTo>
                      <a:pt x="828" y="520"/>
                    </a:lnTo>
                    <a:lnTo>
                      <a:pt x="828" y="516"/>
                    </a:lnTo>
                    <a:lnTo>
                      <a:pt x="824" y="516"/>
                    </a:lnTo>
                    <a:lnTo>
                      <a:pt x="820" y="516"/>
                    </a:lnTo>
                    <a:lnTo>
                      <a:pt x="816" y="512"/>
                    </a:lnTo>
                    <a:lnTo>
                      <a:pt x="820" y="512"/>
                    </a:lnTo>
                    <a:lnTo>
                      <a:pt x="820" y="508"/>
                    </a:lnTo>
                    <a:lnTo>
                      <a:pt x="816" y="508"/>
                    </a:lnTo>
                    <a:lnTo>
                      <a:pt x="816" y="512"/>
                    </a:lnTo>
                    <a:lnTo>
                      <a:pt x="812" y="512"/>
                    </a:lnTo>
                    <a:lnTo>
                      <a:pt x="808" y="512"/>
                    </a:lnTo>
                    <a:lnTo>
                      <a:pt x="808" y="516"/>
                    </a:lnTo>
                    <a:lnTo>
                      <a:pt x="812" y="516"/>
                    </a:lnTo>
                    <a:lnTo>
                      <a:pt x="812" y="520"/>
                    </a:lnTo>
                    <a:lnTo>
                      <a:pt x="808" y="520"/>
                    </a:lnTo>
                    <a:lnTo>
                      <a:pt x="806" y="522"/>
                    </a:lnTo>
                    <a:lnTo>
                      <a:pt x="802" y="522"/>
                    </a:lnTo>
                    <a:lnTo>
                      <a:pt x="802" y="526"/>
                    </a:lnTo>
                    <a:lnTo>
                      <a:pt x="798" y="526"/>
                    </a:lnTo>
                    <a:lnTo>
                      <a:pt x="798" y="530"/>
                    </a:lnTo>
                    <a:lnTo>
                      <a:pt x="794" y="530"/>
                    </a:lnTo>
                    <a:lnTo>
                      <a:pt x="794" y="534"/>
                    </a:lnTo>
                    <a:lnTo>
                      <a:pt x="790" y="534"/>
                    </a:lnTo>
                    <a:lnTo>
                      <a:pt x="786" y="534"/>
                    </a:lnTo>
                    <a:lnTo>
                      <a:pt x="782" y="534"/>
                    </a:lnTo>
                    <a:lnTo>
                      <a:pt x="782" y="530"/>
                    </a:lnTo>
                    <a:lnTo>
                      <a:pt x="782" y="526"/>
                    </a:lnTo>
                    <a:lnTo>
                      <a:pt x="782" y="522"/>
                    </a:lnTo>
                    <a:lnTo>
                      <a:pt x="782" y="520"/>
                    </a:lnTo>
                    <a:lnTo>
                      <a:pt x="778" y="520"/>
                    </a:lnTo>
                    <a:lnTo>
                      <a:pt x="776" y="522"/>
                    </a:lnTo>
                    <a:lnTo>
                      <a:pt x="772" y="522"/>
                    </a:lnTo>
                    <a:lnTo>
                      <a:pt x="768" y="522"/>
                    </a:lnTo>
                    <a:lnTo>
                      <a:pt x="764" y="522"/>
                    </a:lnTo>
                    <a:lnTo>
                      <a:pt x="760" y="522"/>
                    </a:lnTo>
                    <a:lnTo>
                      <a:pt x="760" y="520"/>
                    </a:lnTo>
                    <a:lnTo>
                      <a:pt x="764" y="516"/>
                    </a:lnTo>
                    <a:lnTo>
                      <a:pt x="768" y="516"/>
                    </a:lnTo>
                    <a:lnTo>
                      <a:pt x="772" y="512"/>
                    </a:lnTo>
                    <a:lnTo>
                      <a:pt x="776" y="512"/>
                    </a:lnTo>
                    <a:lnTo>
                      <a:pt x="776" y="508"/>
                    </a:lnTo>
                    <a:lnTo>
                      <a:pt x="772" y="508"/>
                    </a:lnTo>
                    <a:lnTo>
                      <a:pt x="772" y="504"/>
                    </a:lnTo>
                    <a:lnTo>
                      <a:pt x="772" y="500"/>
                    </a:lnTo>
                    <a:lnTo>
                      <a:pt x="772" y="496"/>
                    </a:lnTo>
                    <a:lnTo>
                      <a:pt x="772" y="496"/>
                    </a:lnTo>
                    <a:lnTo>
                      <a:pt x="772" y="496"/>
                    </a:lnTo>
                    <a:close/>
                    <a:moveTo>
                      <a:pt x="816" y="470"/>
                    </a:moveTo>
                    <a:lnTo>
                      <a:pt x="812" y="470"/>
                    </a:lnTo>
                    <a:lnTo>
                      <a:pt x="812" y="466"/>
                    </a:lnTo>
                    <a:lnTo>
                      <a:pt x="816" y="466"/>
                    </a:lnTo>
                    <a:lnTo>
                      <a:pt x="816" y="470"/>
                    </a:lnTo>
                    <a:lnTo>
                      <a:pt x="816" y="470"/>
                    </a:lnTo>
                    <a:lnTo>
                      <a:pt x="816" y="470"/>
                    </a:lnTo>
                    <a:close/>
                    <a:moveTo>
                      <a:pt x="1114" y="470"/>
                    </a:moveTo>
                    <a:lnTo>
                      <a:pt x="1114" y="474"/>
                    </a:lnTo>
                    <a:lnTo>
                      <a:pt x="1114" y="470"/>
                    </a:lnTo>
                    <a:lnTo>
                      <a:pt x="1114" y="474"/>
                    </a:lnTo>
                    <a:lnTo>
                      <a:pt x="1110" y="474"/>
                    </a:lnTo>
                    <a:lnTo>
                      <a:pt x="1110" y="470"/>
                    </a:lnTo>
                    <a:lnTo>
                      <a:pt x="1114" y="470"/>
                    </a:lnTo>
                    <a:lnTo>
                      <a:pt x="1114" y="470"/>
                    </a:lnTo>
                    <a:lnTo>
                      <a:pt x="1114" y="470"/>
                    </a:lnTo>
                    <a:close/>
                    <a:moveTo>
                      <a:pt x="1070" y="496"/>
                    </a:moveTo>
                    <a:lnTo>
                      <a:pt x="1074" y="496"/>
                    </a:lnTo>
                    <a:lnTo>
                      <a:pt x="1070" y="500"/>
                    </a:lnTo>
                    <a:lnTo>
                      <a:pt x="1066" y="500"/>
                    </a:lnTo>
                    <a:lnTo>
                      <a:pt x="1070" y="496"/>
                    </a:lnTo>
                    <a:lnTo>
                      <a:pt x="1070" y="496"/>
                    </a:lnTo>
                    <a:lnTo>
                      <a:pt x="1070" y="496"/>
                    </a:lnTo>
                    <a:close/>
                    <a:moveTo>
                      <a:pt x="894" y="516"/>
                    </a:moveTo>
                    <a:lnTo>
                      <a:pt x="890" y="516"/>
                    </a:lnTo>
                    <a:lnTo>
                      <a:pt x="890" y="512"/>
                    </a:lnTo>
                    <a:lnTo>
                      <a:pt x="894" y="512"/>
                    </a:lnTo>
                    <a:lnTo>
                      <a:pt x="898" y="512"/>
                    </a:lnTo>
                    <a:lnTo>
                      <a:pt x="894" y="516"/>
                    </a:lnTo>
                    <a:lnTo>
                      <a:pt x="894" y="516"/>
                    </a:lnTo>
                    <a:lnTo>
                      <a:pt x="894" y="516"/>
                    </a:lnTo>
                    <a:close/>
                    <a:moveTo>
                      <a:pt x="970" y="520"/>
                    </a:moveTo>
                    <a:lnTo>
                      <a:pt x="970" y="522"/>
                    </a:lnTo>
                    <a:lnTo>
                      <a:pt x="966" y="522"/>
                    </a:lnTo>
                    <a:lnTo>
                      <a:pt x="970" y="520"/>
                    </a:lnTo>
                    <a:lnTo>
                      <a:pt x="970" y="520"/>
                    </a:lnTo>
                    <a:lnTo>
                      <a:pt x="970" y="520"/>
                    </a:lnTo>
                    <a:close/>
                    <a:moveTo>
                      <a:pt x="910" y="526"/>
                    </a:moveTo>
                    <a:lnTo>
                      <a:pt x="914" y="526"/>
                    </a:lnTo>
                    <a:lnTo>
                      <a:pt x="910" y="526"/>
                    </a:lnTo>
                    <a:lnTo>
                      <a:pt x="910" y="530"/>
                    </a:lnTo>
                    <a:lnTo>
                      <a:pt x="906" y="526"/>
                    </a:lnTo>
                    <a:lnTo>
                      <a:pt x="902" y="526"/>
                    </a:lnTo>
                    <a:lnTo>
                      <a:pt x="902" y="522"/>
                    </a:lnTo>
                    <a:lnTo>
                      <a:pt x="898" y="522"/>
                    </a:lnTo>
                    <a:lnTo>
                      <a:pt x="898" y="520"/>
                    </a:lnTo>
                    <a:lnTo>
                      <a:pt x="902" y="522"/>
                    </a:lnTo>
                    <a:lnTo>
                      <a:pt x="906" y="522"/>
                    </a:lnTo>
                    <a:lnTo>
                      <a:pt x="910" y="522"/>
                    </a:lnTo>
                    <a:lnTo>
                      <a:pt x="910" y="526"/>
                    </a:lnTo>
                    <a:lnTo>
                      <a:pt x="910" y="526"/>
                    </a:lnTo>
                    <a:lnTo>
                      <a:pt x="910" y="526"/>
                    </a:lnTo>
                    <a:close/>
                    <a:moveTo>
                      <a:pt x="1084" y="522"/>
                    </a:moveTo>
                    <a:lnTo>
                      <a:pt x="1084" y="526"/>
                    </a:lnTo>
                    <a:lnTo>
                      <a:pt x="1088" y="530"/>
                    </a:lnTo>
                    <a:lnTo>
                      <a:pt x="1084" y="530"/>
                    </a:lnTo>
                    <a:lnTo>
                      <a:pt x="1084" y="526"/>
                    </a:lnTo>
                    <a:lnTo>
                      <a:pt x="1080" y="522"/>
                    </a:lnTo>
                    <a:lnTo>
                      <a:pt x="1084" y="522"/>
                    </a:lnTo>
                    <a:lnTo>
                      <a:pt x="1084" y="522"/>
                    </a:lnTo>
                    <a:lnTo>
                      <a:pt x="1084" y="522"/>
                    </a:lnTo>
                    <a:close/>
                    <a:moveTo>
                      <a:pt x="1076" y="522"/>
                    </a:moveTo>
                    <a:lnTo>
                      <a:pt x="1076" y="526"/>
                    </a:lnTo>
                    <a:lnTo>
                      <a:pt x="1074" y="526"/>
                    </a:lnTo>
                    <a:lnTo>
                      <a:pt x="1074" y="522"/>
                    </a:lnTo>
                    <a:lnTo>
                      <a:pt x="1076" y="522"/>
                    </a:lnTo>
                    <a:lnTo>
                      <a:pt x="1076" y="522"/>
                    </a:lnTo>
                    <a:lnTo>
                      <a:pt x="1076" y="522"/>
                    </a:lnTo>
                    <a:close/>
                    <a:moveTo>
                      <a:pt x="888" y="526"/>
                    </a:moveTo>
                    <a:lnTo>
                      <a:pt x="890" y="526"/>
                    </a:lnTo>
                    <a:lnTo>
                      <a:pt x="894" y="526"/>
                    </a:lnTo>
                    <a:lnTo>
                      <a:pt x="898" y="530"/>
                    </a:lnTo>
                    <a:lnTo>
                      <a:pt x="898" y="534"/>
                    </a:lnTo>
                    <a:lnTo>
                      <a:pt x="894" y="534"/>
                    </a:lnTo>
                    <a:lnTo>
                      <a:pt x="890" y="534"/>
                    </a:lnTo>
                    <a:lnTo>
                      <a:pt x="888" y="530"/>
                    </a:lnTo>
                    <a:lnTo>
                      <a:pt x="884" y="530"/>
                    </a:lnTo>
                    <a:lnTo>
                      <a:pt x="884" y="526"/>
                    </a:lnTo>
                    <a:lnTo>
                      <a:pt x="888" y="526"/>
                    </a:lnTo>
                    <a:lnTo>
                      <a:pt x="888" y="526"/>
                    </a:lnTo>
                    <a:lnTo>
                      <a:pt x="888" y="526"/>
                    </a:lnTo>
                    <a:close/>
                    <a:moveTo>
                      <a:pt x="832" y="538"/>
                    </a:moveTo>
                    <a:lnTo>
                      <a:pt x="834" y="538"/>
                    </a:lnTo>
                    <a:lnTo>
                      <a:pt x="834" y="542"/>
                    </a:lnTo>
                    <a:lnTo>
                      <a:pt x="834" y="546"/>
                    </a:lnTo>
                    <a:lnTo>
                      <a:pt x="832" y="546"/>
                    </a:lnTo>
                    <a:lnTo>
                      <a:pt x="832" y="550"/>
                    </a:lnTo>
                    <a:lnTo>
                      <a:pt x="828" y="550"/>
                    </a:lnTo>
                    <a:lnTo>
                      <a:pt x="828" y="552"/>
                    </a:lnTo>
                    <a:lnTo>
                      <a:pt x="824" y="552"/>
                    </a:lnTo>
                    <a:lnTo>
                      <a:pt x="820" y="556"/>
                    </a:lnTo>
                    <a:lnTo>
                      <a:pt x="816" y="556"/>
                    </a:lnTo>
                    <a:lnTo>
                      <a:pt x="812" y="556"/>
                    </a:lnTo>
                    <a:lnTo>
                      <a:pt x="808" y="556"/>
                    </a:lnTo>
                    <a:lnTo>
                      <a:pt x="808" y="552"/>
                    </a:lnTo>
                    <a:lnTo>
                      <a:pt x="806" y="550"/>
                    </a:lnTo>
                    <a:lnTo>
                      <a:pt x="808" y="550"/>
                    </a:lnTo>
                    <a:lnTo>
                      <a:pt x="812" y="546"/>
                    </a:lnTo>
                    <a:lnTo>
                      <a:pt x="812" y="542"/>
                    </a:lnTo>
                    <a:lnTo>
                      <a:pt x="816" y="538"/>
                    </a:lnTo>
                    <a:lnTo>
                      <a:pt x="816" y="542"/>
                    </a:lnTo>
                    <a:lnTo>
                      <a:pt x="820" y="542"/>
                    </a:lnTo>
                    <a:lnTo>
                      <a:pt x="824" y="542"/>
                    </a:lnTo>
                    <a:lnTo>
                      <a:pt x="824" y="538"/>
                    </a:lnTo>
                    <a:lnTo>
                      <a:pt x="828" y="538"/>
                    </a:lnTo>
                    <a:lnTo>
                      <a:pt x="832" y="538"/>
                    </a:lnTo>
                    <a:lnTo>
                      <a:pt x="832" y="538"/>
                    </a:lnTo>
                    <a:lnTo>
                      <a:pt x="832" y="538"/>
                    </a:lnTo>
                    <a:close/>
                    <a:moveTo>
                      <a:pt x="940" y="542"/>
                    </a:moveTo>
                    <a:lnTo>
                      <a:pt x="944" y="546"/>
                    </a:lnTo>
                    <a:lnTo>
                      <a:pt x="948" y="546"/>
                    </a:lnTo>
                    <a:lnTo>
                      <a:pt x="944" y="546"/>
                    </a:lnTo>
                    <a:lnTo>
                      <a:pt x="940" y="546"/>
                    </a:lnTo>
                    <a:lnTo>
                      <a:pt x="940" y="542"/>
                    </a:lnTo>
                    <a:lnTo>
                      <a:pt x="940" y="542"/>
                    </a:lnTo>
                    <a:lnTo>
                      <a:pt x="940" y="542"/>
                    </a:lnTo>
                    <a:close/>
                    <a:moveTo>
                      <a:pt x="1076" y="546"/>
                    </a:moveTo>
                    <a:lnTo>
                      <a:pt x="1076" y="550"/>
                    </a:lnTo>
                    <a:lnTo>
                      <a:pt x="1074" y="550"/>
                    </a:lnTo>
                    <a:lnTo>
                      <a:pt x="1074" y="546"/>
                    </a:lnTo>
                    <a:lnTo>
                      <a:pt x="1076" y="546"/>
                    </a:lnTo>
                    <a:lnTo>
                      <a:pt x="1076" y="546"/>
                    </a:lnTo>
                    <a:lnTo>
                      <a:pt x="1076" y="546"/>
                    </a:lnTo>
                    <a:close/>
                    <a:moveTo>
                      <a:pt x="1084" y="550"/>
                    </a:moveTo>
                    <a:lnTo>
                      <a:pt x="1080" y="552"/>
                    </a:lnTo>
                    <a:lnTo>
                      <a:pt x="1076" y="552"/>
                    </a:lnTo>
                    <a:lnTo>
                      <a:pt x="1076" y="550"/>
                    </a:lnTo>
                    <a:lnTo>
                      <a:pt x="1074" y="550"/>
                    </a:lnTo>
                    <a:lnTo>
                      <a:pt x="1076" y="550"/>
                    </a:lnTo>
                    <a:lnTo>
                      <a:pt x="1080" y="550"/>
                    </a:lnTo>
                    <a:lnTo>
                      <a:pt x="1084" y="550"/>
                    </a:lnTo>
                    <a:lnTo>
                      <a:pt x="1084" y="550"/>
                    </a:lnTo>
                    <a:lnTo>
                      <a:pt x="1084" y="550"/>
                    </a:lnTo>
                    <a:close/>
                    <a:moveTo>
                      <a:pt x="868" y="564"/>
                    </a:moveTo>
                    <a:lnTo>
                      <a:pt x="868" y="566"/>
                    </a:lnTo>
                    <a:lnTo>
                      <a:pt x="864" y="570"/>
                    </a:lnTo>
                    <a:lnTo>
                      <a:pt x="864" y="566"/>
                    </a:lnTo>
                    <a:lnTo>
                      <a:pt x="862" y="566"/>
                    </a:lnTo>
                    <a:lnTo>
                      <a:pt x="858" y="564"/>
                    </a:lnTo>
                    <a:lnTo>
                      <a:pt x="858" y="560"/>
                    </a:lnTo>
                    <a:lnTo>
                      <a:pt x="858" y="556"/>
                    </a:lnTo>
                    <a:lnTo>
                      <a:pt x="862" y="556"/>
                    </a:lnTo>
                    <a:lnTo>
                      <a:pt x="862" y="552"/>
                    </a:lnTo>
                    <a:lnTo>
                      <a:pt x="864" y="552"/>
                    </a:lnTo>
                    <a:lnTo>
                      <a:pt x="868" y="552"/>
                    </a:lnTo>
                    <a:lnTo>
                      <a:pt x="868" y="550"/>
                    </a:lnTo>
                    <a:lnTo>
                      <a:pt x="868" y="552"/>
                    </a:lnTo>
                    <a:lnTo>
                      <a:pt x="872" y="552"/>
                    </a:lnTo>
                    <a:lnTo>
                      <a:pt x="872" y="556"/>
                    </a:lnTo>
                    <a:lnTo>
                      <a:pt x="872" y="560"/>
                    </a:lnTo>
                    <a:lnTo>
                      <a:pt x="868" y="564"/>
                    </a:lnTo>
                    <a:lnTo>
                      <a:pt x="868" y="564"/>
                    </a:lnTo>
                    <a:lnTo>
                      <a:pt x="868" y="564"/>
                    </a:lnTo>
                    <a:close/>
                    <a:moveTo>
                      <a:pt x="1074" y="564"/>
                    </a:moveTo>
                    <a:lnTo>
                      <a:pt x="1076" y="564"/>
                    </a:lnTo>
                    <a:lnTo>
                      <a:pt x="1076" y="566"/>
                    </a:lnTo>
                    <a:lnTo>
                      <a:pt x="1074" y="564"/>
                    </a:lnTo>
                    <a:lnTo>
                      <a:pt x="1070" y="564"/>
                    </a:lnTo>
                    <a:lnTo>
                      <a:pt x="1074" y="560"/>
                    </a:lnTo>
                    <a:lnTo>
                      <a:pt x="1074" y="564"/>
                    </a:lnTo>
                    <a:lnTo>
                      <a:pt x="1074" y="564"/>
                    </a:lnTo>
                    <a:lnTo>
                      <a:pt x="1074" y="564"/>
                    </a:lnTo>
                    <a:close/>
                    <a:moveTo>
                      <a:pt x="678" y="564"/>
                    </a:moveTo>
                    <a:lnTo>
                      <a:pt x="676" y="564"/>
                    </a:lnTo>
                    <a:lnTo>
                      <a:pt x="678" y="564"/>
                    </a:lnTo>
                    <a:lnTo>
                      <a:pt x="678" y="564"/>
                    </a:lnTo>
                    <a:lnTo>
                      <a:pt x="678" y="564"/>
                    </a:lnTo>
                    <a:close/>
                    <a:moveTo>
                      <a:pt x="1080" y="570"/>
                    </a:moveTo>
                    <a:lnTo>
                      <a:pt x="1076" y="570"/>
                    </a:lnTo>
                    <a:lnTo>
                      <a:pt x="1080" y="570"/>
                    </a:lnTo>
                    <a:lnTo>
                      <a:pt x="1076" y="574"/>
                    </a:lnTo>
                    <a:lnTo>
                      <a:pt x="1074" y="574"/>
                    </a:lnTo>
                    <a:lnTo>
                      <a:pt x="1074" y="570"/>
                    </a:lnTo>
                    <a:lnTo>
                      <a:pt x="1070" y="570"/>
                    </a:lnTo>
                    <a:lnTo>
                      <a:pt x="1066" y="570"/>
                    </a:lnTo>
                    <a:lnTo>
                      <a:pt x="1070" y="566"/>
                    </a:lnTo>
                    <a:lnTo>
                      <a:pt x="1074" y="566"/>
                    </a:lnTo>
                    <a:lnTo>
                      <a:pt x="1076" y="566"/>
                    </a:lnTo>
                    <a:lnTo>
                      <a:pt x="1080" y="570"/>
                    </a:lnTo>
                    <a:lnTo>
                      <a:pt x="1080" y="570"/>
                    </a:lnTo>
                    <a:lnTo>
                      <a:pt x="1080" y="570"/>
                    </a:lnTo>
                    <a:close/>
                    <a:moveTo>
                      <a:pt x="888" y="586"/>
                    </a:moveTo>
                    <a:lnTo>
                      <a:pt x="888" y="590"/>
                    </a:lnTo>
                    <a:lnTo>
                      <a:pt x="884" y="590"/>
                    </a:lnTo>
                    <a:lnTo>
                      <a:pt x="880" y="590"/>
                    </a:lnTo>
                    <a:lnTo>
                      <a:pt x="884" y="590"/>
                    </a:lnTo>
                    <a:lnTo>
                      <a:pt x="884" y="586"/>
                    </a:lnTo>
                    <a:lnTo>
                      <a:pt x="888" y="586"/>
                    </a:lnTo>
                    <a:lnTo>
                      <a:pt x="888" y="586"/>
                    </a:lnTo>
                    <a:lnTo>
                      <a:pt x="888" y="586"/>
                    </a:lnTo>
                    <a:close/>
                    <a:moveTo>
                      <a:pt x="1032" y="594"/>
                    </a:moveTo>
                    <a:lnTo>
                      <a:pt x="1036" y="596"/>
                    </a:lnTo>
                    <a:lnTo>
                      <a:pt x="1032" y="596"/>
                    </a:lnTo>
                    <a:lnTo>
                      <a:pt x="1032" y="600"/>
                    </a:lnTo>
                    <a:lnTo>
                      <a:pt x="1030" y="600"/>
                    </a:lnTo>
                    <a:lnTo>
                      <a:pt x="1026" y="600"/>
                    </a:lnTo>
                    <a:lnTo>
                      <a:pt x="1030" y="600"/>
                    </a:lnTo>
                    <a:lnTo>
                      <a:pt x="1030" y="596"/>
                    </a:lnTo>
                    <a:lnTo>
                      <a:pt x="1030" y="594"/>
                    </a:lnTo>
                    <a:lnTo>
                      <a:pt x="1032" y="594"/>
                    </a:lnTo>
                    <a:lnTo>
                      <a:pt x="1032" y="594"/>
                    </a:lnTo>
                    <a:lnTo>
                      <a:pt x="1032" y="594"/>
                    </a:lnTo>
                    <a:close/>
                    <a:moveTo>
                      <a:pt x="864" y="608"/>
                    </a:moveTo>
                    <a:lnTo>
                      <a:pt x="864" y="612"/>
                    </a:lnTo>
                    <a:lnTo>
                      <a:pt x="862" y="612"/>
                    </a:lnTo>
                    <a:lnTo>
                      <a:pt x="862" y="608"/>
                    </a:lnTo>
                    <a:lnTo>
                      <a:pt x="864" y="608"/>
                    </a:lnTo>
                    <a:lnTo>
                      <a:pt x="864" y="608"/>
                    </a:lnTo>
                    <a:lnTo>
                      <a:pt x="864" y="608"/>
                    </a:lnTo>
                    <a:close/>
                    <a:moveTo>
                      <a:pt x="1014" y="626"/>
                    </a:moveTo>
                    <a:lnTo>
                      <a:pt x="1014" y="630"/>
                    </a:lnTo>
                    <a:lnTo>
                      <a:pt x="1014" y="626"/>
                    </a:lnTo>
                    <a:lnTo>
                      <a:pt x="1014" y="626"/>
                    </a:lnTo>
                    <a:lnTo>
                      <a:pt x="1014" y="626"/>
                    </a:lnTo>
                    <a:close/>
                    <a:moveTo>
                      <a:pt x="1118" y="652"/>
                    </a:moveTo>
                    <a:lnTo>
                      <a:pt x="1118" y="656"/>
                    </a:lnTo>
                    <a:lnTo>
                      <a:pt x="1114" y="656"/>
                    </a:lnTo>
                    <a:lnTo>
                      <a:pt x="1114" y="652"/>
                    </a:lnTo>
                    <a:lnTo>
                      <a:pt x="1118" y="652"/>
                    </a:lnTo>
                    <a:lnTo>
                      <a:pt x="1118" y="652"/>
                    </a:lnTo>
                    <a:lnTo>
                      <a:pt x="1118" y="652"/>
                    </a:lnTo>
                    <a:close/>
                    <a:moveTo>
                      <a:pt x="1122" y="656"/>
                    </a:moveTo>
                    <a:lnTo>
                      <a:pt x="1118" y="656"/>
                    </a:lnTo>
                    <a:lnTo>
                      <a:pt x="1118" y="652"/>
                    </a:lnTo>
                    <a:lnTo>
                      <a:pt x="1122" y="652"/>
                    </a:lnTo>
                    <a:lnTo>
                      <a:pt x="1122" y="656"/>
                    </a:lnTo>
                    <a:lnTo>
                      <a:pt x="1122" y="656"/>
                    </a:lnTo>
                    <a:lnTo>
                      <a:pt x="1122" y="656"/>
                    </a:lnTo>
                    <a:close/>
                    <a:moveTo>
                      <a:pt x="868" y="660"/>
                    </a:moveTo>
                    <a:lnTo>
                      <a:pt x="868" y="664"/>
                    </a:lnTo>
                    <a:lnTo>
                      <a:pt x="864" y="664"/>
                    </a:lnTo>
                    <a:lnTo>
                      <a:pt x="864" y="660"/>
                    </a:lnTo>
                    <a:lnTo>
                      <a:pt x="868" y="660"/>
                    </a:lnTo>
                    <a:lnTo>
                      <a:pt x="868" y="660"/>
                    </a:lnTo>
                    <a:lnTo>
                      <a:pt x="868" y="660"/>
                    </a:lnTo>
                    <a:close/>
                    <a:moveTo>
                      <a:pt x="1122" y="664"/>
                    </a:moveTo>
                    <a:lnTo>
                      <a:pt x="1122" y="668"/>
                    </a:lnTo>
                    <a:lnTo>
                      <a:pt x="1122" y="664"/>
                    </a:lnTo>
                    <a:lnTo>
                      <a:pt x="1122" y="664"/>
                    </a:lnTo>
                    <a:lnTo>
                      <a:pt x="1122" y="664"/>
                    </a:lnTo>
                    <a:close/>
                    <a:moveTo>
                      <a:pt x="1126" y="676"/>
                    </a:moveTo>
                    <a:lnTo>
                      <a:pt x="1126" y="680"/>
                    </a:lnTo>
                    <a:lnTo>
                      <a:pt x="1122" y="680"/>
                    </a:lnTo>
                    <a:lnTo>
                      <a:pt x="1126" y="680"/>
                    </a:lnTo>
                    <a:lnTo>
                      <a:pt x="1126" y="682"/>
                    </a:lnTo>
                    <a:lnTo>
                      <a:pt x="1126" y="680"/>
                    </a:lnTo>
                    <a:lnTo>
                      <a:pt x="1122" y="680"/>
                    </a:lnTo>
                    <a:lnTo>
                      <a:pt x="1122" y="676"/>
                    </a:lnTo>
                    <a:lnTo>
                      <a:pt x="1126" y="676"/>
                    </a:lnTo>
                    <a:lnTo>
                      <a:pt x="1126" y="676"/>
                    </a:lnTo>
                    <a:lnTo>
                      <a:pt x="1126" y="676"/>
                    </a:lnTo>
                    <a:close/>
                    <a:moveTo>
                      <a:pt x="864" y="676"/>
                    </a:moveTo>
                    <a:lnTo>
                      <a:pt x="864" y="680"/>
                    </a:lnTo>
                    <a:lnTo>
                      <a:pt x="864" y="676"/>
                    </a:lnTo>
                    <a:lnTo>
                      <a:pt x="864" y="676"/>
                    </a:lnTo>
                    <a:lnTo>
                      <a:pt x="864" y="676"/>
                    </a:lnTo>
                    <a:close/>
                    <a:moveTo>
                      <a:pt x="868" y="680"/>
                    </a:moveTo>
                    <a:lnTo>
                      <a:pt x="868" y="682"/>
                    </a:lnTo>
                    <a:lnTo>
                      <a:pt x="868" y="680"/>
                    </a:lnTo>
                    <a:lnTo>
                      <a:pt x="868" y="680"/>
                    </a:lnTo>
                    <a:lnTo>
                      <a:pt x="868" y="680"/>
                    </a:lnTo>
                    <a:close/>
                    <a:moveTo>
                      <a:pt x="864" y="702"/>
                    </a:moveTo>
                    <a:lnTo>
                      <a:pt x="864" y="698"/>
                    </a:lnTo>
                    <a:lnTo>
                      <a:pt x="868" y="698"/>
                    </a:lnTo>
                    <a:lnTo>
                      <a:pt x="868" y="694"/>
                    </a:lnTo>
                    <a:lnTo>
                      <a:pt x="864" y="698"/>
                    </a:lnTo>
                    <a:lnTo>
                      <a:pt x="862" y="698"/>
                    </a:lnTo>
                    <a:lnTo>
                      <a:pt x="864" y="698"/>
                    </a:lnTo>
                    <a:lnTo>
                      <a:pt x="864" y="694"/>
                    </a:lnTo>
                    <a:lnTo>
                      <a:pt x="868" y="690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72" y="682"/>
                    </a:lnTo>
                    <a:lnTo>
                      <a:pt x="872" y="686"/>
                    </a:lnTo>
                    <a:lnTo>
                      <a:pt x="868" y="690"/>
                    </a:lnTo>
                    <a:lnTo>
                      <a:pt x="872" y="690"/>
                    </a:lnTo>
                    <a:lnTo>
                      <a:pt x="872" y="686"/>
                    </a:lnTo>
                    <a:lnTo>
                      <a:pt x="872" y="682"/>
                    </a:lnTo>
                    <a:lnTo>
                      <a:pt x="876" y="682"/>
                    </a:lnTo>
                    <a:lnTo>
                      <a:pt x="876" y="686"/>
                    </a:lnTo>
                    <a:lnTo>
                      <a:pt x="880" y="686"/>
                    </a:lnTo>
                    <a:lnTo>
                      <a:pt x="876" y="690"/>
                    </a:lnTo>
                    <a:lnTo>
                      <a:pt x="876" y="694"/>
                    </a:lnTo>
                    <a:lnTo>
                      <a:pt x="876" y="698"/>
                    </a:lnTo>
                    <a:lnTo>
                      <a:pt x="872" y="698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6" y="686"/>
                    </a:lnTo>
                    <a:lnTo>
                      <a:pt x="876" y="690"/>
                    </a:lnTo>
                    <a:lnTo>
                      <a:pt x="872" y="698"/>
                    </a:lnTo>
                    <a:lnTo>
                      <a:pt x="876" y="694"/>
                    </a:lnTo>
                    <a:lnTo>
                      <a:pt x="876" y="690"/>
                    </a:lnTo>
                    <a:lnTo>
                      <a:pt x="872" y="690"/>
                    </a:lnTo>
                    <a:lnTo>
                      <a:pt x="872" y="694"/>
                    </a:lnTo>
                    <a:lnTo>
                      <a:pt x="872" y="698"/>
                    </a:lnTo>
                    <a:lnTo>
                      <a:pt x="868" y="698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close/>
                    <a:moveTo>
                      <a:pt x="862" y="690"/>
                    </a:moveTo>
                    <a:lnTo>
                      <a:pt x="864" y="686"/>
                    </a:lnTo>
                    <a:lnTo>
                      <a:pt x="868" y="686"/>
                    </a:lnTo>
                    <a:lnTo>
                      <a:pt x="868" y="682"/>
                    </a:lnTo>
                    <a:lnTo>
                      <a:pt x="868" y="686"/>
                    </a:lnTo>
                    <a:lnTo>
                      <a:pt x="868" y="690"/>
                    </a:lnTo>
                    <a:lnTo>
                      <a:pt x="864" y="690"/>
                    </a:lnTo>
                    <a:lnTo>
                      <a:pt x="862" y="690"/>
                    </a:lnTo>
                    <a:lnTo>
                      <a:pt x="862" y="690"/>
                    </a:lnTo>
                    <a:lnTo>
                      <a:pt x="862" y="690"/>
                    </a:lnTo>
                    <a:close/>
                    <a:moveTo>
                      <a:pt x="876" y="694"/>
                    </a:moveTo>
                    <a:lnTo>
                      <a:pt x="880" y="690"/>
                    </a:lnTo>
                    <a:lnTo>
                      <a:pt x="880" y="686"/>
                    </a:lnTo>
                    <a:lnTo>
                      <a:pt x="884" y="690"/>
                    </a:lnTo>
                    <a:lnTo>
                      <a:pt x="880" y="690"/>
                    </a:lnTo>
                    <a:lnTo>
                      <a:pt x="880" y="694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122" y="686"/>
                    </a:moveTo>
                    <a:lnTo>
                      <a:pt x="1126" y="686"/>
                    </a:lnTo>
                    <a:lnTo>
                      <a:pt x="1126" y="690"/>
                    </a:lnTo>
                    <a:lnTo>
                      <a:pt x="1122" y="690"/>
                    </a:lnTo>
                    <a:lnTo>
                      <a:pt x="1122" y="686"/>
                    </a:lnTo>
                    <a:lnTo>
                      <a:pt x="1122" y="686"/>
                    </a:lnTo>
                    <a:lnTo>
                      <a:pt x="1122" y="686"/>
                    </a:lnTo>
                    <a:close/>
                    <a:moveTo>
                      <a:pt x="1130" y="690"/>
                    </a:moveTo>
                    <a:lnTo>
                      <a:pt x="1132" y="694"/>
                    </a:lnTo>
                    <a:lnTo>
                      <a:pt x="1130" y="694"/>
                    </a:lnTo>
                    <a:lnTo>
                      <a:pt x="1130" y="690"/>
                    </a:lnTo>
                    <a:lnTo>
                      <a:pt x="1130" y="690"/>
                    </a:lnTo>
                    <a:lnTo>
                      <a:pt x="1130" y="690"/>
                    </a:lnTo>
                    <a:close/>
                    <a:moveTo>
                      <a:pt x="876" y="694"/>
                    </a:moveTo>
                    <a:lnTo>
                      <a:pt x="876" y="698"/>
                    </a:lnTo>
                    <a:lnTo>
                      <a:pt x="876" y="702"/>
                    </a:lnTo>
                    <a:lnTo>
                      <a:pt x="876" y="698"/>
                    </a:lnTo>
                    <a:lnTo>
                      <a:pt x="876" y="694"/>
                    </a:lnTo>
                    <a:lnTo>
                      <a:pt x="876" y="694"/>
                    </a:lnTo>
                    <a:lnTo>
                      <a:pt x="876" y="694"/>
                    </a:lnTo>
                    <a:close/>
                    <a:moveTo>
                      <a:pt x="152" y="716"/>
                    </a:moveTo>
                    <a:lnTo>
                      <a:pt x="152" y="720"/>
                    </a:lnTo>
                    <a:lnTo>
                      <a:pt x="150" y="724"/>
                    </a:lnTo>
                    <a:lnTo>
                      <a:pt x="150" y="720"/>
                    </a:lnTo>
                    <a:lnTo>
                      <a:pt x="152" y="720"/>
                    </a:lnTo>
                    <a:lnTo>
                      <a:pt x="152" y="716"/>
                    </a:lnTo>
                    <a:lnTo>
                      <a:pt x="152" y="716"/>
                    </a:lnTo>
                    <a:lnTo>
                      <a:pt x="152" y="716"/>
                    </a:lnTo>
                    <a:close/>
                    <a:moveTo>
                      <a:pt x="876" y="720"/>
                    </a:moveTo>
                    <a:lnTo>
                      <a:pt x="872" y="720"/>
                    </a:lnTo>
                    <a:lnTo>
                      <a:pt x="868" y="720"/>
                    </a:lnTo>
                    <a:lnTo>
                      <a:pt x="864" y="724"/>
                    </a:lnTo>
                    <a:lnTo>
                      <a:pt x="864" y="720"/>
                    </a:lnTo>
                    <a:lnTo>
                      <a:pt x="868" y="720"/>
                    </a:lnTo>
                    <a:lnTo>
                      <a:pt x="872" y="720"/>
                    </a:lnTo>
                    <a:lnTo>
                      <a:pt x="876" y="720"/>
                    </a:lnTo>
                    <a:lnTo>
                      <a:pt x="876" y="720"/>
                    </a:lnTo>
                    <a:lnTo>
                      <a:pt x="876" y="720"/>
                    </a:lnTo>
                    <a:close/>
                    <a:moveTo>
                      <a:pt x="146" y="724"/>
                    </a:moveTo>
                    <a:lnTo>
                      <a:pt x="146" y="728"/>
                    </a:lnTo>
                    <a:lnTo>
                      <a:pt x="142" y="728"/>
                    </a:lnTo>
                    <a:lnTo>
                      <a:pt x="142" y="724"/>
                    </a:lnTo>
                    <a:lnTo>
                      <a:pt x="146" y="724"/>
                    </a:lnTo>
                    <a:lnTo>
                      <a:pt x="146" y="724"/>
                    </a:lnTo>
                    <a:lnTo>
                      <a:pt x="146" y="724"/>
                    </a:lnTo>
                    <a:close/>
                    <a:moveTo>
                      <a:pt x="112" y="746"/>
                    </a:moveTo>
                    <a:lnTo>
                      <a:pt x="112" y="742"/>
                    </a:lnTo>
                    <a:lnTo>
                      <a:pt x="112" y="738"/>
                    </a:lnTo>
                    <a:lnTo>
                      <a:pt x="112" y="736"/>
                    </a:lnTo>
                    <a:lnTo>
                      <a:pt x="116" y="736"/>
                    </a:lnTo>
                    <a:lnTo>
                      <a:pt x="120" y="736"/>
                    </a:lnTo>
                    <a:lnTo>
                      <a:pt x="120" y="738"/>
                    </a:lnTo>
                    <a:lnTo>
                      <a:pt x="116" y="738"/>
                    </a:lnTo>
                    <a:lnTo>
                      <a:pt x="120" y="738"/>
                    </a:lnTo>
                    <a:lnTo>
                      <a:pt x="124" y="736"/>
                    </a:lnTo>
                    <a:lnTo>
                      <a:pt x="124" y="738"/>
                    </a:lnTo>
                    <a:lnTo>
                      <a:pt x="126" y="738"/>
                    </a:lnTo>
                    <a:lnTo>
                      <a:pt x="126" y="742"/>
                    </a:lnTo>
                    <a:lnTo>
                      <a:pt x="124" y="742"/>
                    </a:lnTo>
                    <a:lnTo>
                      <a:pt x="120" y="746"/>
                    </a:lnTo>
                    <a:lnTo>
                      <a:pt x="124" y="746"/>
                    </a:lnTo>
                    <a:lnTo>
                      <a:pt x="126" y="742"/>
                    </a:lnTo>
                    <a:lnTo>
                      <a:pt x="126" y="738"/>
                    </a:lnTo>
                    <a:lnTo>
                      <a:pt x="130" y="738"/>
                    </a:lnTo>
                    <a:lnTo>
                      <a:pt x="130" y="736"/>
                    </a:lnTo>
                    <a:lnTo>
                      <a:pt x="130" y="738"/>
                    </a:lnTo>
                    <a:lnTo>
                      <a:pt x="130" y="742"/>
                    </a:lnTo>
                    <a:lnTo>
                      <a:pt x="126" y="746"/>
                    </a:lnTo>
                    <a:lnTo>
                      <a:pt x="126" y="750"/>
                    </a:lnTo>
                    <a:lnTo>
                      <a:pt x="126" y="754"/>
                    </a:lnTo>
                    <a:lnTo>
                      <a:pt x="124" y="754"/>
                    </a:lnTo>
                    <a:lnTo>
                      <a:pt x="124" y="758"/>
                    </a:lnTo>
                    <a:lnTo>
                      <a:pt x="126" y="758"/>
                    </a:lnTo>
                    <a:lnTo>
                      <a:pt x="124" y="758"/>
                    </a:lnTo>
                    <a:lnTo>
                      <a:pt x="120" y="758"/>
                    </a:lnTo>
                    <a:lnTo>
                      <a:pt x="120" y="754"/>
                    </a:lnTo>
                    <a:lnTo>
                      <a:pt x="116" y="754"/>
                    </a:lnTo>
                    <a:lnTo>
                      <a:pt x="120" y="754"/>
                    </a:lnTo>
                    <a:lnTo>
                      <a:pt x="124" y="754"/>
                    </a:lnTo>
                    <a:lnTo>
                      <a:pt x="120" y="750"/>
                    </a:lnTo>
                    <a:lnTo>
                      <a:pt x="116" y="750"/>
                    </a:lnTo>
                    <a:lnTo>
                      <a:pt x="112" y="750"/>
                    </a:lnTo>
                    <a:lnTo>
                      <a:pt x="112" y="746"/>
                    </a:lnTo>
                    <a:lnTo>
                      <a:pt x="116" y="746"/>
                    </a:lnTo>
                    <a:lnTo>
                      <a:pt x="112" y="746"/>
                    </a:lnTo>
                    <a:lnTo>
                      <a:pt x="112" y="746"/>
                    </a:lnTo>
                    <a:lnTo>
                      <a:pt x="112" y="746"/>
                    </a:lnTo>
                    <a:close/>
                    <a:moveTo>
                      <a:pt x="150" y="738"/>
                    </a:moveTo>
                    <a:lnTo>
                      <a:pt x="152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50" y="742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6" y="742"/>
                    </a:lnTo>
                    <a:lnTo>
                      <a:pt x="146" y="738"/>
                    </a:lnTo>
                    <a:lnTo>
                      <a:pt x="150" y="738"/>
                    </a:lnTo>
                    <a:lnTo>
                      <a:pt x="150" y="736"/>
                    </a:lnTo>
                    <a:lnTo>
                      <a:pt x="150" y="738"/>
                    </a:lnTo>
                    <a:lnTo>
                      <a:pt x="150" y="738"/>
                    </a:lnTo>
                    <a:lnTo>
                      <a:pt x="150" y="738"/>
                    </a:lnTo>
                    <a:close/>
                    <a:moveTo>
                      <a:pt x="152" y="742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2" y="746"/>
                    </a:lnTo>
                    <a:lnTo>
                      <a:pt x="150" y="746"/>
                    </a:lnTo>
                    <a:lnTo>
                      <a:pt x="152" y="742"/>
                    </a:lnTo>
                    <a:lnTo>
                      <a:pt x="152" y="742"/>
                    </a:lnTo>
                    <a:lnTo>
                      <a:pt x="152" y="742"/>
                    </a:lnTo>
                    <a:close/>
                    <a:moveTo>
                      <a:pt x="172" y="746"/>
                    </a:moveTo>
                    <a:lnTo>
                      <a:pt x="168" y="746"/>
                    </a:lnTo>
                    <a:lnTo>
                      <a:pt x="168" y="750"/>
                    </a:lnTo>
                    <a:lnTo>
                      <a:pt x="168" y="754"/>
                    </a:lnTo>
                    <a:lnTo>
                      <a:pt x="168" y="746"/>
                    </a:lnTo>
                    <a:lnTo>
                      <a:pt x="172" y="746"/>
                    </a:lnTo>
                    <a:lnTo>
                      <a:pt x="172" y="746"/>
                    </a:lnTo>
                    <a:lnTo>
                      <a:pt x="172" y="746"/>
                    </a:lnTo>
                    <a:close/>
                    <a:moveTo>
                      <a:pt x="150" y="746"/>
                    </a:moveTo>
                    <a:lnTo>
                      <a:pt x="152" y="746"/>
                    </a:lnTo>
                    <a:lnTo>
                      <a:pt x="152" y="750"/>
                    </a:lnTo>
                    <a:lnTo>
                      <a:pt x="156" y="750"/>
                    </a:lnTo>
                    <a:lnTo>
                      <a:pt x="156" y="754"/>
                    </a:lnTo>
                    <a:lnTo>
                      <a:pt x="160" y="758"/>
                    </a:lnTo>
                    <a:lnTo>
                      <a:pt x="156" y="758"/>
                    </a:lnTo>
                    <a:lnTo>
                      <a:pt x="152" y="754"/>
                    </a:lnTo>
                    <a:lnTo>
                      <a:pt x="150" y="754"/>
                    </a:lnTo>
                    <a:lnTo>
                      <a:pt x="150" y="750"/>
                    </a:lnTo>
                    <a:lnTo>
                      <a:pt x="150" y="746"/>
                    </a:lnTo>
                    <a:lnTo>
                      <a:pt x="150" y="746"/>
                    </a:lnTo>
                    <a:lnTo>
                      <a:pt x="150" y="746"/>
                    </a:lnTo>
                    <a:close/>
                    <a:moveTo>
                      <a:pt x="172" y="750"/>
                    </a:moveTo>
                    <a:lnTo>
                      <a:pt x="172" y="754"/>
                    </a:lnTo>
                    <a:lnTo>
                      <a:pt x="168" y="754"/>
                    </a:lnTo>
                    <a:lnTo>
                      <a:pt x="168" y="750"/>
                    </a:lnTo>
                    <a:lnTo>
                      <a:pt x="172" y="750"/>
                    </a:lnTo>
                    <a:lnTo>
                      <a:pt x="172" y="750"/>
                    </a:lnTo>
                    <a:lnTo>
                      <a:pt x="172" y="750"/>
                    </a:lnTo>
                    <a:close/>
                    <a:moveTo>
                      <a:pt x="864" y="754"/>
                    </a:moveTo>
                    <a:lnTo>
                      <a:pt x="862" y="754"/>
                    </a:lnTo>
                    <a:lnTo>
                      <a:pt x="864" y="754"/>
                    </a:lnTo>
                    <a:lnTo>
                      <a:pt x="864" y="754"/>
                    </a:lnTo>
                    <a:lnTo>
                      <a:pt x="864" y="754"/>
                    </a:lnTo>
                    <a:close/>
                    <a:moveTo>
                      <a:pt x="168" y="754"/>
                    </a:moveTo>
                    <a:lnTo>
                      <a:pt x="168" y="758"/>
                    </a:lnTo>
                    <a:lnTo>
                      <a:pt x="164" y="758"/>
                    </a:lnTo>
                    <a:lnTo>
                      <a:pt x="164" y="754"/>
                    </a:lnTo>
                    <a:lnTo>
                      <a:pt x="168" y="754"/>
                    </a:lnTo>
                    <a:lnTo>
                      <a:pt x="168" y="754"/>
                    </a:lnTo>
                    <a:lnTo>
                      <a:pt x="168" y="754"/>
                    </a:lnTo>
                    <a:close/>
                    <a:moveTo>
                      <a:pt x="846" y="758"/>
                    </a:moveTo>
                    <a:lnTo>
                      <a:pt x="850" y="758"/>
                    </a:lnTo>
                    <a:lnTo>
                      <a:pt x="850" y="762"/>
                    </a:lnTo>
                    <a:lnTo>
                      <a:pt x="854" y="766"/>
                    </a:lnTo>
                    <a:lnTo>
                      <a:pt x="854" y="768"/>
                    </a:lnTo>
                    <a:lnTo>
                      <a:pt x="854" y="766"/>
                    </a:lnTo>
                    <a:lnTo>
                      <a:pt x="850" y="766"/>
                    </a:lnTo>
                    <a:lnTo>
                      <a:pt x="846" y="766"/>
                    </a:lnTo>
                    <a:lnTo>
                      <a:pt x="842" y="766"/>
                    </a:lnTo>
                    <a:lnTo>
                      <a:pt x="838" y="762"/>
                    </a:lnTo>
                    <a:lnTo>
                      <a:pt x="834" y="762"/>
                    </a:lnTo>
                    <a:lnTo>
                      <a:pt x="834" y="758"/>
                    </a:lnTo>
                    <a:lnTo>
                      <a:pt x="838" y="758"/>
                    </a:lnTo>
                    <a:lnTo>
                      <a:pt x="842" y="758"/>
                    </a:lnTo>
                    <a:lnTo>
                      <a:pt x="842" y="754"/>
                    </a:lnTo>
                    <a:lnTo>
                      <a:pt x="842" y="758"/>
                    </a:lnTo>
                    <a:lnTo>
                      <a:pt x="846" y="758"/>
                    </a:lnTo>
                    <a:lnTo>
                      <a:pt x="846" y="758"/>
                    </a:lnTo>
                    <a:lnTo>
                      <a:pt x="846" y="758"/>
                    </a:lnTo>
                    <a:close/>
                    <a:moveTo>
                      <a:pt x="164" y="758"/>
                    </a:moveTo>
                    <a:lnTo>
                      <a:pt x="164" y="762"/>
                    </a:lnTo>
                    <a:lnTo>
                      <a:pt x="164" y="758"/>
                    </a:lnTo>
                    <a:lnTo>
                      <a:pt x="160" y="758"/>
                    </a:lnTo>
                    <a:lnTo>
                      <a:pt x="164" y="758"/>
                    </a:lnTo>
                    <a:lnTo>
                      <a:pt x="164" y="758"/>
                    </a:lnTo>
                    <a:lnTo>
                      <a:pt x="164" y="758"/>
                    </a:lnTo>
                    <a:close/>
                    <a:moveTo>
                      <a:pt x="168" y="766"/>
                    </a:moveTo>
                    <a:lnTo>
                      <a:pt x="172" y="768"/>
                    </a:lnTo>
                    <a:lnTo>
                      <a:pt x="172" y="772"/>
                    </a:lnTo>
                    <a:lnTo>
                      <a:pt x="168" y="768"/>
                    </a:lnTo>
                    <a:lnTo>
                      <a:pt x="164" y="766"/>
                    </a:lnTo>
                    <a:lnTo>
                      <a:pt x="168" y="766"/>
                    </a:lnTo>
                    <a:lnTo>
                      <a:pt x="168" y="766"/>
                    </a:lnTo>
                    <a:lnTo>
                      <a:pt x="168" y="766"/>
                    </a:lnTo>
                    <a:close/>
                    <a:moveTo>
                      <a:pt x="182" y="766"/>
                    </a:moveTo>
                    <a:lnTo>
                      <a:pt x="180" y="766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2" y="766"/>
                    </a:lnTo>
                    <a:lnTo>
                      <a:pt x="182" y="766"/>
                    </a:lnTo>
                    <a:lnTo>
                      <a:pt x="182" y="766"/>
                    </a:lnTo>
                    <a:close/>
                    <a:moveTo>
                      <a:pt x="180" y="766"/>
                    </a:moveTo>
                    <a:lnTo>
                      <a:pt x="180" y="768"/>
                    </a:lnTo>
                    <a:lnTo>
                      <a:pt x="180" y="772"/>
                    </a:lnTo>
                    <a:lnTo>
                      <a:pt x="176" y="772"/>
                    </a:lnTo>
                    <a:lnTo>
                      <a:pt x="180" y="768"/>
                    </a:lnTo>
                    <a:lnTo>
                      <a:pt x="180" y="766"/>
                    </a:lnTo>
                    <a:lnTo>
                      <a:pt x="180" y="766"/>
                    </a:lnTo>
                    <a:lnTo>
                      <a:pt x="180" y="766"/>
                    </a:lnTo>
                    <a:close/>
                    <a:moveTo>
                      <a:pt x="134" y="766"/>
                    </a:moveTo>
                    <a:lnTo>
                      <a:pt x="134" y="768"/>
                    </a:lnTo>
                    <a:lnTo>
                      <a:pt x="130" y="766"/>
                    </a:lnTo>
                    <a:lnTo>
                      <a:pt x="134" y="766"/>
                    </a:lnTo>
                    <a:lnTo>
                      <a:pt x="134" y="766"/>
                    </a:lnTo>
                    <a:lnTo>
                      <a:pt x="134" y="766"/>
                    </a:lnTo>
                    <a:close/>
                    <a:moveTo>
                      <a:pt x="176" y="768"/>
                    </a:moveTo>
                    <a:lnTo>
                      <a:pt x="176" y="772"/>
                    </a:lnTo>
                    <a:lnTo>
                      <a:pt x="172" y="772"/>
                    </a:lnTo>
                    <a:lnTo>
                      <a:pt x="172" y="768"/>
                    </a:lnTo>
                    <a:lnTo>
                      <a:pt x="176" y="768"/>
                    </a:lnTo>
                    <a:lnTo>
                      <a:pt x="176" y="768"/>
                    </a:lnTo>
                    <a:lnTo>
                      <a:pt x="176" y="768"/>
                    </a:lnTo>
                    <a:close/>
                    <a:moveTo>
                      <a:pt x="176" y="772"/>
                    </a:moveTo>
                    <a:lnTo>
                      <a:pt x="176" y="776"/>
                    </a:lnTo>
                    <a:lnTo>
                      <a:pt x="172" y="772"/>
                    </a:lnTo>
                    <a:lnTo>
                      <a:pt x="176" y="772"/>
                    </a:lnTo>
                    <a:lnTo>
                      <a:pt x="176" y="772"/>
                    </a:lnTo>
                    <a:lnTo>
                      <a:pt x="176" y="772"/>
                    </a:lnTo>
                    <a:close/>
                    <a:moveTo>
                      <a:pt x="190" y="780"/>
                    </a:moveTo>
                    <a:lnTo>
                      <a:pt x="186" y="780"/>
                    </a:lnTo>
                    <a:lnTo>
                      <a:pt x="186" y="784"/>
                    </a:lnTo>
                    <a:lnTo>
                      <a:pt x="186" y="780"/>
                    </a:lnTo>
                    <a:lnTo>
                      <a:pt x="186" y="776"/>
                    </a:lnTo>
                    <a:lnTo>
                      <a:pt x="190" y="776"/>
                    </a:lnTo>
                    <a:lnTo>
                      <a:pt x="190" y="772"/>
                    </a:lnTo>
                    <a:lnTo>
                      <a:pt x="194" y="772"/>
                    </a:lnTo>
                    <a:lnTo>
                      <a:pt x="194" y="776"/>
                    </a:lnTo>
                    <a:lnTo>
                      <a:pt x="190" y="776"/>
                    </a:lnTo>
                    <a:lnTo>
                      <a:pt x="190" y="780"/>
                    </a:lnTo>
                    <a:lnTo>
                      <a:pt x="190" y="780"/>
                    </a:lnTo>
                    <a:lnTo>
                      <a:pt x="190" y="780"/>
                    </a:lnTo>
                    <a:close/>
                    <a:moveTo>
                      <a:pt x="182" y="772"/>
                    </a:moveTo>
                    <a:lnTo>
                      <a:pt x="182" y="776"/>
                    </a:lnTo>
                    <a:lnTo>
                      <a:pt x="180" y="776"/>
                    </a:lnTo>
                    <a:lnTo>
                      <a:pt x="182" y="776"/>
                    </a:lnTo>
                    <a:lnTo>
                      <a:pt x="182" y="772"/>
                    </a:lnTo>
                    <a:lnTo>
                      <a:pt x="182" y="772"/>
                    </a:lnTo>
                    <a:lnTo>
                      <a:pt x="182" y="772"/>
                    </a:lnTo>
                    <a:close/>
                    <a:moveTo>
                      <a:pt x="142" y="780"/>
                    </a:moveTo>
                    <a:lnTo>
                      <a:pt x="142" y="784"/>
                    </a:lnTo>
                    <a:lnTo>
                      <a:pt x="138" y="780"/>
                    </a:lnTo>
                    <a:lnTo>
                      <a:pt x="142" y="780"/>
                    </a:lnTo>
                    <a:lnTo>
                      <a:pt x="142" y="780"/>
                    </a:lnTo>
                    <a:lnTo>
                      <a:pt x="142" y="780"/>
                    </a:lnTo>
                    <a:close/>
                    <a:moveTo>
                      <a:pt x="872" y="780"/>
                    </a:moveTo>
                    <a:lnTo>
                      <a:pt x="872" y="784"/>
                    </a:lnTo>
                    <a:lnTo>
                      <a:pt x="868" y="784"/>
                    </a:lnTo>
                    <a:lnTo>
                      <a:pt x="868" y="780"/>
                    </a:lnTo>
                    <a:lnTo>
                      <a:pt x="872" y="780"/>
                    </a:lnTo>
                    <a:lnTo>
                      <a:pt x="872" y="780"/>
                    </a:lnTo>
                    <a:lnTo>
                      <a:pt x="872" y="780"/>
                    </a:lnTo>
                    <a:close/>
                    <a:moveTo>
                      <a:pt x="182" y="788"/>
                    </a:moveTo>
                    <a:lnTo>
                      <a:pt x="182" y="792"/>
                    </a:lnTo>
                    <a:lnTo>
                      <a:pt x="186" y="792"/>
                    </a:lnTo>
                    <a:lnTo>
                      <a:pt x="186" y="794"/>
                    </a:lnTo>
                    <a:lnTo>
                      <a:pt x="182" y="794"/>
                    </a:lnTo>
                    <a:lnTo>
                      <a:pt x="182" y="792"/>
                    </a:lnTo>
                    <a:lnTo>
                      <a:pt x="182" y="788"/>
                    </a:lnTo>
                    <a:lnTo>
                      <a:pt x="182" y="788"/>
                    </a:lnTo>
                    <a:lnTo>
                      <a:pt x="182" y="788"/>
                    </a:lnTo>
                    <a:close/>
                    <a:moveTo>
                      <a:pt x="1188" y="874"/>
                    </a:moveTo>
                    <a:lnTo>
                      <a:pt x="1186" y="874"/>
                    </a:lnTo>
                    <a:lnTo>
                      <a:pt x="1182" y="874"/>
                    </a:lnTo>
                    <a:lnTo>
                      <a:pt x="1178" y="874"/>
                    </a:lnTo>
                    <a:lnTo>
                      <a:pt x="1174" y="874"/>
                    </a:lnTo>
                    <a:lnTo>
                      <a:pt x="1174" y="870"/>
                    </a:lnTo>
                    <a:lnTo>
                      <a:pt x="1170" y="874"/>
                    </a:lnTo>
                    <a:lnTo>
                      <a:pt x="1162" y="874"/>
                    </a:lnTo>
                    <a:lnTo>
                      <a:pt x="1160" y="874"/>
                    </a:lnTo>
                    <a:lnTo>
                      <a:pt x="1156" y="874"/>
                    </a:lnTo>
                    <a:lnTo>
                      <a:pt x="1156" y="870"/>
                    </a:lnTo>
                    <a:lnTo>
                      <a:pt x="1156" y="866"/>
                    </a:lnTo>
                    <a:lnTo>
                      <a:pt x="1160" y="862"/>
                    </a:lnTo>
                    <a:lnTo>
                      <a:pt x="1162" y="858"/>
                    </a:lnTo>
                    <a:lnTo>
                      <a:pt x="1166" y="854"/>
                    </a:lnTo>
                    <a:lnTo>
                      <a:pt x="1166" y="858"/>
                    </a:lnTo>
                    <a:lnTo>
                      <a:pt x="1166" y="854"/>
                    </a:lnTo>
                    <a:lnTo>
                      <a:pt x="1162" y="854"/>
                    </a:lnTo>
                    <a:lnTo>
                      <a:pt x="1160" y="854"/>
                    </a:lnTo>
                    <a:lnTo>
                      <a:pt x="1156" y="854"/>
                    </a:lnTo>
                    <a:lnTo>
                      <a:pt x="1160" y="852"/>
                    </a:lnTo>
                    <a:lnTo>
                      <a:pt x="1162" y="852"/>
                    </a:lnTo>
                    <a:lnTo>
                      <a:pt x="1160" y="852"/>
                    </a:lnTo>
                    <a:lnTo>
                      <a:pt x="1162" y="854"/>
                    </a:lnTo>
                    <a:lnTo>
                      <a:pt x="1162" y="852"/>
                    </a:lnTo>
                    <a:lnTo>
                      <a:pt x="1166" y="848"/>
                    </a:lnTo>
                    <a:lnTo>
                      <a:pt x="1166" y="844"/>
                    </a:lnTo>
                    <a:lnTo>
                      <a:pt x="1170" y="840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8"/>
                    </a:lnTo>
                    <a:lnTo>
                      <a:pt x="1174" y="844"/>
                    </a:lnTo>
                    <a:lnTo>
                      <a:pt x="1170" y="844"/>
                    </a:lnTo>
                    <a:lnTo>
                      <a:pt x="1174" y="844"/>
                    </a:lnTo>
                    <a:lnTo>
                      <a:pt x="1174" y="840"/>
                    </a:lnTo>
                    <a:lnTo>
                      <a:pt x="1170" y="840"/>
                    </a:lnTo>
                    <a:lnTo>
                      <a:pt x="1170" y="836"/>
                    </a:lnTo>
                    <a:lnTo>
                      <a:pt x="1174" y="832"/>
                    </a:lnTo>
                    <a:lnTo>
                      <a:pt x="1178" y="836"/>
                    </a:lnTo>
                    <a:lnTo>
                      <a:pt x="1174" y="832"/>
                    </a:lnTo>
                    <a:lnTo>
                      <a:pt x="1174" y="828"/>
                    </a:lnTo>
                    <a:lnTo>
                      <a:pt x="1178" y="828"/>
                    </a:lnTo>
                    <a:lnTo>
                      <a:pt x="1178" y="822"/>
                    </a:lnTo>
                    <a:lnTo>
                      <a:pt x="1182" y="818"/>
                    </a:lnTo>
                    <a:lnTo>
                      <a:pt x="1182" y="814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2" y="810"/>
                    </a:lnTo>
                    <a:lnTo>
                      <a:pt x="1186" y="810"/>
                    </a:lnTo>
                    <a:lnTo>
                      <a:pt x="1186" y="806"/>
                    </a:lnTo>
                    <a:lnTo>
                      <a:pt x="1188" y="806"/>
                    </a:lnTo>
                    <a:lnTo>
                      <a:pt x="1188" y="802"/>
                    </a:lnTo>
                    <a:lnTo>
                      <a:pt x="1188" y="798"/>
                    </a:lnTo>
                    <a:lnTo>
                      <a:pt x="1192" y="794"/>
                    </a:lnTo>
                    <a:lnTo>
                      <a:pt x="1196" y="794"/>
                    </a:lnTo>
                    <a:lnTo>
                      <a:pt x="1196" y="792"/>
                    </a:lnTo>
                    <a:lnTo>
                      <a:pt x="1200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04" y="792"/>
                    </a:lnTo>
                    <a:lnTo>
                      <a:pt x="1208" y="792"/>
                    </a:lnTo>
                    <a:lnTo>
                      <a:pt x="1212" y="792"/>
                    </a:lnTo>
                    <a:lnTo>
                      <a:pt x="1212" y="794"/>
                    </a:lnTo>
                    <a:lnTo>
                      <a:pt x="1208" y="794"/>
                    </a:lnTo>
                    <a:lnTo>
                      <a:pt x="1204" y="794"/>
                    </a:lnTo>
                    <a:lnTo>
                      <a:pt x="1200" y="794"/>
                    </a:lnTo>
                    <a:lnTo>
                      <a:pt x="1200" y="798"/>
                    </a:lnTo>
                    <a:lnTo>
                      <a:pt x="1204" y="798"/>
                    </a:lnTo>
                    <a:lnTo>
                      <a:pt x="1208" y="798"/>
                    </a:lnTo>
                    <a:lnTo>
                      <a:pt x="1208" y="802"/>
                    </a:lnTo>
                    <a:lnTo>
                      <a:pt x="1204" y="802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06"/>
                    </a:lnTo>
                    <a:lnTo>
                      <a:pt x="1200" y="810"/>
                    </a:lnTo>
                    <a:lnTo>
                      <a:pt x="1200" y="814"/>
                    </a:lnTo>
                    <a:lnTo>
                      <a:pt x="1196" y="814"/>
                    </a:lnTo>
                    <a:lnTo>
                      <a:pt x="1196" y="818"/>
                    </a:lnTo>
                    <a:lnTo>
                      <a:pt x="1196" y="822"/>
                    </a:lnTo>
                    <a:lnTo>
                      <a:pt x="1192" y="822"/>
                    </a:lnTo>
                    <a:lnTo>
                      <a:pt x="1192" y="824"/>
                    </a:lnTo>
                    <a:lnTo>
                      <a:pt x="1192" y="828"/>
                    </a:lnTo>
                    <a:lnTo>
                      <a:pt x="1188" y="828"/>
                    </a:lnTo>
                    <a:lnTo>
                      <a:pt x="1192" y="828"/>
                    </a:lnTo>
                    <a:lnTo>
                      <a:pt x="1188" y="832"/>
                    </a:lnTo>
                    <a:lnTo>
                      <a:pt x="1192" y="832"/>
                    </a:lnTo>
                    <a:lnTo>
                      <a:pt x="1192" y="828"/>
                    </a:lnTo>
                    <a:lnTo>
                      <a:pt x="1196" y="824"/>
                    </a:lnTo>
                    <a:lnTo>
                      <a:pt x="1200" y="822"/>
                    </a:lnTo>
                    <a:lnTo>
                      <a:pt x="1200" y="824"/>
                    </a:lnTo>
                    <a:lnTo>
                      <a:pt x="1204" y="824"/>
                    </a:lnTo>
                    <a:lnTo>
                      <a:pt x="1208" y="824"/>
                    </a:lnTo>
                    <a:lnTo>
                      <a:pt x="1212" y="824"/>
                    </a:lnTo>
                    <a:lnTo>
                      <a:pt x="1208" y="824"/>
                    </a:lnTo>
                    <a:lnTo>
                      <a:pt x="1208" y="828"/>
                    </a:lnTo>
                    <a:lnTo>
                      <a:pt x="1204" y="828"/>
                    </a:lnTo>
                    <a:lnTo>
                      <a:pt x="1200" y="832"/>
                    </a:lnTo>
                    <a:lnTo>
                      <a:pt x="1204" y="828"/>
                    </a:lnTo>
                    <a:lnTo>
                      <a:pt x="1204" y="832"/>
                    </a:lnTo>
                    <a:lnTo>
                      <a:pt x="1200" y="832"/>
                    </a:lnTo>
                    <a:lnTo>
                      <a:pt x="1200" y="836"/>
                    </a:lnTo>
                    <a:lnTo>
                      <a:pt x="1204" y="836"/>
                    </a:lnTo>
                    <a:lnTo>
                      <a:pt x="1204" y="832"/>
                    </a:lnTo>
                    <a:lnTo>
                      <a:pt x="1208" y="836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2" y="836"/>
                    </a:lnTo>
                    <a:lnTo>
                      <a:pt x="1212" y="840"/>
                    </a:lnTo>
                    <a:lnTo>
                      <a:pt x="1212" y="836"/>
                    </a:lnTo>
                    <a:lnTo>
                      <a:pt x="1212" y="832"/>
                    </a:lnTo>
                    <a:lnTo>
                      <a:pt x="1216" y="832"/>
                    </a:lnTo>
                    <a:lnTo>
                      <a:pt x="1216" y="836"/>
                    </a:lnTo>
                    <a:lnTo>
                      <a:pt x="1212" y="840"/>
                    </a:lnTo>
                    <a:lnTo>
                      <a:pt x="1212" y="844"/>
                    </a:lnTo>
                    <a:lnTo>
                      <a:pt x="1212" y="840"/>
                    </a:lnTo>
                    <a:lnTo>
                      <a:pt x="1216" y="840"/>
                    </a:lnTo>
                    <a:lnTo>
                      <a:pt x="1216" y="836"/>
                    </a:lnTo>
                    <a:lnTo>
                      <a:pt x="1216" y="840"/>
                    </a:lnTo>
                    <a:lnTo>
                      <a:pt x="1218" y="840"/>
                    </a:lnTo>
                    <a:lnTo>
                      <a:pt x="1222" y="836"/>
                    </a:lnTo>
                    <a:lnTo>
                      <a:pt x="1222" y="832"/>
                    </a:lnTo>
                    <a:lnTo>
                      <a:pt x="1222" y="836"/>
                    </a:lnTo>
                    <a:lnTo>
                      <a:pt x="1222" y="840"/>
                    </a:lnTo>
                    <a:lnTo>
                      <a:pt x="1226" y="836"/>
                    </a:lnTo>
                    <a:lnTo>
                      <a:pt x="1230" y="836"/>
                    </a:lnTo>
                    <a:lnTo>
                      <a:pt x="1234" y="836"/>
                    </a:lnTo>
                    <a:lnTo>
                      <a:pt x="1238" y="840"/>
                    </a:lnTo>
                    <a:lnTo>
                      <a:pt x="1238" y="844"/>
                    </a:lnTo>
                    <a:lnTo>
                      <a:pt x="1234" y="844"/>
                    </a:lnTo>
                    <a:lnTo>
                      <a:pt x="1234" y="848"/>
                    </a:lnTo>
                    <a:lnTo>
                      <a:pt x="1230" y="848"/>
                    </a:lnTo>
                    <a:lnTo>
                      <a:pt x="1234" y="848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0" y="852"/>
                    </a:lnTo>
                    <a:lnTo>
                      <a:pt x="1234" y="852"/>
                    </a:lnTo>
                    <a:lnTo>
                      <a:pt x="1238" y="852"/>
                    </a:lnTo>
                    <a:lnTo>
                      <a:pt x="1234" y="852"/>
                    </a:lnTo>
                    <a:lnTo>
                      <a:pt x="1230" y="854"/>
                    </a:lnTo>
                    <a:lnTo>
                      <a:pt x="1234" y="854"/>
                    </a:lnTo>
                    <a:lnTo>
                      <a:pt x="1238" y="854"/>
                    </a:lnTo>
                    <a:lnTo>
                      <a:pt x="1238" y="852"/>
                    </a:lnTo>
                    <a:lnTo>
                      <a:pt x="1242" y="852"/>
                    </a:lnTo>
                    <a:lnTo>
                      <a:pt x="1242" y="854"/>
                    </a:lnTo>
                    <a:lnTo>
                      <a:pt x="1242" y="852"/>
                    </a:lnTo>
                    <a:lnTo>
                      <a:pt x="1244" y="852"/>
                    </a:lnTo>
                    <a:lnTo>
                      <a:pt x="1244" y="854"/>
                    </a:lnTo>
                    <a:lnTo>
                      <a:pt x="1244" y="858"/>
                    </a:lnTo>
                    <a:lnTo>
                      <a:pt x="1242" y="858"/>
                    </a:lnTo>
                    <a:lnTo>
                      <a:pt x="1238" y="858"/>
                    </a:lnTo>
                    <a:lnTo>
                      <a:pt x="1234" y="862"/>
                    </a:lnTo>
                    <a:lnTo>
                      <a:pt x="1230" y="862"/>
                    </a:lnTo>
                    <a:lnTo>
                      <a:pt x="1234" y="862"/>
                    </a:lnTo>
                    <a:lnTo>
                      <a:pt x="1234" y="866"/>
                    </a:lnTo>
                    <a:lnTo>
                      <a:pt x="1230" y="866"/>
                    </a:lnTo>
                    <a:lnTo>
                      <a:pt x="1234" y="866"/>
                    </a:lnTo>
                    <a:lnTo>
                      <a:pt x="1238" y="866"/>
                    </a:lnTo>
                    <a:lnTo>
                      <a:pt x="1234" y="870"/>
                    </a:lnTo>
                    <a:lnTo>
                      <a:pt x="1234" y="874"/>
                    </a:lnTo>
                    <a:lnTo>
                      <a:pt x="1238" y="874"/>
                    </a:lnTo>
                    <a:lnTo>
                      <a:pt x="1238" y="870"/>
                    </a:lnTo>
                    <a:lnTo>
                      <a:pt x="1242" y="866"/>
                    </a:lnTo>
                    <a:lnTo>
                      <a:pt x="1242" y="862"/>
                    </a:lnTo>
                    <a:lnTo>
                      <a:pt x="1242" y="866"/>
                    </a:lnTo>
                    <a:lnTo>
                      <a:pt x="1244" y="862"/>
                    </a:lnTo>
                    <a:lnTo>
                      <a:pt x="1248" y="862"/>
                    </a:lnTo>
                    <a:lnTo>
                      <a:pt x="1244" y="862"/>
                    </a:lnTo>
                    <a:lnTo>
                      <a:pt x="1244" y="866"/>
                    </a:lnTo>
                    <a:lnTo>
                      <a:pt x="1244" y="870"/>
                    </a:lnTo>
                    <a:lnTo>
                      <a:pt x="1242" y="874"/>
                    </a:lnTo>
                    <a:lnTo>
                      <a:pt x="1242" y="878"/>
                    </a:lnTo>
                    <a:lnTo>
                      <a:pt x="1244" y="878"/>
                    </a:lnTo>
                    <a:lnTo>
                      <a:pt x="1244" y="874"/>
                    </a:lnTo>
                    <a:lnTo>
                      <a:pt x="1248" y="870"/>
                    </a:lnTo>
                    <a:lnTo>
                      <a:pt x="1248" y="874"/>
                    </a:lnTo>
                    <a:lnTo>
                      <a:pt x="1248" y="878"/>
                    </a:lnTo>
                    <a:lnTo>
                      <a:pt x="1248" y="880"/>
                    </a:lnTo>
                    <a:lnTo>
                      <a:pt x="1244" y="880"/>
                    </a:lnTo>
                    <a:lnTo>
                      <a:pt x="1244" y="884"/>
                    </a:lnTo>
                    <a:lnTo>
                      <a:pt x="1244" y="888"/>
                    </a:lnTo>
                    <a:lnTo>
                      <a:pt x="1244" y="892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4" y="892"/>
                    </a:lnTo>
                    <a:lnTo>
                      <a:pt x="1234" y="888"/>
                    </a:lnTo>
                    <a:lnTo>
                      <a:pt x="1238" y="888"/>
                    </a:lnTo>
                    <a:lnTo>
                      <a:pt x="1234" y="884"/>
                    </a:lnTo>
                    <a:lnTo>
                      <a:pt x="1238" y="884"/>
                    </a:lnTo>
                    <a:lnTo>
                      <a:pt x="1238" y="880"/>
                    </a:lnTo>
                    <a:lnTo>
                      <a:pt x="1234" y="884"/>
                    </a:lnTo>
                    <a:lnTo>
                      <a:pt x="1230" y="888"/>
                    </a:lnTo>
                    <a:lnTo>
                      <a:pt x="1226" y="888"/>
                    </a:lnTo>
                    <a:lnTo>
                      <a:pt x="1226" y="884"/>
                    </a:lnTo>
                    <a:lnTo>
                      <a:pt x="1230" y="884"/>
                    </a:lnTo>
                    <a:lnTo>
                      <a:pt x="1230" y="880"/>
                    </a:lnTo>
                    <a:lnTo>
                      <a:pt x="1234" y="878"/>
                    </a:lnTo>
                    <a:lnTo>
                      <a:pt x="1230" y="878"/>
                    </a:lnTo>
                    <a:lnTo>
                      <a:pt x="1230" y="874"/>
                    </a:lnTo>
                    <a:lnTo>
                      <a:pt x="1234" y="874"/>
                    </a:lnTo>
                    <a:lnTo>
                      <a:pt x="1230" y="874"/>
                    </a:lnTo>
                    <a:lnTo>
                      <a:pt x="1230" y="870"/>
                    </a:lnTo>
                    <a:lnTo>
                      <a:pt x="1226" y="870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26" y="874"/>
                    </a:lnTo>
                    <a:lnTo>
                      <a:pt x="1222" y="874"/>
                    </a:lnTo>
                    <a:lnTo>
                      <a:pt x="1222" y="878"/>
                    </a:lnTo>
                    <a:lnTo>
                      <a:pt x="1218" y="878"/>
                    </a:lnTo>
                    <a:lnTo>
                      <a:pt x="1216" y="880"/>
                    </a:lnTo>
                    <a:lnTo>
                      <a:pt x="1216" y="884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8"/>
                    </a:lnTo>
                    <a:lnTo>
                      <a:pt x="1204" y="884"/>
                    </a:lnTo>
                    <a:lnTo>
                      <a:pt x="1208" y="884"/>
                    </a:lnTo>
                    <a:lnTo>
                      <a:pt x="1212" y="880"/>
                    </a:lnTo>
                    <a:lnTo>
                      <a:pt x="1212" y="878"/>
                    </a:lnTo>
                    <a:lnTo>
                      <a:pt x="1216" y="878"/>
                    </a:lnTo>
                    <a:lnTo>
                      <a:pt x="1218" y="874"/>
                    </a:lnTo>
                    <a:lnTo>
                      <a:pt x="1216" y="874"/>
                    </a:lnTo>
                    <a:lnTo>
                      <a:pt x="1216" y="870"/>
                    </a:lnTo>
                    <a:lnTo>
                      <a:pt x="1218" y="870"/>
                    </a:lnTo>
                    <a:lnTo>
                      <a:pt x="1216" y="870"/>
                    </a:lnTo>
                    <a:lnTo>
                      <a:pt x="1216" y="874"/>
                    </a:lnTo>
                    <a:lnTo>
                      <a:pt x="1212" y="874"/>
                    </a:lnTo>
                    <a:lnTo>
                      <a:pt x="1212" y="870"/>
                    </a:lnTo>
                    <a:lnTo>
                      <a:pt x="1212" y="874"/>
                    </a:lnTo>
                    <a:lnTo>
                      <a:pt x="1212" y="878"/>
                    </a:lnTo>
                    <a:lnTo>
                      <a:pt x="1208" y="878"/>
                    </a:lnTo>
                    <a:lnTo>
                      <a:pt x="1204" y="878"/>
                    </a:lnTo>
                    <a:lnTo>
                      <a:pt x="1204" y="874"/>
                    </a:lnTo>
                    <a:lnTo>
                      <a:pt x="1204" y="878"/>
                    </a:lnTo>
                    <a:lnTo>
                      <a:pt x="1200" y="878"/>
                    </a:lnTo>
                    <a:lnTo>
                      <a:pt x="1200" y="874"/>
                    </a:lnTo>
                    <a:lnTo>
                      <a:pt x="1204" y="874"/>
                    </a:lnTo>
                    <a:lnTo>
                      <a:pt x="1208" y="874"/>
                    </a:lnTo>
                    <a:lnTo>
                      <a:pt x="1204" y="874"/>
                    </a:lnTo>
                    <a:lnTo>
                      <a:pt x="1204" y="870"/>
                    </a:lnTo>
                    <a:lnTo>
                      <a:pt x="1204" y="866"/>
                    </a:lnTo>
                    <a:lnTo>
                      <a:pt x="1204" y="870"/>
                    </a:lnTo>
                    <a:lnTo>
                      <a:pt x="1200" y="870"/>
                    </a:lnTo>
                    <a:lnTo>
                      <a:pt x="1200" y="874"/>
                    </a:lnTo>
                    <a:lnTo>
                      <a:pt x="1196" y="874"/>
                    </a:lnTo>
                    <a:lnTo>
                      <a:pt x="1192" y="874"/>
                    </a:lnTo>
                    <a:lnTo>
                      <a:pt x="1188" y="874"/>
                    </a:lnTo>
                    <a:lnTo>
                      <a:pt x="1188" y="874"/>
                    </a:lnTo>
                    <a:lnTo>
                      <a:pt x="1188" y="874"/>
                    </a:lnTo>
                    <a:close/>
                    <a:moveTo>
                      <a:pt x="190" y="818"/>
                    </a:moveTo>
                    <a:lnTo>
                      <a:pt x="190" y="814"/>
                    </a:lnTo>
                    <a:lnTo>
                      <a:pt x="190" y="810"/>
                    </a:lnTo>
                    <a:lnTo>
                      <a:pt x="186" y="810"/>
                    </a:lnTo>
                    <a:lnTo>
                      <a:pt x="190" y="810"/>
                    </a:lnTo>
                    <a:lnTo>
                      <a:pt x="190" y="814"/>
                    </a:lnTo>
                    <a:lnTo>
                      <a:pt x="182" y="814"/>
                    </a:lnTo>
                    <a:lnTo>
                      <a:pt x="180" y="814"/>
                    </a:lnTo>
                    <a:lnTo>
                      <a:pt x="180" y="810"/>
                    </a:lnTo>
                    <a:lnTo>
                      <a:pt x="180" y="806"/>
                    </a:lnTo>
                    <a:lnTo>
                      <a:pt x="182" y="806"/>
                    </a:lnTo>
                    <a:lnTo>
                      <a:pt x="186" y="806"/>
                    </a:lnTo>
                    <a:lnTo>
                      <a:pt x="190" y="806"/>
                    </a:lnTo>
                    <a:lnTo>
                      <a:pt x="190" y="810"/>
                    </a:lnTo>
                    <a:lnTo>
                      <a:pt x="194" y="810"/>
                    </a:lnTo>
                    <a:lnTo>
                      <a:pt x="198" y="810"/>
                    </a:lnTo>
                    <a:lnTo>
                      <a:pt x="202" y="814"/>
                    </a:lnTo>
                    <a:lnTo>
                      <a:pt x="206" y="814"/>
                    </a:lnTo>
                    <a:lnTo>
                      <a:pt x="210" y="814"/>
                    </a:lnTo>
                    <a:lnTo>
                      <a:pt x="212" y="814"/>
                    </a:lnTo>
                    <a:lnTo>
                      <a:pt x="212" y="818"/>
                    </a:lnTo>
                    <a:lnTo>
                      <a:pt x="216" y="818"/>
                    </a:lnTo>
                    <a:lnTo>
                      <a:pt x="220" y="818"/>
                    </a:lnTo>
                    <a:lnTo>
                      <a:pt x="220" y="822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8" y="828"/>
                    </a:lnTo>
                    <a:lnTo>
                      <a:pt x="228" y="832"/>
                    </a:lnTo>
                    <a:lnTo>
                      <a:pt x="228" y="836"/>
                    </a:lnTo>
                    <a:lnTo>
                      <a:pt x="232" y="836"/>
                    </a:lnTo>
                    <a:lnTo>
                      <a:pt x="236" y="840"/>
                    </a:lnTo>
                    <a:lnTo>
                      <a:pt x="238" y="840"/>
                    </a:lnTo>
                    <a:lnTo>
                      <a:pt x="242" y="840"/>
                    </a:lnTo>
                    <a:lnTo>
                      <a:pt x="242" y="844"/>
                    </a:lnTo>
                    <a:lnTo>
                      <a:pt x="246" y="848"/>
                    </a:lnTo>
                    <a:lnTo>
                      <a:pt x="246" y="852"/>
                    </a:lnTo>
                    <a:lnTo>
                      <a:pt x="246" y="854"/>
                    </a:lnTo>
                    <a:lnTo>
                      <a:pt x="246" y="852"/>
                    </a:lnTo>
                    <a:lnTo>
                      <a:pt x="250" y="852"/>
                    </a:lnTo>
                    <a:lnTo>
                      <a:pt x="250" y="854"/>
                    </a:lnTo>
                    <a:lnTo>
                      <a:pt x="250" y="858"/>
                    </a:lnTo>
                    <a:lnTo>
                      <a:pt x="250" y="854"/>
                    </a:lnTo>
                    <a:lnTo>
                      <a:pt x="246" y="858"/>
                    </a:lnTo>
                    <a:lnTo>
                      <a:pt x="242" y="858"/>
                    </a:lnTo>
                    <a:lnTo>
                      <a:pt x="236" y="854"/>
                    </a:lnTo>
                    <a:lnTo>
                      <a:pt x="232" y="854"/>
                    </a:lnTo>
                    <a:lnTo>
                      <a:pt x="232" y="852"/>
                    </a:lnTo>
                    <a:lnTo>
                      <a:pt x="228" y="852"/>
                    </a:lnTo>
                    <a:lnTo>
                      <a:pt x="224" y="852"/>
                    </a:lnTo>
                    <a:lnTo>
                      <a:pt x="224" y="848"/>
                    </a:lnTo>
                    <a:lnTo>
                      <a:pt x="228" y="848"/>
                    </a:lnTo>
                    <a:lnTo>
                      <a:pt x="228" y="844"/>
                    </a:lnTo>
                    <a:lnTo>
                      <a:pt x="228" y="840"/>
                    </a:lnTo>
                    <a:lnTo>
                      <a:pt x="228" y="844"/>
                    </a:lnTo>
                    <a:lnTo>
                      <a:pt x="224" y="844"/>
                    </a:lnTo>
                    <a:lnTo>
                      <a:pt x="224" y="848"/>
                    </a:lnTo>
                    <a:lnTo>
                      <a:pt x="220" y="844"/>
                    </a:lnTo>
                    <a:lnTo>
                      <a:pt x="220" y="848"/>
                    </a:lnTo>
                    <a:lnTo>
                      <a:pt x="216" y="844"/>
                    </a:lnTo>
                    <a:lnTo>
                      <a:pt x="216" y="840"/>
                    </a:lnTo>
                    <a:lnTo>
                      <a:pt x="212" y="840"/>
                    </a:lnTo>
                    <a:lnTo>
                      <a:pt x="212" y="836"/>
                    </a:lnTo>
                    <a:lnTo>
                      <a:pt x="210" y="836"/>
                    </a:lnTo>
                    <a:lnTo>
                      <a:pt x="206" y="836"/>
                    </a:lnTo>
                    <a:lnTo>
                      <a:pt x="206" y="832"/>
                    </a:lnTo>
                    <a:lnTo>
                      <a:pt x="210" y="832"/>
                    </a:lnTo>
                    <a:lnTo>
                      <a:pt x="212" y="832"/>
                    </a:lnTo>
                    <a:lnTo>
                      <a:pt x="210" y="832"/>
                    </a:lnTo>
                    <a:lnTo>
                      <a:pt x="206" y="832"/>
                    </a:lnTo>
                    <a:lnTo>
                      <a:pt x="206" y="828"/>
                    </a:lnTo>
                    <a:lnTo>
                      <a:pt x="202" y="828"/>
                    </a:lnTo>
                    <a:lnTo>
                      <a:pt x="202" y="824"/>
                    </a:lnTo>
                    <a:lnTo>
                      <a:pt x="198" y="824"/>
                    </a:lnTo>
                    <a:lnTo>
                      <a:pt x="198" y="828"/>
                    </a:lnTo>
                    <a:lnTo>
                      <a:pt x="194" y="824"/>
                    </a:lnTo>
                    <a:lnTo>
                      <a:pt x="194" y="822"/>
                    </a:lnTo>
                    <a:lnTo>
                      <a:pt x="198" y="822"/>
                    </a:lnTo>
                    <a:lnTo>
                      <a:pt x="194" y="822"/>
                    </a:lnTo>
                    <a:lnTo>
                      <a:pt x="194" y="824"/>
                    </a:lnTo>
                    <a:lnTo>
                      <a:pt x="190" y="822"/>
                    </a:lnTo>
                    <a:lnTo>
                      <a:pt x="186" y="822"/>
                    </a:lnTo>
                    <a:lnTo>
                      <a:pt x="186" y="818"/>
                    </a:lnTo>
                    <a:lnTo>
                      <a:pt x="182" y="818"/>
                    </a:lnTo>
                    <a:lnTo>
                      <a:pt x="186" y="814"/>
                    </a:lnTo>
                    <a:lnTo>
                      <a:pt x="190" y="814"/>
                    </a:lnTo>
                    <a:lnTo>
                      <a:pt x="190" y="818"/>
                    </a:lnTo>
                    <a:lnTo>
                      <a:pt x="190" y="818"/>
                    </a:lnTo>
                    <a:lnTo>
                      <a:pt x="190" y="818"/>
                    </a:lnTo>
                    <a:close/>
                    <a:moveTo>
                      <a:pt x="210" y="806"/>
                    </a:moveTo>
                    <a:lnTo>
                      <a:pt x="210" y="810"/>
                    </a:lnTo>
                    <a:lnTo>
                      <a:pt x="206" y="810"/>
                    </a:lnTo>
                    <a:lnTo>
                      <a:pt x="206" y="806"/>
                    </a:lnTo>
                    <a:lnTo>
                      <a:pt x="210" y="806"/>
                    </a:lnTo>
                    <a:lnTo>
                      <a:pt x="210" y="806"/>
                    </a:lnTo>
                    <a:lnTo>
                      <a:pt x="210" y="806"/>
                    </a:lnTo>
                    <a:close/>
                    <a:moveTo>
                      <a:pt x="220" y="818"/>
                    </a:moveTo>
                    <a:lnTo>
                      <a:pt x="224" y="818"/>
                    </a:lnTo>
                    <a:lnTo>
                      <a:pt x="224" y="822"/>
                    </a:lnTo>
                    <a:lnTo>
                      <a:pt x="224" y="824"/>
                    </a:lnTo>
                    <a:lnTo>
                      <a:pt x="224" y="822"/>
                    </a:lnTo>
                    <a:lnTo>
                      <a:pt x="220" y="822"/>
                    </a:lnTo>
                    <a:lnTo>
                      <a:pt x="220" y="818"/>
                    </a:lnTo>
                    <a:lnTo>
                      <a:pt x="220" y="818"/>
                    </a:lnTo>
                    <a:lnTo>
                      <a:pt x="220" y="818"/>
                    </a:lnTo>
                    <a:close/>
                    <a:moveTo>
                      <a:pt x="1096" y="828"/>
                    </a:moveTo>
                    <a:lnTo>
                      <a:pt x="1100" y="828"/>
                    </a:lnTo>
                    <a:lnTo>
                      <a:pt x="1104" y="828"/>
                    </a:lnTo>
                    <a:lnTo>
                      <a:pt x="1106" y="832"/>
                    </a:lnTo>
                    <a:lnTo>
                      <a:pt x="1110" y="832"/>
                    </a:lnTo>
                    <a:lnTo>
                      <a:pt x="1110" y="836"/>
                    </a:lnTo>
                    <a:lnTo>
                      <a:pt x="1114" y="836"/>
                    </a:lnTo>
                    <a:lnTo>
                      <a:pt x="1118" y="836"/>
                    </a:lnTo>
                    <a:lnTo>
                      <a:pt x="1118" y="840"/>
                    </a:lnTo>
                    <a:lnTo>
                      <a:pt x="1122" y="840"/>
                    </a:lnTo>
                    <a:lnTo>
                      <a:pt x="1122" y="844"/>
                    </a:lnTo>
                    <a:lnTo>
                      <a:pt x="1118" y="844"/>
                    </a:lnTo>
                    <a:lnTo>
                      <a:pt x="1114" y="844"/>
                    </a:lnTo>
                    <a:lnTo>
                      <a:pt x="1110" y="844"/>
                    </a:lnTo>
                    <a:lnTo>
                      <a:pt x="1106" y="840"/>
                    </a:lnTo>
                    <a:lnTo>
                      <a:pt x="1104" y="840"/>
                    </a:lnTo>
                    <a:lnTo>
                      <a:pt x="1100" y="840"/>
                    </a:lnTo>
                    <a:lnTo>
                      <a:pt x="1096" y="836"/>
                    </a:lnTo>
                    <a:lnTo>
                      <a:pt x="1092" y="832"/>
                    </a:lnTo>
                    <a:lnTo>
                      <a:pt x="1088" y="832"/>
                    </a:lnTo>
                    <a:lnTo>
                      <a:pt x="1088" y="828"/>
                    </a:lnTo>
                    <a:lnTo>
                      <a:pt x="1084" y="828"/>
                    </a:lnTo>
                    <a:lnTo>
                      <a:pt x="1080" y="824"/>
                    </a:lnTo>
                    <a:lnTo>
                      <a:pt x="1084" y="824"/>
                    </a:lnTo>
                    <a:lnTo>
                      <a:pt x="1088" y="824"/>
                    </a:lnTo>
                    <a:lnTo>
                      <a:pt x="1096" y="828"/>
                    </a:lnTo>
                    <a:lnTo>
                      <a:pt x="1096" y="828"/>
                    </a:lnTo>
                    <a:lnTo>
                      <a:pt x="1096" y="828"/>
                    </a:lnTo>
                    <a:close/>
                    <a:moveTo>
                      <a:pt x="202" y="824"/>
                    </a:moveTo>
                    <a:lnTo>
                      <a:pt x="202" y="828"/>
                    </a:lnTo>
                    <a:lnTo>
                      <a:pt x="206" y="832"/>
                    </a:lnTo>
                    <a:lnTo>
                      <a:pt x="202" y="832"/>
                    </a:lnTo>
                    <a:lnTo>
                      <a:pt x="198" y="828"/>
                    </a:lnTo>
                    <a:lnTo>
                      <a:pt x="202" y="824"/>
                    </a:lnTo>
                    <a:lnTo>
                      <a:pt x="202" y="824"/>
                    </a:lnTo>
                    <a:lnTo>
                      <a:pt x="202" y="824"/>
                    </a:lnTo>
                    <a:close/>
                    <a:moveTo>
                      <a:pt x="238" y="836"/>
                    </a:moveTo>
                    <a:lnTo>
                      <a:pt x="236" y="832"/>
                    </a:lnTo>
                    <a:lnTo>
                      <a:pt x="232" y="828"/>
                    </a:lnTo>
                    <a:lnTo>
                      <a:pt x="236" y="828"/>
                    </a:lnTo>
                    <a:lnTo>
                      <a:pt x="238" y="832"/>
                    </a:lnTo>
                    <a:lnTo>
                      <a:pt x="238" y="836"/>
                    </a:lnTo>
                    <a:lnTo>
                      <a:pt x="238" y="836"/>
                    </a:lnTo>
                    <a:lnTo>
                      <a:pt x="238" y="836"/>
                    </a:lnTo>
                    <a:close/>
                    <a:moveTo>
                      <a:pt x="210" y="836"/>
                    </a:moveTo>
                    <a:lnTo>
                      <a:pt x="212" y="836"/>
                    </a:lnTo>
                    <a:lnTo>
                      <a:pt x="212" y="840"/>
                    </a:lnTo>
                    <a:lnTo>
                      <a:pt x="210" y="840"/>
                    </a:lnTo>
                    <a:lnTo>
                      <a:pt x="210" y="836"/>
                    </a:lnTo>
                    <a:lnTo>
                      <a:pt x="210" y="836"/>
                    </a:lnTo>
                    <a:lnTo>
                      <a:pt x="210" y="836"/>
                    </a:lnTo>
                    <a:close/>
                    <a:moveTo>
                      <a:pt x="246" y="844"/>
                    </a:moveTo>
                    <a:lnTo>
                      <a:pt x="246" y="848"/>
                    </a:lnTo>
                    <a:lnTo>
                      <a:pt x="250" y="848"/>
                    </a:lnTo>
                    <a:lnTo>
                      <a:pt x="246" y="848"/>
                    </a:lnTo>
                    <a:lnTo>
                      <a:pt x="246" y="844"/>
                    </a:lnTo>
                    <a:lnTo>
                      <a:pt x="246" y="844"/>
                    </a:lnTo>
                    <a:lnTo>
                      <a:pt x="246" y="844"/>
                    </a:lnTo>
                    <a:close/>
                    <a:moveTo>
                      <a:pt x="246" y="848"/>
                    </a:moveTo>
                    <a:lnTo>
                      <a:pt x="250" y="848"/>
                    </a:lnTo>
                    <a:lnTo>
                      <a:pt x="250" y="852"/>
                    </a:lnTo>
                    <a:lnTo>
                      <a:pt x="246" y="852"/>
                    </a:lnTo>
                    <a:lnTo>
                      <a:pt x="246" y="848"/>
                    </a:lnTo>
                    <a:lnTo>
                      <a:pt x="246" y="848"/>
                    </a:lnTo>
                    <a:lnTo>
                      <a:pt x="246" y="848"/>
                    </a:lnTo>
                    <a:close/>
                    <a:moveTo>
                      <a:pt x="1080" y="866"/>
                    </a:moveTo>
                    <a:lnTo>
                      <a:pt x="1080" y="870"/>
                    </a:lnTo>
                    <a:lnTo>
                      <a:pt x="1076" y="870"/>
                    </a:lnTo>
                    <a:lnTo>
                      <a:pt x="1080" y="870"/>
                    </a:lnTo>
                    <a:lnTo>
                      <a:pt x="1080" y="866"/>
                    </a:lnTo>
                    <a:lnTo>
                      <a:pt x="1080" y="866"/>
                    </a:lnTo>
                    <a:lnTo>
                      <a:pt x="1080" y="866"/>
                    </a:lnTo>
                    <a:close/>
                    <a:moveTo>
                      <a:pt x="1126" y="874"/>
                    </a:moveTo>
                    <a:lnTo>
                      <a:pt x="1122" y="874"/>
                    </a:lnTo>
                    <a:lnTo>
                      <a:pt x="1126" y="874"/>
                    </a:lnTo>
                    <a:lnTo>
                      <a:pt x="1122" y="874"/>
                    </a:lnTo>
                    <a:lnTo>
                      <a:pt x="1118" y="878"/>
                    </a:lnTo>
                    <a:lnTo>
                      <a:pt x="1122" y="878"/>
                    </a:lnTo>
                    <a:lnTo>
                      <a:pt x="1122" y="874"/>
                    </a:lnTo>
                    <a:lnTo>
                      <a:pt x="1122" y="878"/>
                    </a:lnTo>
                    <a:lnTo>
                      <a:pt x="1118" y="878"/>
                    </a:lnTo>
                    <a:lnTo>
                      <a:pt x="1118" y="880"/>
                    </a:lnTo>
                    <a:lnTo>
                      <a:pt x="1122" y="880"/>
                    </a:lnTo>
                    <a:lnTo>
                      <a:pt x="1118" y="880"/>
                    </a:lnTo>
                    <a:lnTo>
                      <a:pt x="1118" y="878"/>
                    </a:lnTo>
                    <a:lnTo>
                      <a:pt x="1122" y="874"/>
                    </a:lnTo>
                    <a:lnTo>
                      <a:pt x="1126" y="874"/>
                    </a:lnTo>
                    <a:lnTo>
                      <a:pt x="1126" y="874"/>
                    </a:lnTo>
                    <a:lnTo>
                      <a:pt x="1126" y="874"/>
                    </a:lnTo>
                    <a:close/>
                    <a:moveTo>
                      <a:pt x="1114" y="900"/>
                    </a:moveTo>
                    <a:lnTo>
                      <a:pt x="1110" y="900"/>
                    </a:lnTo>
                    <a:lnTo>
                      <a:pt x="1110" y="904"/>
                    </a:lnTo>
                    <a:lnTo>
                      <a:pt x="1106" y="904"/>
                    </a:lnTo>
                    <a:lnTo>
                      <a:pt x="1110" y="904"/>
                    </a:lnTo>
                    <a:lnTo>
                      <a:pt x="1110" y="908"/>
                    </a:lnTo>
                    <a:lnTo>
                      <a:pt x="1106" y="908"/>
                    </a:lnTo>
                    <a:lnTo>
                      <a:pt x="1104" y="908"/>
                    </a:lnTo>
                    <a:lnTo>
                      <a:pt x="1104" y="904"/>
                    </a:lnTo>
                    <a:lnTo>
                      <a:pt x="1100" y="904"/>
                    </a:lnTo>
                    <a:lnTo>
                      <a:pt x="1104" y="900"/>
                    </a:lnTo>
                    <a:lnTo>
                      <a:pt x="1100" y="904"/>
                    </a:lnTo>
                    <a:lnTo>
                      <a:pt x="1096" y="904"/>
                    </a:lnTo>
                    <a:lnTo>
                      <a:pt x="1092" y="900"/>
                    </a:lnTo>
                    <a:lnTo>
                      <a:pt x="1088" y="900"/>
                    </a:lnTo>
                    <a:lnTo>
                      <a:pt x="1088" y="896"/>
                    </a:lnTo>
                    <a:lnTo>
                      <a:pt x="1088" y="892"/>
                    </a:lnTo>
                    <a:lnTo>
                      <a:pt x="1084" y="892"/>
                    </a:lnTo>
                    <a:lnTo>
                      <a:pt x="1084" y="888"/>
                    </a:lnTo>
                    <a:lnTo>
                      <a:pt x="1088" y="884"/>
                    </a:lnTo>
                    <a:lnTo>
                      <a:pt x="1088" y="888"/>
                    </a:lnTo>
                    <a:lnTo>
                      <a:pt x="1088" y="892"/>
                    </a:lnTo>
                    <a:lnTo>
                      <a:pt x="1092" y="892"/>
                    </a:lnTo>
                    <a:lnTo>
                      <a:pt x="1092" y="896"/>
                    </a:lnTo>
                    <a:lnTo>
                      <a:pt x="1096" y="896"/>
                    </a:lnTo>
                    <a:lnTo>
                      <a:pt x="1100" y="896"/>
                    </a:lnTo>
                    <a:lnTo>
                      <a:pt x="1104" y="896"/>
                    </a:lnTo>
                    <a:lnTo>
                      <a:pt x="1106" y="896"/>
                    </a:lnTo>
                    <a:lnTo>
                      <a:pt x="1110" y="896"/>
                    </a:lnTo>
                    <a:lnTo>
                      <a:pt x="1114" y="896"/>
                    </a:lnTo>
                    <a:lnTo>
                      <a:pt x="1118" y="896"/>
                    </a:lnTo>
                    <a:lnTo>
                      <a:pt x="1114" y="900"/>
                    </a:lnTo>
                    <a:lnTo>
                      <a:pt x="1114" y="900"/>
                    </a:lnTo>
                    <a:lnTo>
                      <a:pt x="1114" y="900"/>
                    </a:lnTo>
                    <a:close/>
                    <a:moveTo>
                      <a:pt x="1136" y="914"/>
                    </a:moveTo>
                    <a:lnTo>
                      <a:pt x="1132" y="914"/>
                    </a:lnTo>
                    <a:lnTo>
                      <a:pt x="1130" y="914"/>
                    </a:lnTo>
                    <a:lnTo>
                      <a:pt x="1126" y="914"/>
                    </a:lnTo>
                    <a:lnTo>
                      <a:pt x="1126" y="910"/>
                    </a:lnTo>
                    <a:lnTo>
                      <a:pt x="1126" y="908"/>
                    </a:lnTo>
                    <a:lnTo>
                      <a:pt x="1126" y="904"/>
                    </a:lnTo>
                    <a:lnTo>
                      <a:pt x="1126" y="900"/>
                    </a:lnTo>
                    <a:lnTo>
                      <a:pt x="1130" y="896"/>
                    </a:lnTo>
                    <a:lnTo>
                      <a:pt x="1132" y="892"/>
                    </a:lnTo>
                    <a:lnTo>
                      <a:pt x="1132" y="888"/>
                    </a:lnTo>
                    <a:lnTo>
                      <a:pt x="1136" y="888"/>
                    </a:lnTo>
                    <a:lnTo>
                      <a:pt x="1136" y="884"/>
                    </a:lnTo>
                    <a:lnTo>
                      <a:pt x="1140" y="884"/>
                    </a:lnTo>
                    <a:lnTo>
                      <a:pt x="1136" y="888"/>
                    </a:lnTo>
                    <a:lnTo>
                      <a:pt x="1140" y="888"/>
                    </a:lnTo>
                    <a:lnTo>
                      <a:pt x="1140" y="892"/>
                    </a:lnTo>
                    <a:lnTo>
                      <a:pt x="1136" y="900"/>
                    </a:lnTo>
                    <a:lnTo>
                      <a:pt x="1136" y="904"/>
                    </a:lnTo>
                    <a:lnTo>
                      <a:pt x="1136" y="900"/>
                    </a:lnTo>
                    <a:lnTo>
                      <a:pt x="1140" y="900"/>
                    </a:lnTo>
                    <a:lnTo>
                      <a:pt x="1136" y="904"/>
                    </a:lnTo>
                    <a:lnTo>
                      <a:pt x="1132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04"/>
                    </a:lnTo>
                    <a:lnTo>
                      <a:pt x="1136" y="904"/>
                    </a:lnTo>
                    <a:lnTo>
                      <a:pt x="1132" y="908"/>
                    </a:lnTo>
                    <a:lnTo>
                      <a:pt x="1130" y="908"/>
                    </a:lnTo>
                    <a:lnTo>
                      <a:pt x="1132" y="908"/>
                    </a:lnTo>
                    <a:lnTo>
                      <a:pt x="1132" y="910"/>
                    </a:lnTo>
                    <a:lnTo>
                      <a:pt x="1130" y="910"/>
                    </a:lnTo>
                    <a:lnTo>
                      <a:pt x="1132" y="910"/>
                    </a:lnTo>
                    <a:lnTo>
                      <a:pt x="1136" y="910"/>
                    </a:lnTo>
                    <a:lnTo>
                      <a:pt x="1136" y="908"/>
                    </a:lnTo>
                    <a:lnTo>
                      <a:pt x="1140" y="908"/>
                    </a:lnTo>
                    <a:lnTo>
                      <a:pt x="1136" y="908"/>
                    </a:lnTo>
                    <a:lnTo>
                      <a:pt x="1132" y="908"/>
                    </a:lnTo>
                    <a:lnTo>
                      <a:pt x="1136" y="908"/>
                    </a:lnTo>
                    <a:lnTo>
                      <a:pt x="1136" y="904"/>
                    </a:lnTo>
                    <a:lnTo>
                      <a:pt x="1140" y="904"/>
                    </a:lnTo>
                    <a:lnTo>
                      <a:pt x="1140" y="900"/>
                    </a:lnTo>
                    <a:lnTo>
                      <a:pt x="1140" y="904"/>
                    </a:lnTo>
                    <a:lnTo>
                      <a:pt x="1136" y="904"/>
                    </a:lnTo>
                    <a:lnTo>
                      <a:pt x="1140" y="900"/>
                    </a:lnTo>
                    <a:lnTo>
                      <a:pt x="1144" y="900"/>
                    </a:lnTo>
                    <a:lnTo>
                      <a:pt x="1144" y="904"/>
                    </a:lnTo>
                    <a:lnTo>
                      <a:pt x="1148" y="904"/>
                    </a:lnTo>
                    <a:lnTo>
                      <a:pt x="1148" y="908"/>
                    </a:lnTo>
                    <a:lnTo>
                      <a:pt x="1144" y="908"/>
                    </a:lnTo>
                    <a:lnTo>
                      <a:pt x="1144" y="910"/>
                    </a:lnTo>
                    <a:lnTo>
                      <a:pt x="1140" y="910"/>
                    </a:lnTo>
                    <a:lnTo>
                      <a:pt x="1140" y="914"/>
                    </a:lnTo>
                    <a:lnTo>
                      <a:pt x="1136" y="914"/>
                    </a:lnTo>
                    <a:lnTo>
                      <a:pt x="1136" y="914"/>
                    </a:lnTo>
                    <a:lnTo>
                      <a:pt x="1136" y="914"/>
                    </a:lnTo>
                    <a:close/>
                    <a:moveTo>
                      <a:pt x="992" y="884"/>
                    </a:moveTo>
                    <a:lnTo>
                      <a:pt x="992" y="888"/>
                    </a:lnTo>
                    <a:lnTo>
                      <a:pt x="988" y="888"/>
                    </a:lnTo>
                    <a:lnTo>
                      <a:pt x="992" y="884"/>
                    </a:lnTo>
                    <a:lnTo>
                      <a:pt x="992" y="884"/>
                    </a:lnTo>
                    <a:lnTo>
                      <a:pt x="992" y="884"/>
                    </a:lnTo>
                    <a:close/>
                    <a:moveTo>
                      <a:pt x="1132" y="914"/>
                    </a:moveTo>
                    <a:lnTo>
                      <a:pt x="1132" y="918"/>
                    </a:lnTo>
                    <a:lnTo>
                      <a:pt x="1130" y="918"/>
                    </a:lnTo>
                    <a:lnTo>
                      <a:pt x="1130" y="914"/>
                    </a:lnTo>
                    <a:lnTo>
                      <a:pt x="1132" y="914"/>
                    </a:lnTo>
                    <a:lnTo>
                      <a:pt x="1132" y="914"/>
                    </a:lnTo>
                    <a:lnTo>
                      <a:pt x="1132" y="914"/>
                    </a:lnTo>
                    <a:close/>
                    <a:moveTo>
                      <a:pt x="1052" y="930"/>
                    </a:moveTo>
                    <a:lnTo>
                      <a:pt x="1052" y="934"/>
                    </a:lnTo>
                    <a:lnTo>
                      <a:pt x="1048" y="934"/>
                    </a:lnTo>
                    <a:lnTo>
                      <a:pt x="1048" y="930"/>
                    </a:lnTo>
                    <a:lnTo>
                      <a:pt x="1052" y="930"/>
                    </a:lnTo>
                    <a:lnTo>
                      <a:pt x="1052" y="930"/>
                    </a:lnTo>
                    <a:lnTo>
                      <a:pt x="1052" y="930"/>
                    </a:lnTo>
                    <a:close/>
                    <a:moveTo>
                      <a:pt x="820" y="78"/>
                    </a:moveTo>
                    <a:lnTo>
                      <a:pt x="816" y="78"/>
                    </a:lnTo>
                    <a:lnTo>
                      <a:pt x="816" y="76"/>
                    </a:lnTo>
                    <a:lnTo>
                      <a:pt x="820" y="76"/>
                    </a:lnTo>
                    <a:lnTo>
                      <a:pt x="824" y="76"/>
                    </a:lnTo>
                    <a:lnTo>
                      <a:pt x="828" y="76"/>
                    </a:lnTo>
                    <a:lnTo>
                      <a:pt x="828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38" y="72"/>
                    </a:lnTo>
                    <a:lnTo>
                      <a:pt x="834" y="68"/>
                    </a:lnTo>
                    <a:lnTo>
                      <a:pt x="834" y="72"/>
                    </a:lnTo>
                    <a:lnTo>
                      <a:pt x="832" y="72"/>
                    </a:lnTo>
                    <a:lnTo>
                      <a:pt x="828" y="72"/>
                    </a:lnTo>
                    <a:lnTo>
                      <a:pt x="820" y="72"/>
                    </a:lnTo>
                    <a:lnTo>
                      <a:pt x="816" y="76"/>
                    </a:lnTo>
                    <a:lnTo>
                      <a:pt x="812" y="76"/>
                    </a:lnTo>
                    <a:lnTo>
                      <a:pt x="812" y="72"/>
                    </a:lnTo>
                    <a:lnTo>
                      <a:pt x="816" y="72"/>
                    </a:lnTo>
                    <a:lnTo>
                      <a:pt x="820" y="72"/>
                    </a:lnTo>
                    <a:lnTo>
                      <a:pt x="816" y="68"/>
                    </a:lnTo>
                    <a:lnTo>
                      <a:pt x="816" y="72"/>
                    </a:lnTo>
                    <a:lnTo>
                      <a:pt x="812" y="72"/>
                    </a:lnTo>
                    <a:lnTo>
                      <a:pt x="808" y="72"/>
                    </a:lnTo>
                    <a:lnTo>
                      <a:pt x="808" y="76"/>
                    </a:lnTo>
                    <a:lnTo>
                      <a:pt x="808" y="78"/>
                    </a:lnTo>
                    <a:lnTo>
                      <a:pt x="806" y="78"/>
                    </a:lnTo>
                    <a:lnTo>
                      <a:pt x="802" y="78"/>
                    </a:lnTo>
                    <a:lnTo>
                      <a:pt x="798" y="78"/>
                    </a:lnTo>
                    <a:lnTo>
                      <a:pt x="794" y="78"/>
                    </a:lnTo>
                    <a:lnTo>
                      <a:pt x="790" y="78"/>
                    </a:lnTo>
                    <a:lnTo>
                      <a:pt x="786" y="78"/>
                    </a:lnTo>
                    <a:lnTo>
                      <a:pt x="782" y="78"/>
                    </a:lnTo>
                    <a:lnTo>
                      <a:pt x="778" y="78"/>
                    </a:lnTo>
                    <a:lnTo>
                      <a:pt x="782" y="76"/>
                    </a:lnTo>
                    <a:lnTo>
                      <a:pt x="778" y="76"/>
                    </a:lnTo>
                    <a:lnTo>
                      <a:pt x="778" y="78"/>
                    </a:lnTo>
                    <a:lnTo>
                      <a:pt x="776" y="78"/>
                    </a:lnTo>
                    <a:lnTo>
                      <a:pt x="772" y="78"/>
                    </a:lnTo>
                    <a:lnTo>
                      <a:pt x="768" y="76"/>
                    </a:lnTo>
                    <a:lnTo>
                      <a:pt x="772" y="72"/>
                    </a:lnTo>
                    <a:lnTo>
                      <a:pt x="776" y="72"/>
                    </a:lnTo>
                    <a:lnTo>
                      <a:pt x="776" y="68"/>
                    </a:lnTo>
                    <a:lnTo>
                      <a:pt x="778" y="68"/>
                    </a:lnTo>
                    <a:lnTo>
                      <a:pt x="782" y="68"/>
                    </a:lnTo>
                    <a:lnTo>
                      <a:pt x="782" y="64"/>
                    </a:lnTo>
                    <a:lnTo>
                      <a:pt x="790" y="64"/>
                    </a:lnTo>
                    <a:lnTo>
                      <a:pt x="794" y="64"/>
                    </a:lnTo>
                    <a:lnTo>
                      <a:pt x="802" y="64"/>
                    </a:lnTo>
                    <a:lnTo>
                      <a:pt x="806" y="64"/>
                    </a:lnTo>
                    <a:lnTo>
                      <a:pt x="808" y="64"/>
                    </a:lnTo>
                    <a:lnTo>
                      <a:pt x="812" y="60"/>
                    </a:lnTo>
                    <a:lnTo>
                      <a:pt x="816" y="60"/>
                    </a:lnTo>
                    <a:lnTo>
                      <a:pt x="820" y="60"/>
                    </a:lnTo>
                    <a:lnTo>
                      <a:pt x="824" y="60"/>
                    </a:lnTo>
                    <a:lnTo>
                      <a:pt x="828" y="60"/>
                    </a:lnTo>
                    <a:lnTo>
                      <a:pt x="824" y="60"/>
                    </a:lnTo>
                    <a:lnTo>
                      <a:pt x="820" y="60"/>
                    </a:lnTo>
                    <a:lnTo>
                      <a:pt x="816" y="60"/>
                    </a:lnTo>
                    <a:lnTo>
                      <a:pt x="812" y="60"/>
                    </a:lnTo>
                    <a:lnTo>
                      <a:pt x="808" y="60"/>
                    </a:lnTo>
                    <a:lnTo>
                      <a:pt x="806" y="60"/>
                    </a:lnTo>
                    <a:lnTo>
                      <a:pt x="802" y="60"/>
                    </a:lnTo>
                    <a:lnTo>
                      <a:pt x="798" y="60"/>
                    </a:lnTo>
                    <a:lnTo>
                      <a:pt x="794" y="64"/>
                    </a:lnTo>
                    <a:lnTo>
                      <a:pt x="790" y="64"/>
                    </a:lnTo>
                    <a:lnTo>
                      <a:pt x="786" y="64"/>
                    </a:lnTo>
                    <a:lnTo>
                      <a:pt x="782" y="64"/>
                    </a:lnTo>
                    <a:lnTo>
                      <a:pt x="778" y="64"/>
                    </a:lnTo>
                    <a:lnTo>
                      <a:pt x="776" y="64"/>
                    </a:lnTo>
                    <a:lnTo>
                      <a:pt x="772" y="68"/>
                    </a:lnTo>
                    <a:lnTo>
                      <a:pt x="764" y="72"/>
                    </a:lnTo>
                    <a:lnTo>
                      <a:pt x="760" y="76"/>
                    </a:lnTo>
                    <a:lnTo>
                      <a:pt x="756" y="76"/>
                    </a:lnTo>
                    <a:lnTo>
                      <a:pt x="752" y="76"/>
                    </a:lnTo>
                    <a:lnTo>
                      <a:pt x="748" y="76"/>
                    </a:lnTo>
                    <a:lnTo>
                      <a:pt x="746" y="76"/>
                    </a:lnTo>
                    <a:lnTo>
                      <a:pt x="746" y="72"/>
                    </a:lnTo>
                    <a:lnTo>
                      <a:pt x="742" y="72"/>
                    </a:lnTo>
                    <a:lnTo>
                      <a:pt x="738" y="72"/>
                    </a:lnTo>
                    <a:lnTo>
                      <a:pt x="734" y="72"/>
                    </a:lnTo>
                    <a:lnTo>
                      <a:pt x="732" y="68"/>
                    </a:lnTo>
                    <a:lnTo>
                      <a:pt x="734" y="68"/>
                    </a:lnTo>
                    <a:lnTo>
                      <a:pt x="738" y="64"/>
                    </a:lnTo>
                    <a:lnTo>
                      <a:pt x="742" y="64"/>
                    </a:lnTo>
                    <a:lnTo>
                      <a:pt x="746" y="64"/>
                    </a:lnTo>
                    <a:lnTo>
                      <a:pt x="748" y="64"/>
                    </a:lnTo>
                    <a:lnTo>
                      <a:pt x="752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2" y="64"/>
                    </a:lnTo>
                    <a:lnTo>
                      <a:pt x="776" y="64"/>
                    </a:lnTo>
                    <a:lnTo>
                      <a:pt x="778" y="60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90" y="56"/>
                    </a:lnTo>
                    <a:lnTo>
                      <a:pt x="794" y="56"/>
                    </a:lnTo>
                    <a:lnTo>
                      <a:pt x="790" y="56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78" y="56"/>
                    </a:lnTo>
                    <a:lnTo>
                      <a:pt x="776" y="60"/>
                    </a:lnTo>
                    <a:lnTo>
                      <a:pt x="772" y="60"/>
                    </a:lnTo>
                    <a:lnTo>
                      <a:pt x="768" y="60"/>
                    </a:lnTo>
                    <a:lnTo>
                      <a:pt x="764" y="60"/>
                    </a:lnTo>
                    <a:lnTo>
                      <a:pt x="760" y="60"/>
                    </a:lnTo>
                    <a:lnTo>
                      <a:pt x="760" y="64"/>
                    </a:lnTo>
                    <a:lnTo>
                      <a:pt x="752" y="64"/>
                    </a:lnTo>
                    <a:lnTo>
                      <a:pt x="748" y="64"/>
                    </a:lnTo>
                    <a:lnTo>
                      <a:pt x="746" y="64"/>
                    </a:lnTo>
                    <a:lnTo>
                      <a:pt x="742" y="64"/>
                    </a:lnTo>
                    <a:lnTo>
                      <a:pt x="738" y="64"/>
                    </a:lnTo>
                    <a:lnTo>
                      <a:pt x="734" y="64"/>
                    </a:lnTo>
                    <a:lnTo>
                      <a:pt x="732" y="64"/>
                    </a:lnTo>
                    <a:lnTo>
                      <a:pt x="728" y="64"/>
                    </a:lnTo>
                    <a:lnTo>
                      <a:pt x="724" y="64"/>
                    </a:lnTo>
                    <a:lnTo>
                      <a:pt x="720" y="64"/>
                    </a:lnTo>
                    <a:lnTo>
                      <a:pt x="716" y="60"/>
                    </a:lnTo>
                    <a:lnTo>
                      <a:pt x="720" y="56"/>
                    </a:lnTo>
                    <a:lnTo>
                      <a:pt x="724" y="56"/>
                    </a:lnTo>
                    <a:lnTo>
                      <a:pt x="728" y="56"/>
                    </a:lnTo>
                    <a:lnTo>
                      <a:pt x="728" y="60"/>
                    </a:lnTo>
                    <a:lnTo>
                      <a:pt x="732" y="60"/>
                    </a:lnTo>
                    <a:lnTo>
                      <a:pt x="732" y="56"/>
                    </a:lnTo>
                    <a:lnTo>
                      <a:pt x="734" y="56"/>
                    </a:lnTo>
                    <a:lnTo>
                      <a:pt x="732" y="56"/>
                    </a:lnTo>
                    <a:lnTo>
                      <a:pt x="728" y="56"/>
                    </a:lnTo>
                    <a:lnTo>
                      <a:pt x="724" y="56"/>
                    </a:lnTo>
                    <a:lnTo>
                      <a:pt x="724" y="52"/>
                    </a:lnTo>
                    <a:lnTo>
                      <a:pt x="728" y="52"/>
                    </a:lnTo>
                    <a:lnTo>
                      <a:pt x="732" y="52"/>
                    </a:lnTo>
                    <a:lnTo>
                      <a:pt x="734" y="52"/>
                    </a:lnTo>
                    <a:lnTo>
                      <a:pt x="738" y="50"/>
                    </a:lnTo>
                    <a:lnTo>
                      <a:pt x="742" y="50"/>
                    </a:lnTo>
                    <a:lnTo>
                      <a:pt x="746" y="50"/>
                    </a:lnTo>
                    <a:lnTo>
                      <a:pt x="748" y="50"/>
                    </a:lnTo>
                    <a:lnTo>
                      <a:pt x="752" y="50"/>
                    </a:lnTo>
                    <a:lnTo>
                      <a:pt x="756" y="50"/>
                    </a:lnTo>
                    <a:lnTo>
                      <a:pt x="760" y="50"/>
                    </a:lnTo>
                    <a:lnTo>
                      <a:pt x="756" y="50"/>
                    </a:lnTo>
                    <a:lnTo>
                      <a:pt x="752" y="50"/>
                    </a:lnTo>
                    <a:lnTo>
                      <a:pt x="748" y="50"/>
                    </a:lnTo>
                    <a:lnTo>
                      <a:pt x="746" y="50"/>
                    </a:lnTo>
                    <a:lnTo>
                      <a:pt x="742" y="50"/>
                    </a:lnTo>
                    <a:lnTo>
                      <a:pt x="738" y="50"/>
                    </a:lnTo>
                    <a:lnTo>
                      <a:pt x="734" y="50"/>
                    </a:lnTo>
                    <a:lnTo>
                      <a:pt x="732" y="50"/>
                    </a:lnTo>
                    <a:lnTo>
                      <a:pt x="728" y="50"/>
                    </a:lnTo>
                    <a:lnTo>
                      <a:pt x="728" y="52"/>
                    </a:lnTo>
                    <a:lnTo>
                      <a:pt x="720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16" y="52"/>
                    </a:lnTo>
                    <a:lnTo>
                      <a:pt x="712" y="52"/>
                    </a:lnTo>
                    <a:lnTo>
                      <a:pt x="708" y="52"/>
                    </a:lnTo>
                    <a:lnTo>
                      <a:pt x="708" y="50"/>
                    </a:lnTo>
                    <a:lnTo>
                      <a:pt x="712" y="50"/>
                    </a:lnTo>
                    <a:lnTo>
                      <a:pt x="716" y="50"/>
                    </a:lnTo>
                    <a:lnTo>
                      <a:pt x="720" y="50"/>
                    </a:lnTo>
                    <a:lnTo>
                      <a:pt x="724" y="46"/>
                    </a:lnTo>
                    <a:lnTo>
                      <a:pt x="728" y="46"/>
                    </a:lnTo>
                    <a:lnTo>
                      <a:pt x="724" y="46"/>
                    </a:lnTo>
                    <a:lnTo>
                      <a:pt x="720" y="46"/>
                    </a:lnTo>
                    <a:lnTo>
                      <a:pt x="716" y="46"/>
                    </a:lnTo>
                    <a:lnTo>
                      <a:pt x="712" y="46"/>
                    </a:lnTo>
                    <a:lnTo>
                      <a:pt x="708" y="46"/>
                    </a:lnTo>
                    <a:lnTo>
                      <a:pt x="708" y="50"/>
                    </a:lnTo>
                    <a:lnTo>
                      <a:pt x="706" y="50"/>
                    </a:lnTo>
                    <a:lnTo>
                      <a:pt x="702" y="50"/>
                    </a:lnTo>
                    <a:lnTo>
                      <a:pt x="702" y="46"/>
                    </a:lnTo>
                    <a:lnTo>
                      <a:pt x="698" y="46"/>
                    </a:lnTo>
                    <a:lnTo>
                      <a:pt x="694" y="46"/>
                    </a:lnTo>
                    <a:lnTo>
                      <a:pt x="698" y="46"/>
                    </a:lnTo>
                    <a:lnTo>
                      <a:pt x="698" y="42"/>
                    </a:lnTo>
                    <a:lnTo>
                      <a:pt x="702" y="42"/>
                    </a:lnTo>
                    <a:lnTo>
                      <a:pt x="706" y="42"/>
                    </a:lnTo>
                    <a:lnTo>
                      <a:pt x="708" y="42"/>
                    </a:lnTo>
                    <a:lnTo>
                      <a:pt x="708" y="38"/>
                    </a:lnTo>
                    <a:lnTo>
                      <a:pt x="712" y="38"/>
                    </a:lnTo>
                    <a:lnTo>
                      <a:pt x="716" y="38"/>
                    </a:lnTo>
                    <a:lnTo>
                      <a:pt x="720" y="38"/>
                    </a:lnTo>
                    <a:lnTo>
                      <a:pt x="724" y="38"/>
                    </a:lnTo>
                    <a:lnTo>
                      <a:pt x="728" y="38"/>
                    </a:lnTo>
                    <a:lnTo>
                      <a:pt x="732" y="42"/>
                    </a:lnTo>
                    <a:lnTo>
                      <a:pt x="732" y="38"/>
                    </a:lnTo>
                    <a:lnTo>
                      <a:pt x="734" y="38"/>
                    </a:lnTo>
                    <a:lnTo>
                      <a:pt x="734" y="34"/>
                    </a:lnTo>
                    <a:lnTo>
                      <a:pt x="738" y="34"/>
                    </a:lnTo>
                    <a:lnTo>
                      <a:pt x="742" y="34"/>
                    </a:lnTo>
                    <a:lnTo>
                      <a:pt x="746" y="34"/>
                    </a:lnTo>
                    <a:lnTo>
                      <a:pt x="748" y="30"/>
                    </a:lnTo>
                    <a:lnTo>
                      <a:pt x="752" y="34"/>
                    </a:lnTo>
                    <a:lnTo>
                      <a:pt x="752" y="30"/>
                    </a:lnTo>
                    <a:lnTo>
                      <a:pt x="756" y="30"/>
                    </a:lnTo>
                    <a:lnTo>
                      <a:pt x="756" y="34"/>
                    </a:lnTo>
                    <a:lnTo>
                      <a:pt x="760" y="34"/>
                    </a:lnTo>
                    <a:lnTo>
                      <a:pt x="760" y="38"/>
                    </a:lnTo>
                    <a:lnTo>
                      <a:pt x="764" y="38"/>
                    </a:lnTo>
                    <a:lnTo>
                      <a:pt x="768" y="38"/>
                    </a:lnTo>
                    <a:lnTo>
                      <a:pt x="764" y="38"/>
                    </a:lnTo>
                    <a:lnTo>
                      <a:pt x="760" y="38"/>
                    </a:lnTo>
                    <a:lnTo>
                      <a:pt x="760" y="34"/>
                    </a:lnTo>
                    <a:lnTo>
                      <a:pt x="764" y="34"/>
                    </a:lnTo>
                    <a:lnTo>
                      <a:pt x="768" y="34"/>
                    </a:lnTo>
                    <a:lnTo>
                      <a:pt x="772" y="34"/>
                    </a:lnTo>
                    <a:lnTo>
                      <a:pt x="776" y="34"/>
                    </a:lnTo>
                    <a:lnTo>
                      <a:pt x="778" y="34"/>
                    </a:lnTo>
                    <a:lnTo>
                      <a:pt x="782" y="34"/>
                    </a:lnTo>
                    <a:lnTo>
                      <a:pt x="782" y="38"/>
                    </a:lnTo>
                    <a:lnTo>
                      <a:pt x="786" y="38"/>
                    </a:lnTo>
                    <a:lnTo>
                      <a:pt x="782" y="38"/>
                    </a:lnTo>
                    <a:lnTo>
                      <a:pt x="782" y="34"/>
                    </a:lnTo>
                    <a:lnTo>
                      <a:pt x="786" y="34"/>
                    </a:lnTo>
                    <a:lnTo>
                      <a:pt x="790" y="34"/>
                    </a:lnTo>
                    <a:lnTo>
                      <a:pt x="790" y="38"/>
                    </a:lnTo>
                    <a:lnTo>
                      <a:pt x="794" y="38"/>
                    </a:lnTo>
                    <a:lnTo>
                      <a:pt x="790" y="38"/>
                    </a:lnTo>
                    <a:lnTo>
                      <a:pt x="790" y="34"/>
                    </a:lnTo>
                    <a:lnTo>
                      <a:pt x="794" y="34"/>
                    </a:lnTo>
                    <a:lnTo>
                      <a:pt x="794" y="38"/>
                    </a:lnTo>
                    <a:lnTo>
                      <a:pt x="798" y="38"/>
                    </a:lnTo>
                    <a:lnTo>
                      <a:pt x="794" y="34"/>
                    </a:lnTo>
                    <a:lnTo>
                      <a:pt x="790" y="34"/>
                    </a:lnTo>
                    <a:lnTo>
                      <a:pt x="786" y="34"/>
                    </a:lnTo>
                    <a:lnTo>
                      <a:pt x="782" y="34"/>
                    </a:lnTo>
                    <a:lnTo>
                      <a:pt x="778" y="34"/>
                    </a:lnTo>
                    <a:lnTo>
                      <a:pt x="778" y="30"/>
                    </a:lnTo>
                    <a:lnTo>
                      <a:pt x="776" y="30"/>
                    </a:lnTo>
                    <a:lnTo>
                      <a:pt x="772" y="30"/>
                    </a:lnTo>
                    <a:lnTo>
                      <a:pt x="768" y="30"/>
                    </a:lnTo>
                    <a:lnTo>
                      <a:pt x="764" y="30"/>
                    </a:lnTo>
                    <a:lnTo>
                      <a:pt x="764" y="26"/>
                    </a:lnTo>
                    <a:lnTo>
                      <a:pt x="768" y="26"/>
                    </a:lnTo>
                    <a:lnTo>
                      <a:pt x="772" y="26"/>
                    </a:lnTo>
                    <a:lnTo>
                      <a:pt x="776" y="26"/>
                    </a:lnTo>
                    <a:lnTo>
                      <a:pt x="778" y="26"/>
                    </a:lnTo>
                    <a:lnTo>
                      <a:pt x="782" y="26"/>
                    </a:lnTo>
                    <a:lnTo>
                      <a:pt x="786" y="26"/>
                    </a:lnTo>
                    <a:lnTo>
                      <a:pt x="782" y="22"/>
                    </a:lnTo>
                    <a:lnTo>
                      <a:pt x="786" y="22"/>
                    </a:lnTo>
                    <a:lnTo>
                      <a:pt x="782" y="22"/>
                    </a:lnTo>
                    <a:lnTo>
                      <a:pt x="778" y="22"/>
                    </a:lnTo>
                    <a:lnTo>
                      <a:pt x="778" y="20"/>
                    </a:lnTo>
                    <a:lnTo>
                      <a:pt x="782" y="20"/>
                    </a:lnTo>
                    <a:lnTo>
                      <a:pt x="786" y="20"/>
                    </a:lnTo>
                    <a:lnTo>
                      <a:pt x="790" y="20"/>
                    </a:lnTo>
                    <a:lnTo>
                      <a:pt x="798" y="20"/>
                    </a:lnTo>
                    <a:lnTo>
                      <a:pt x="798" y="22"/>
                    </a:lnTo>
                    <a:lnTo>
                      <a:pt x="794" y="22"/>
                    </a:lnTo>
                    <a:lnTo>
                      <a:pt x="798" y="22"/>
                    </a:lnTo>
                    <a:lnTo>
                      <a:pt x="802" y="22"/>
                    </a:lnTo>
                    <a:lnTo>
                      <a:pt x="806" y="22"/>
                    </a:lnTo>
                    <a:lnTo>
                      <a:pt x="808" y="22"/>
                    </a:lnTo>
                    <a:lnTo>
                      <a:pt x="812" y="26"/>
                    </a:lnTo>
                    <a:lnTo>
                      <a:pt x="816" y="26"/>
                    </a:lnTo>
                    <a:lnTo>
                      <a:pt x="816" y="30"/>
                    </a:lnTo>
                    <a:lnTo>
                      <a:pt x="820" y="30"/>
                    </a:lnTo>
                    <a:lnTo>
                      <a:pt x="820" y="34"/>
                    </a:lnTo>
                    <a:lnTo>
                      <a:pt x="824" y="34"/>
                    </a:lnTo>
                    <a:lnTo>
                      <a:pt x="828" y="34"/>
                    </a:lnTo>
                    <a:lnTo>
                      <a:pt x="832" y="34"/>
                    </a:lnTo>
                    <a:lnTo>
                      <a:pt x="834" y="34"/>
                    </a:lnTo>
                    <a:lnTo>
                      <a:pt x="832" y="34"/>
                    </a:lnTo>
                    <a:lnTo>
                      <a:pt x="828" y="30"/>
                    </a:lnTo>
                    <a:lnTo>
                      <a:pt x="824" y="30"/>
                    </a:lnTo>
                    <a:lnTo>
                      <a:pt x="820" y="30"/>
                    </a:lnTo>
                    <a:lnTo>
                      <a:pt x="820" y="26"/>
                    </a:lnTo>
                    <a:lnTo>
                      <a:pt x="824" y="26"/>
                    </a:lnTo>
                    <a:lnTo>
                      <a:pt x="828" y="26"/>
                    </a:lnTo>
                    <a:lnTo>
                      <a:pt x="832" y="26"/>
                    </a:lnTo>
                    <a:lnTo>
                      <a:pt x="832" y="30"/>
                    </a:lnTo>
                    <a:lnTo>
                      <a:pt x="834" y="30"/>
                    </a:lnTo>
                    <a:lnTo>
                      <a:pt x="838" y="30"/>
                    </a:lnTo>
                    <a:lnTo>
                      <a:pt x="842" y="30"/>
                    </a:lnTo>
                    <a:lnTo>
                      <a:pt x="846" y="34"/>
                    </a:lnTo>
                    <a:lnTo>
                      <a:pt x="850" y="34"/>
                    </a:lnTo>
                    <a:lnTo>
                      <a:pt x="854" y="34"/>
                    </a:lnTo>
                    <a:lnTo>
                      <a:pt x="858" y="34"/>
                    </a:lnTo>
                    <a:lnTo>
                      <a:pt x="862" y="34"/>
                    </a:lnTo>
                    <a:lnTo>
                      <a:pt x="864" y="38"/>
                    </a:lnTo>
                    <a:lnTo>
                      <a:pt x="868" y="38"/>
                    </a:lnTo>
                    <a:lnTo>
                      <a:pt x="868" y="42"/>
                    </a:lnTo>
                    <a:lnTo>
                      <a:pt x="872" y="42"/>
                    </a:lnTo>
                    <a:lnTo>
                      <a:pt x="868" y="38"/>
                    </a:lnTo>
                    <a:lnTo>
                      <a:pt x="864" y="34"/>
                    </a:lnTo>
                    <a:lnTo>
                      <a:pt x="862" y="34"/>
                    </a:lnTo>
                    <a:lnTo>
                      <a:pt x="858" y="34"/>
                    </a:lnTo>
                    <a:lnTo>
                      <a:pt x="854" y="34"/>
                    </a:lnTo>
                    <a:lnTo>
                      <a:pt x="850" y="34"/>
                    </a:lnTo>
                    <a:lnTo>
                      <a:pt x="850" y="30"/>
                    </a:lnTo>
                    <a:lnTo>
                      <a:pt x="846" y="30"/>
                    </a:lnTo>
                    <a:lnTo>
                      <a:pt x="842" y="30"/>
                    </a:lnTo>
                    <a:lnTo>
                      <a:pt x="838" y="26"/>
                    </a:lnTo>
                    <a:lnTo>
                      <a:pt x="834" y="26"/>
                    </a:lnTo>
                    <a:lnTo>
                      <a:pt x="832" y="26"/>
                    </a:lnTo>
                    <a:lnTo>
                      <a:pt x="828" y="26"/>
                    </a:lnTo>
                    <a:lnTo>
                      <a:pt x="828" y="22"/>
                    </a:lnTo>
                    <a:lnTo>
                      <a:pt x="824" y="22"/>
                    </a:lnTo>
                    <a:lnTo>
                      <a:pt x="828" y="20"/>
                    </a:lnTo>
                    <a:lnTo>
                      <a:pt x="832" y="20"/>
                    </a:lnTo>
                    <a:lnTo>
                      <a:pt x="838" y="20"/>
                    </a:lnTo>
                    <a:lnTo>
                      <a:pt x="842" y="20"/>
                    </a:lnTo>
                    <a:lnTo>
                      <a:pt x="838" y="20"/>
                    </a:lnTo>
                    <a:lnTo>
                      <a:pt x="834" y="20"/>
                    </a:lnTo>
                    <a:lnTo>
                      <a:pt x="832" y="20"/>
                    </a:lnTo>
                    <a:lnTo>
                      <a:pt x="832" y="16"/>
                    </a:lnTo>
                    <a:lnTo>
                      <a:pt x="828" y="16"/>
                    </a:lnTo>
                    <a:lnTo>
                      <a:pt x="832" y="16"/>
                    </a:lnTo>
                    <a:lnTo>
                      <a:pt x="834" y="16"/>
                    </a:lnTo>
                    <a:lnTo>
                      <a:pt x="842" y="16"/>
                    </a:lnTo>
                    <a:lnTo>
                      <a:pt x="846" y="20"/>
                    </a:lnTo>
                    <a:lnTo>
                      <a:pt x="850" y="20"/>
                    </a:lnTo>
                    <a:lnTo>
                      <a:pt x="854" y="20"/>
                    </a:lnTo>
                    <a:lnTo>
                      <a:pt x="850" y="16"/>
                    </a:lnTo>
                    <a:lnTo>
                      <a:pt x="846" y="16"/>
                    </a:lnTo>
                    <a:lnTo>
                      <a:pt x="846" y="12"/>
                    </a:lnTo>
                    <a:lnTo>
                      <a:pt x="842" y="12"/>
                    </a:lnTo>
                    <a:lnTo>
                      <a:pt x="838" y="12"/>
                    </a:lnTo>
                    <a:lnTo>
                      <a:pt x="842" y="12"/>
                    </a:lnTo>
                    <a:lnTo>
                      <a:pt x="842" y="8"/>
                    </a:lnTo>
                    <a:lnTo>
                      <a:pt x="850" y="12"/>
                    </a:lnTo>
                    <a:lnTo>
                      <a:pt x="858" y="12"/>
                    </a:lnTo>
                    <a:lnTo>
                      <a:pt x="862" y="12"/>
                    </a:lnTo>
                    <a:lnTo>
                      <a:pt x="862" y="16"/>
                    </a:lnTo>
                    <a:lnTo>
                      <a:pt x="864" y="16"/>
                    </a:lnTo>
                    <a:lnTo>
                      <a:pt x="864" y="12"/>
                    </a:lnTo>
                    <a:lnTo>
                      <a:pt x="868" y="16"/>
                    </a:lnTo>
                    <a:lnTo>
                      <a:pt x="872" y="16"/>
                    </a:lnTo>
                    <a:lnTo>
                      <a:pt x="876" y="16"/>
                    </a:lnTo>
                    <a:lnTo>
                      <a:pt x="880" y="16"/>
                    </a:lnTo>
                    <a:lnTo>
                      <a:pt x="884" y="16"/>
                    </a:lnTo>
                    <a:lnTo>
                      <a:pt x="880" y="16"/>
                    </a:lnTo>
                    <a:lnTo>
                      <a:pt x="876" y="16"/>
                    </a:lnTo>
                    <a:lnTo>
                      <a:pt x="872" y="16"/>
                    </a:lnTo>
                    <a:lnTo>
                      <a:pt x="872" y="12"/>
                    </a:lnTo>
                    <a:lnTo>
                      <a:pt x="868" y="12"/>
                    </a:lnTo>
                    <a:lnTo>
                      <a:pt x="864" y="12"/>
                    </a:lnTo>
                    <a:lnTo>
                      <a:pt x="862" y="12"/>
                    </a:lnTo>
                    <a:lnTo>
                      <a:pt x="864" y="12"/>
                    </a:lnTo>
                    <a:lnTo>
                      <a:pt x="868" y="12"/>
                    </a:lnTo>
                    <a:lnTo>
                      <a:pt x="864" y="8"/>
                    </a:lnTo>
                    <a:lnTo>
                      <a:pt x="862" y="8"/>
                    </a:lnTo>
                    <a:lnTo>
                      <a:pt x="858" y="8"/>
                    </a:lnTo>
                    <a:lnTo>
                      <a:pt x="862" y="8"/>
                    </a:lnTo>
                    <a:lnTo>
                      <a:pt x="864" y="4"/>
                    </a:lnTo>
                    <a:lnTo>
                      <a:pt x="868" y="4"/>
                    </a:lnTo>
                    <a:lnTo>
                      <a:pt x="872" y="4"/>
                    </a:lnTo>
                    <a:lnTo>
                      <a:pt x="876" y="4"/>
                    </a:lnTo>
                    <a:lnTo>
                      <a:pt x="876" y="8"/>
                    </a:lnTo>
                    <a:lnTo>
                      <a:pt x="880" y="8"/>
                    </a:lnTo>
                    <a:lnTo>
                      <a:pt x="884" y="8"/>
                    </a:lnTo>
                    <a:lnTo>
                      <a:pt x="888" y="8"/>
                    </a:lnTo>
                    <a:lnTo>
                      <a:pt x="888" y="12"/>
                    </a:lnTo>
                    <a:lnTo>
                      <a:pt x="890" y="8"/>
                    </a:lnTo>
                    <a:lnTo>
                      <a:pt x="888" y="8"/>
                    </a:lnTo>
                    <a:lnTo>
                      <a:pt x="890" y="8"/>
                    </a:lnTo>
                    <a:lnTo>
                      <a:pt x="894" y="8"/>
                    </a:lnTo>
                    <a:lnTo>
                      <a:pt x="898" y="8"/>
                    </a:lnTo>
                    <a:lnTo>
                      <a:pt x="902" y="8"/>
                    </a:lnTo>
                    <a:lnTo>
                      <a:pt x="906" y="12"/>
                    </a:lnTo>
                    <a:lnTo>
                      <a:pt x="910" y="12"/>
                    </a:lnTo>
                    <a:lnTo>
                      <a:pt x="910" y="16"/>
                    </a:lnTo>
                    <a:lnTo>
                      <a:pt x="914" y="16"/>
                    </a:lnTo>
                    <a:lnTo>
                      <a:pt x="918" y="16"/>
                    </a:lnTo>
                    <a:lnTo>
                      <a:pt x="920" y="16"/>
                    </a:lnTo>
                    <a:lnTo>
                      <a:pt x="920" y="20"/>
                    </a:lnTo>
                    <a:lnTo>
                      <a:pt x="918" y="20"/>
                    </a:lnTo>
                    <a:lnTo>
                      <a:pt x="918" y="22"/>
                    </a:lnTo>
                    <a:lnTo>
                      <a:pt x="918" y="20"/>
                    </a:lnTo>
                    <a:lnTo>
                      <a:pt x="920" y="20"/>
                    </a:lnTo>
                    <a:lnTo>
                      <a:pt x="924" y="16"/>
                    </a:lnTo>
                    <a:lnTo>
                      <a:pt x="928" y="16"/>
                    </a:lnTo>
                    <a:lnTo>
                      <a:pt x="924" y="16"/>
                    </a:lnTo>
                    <a:lnTo>
                      <a:pt x="920" y="16"/>
                    </a:lnTo>
                    <a:lnTo>
                      <a:pt x="918" y="16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8" y="12"/>
                    </a:lnTo>
                    <a:lnTo>
                      <a:pt x="920" y="12"/>
                    </a:lnTo>
                    <a:lnTo>
                      <a:pt x="918" y="12"/>
                    </a:lnTo>
                    <a:lnTo>
                      <a:pt x="914" y="12"/>
                    </a:lnTo>
                    <a:lnTo>
                      <a:pt x="910" y="8"/>
                    </a:lnTo>
                    <a:lnTo>
                      <a:pt x="906" y="8"/>
                    </a:lnTo>
                    <a:lnTo>
                      <a:pt x="902" y="8"/>
                    </a:lnTo>
                    <a:lnTo>
                      <a:pt x="898" y="4"/>
                    </a:lnTo>
                    <a:lnTo>
                      <a:pt x="902" y="4"/>
                    </a:lnTo>
                    <a:lnTo>
                      <a:pt x="906" y="4"/>
                    </a:lnTo>
                    <a:lnTo>
                      <a:pt x="910" y="4"/>
                    </a:lnTo>
                    <a:lnTo>
                      <a:pt x="914" y="4"/>
                    </a:lnTo>
                    <a:lnTo>
                      <a:pt x="918" y="4"/>
                    </a:lnTo>
                    <a:lnTo>
                      <a:pt x="920" y="4"/>
                    </a:lnTo>
                    <a:lnTo>
                      <a:pt x="924" y="4"/>
                    </a:lnTo>
                    <a:lnTo>
                      <a:pt x="928" y="4"/>
                    </a:lnTo>
                    <a:lnTo>
                      <a:pt x="932" y="4"/>
                    </a:lnTo>
                    <a:lnTo>
                      <a:pt x="936" y="4"/>
                    </a:lnTo>
                    <a:lnTo>
                      <a:pt x="940" y="4"/>
                    </a:lnTo>
                    <a:lnTo>
                      <a:pt x="944" y="4"/>
                    </a:lnTo>
                    <a:lnTo>
                      <a:pt x="948" y="4"/>
                    </a:lnTo>
                    <a:lnTo>
                      <a:pt x="950" y="8"/>
                    </a:lnTo>
                    <a:lnTo>
                      <a:pt x="954" y="12"/>
                    </a:lnTo>
                    <a:lnTo>
                      <a:pt x="958" y="12"/>
                    </a:lnTo>
                    <a:lnTo>
                      <a:pt x="962" y="12"/>
                    </a:lnTo>
                    <a:lnTo>
                      <a:pt x="966" y="12"/>
                    </a:lnTo>
                    <a:lnTo>
                      <a:pt x="966" y="16"/>
                    </a:lnTo>
                    <a:lnTo>
                      <a:pt x="970" y="12"/>
                    </a:lnTo>
                    <a:lnTo>
                      <a:pt x="966" y="12"/>
                    </a:lnTo>
                    <a:lnTo>
                      <a:pt x="962" y="12"/>
                    </a:lnTo>
                    <a:lnTo>
                      <a:pt x="958" y="12"/>
                    </a:lnTo>
                    <a:lnTo>
                      <a:pt x="954" y="8"/>
                    </a:lnTo>
                    <a:lnTo>
                      <a:pt x="958" y="4"/>
                    </a:lnTo>
                    <a:lnTo>
                      <a:pt x="962" y="4"/>
                    </a:lnTo>
                    <a:lnTo>
                      <a:pt x="966" y="0"/>
                    </a:lnTo>
                    <a:lnTo>
                      <a:pt x="970" y="0"/>
                    </a:lnTo>
                    <a:lnTo>
                      <a:pt x="974" y="0"/>
                    </a:lnTo>
                    <a:lnTo>
                      <a:pt x="976" y="0"/>
                    </a:lnTo>
                    <a:lnTo>
                      <a:pt x="980" y="0"/>
                    </a:lnTo>
                    <a:lnTo>
                      <a:pt x="980" y="4"/>
                    </a:lnTo>
                    <a:lnTo>
                      <a:pt x="980" y="8"/>
                    </a:lnTo>
                    <a:lnTo>
                      <a:pt x="984" y="8"/>
                    </a:lnTo>
                    <a:lnTo>
                      <a:pt x="988" y="8"/>
                    </a:lnTo>
                    <a:lnTo>
                      <a:pt x="992" y="8"/>
                    </a:lnTo>
                    <a:lnTo>
                      <a:pt x="988" y="8"/>
                    </a:lnTo>
                    <a:lnTo>
                      <a:pt x="984" y="4"/>
                    </a:lnTo>
                    <a:lnTo>
                      <a:pt x="988" y="0"/>
                    </a:lnTo>
                    <a:lnTo>
                      <a:pt x="992" y="0"/>
                    </a:lnTo>
                    <a:lnTo>
                      <a:pt x="996" y="0"/>
                    </a:lnTo>
                    <a:lnTo>
                      <a:pt x="1000" y="0"/>
                    </a:lnTo>
                    <a:lnTo>
                      <a:pt x="1004" y="0"/>
                    </a:lnTo>
                    <a:lnTo>
                      <a:pt x="1006" y="0"/>
                    </a:lnTo>
                    <a:lnTo>
                      <a:pt x="1010" y="0"/>
                    </a:lnTo>
                    <a:lnTo>
                      <a:pt x="1010" y="4"/>
                    </a:lnTo>
                    <a:lnTo>
                      <a:pt x="1006" y="4"/>
                    </a:lnTo>
                    <a:lnTo>
                      <a:pt x="1010" y="4"/>
                    </a:lnTo>
                    <a:lnTo>
                      <a:pt x="1014" y="4"/>
                    </a:lnTo>
                    <a:lnTo>
                      <a:pt x="1018" y="4"/>
                    </a:lnTo>
                    <a:lnTo>
                      <a:pt x="1022" y="4"/>
                    </a:lnTo>
                    <a:lnTo>
                      <a:pt x="1026" y="4"/>
                    </a:lnTo>
                    <a:lnTo>
                      <a:pt x="1030" y="4"/>
                    </a:lnTo>
                    <a:lnTo>
                      <a:pt x="1030" y="8"/>
                    </a:lnTo>
                    <a:lnTo>
                      <a:pt x="1032" y="8"/>
                    </a:lnTo>
                    <a:lnTo>
                      <a:pt x="1032" y="4"/>
                    </a:lnTo>
                    <a:lnTo>
                      <a:pt x="1036" y="4"/>
                    </a:lnTo>
                    <a:lnTo>
                      <a:pt x="1040" y="4"/>
                    </a:lnTo>
                    <a:lnTo>
                      <a:pt x="1040" y="8"/>
                    </a:lnTo>
                    <a:lnTo>
                      <a:pt x="1044" y="8"/>
                    </a:lnTo>
                    <a:lnTo>
                      <a:pt x="1044" y="4"/>
                    </a:lnTo>
                    <a:lnTo>
                      <a:pt x="1048" y="4"/>
                    </a:lnTo>
                    <a:lnTo>
                      <a:pt x="1048" y="8"/>
                    </a:lnTo>
                    <a:lnTo>
                      <a:pt x="1052" y="8"/>
                    </a:lnTo>
                    <a:lnTo>
                      <a:pt x="1056" y="8"/>
                    </a:lnTo>
                    <a:lnTo>
                      <a:pt x="1048" y="12"/>
                    </a:lnTo>
                    <a:lnTo>
                      <a:pt x="1044" y="12"/>
                    </a:lnTo>
                    <a:lnTo>
                      <a:pt x="1040" y="12"/>
                    </a:lnTo>
                    <a:lnTo>
                      <a:pt x="1036" y="12"/>
                    </a:lnTo>
                    <a:lnTo>
                      <a:pt x="1032" y="12"/>
                    </a:lnTo>
                    <a:lnTo>
                      <a:pt x="1032" y="16"/>
                    </a:lnTo>
                    <a:lnTo>
                      <a:pt x="1030" y="16"/>
                    </a:lnTo>
                    <a:lnTo>
                      <a:pt x="1026" y="16"/>
                    </a:lnTo>
                    <a:lnTo>
                      <a:pt x="1022" y="16"/>
                    </a:lnTo>
                    <a:lnTo>
                      <a:pt x="1026" y="16"/>
                    </a:lnTo>
                    <a:lnTo>
                      <a:pt x="1030" y="16"/>
                    </a:lnTo>
                    <a:lnTo>
                      <a:pt x="1032" y="16"/>
                    </a:lnTo>
                    <a:lnTo>
                      <a:pt x="1036" y="16"/>
                    </a:lnTo>
                    <a:lnTo>
                      <a:pt x="1040" y="16"/>
                    </a:lnTo>
                    <a:lnTo>
                      <a:pt x="1044" y="16"/>
                    </a:lnTo>
                    <a:lnTo>
                      <a:pt x="1048" y="12"/>
                    </a:lnTo>
                    <a:lnTo>
                      <a:pt x="1052" y="12"/>
                    </a:lnTo>
                    <a:lnTo>
                      <a:pt x="1060" y="12"/>
                    </a:lnTo>
                    <a:lnTo>
                      <a:pt x="1062" y="8"/>
                    </a:lnTo>
                    <a:lnTo>
                      <a:pt x="1066" y="8"/>
                    </a:lnTo>
                    <a:lnTo>
                      <a:pt x="1070" y="8"/>
                    </a:lnTo>
                    <a:lnTo>
                      <a:pt x="1066" y="12"/>
                    </a:lnTo>
                    <a:lnTo>
                      <a:pt x="1070" y="12"/>
                    </a:lnTo>
                    <a:lnTo>
                      <a:pt x="1074" y="12"/>
                    </a:lnTo>
                    <a:lnTo>
                      <a:pt x="1070" y="12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0" y="8"/>
                    </a:lnTo>
                    <a:lnTo>
                      <a:pt x="1074" y="8"/>
                    </a:lnTo>
                    <a:lnTo>
                      <a:pt x="1076" y="8"/>
                    </a:lnTo>
                    <a:lnTo>
                      <a:pt x="1080" y="8"/>
                    </a:lnTo>
                    <a:lnTo>
                      <a:pt x="1076" y="8"/>
                    </a:lnTo>
                    <a:lnTo>
                      <a:pt x="1076" y="12"/>
                    </a:lnTo>
                    <a:lnTo>
                      <a:pt x="1080" y="12"/>
                    </a:lnTo>
                    <a:lnTo>
                      <a:pt x="1084" y="12"/>
                    </a:lnTo>
                    <a:lnTo>
                      <a:pt x="1088" y="8"/>
                    </a:lnTo>
                    <a:lnTo>
                      <a:pt x="1092" y="8"/>
                    </a:lnTo>
                    <a:lnTo>
                      <a:pt x="1096" y="8"/>
                    </a:lnTo>
                    <a:lnTo>
                      <a:pt x="1096" y="12"/>
                    </a:lnTo>
                    <a:lnTo>
                      <a:pt x="1092" y="12"/>
                    </a:lnTo>
                    <a:lnTo>
                      <a:pt x="1096" y="16"/>
                    </a:lnTo>
                    <a:lnTo>
                      <a:pt x="1100" y="16"/>
                    </a:lnTo>
                    <a:lnTo>
                      <a:pt x="1104" y="16"/>
                    </a:lnTo>
                    <a:lnTo>
                      <a:pt x="1104" y="20"/>
                    </a:lnTo>
                    <a:lnTo>
                      <a:pt x="1100" y="20"/>
                    </a:lnTo>
                    <a:lnTo>
                      <a:pt x="1100" y="22"/>
                    </a:lnTo>
                    <a:lnTo>
                      <a:pt x="1104" y="22"/>
                    </a:lnTo>
                    <a:lnTo>
                      <a:pt x="1104" y="20"/>
                    </a:lnTo>
                    <a:lnTo>
                      <a:pt x="1106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0" y="20"/>
                    </a:lnTo>
                    <a:lnTo>
                      <a:pt x="1114" y="20"/>
                    </a:lnTo>
                    <a:lnTo>
                      <a:pt x="1118" y="20"/>
                    </a:lnTo>
                    <a:lnTo>
                      <a:pt x="1122" y="20"/>
                    </a:lnTo>
                    <a:lnTo>
                      <a:pt x="1126" y="20"/>
                    </a:lnTo>
                    <a:lnTo>
                      <a:pt x="1126" y="22"/>
                    </a:lnTo>
                    <a:lnTo>
                      <a:pt x="1130" y="22"/>
                    </a:lnTo>
                    <a:lnTo>
                      <a:pt x="1130" y="26"/>
                    </a:lnTo>
                    <a:lnTo>
                      <a:pt x="1126" y="30"/>
                    </a:lnTo>
                    <a:lnTo>
                      <a:pt x="1122" y="30"/>
                    </a:lnTo>
                    <a:lnTo>
                      <a:pt x="1118" y="30"/>
                    </a:lnTo>
                    <a:lnTo>
                      <a:pt x="1114" y="34"/>
                    </a:lnTo>
                    <a:lnTo>
                      <a:pt x="1110" y="34"/>
                    </a:lnTo>
                    <a:lnTo>
                      <a:pt x="1104" y="38"/>
                    </a:lnTo>
                    <a:lnTo>
                      <a:pt x="1100" y="38"/>
                    </a:lnTo>
                    <a:lnTo>
                      <a:pt x="1096" y="38"/>
                    </a:lnTo>
                    <a:lnTo>
                      <a:pt x="1092" y="38"/>
                    </a:lnTo>
                    <a:lnTo>
                      <a:pt x="1092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8" y="42"/>
                    </a:lnTo>
                    <a:lnTo>
                      <a:pt x="1084" y="42"/>
                    </a:lnTo>
                    <a:lnTo>
                      <a:pt x="1080" y="42"/>
                    </a:lnTo>
                    <a:lnTo>
                      <a:pt x="1076" y="42"/>
                    </a:lnTo>
                    <a:lnTo>
                      <a:pt x="1074" y="42"/>
                    </a:lnTo>
                    <a:lnTo>
                      <a:pt x="1070" y="42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62" y="46"/>
                    </a:lnTo>
                    <a:lnTo>
                      <a:pt x="1066" y="46"/>
                    </a:lnTo>
                    <a:lnTo>
                      <a:pt x="1070" y="46"/>
                    </a:lnTo>
                    <a:lnTo>
                      <a:pt x="1066" y="46"/>
                    </a:lnTo>
                    <a:lnTo>
                      <a:pt x="1062" y="46"/>
                    </a:lnTo>
                    <a:lnTo>
                      <a:pt x="1060" y="46"/>
                    </a:lnTo>
                    <a:lnTo>
                      <a:pt x="1056" y="46"/>
                    </a:lnTo>
                    <a:lnTo>
                      <a:pt x="1052" y="46"/>
                    </a:lnTo>
                    <a:lnTo>
                      <a:pt x="1048" y="46"/>
                    </a:lnTo>
                    <a:lnTo>
                      <a:pt x="1044" y="46"/>
                    </a:lnTo>
                    <a:lnTo>
                      <a:pt x="1040" y="46"/>
                    </a:lnTo>
                    <a:lnTo>
                      <a:pt x="1036" y="46"/>
                    </a:lnTo>
                    <a:lnTo>
                      <a:pt x="1032" y="50"/>
                    </a:lnTo>
                    <a:lnTo>
                      <a:pt x="1030" y="50"/>
                    </a:lnTo>
                    <a:lnTo>
                      <a:pt x="1026" y="46"/>
                    </a:lnTo>
                    <a:lnTo>
                      <a:pt x="1022" y="46"/>
                    </a:lnTo>
                    <a:lnTo>
                      <a:pt x="1018" y="46"/>
                    </a:lnTo>
                    <a:lnTo>
                      <a:pt x="1014" y="42"/>
                    </a:lnTo>
                    <a:lnTo>
                      <a:pt x="1014" y="46"/>
                    </a:lnTo>
                    <a:lnTo>
                      <a:pt x="1018" y="46"/>
                    </a:lnTo>
                    <a:lnTo>
                      <a:pt x="1022" y="46"/>
                    </a:lnTo>
                    <a:lnTo>
                      <a:pt x="1026" y="46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26" y="50"/>
                    </a:lnTo>
                    <a:lnTo>
                      <a:pt x="1022" y="50"/>
                    </a:lnTo>
                    <a:lnTo>
                      <a:pt x="1026" y="50"/>
                    </a:lnTo>
                    <a:lnTo>
                      <a:pt x="1030" y="50"/>
                    </a:lnTo>
                    <a:lnTo>
                      <a:pt x="1032" y="50"/>
                    </a:lnTo>
                    <a:lnTo>
                      <a:pt x="1036" y="50"/>
                    </a:lnTo>
                    <a:lnTo>
                      <a:pt x="1040" y="50"/>
                    </a:lnTo>
                    <a:lnTo>
                      <a:pt x="1044" y="50"/>
                    </a:lnTo>
                    <a:lnTo>
                      <a:pt x="1048" y="50"/>
                    </a:lnTo>
                    <a:lnTo>
                      <a:pt x="1052" y="50"/>
                    </a:lnTo>
                    <a:lnTo>
                      <a:pt x="1048" y="50"/>
                    </a:lnTo>
                    <a:lnTo>
                      <a:pt x="1044" y="52"/>
                    </a:lnTo>
                    <a:lnTo>
                      <a:pt x="1040" y="52"/>
                    </a:lnTo>
                    <a:lnTo>
                      <a:pt x="1036" y="52"/>
                    </a:lnTo>
                    <a:lnTo>
                      <a:pt x="1032" y="52"/>
                    </a:lnTo>
                    <a:lnTo>
                      <a:pt x="1030" y="52"/>
                    </a:lnTo>
                    <a:lnTo>
                      <a:pt x="1030" y="56"/>
                    </a:lnTo>
                    <a:lnTo>
                      <a:pt x="1026" y="56"/>
                    </a:lnTo>
                    <a:lnTo>
                      <a:pt x="1022" y="56"/>
                    </a:lnTo>
                    <a:lnTo>
                      <a:pt x="1018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14" y="56"/>
                    </a:lnTo>
                    <a:lnTo>
                      <a:pt x="1010" y="56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06" y="60"/>
                    </a:lnTo>
                    <a:lnTo>
                      <a:pt x="1004" y="60"/>
                    </a:lnTo>
                    <a:lnTo>
                      <a:pt x="1006" y="60"/>
                    </a:lnTo>
                    <a:lnTo>
                      <a:pt x="1010" y="60"/>
                    </a:lnTo>
                    <a:lnTo>
                      <a:pt x="1014" y="60"/>
                    </a:lnTo>
                    <a:lnTo>
                      <a:pt x="1022" y="56"/>
                    </a:lnTo>
                    <a:lnTo>
                      <a:pt x="1030" y="56"/>
                    </a:lnTo>
                    <a:lnTo>
                      <a:pt x="1032" y="56"/>
                    </a:lnTo>
                    <a:lnTo>
                      <a:pt x="1036" y="56"/>
                    </a:lnTo>
                    <a:lnTo>
                      <a:pt x="1036" y="52"/>
                    </a:lnTo>
                    <a:lnTo>
                      <a:pt x="1040" y="52"/>
                    </a:lnTo>
                    <a:lnTo>
                      <a:pt x="1044" y="52"/>
                    </a:lnTo>
                    <a:lnTo>
                      <a:pt x="1048" y="52"/>
                    </a:lnTo>
                    <a:lnTo>
                      <a:pt x="1052" y="52"/>
                    </a:lnTo>
                    <a:lnTo>
                      <a:pt x="1056" y="52"/>
                    </a:lnTo>
                    <a:lnTo>
                      <a:pt x="1060" y="52"/>
                    </a:lnTo>
                    <a:lnTo>
                      <a:pt x="1062" y="50"/>
                    </a:lnTo>
                    <a:lnTo>
                      <a:pt x="1066" y="50"/>
                    </a:lnTo>
                    <a:lnTo>
                      <a:pt x="1070" y="50"/>
                    </a:lnTo>
                    <a:lnTo>
                      <a:pt x="1074" y="50"/>
                    </a:lnTo>
                    <a:lnTo>
                      <a:pt x="1080" y="50"/>
                    </a:lnTo>
                    <a:lnTo>
                      <a:pt x="1080" y="52"/>
                    </a:lnTo>
                    <a:lnTo>
                      <a:pt x="1076" y="52"/>
                    </a:lnTo>
                    <a:lnTo>
                      <a:pt x="1074" y="56"/>
                    </a:lnTo>
                    <a:lnTo>
                      <a:pt x="1070" y="56"/>
                    </a:lnTo>
                    <a:lnTo>
                      <a:pt x="1066" y="56"/>
                    </a:lnTo>
                    <a:lnTo>
                      <a:pt x="1062" y="56"/>
                    </a:lnTo>
                    <a:lnTo>
                      <a:pt x="1060" y="60"/>
                    </a:lnTo>
                    <a:lnTo>
                      <a:pt x="1056" y="60"/>
                    </a:lnTo>
                    <a:lnTo>
                      <a:pt x="1056" y="64"/>
                    </a:lnTo>
                    <a:lnTo>
                      <a:pt x="1052" y="64"/>
                    </a:lnTo>
                    <a:lnTo>
                      <a:pt x="1048" y="64"/>
                    </a:lnTo>
                    <a:lnTo>
                      <a:pt x="1044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40" y="68"/>
                    </a:lnTo>
                    <a:lnTo>
                      <a:pt x="1036" y="68"/>
                    </a:lnTo>
                    <a:lnTo>
                      <a:pt x="1032" y="68"/>
                    </a:lnTo>
                    <a:lnTo>
                      <a:pt x="1032" y="72"/>
                    </a:lnTo>
                    <a:lnTo>
                      <a:pt x="1030" y="72"/>
                    </a:lnTo>
                    <a:lnTo>
                      <a:pt x="1022" y="76"/>
                    </a:lnTo>
                    <a:lnTo>
                      <a:pt x="1018" y="76"/>
                    </a:lnTo>
                    <a:lnTo>
                      <a:pt x="1018" y="78"/>
                    </a:lnTo>
                    <a:lnTo>
                      <a:pt x="1014" y="78"/>
                    </a:lnTo>
                    <a:lnTo>
                      <a:pt x="1014" y="82"/>
                    </a:lnTo>
                    <a:lnTo>
                      <a:pt x="1010" y="82"/>
                    </a:lnTo>
                    <a:lnTo>
                      <a:pt x="1006" y="82"/>
                    </a:lnTo>
                    <a:lnTo>
                      <a:pt x="1004" y="82"/>
                    </a:lnTo>
                    <a:lnTo>
                      <a:pt x="1000" y="82"/>
                    </a:lnTo>
                    <a:lnTo>
                      <a:pt x="1000" y="78"/>
                    </a:lnTo>
                    <a:lnTo>
                      <a:pt x="996" y="78"/>
                    </a:lnTo>
                    <a:lnTo>
                      <a:pt x="992" y="78"/>
                    </a:lnTo>
                    <a:lnTo>
                      <a:pt x="996" y="78"/>
                    </a:lnTo>
                    <a:lnTo>
                      <a:pt x="1000" y="78"/>
                    </a:lnTo>
                    <a:lnTo>
                      <a:pt x="1000" y="82"/>
                    </a:lnTo>
                    <a:lnTo>
                      <a:pt x="1000" y="86"/>
                    </a:lnTo>
                    <a:lnTo>
                      <a:pt x="1004" y="86"/>
                    </a:lnTo>
                    <a:lnTo>
                      <a:pt x="1006" y="86"/>
                    </a:lnTo>
                    <a:lnTo>
                      <a:pt x="1004" y="86"/>
                    </a:lnTo>
                    <a:lnTo>
                      <a:pt x="1004" y="90"/>
                    </a:lnTo>
                    <a:lnTo>
                      <a:pt x="1000" y="90"/>
                    </a:lnTo>
                    <a:lnTo>
                      <a:pt x="996" y="86"/>
                    </a:lnTo>
                    <a:lnTo>
                      <a:pt x="992" y="90"/>
                    </a:lnTo>
                    <a:lnTo>
                      <a:pt x="988" y="90"/>
                    </a:lnTo>
                    <a:lnTo>
                      <a:pt x="984" y="90"/>
                    </a:lnTo>
                    <a:lnTo>
                      <a:pt x="980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4" y="86"/>
                    </a:lnTo>
                    <a:lnTo>
                      <a:pt x="970" y="86"/>
                    </a:lnTo>
                    <a:lnTo>
                      <a:pt x="974" y="90"/>
                    </a:lnTo>
                    <a:lnTo>
                      <a:pt x="976" y="90"/>
                    </a:lnTo>
                    <a:lnTo>
                      <a:pt x="974" y="90"/>
                    </a:lnTo>
                    <a:lnTo>
                      <a:pt x="970" y="90"/>
                    </a:lnTo>
                    <a:lnTo>
                      <a:pt x="970" y="94"/>
                    </a:lnTo>
                    <a:lnTo>
                      <a:pt x="974" y="94"/>
                    </a:lnTo>
                    <a:lnTo>
                      <a:pt x="976" y="94"/>
                    </a:lnTo>
                    <a:lnTo>
                      <a:pt x="980" y="94"/>
                    </a:lnTo>
                    <a:lnTo>
                      <a:pt x="984" y="94"/>
                    </a:lnTo>
                    <a:lnTo>
                      <a:pt x="984" y="90"/>
                    </a:lnTo>
                    <a:lnTo>
                      <a:pt x="988" y="90"/>
                    </a:lnTo>
                    <a:lnTo>
                      <a:pt x="992" y="90"/>
                    </a:lnTo>
                    <a:lnTo>
                      <a:pt x="996" y="90"/>
                    </a:lnTo>
                    <a:lnTo>
                      <a:pt x="996" y="94"/>
                    </a:lnTo>
                    <a:lnTo>
                      <a:pt x="992" y="94"/>
                    </a:lnTo>
                    <a:lnTo>
                      <a:pt x="988" y="94"/>
                    </a:lnTo>
                    <a:lnTo>
                      <a:pt x="984" y="98"/>
                    </a:lnTo>
                    <a:lnTo>
                      <a:pt x="988" y="98"/>
                    </a:lnTo>
                    <a:lnTo>
                      <a:pt x="992" y="98"/>
                    </a:lnTo>
                    <a:lnTo>
                      <a:pt x="988" y="102"/>
                    </a:lnTo>
                    <a:lnTo>
                      <a:pt x="984" y="102"/>
                    </a:lnTo>
                    <a:lnTo>
                      <a:pt x="980" y="102"/>
                    </a:lnTo>
                    <a:lnTo>
                      <a:pt x="976" y="102"/>
                    </a:lnTo>
                    <a:lnTo>
                      <a:pt x="974" y="106"/>
                    </a:lnTo>
                    <a:lnTo>
                      <a:pt x="970" y="106"/>
                    </a:lnTo>
                    <a:lnTo>
                      <a:pt x="970" y="102"/>
                    </a:lnTo>
                    <a:lnTo>
                      <a:pt x="970" y="106"/>
                    </a:lnTo>
                    <a:lnTo>
                      <a:pt x="966" y="106"/>
                    </a:lnTo>
                    <a:lnTo>
                      <a:pt x="962" y="102"/>
                    </a:lnTo>
                    <a:lnTo>
                      <a:pt x="962" y="98"/>
                    </a:lnTo>
                    <a:lnTo>
                      <a:pt x="958" y="98"/>
                    </a:lnTo>
                    <a:lnTo>
                      <a:pt x="954" y="98"/>
                    </a:lnTo>
                    <a:lnTo>
                      <a:pt x="950" y="98"/>
                    </a:lnTo>
                    <a:lnTo>
                      <a:pt x="948" y="98"/>
                    </a:lnTo>
                    <a:lnTo>
                      <a:pt x="944" y="98"/>
                    </a:lnTo>
                    <a:lnTo>
                      <a:pt x="940" y="98"/>
                    </a:lnTo>
                    <a:lnTo>
                      <a:pt x="936" y="98"/>
                    </a:lnTo>
                    <a:lnTo>
                      <a:pt x="936" y="102"/>
                    </a:lnTo>
                    <a:lnTo>
                      <a:pt x="940" y="102"/>
                    </a:lnTo>
                    <a:lnTo>
                      <a:pt x="944" y="102"/>
                    </a:lnTo>
                    <a:lnTo>
                      <a:pt x="948" y="102"/>
                    </a:lnTo>
                    <a:lnTo>
                      <a:pt x="950" y="102"/>
                    </a:lnTo>
                    <a:lnTo>
                      <a:pt x="954" y="102"/>
                    </a:lnTo>
                    <a:lnTo>
                      <a:pt x="958" y="102"/>
                    </a:lnTo>
                    <a:lnTo>
                      <a:pt x="958" y="106"/>
                    </a:lnTo>
                    <a:lnTo>
                      <a:pt x="958" y="108"/>
                    </a:lnTo>
                    <a:lnTo>
                      <a:pt x="954" y="108"/>
                    </a:lnTo>
                    <a:lnTo>
                      <a:pt x="950" y="108"/>
                    </a:lnTo>
                    <a:lnTo>
                      <a:pt x="948" y="108"/>
                    </a:lnTo>
                    <a:lnTo>
                      <a:pt x="944" y="108"/>
                    </a:lnTo>
                    <a:lnTo>
                      <a:pt x="940" y="108"/>
                    </a:lnTo>
                    <a:lnTo>
                      <a:pt x="936" y="108"/>
                    </a:lnTo>
                    <a:lnTo>
                      <a:pt x="932" y="108"/>
                    </a:lnTo>
                    <a:lnTo>
                      <a:pt x="936" y="108"/>
                    </a:lnTo>
                    <a:lnTo>
                      <a:pt x="936" y="112"/>
                    </a:lnTo>
                    <a:lnTo>
                      <a:pt x="932" y="112"/>
                    </a:lnTo>
                    <a:lnTo>
                      <a:pt x="928" y="112"/>
                    </a:lnTo>
                    <a:lnTo>
                      <a:pt x="924" y="112"/>
                    </a:lnTo>
                    <a:lnTo>
                      <a:pt x="920" y="108"/>
                    </a:lnTo>
                    <a:lnTo>
                      <a:pt x="920" y="112"/>
                    </a:lnTo>
                    <a:lnTo>
                      <a:pt x="920" y="108"/>
                    </a:lnTo>
                    <a:lnTo>
                      <a:pt x="918" y="108"/>
                    </a:lnTo>
                    <a:lnTo>
                      <a:pt x="914" y="108"/>
                    </a:lnTo>
                    <a:lnTo>
                      <a:pt x="910" y="108"/>
                    </a:lnTo>
                    <a:lnTo>
                      <a:pt x="906" y="108"/>
                    </a:lnTo>
                    <a:lnTo>
                      <a:pt x="902" y="108"/>
                    </a:lnTo>
                    <a:lnTo>
                      <a:pt x="906" y="108"/>
                    </a:lnTo>
                    <a:lnTo>
                      <a:pt x="910" y="108"/>
                    </a:lnTo>
                    <a:lnTo>
                      <a:pt x="914" y="108"/>
                    </a:lnTo>
                    <a:lnTo>
                      <a:pt x="918" y="108"/>
                    </a:lnTo>
                    <a:lnTo>
                      <a:pt x="918" y="112"/>
                    </a:lnTo>
                    <a:lnTo>
                      <a:pt x="920" y="112"/>
                    </a:lnTo>
                    <a:lnTo>
                      <a:pt x="918" y="112"/>
                    </a:lnTo>
                    <a:lnTo>
                      <a:pt x="914" y="112"/>
                    </a:lnTo>
                    <a:lnTo>
                      <a:pt x="910" y="112"/>
                    </a:lnTo>
                    <a:lnTo>
                      <a:pt x="906" y="112"/>
                    </a:lnTo>
                    <a:lnTo>
                      <a:pt x="902" y="112"/>
                    </a:lnTo>
                    <a:lnTo>
                      <a:pt x="902" y="108"/>
                    </a:lnTo>
                    <a:lnTo>
                      <a:pt x="898" y="108"/>
                    </a:lnTo>
                    <a:lnTo>
                      <a:pt x="902" y="112"/>
                    </a:lnTo>
                    <a:lnTo>
                      <a:pt x="898" y="112"/>
                    </a:lnTo>
                    <a:lnTo>
                      <a:pt x="894" y="112"/>
                    </a:lnTo>
                    <a:lnTo>
                      <a:pt x="890" y="112"/>
                    </a:lnTo>
                    <a:lnTo>
                      <a:pt x="894" y="112"/>
                    </a:lnTo>
                    <a:lnTo>
                      <a:pt x="898" y="112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902" y="116"/>
                    </a:lnTo>
                    <a:lnTo>
                      <a:pt x="906" y="116"/>
                    </a:lnTo>
                    <a:lnTo>
                      <a:pt x="910" y="116"/>
                    </a:lnTo>
                    <a:lnTo>
                      <a:pt x="918" y="116"/>
                    </a:lnTo>
                    <a:lnTo>
                      <a:pt x="920" y="116"/>
                    </a:lnTo>
                    <a:lnTo>
                      <a:pt x="924" y="116"/>
                    </a:lnTo>
                    <a:lnTo>
                      <a:pt x="928" y="116"/>
                    </a:lnTo>
                    <a:lnTo>
                      <a:pt x="932" y="116"/>
                    </a:lnTo>
                    <a:lnTo>
                      <a:pt x="936" y="116"/>
                    </a:lnTo>
                    <a:lnTo>
                      <a:pt x="940" y="116"/>
                    </a:lnTo>
                    <a:lnTo>
                      <a:pt x="936" y="116"/>
                    </a:lnTo>
                    <a:lnTo>
                      <a:pt x="936" y="120"/>
                    </a:lnTo>
                    <a:lnTo>
                      <a:pt x="940" y="120"/>
                    </a:lnTo>
                    <a:lnTo>
                      <a:pt x="944" y="120"/>
                    </a:lnTo>
                    <a:lnTo>
                      <a:pt x="940" y="120"/>
                    </a:lnTo>
                    <a:lnTo>
                      <a:pt x="940" y="124"/>
                    </a:lnTo>
                    <a:lnTo>
                      <a:pt x="936" y="124"/>
                    </a:lnTo>
                    <a:lnTo>
                      <a:pt x="932" y="124"/>
                    </a:lnTo>
                    <a:lnTo>
                      <a:pt x="928" y="120"/>
                    </a:lnTo>
                    <a:lnTo>
                      <a:pt x="924" y="120"/>
                    </a:lnTo>
                    <a:lnTo>
                      <a:pt x="920" y="120"/>
                    </a:lnTo>
                    <a:lnTo>
                      <a:pt x="920" y="116"/>
                    </a:lnTo>
                    <a:lnTo>
                      <a:pt x="918" y="116"/>
                    </a:lnTo>
                    <a:lnTo>
                      <a:pt x="914" y="116"/>
                    </a:lnTo>
                    <a:lnTo>
                      <a:pt x="906" y="116"/>
                    </a:lnTo>
                    <a:lnTo>
                      <a:pt x="902" y="116"/>
                    </a:lnTo>
                    <a:lnTo>
                      <a:pt x="898" y="116"/>
                    </a:lnTo>
                    <a:lnTo>
                      <a:pt x="894" y="116"/>
                    </a:lnTo>
                    <a:lnTo>
                      <a:pt x="888" y="116"/>
                    </a:lnTo>
                    <a:lnTo>
                      <a:pt x="888" y="120"/>
                    </a:lnTo>
                    <a:lnTo>
                      <a:pt x="890" y="116"/>
                    </a:lnTo>
                    <a:lnTo>
                      <a:pt x="894" y="116"/>
                    </a:lnTo>
                    <a:lnTo>
                      <a:pt x="898" y="116"/>
                    </a:lnTo>
                    <a:lnTo>
                      <a:pt x="902" y="120"/>
                    </a:lnTo>
                    <a:lnTo>
                      <a:pt x="906" y="120"/>
                    </a:lnTo>
                    <a:lnTo>
                      <a:pt x="910" y="120"/>
                    </a:lnTo>
                    <a:lnTo>
                      <a:pt x="914" y="120"/>
                    </a:lnTo>
                    <a:lnTo>
                      <a:pt x="918" y="120"/>
                    </a:lnTo>
                    <a:lnTo>
                      <a:pt x="914" y="120"/>
                    </a:lnTo>
                    <a:lnTo>
                      <a:pt x="910" y="120"/>
                    </a:lnTo>
                    <a:lnTo>
                      <a:pt x="906" y="120"/>
                    </a:lnTo>
                    <a:lnTo>
                      <a:pt x="902" y="120"/>
                    </a:lnTo>
                    <a:lnTo>
                      <a:pt x="898" y="120"/>
                    </a:lnTo>
                    <a:lnTo>
                      <a:pt x="898" y="124"/>
                    </a:lnTo>
                    <a:lnTo>
                      <a:pt x="894" y="124"/>
                    </a:lnTo>
                    <a:lnTo>
                      <a:pt x="894" y="120"/>
                    </a:lnTo>
                    <a:lnTo>
                      <a:pt x="890" y="120"/>
                    </a:lnTo>
                    <a:lnTo>
                      <a:pt x="888" y="120"/>
                    </a:lnTo>
                    <a:lnTo>
                      <a:pt x="884" y="120"/>
                    </a:lnTo>
                    <a:lnTo>
                      <a:pt x="880" y="120"/>
                    </a:lnTo>
                    <a:lnTo>
                      <a:pt x="884" y="120"/>
                    </a:lnTo>
                    <a:lnTo>
                      <a:pt x="888" y="120"/>
                    </a:lnTo>
                    <a:lnTo>
                      <a:pt x="890" y="120"/>
                    </a:lnTo>
                    <a:lnTo>
                      <a:pt x="894" y="120"/>
                    </a:lnTo>
                    <a:lnTo>
                      <a:pt x="894" y="124"/>
                    </a:lnTo>
                    <a:lnTo>
                      <a:pt x="890" y="124"/>
                    </a:lnTo>
                    <a:lnTo>
                      <a:pt x="890" y="128"/>
                    </a:lnTo>
                    <a:lnTo>
                      <a:pt x="888" y="128"/>
                    </a:lnTo>
                    <a:lnTo>
                      <a:pt x="888" y="132"/>
                    </a:lnTo>
                    <a:lnTo>
                      <a:pt x="888" y="128"/>
                    </a:lnTo>
                    <a:lnTo>
                      <a:pt x="890" y="128"/>
                    </a:lnTo>
                    <a:lnTo>
                      <a:pt x="890" y="124"/>
                    </a:lnTo>
                    <a:lnTo>
                      <a:pt x="894" y="124"/>
                    </a:lnTo>
                    <a:lnTo>
                      <a:pt x="898" y="124"/>
                    </a:lnTo>
                    <a:lnTo>
                      <a:pt x="902" y="124"/>
                    </a:lnTo>
                    <a:lnTo>
                      <a:pt x="906" y="124"/>
                    </a:lnTo>
                    <a:lnTo>
                      <a:pt x="910" y="124"/>
                    </a:lnTo>
                    <a:lnTo>
                      <a:pt x="914" y="124"/>
                    </a:lnTo>
                    <a:lnTo>
                      <a:pt x="920" y="124"/>
                    </a:lnTo>
                    <a:lnTo>
                      <a:pt x="924" y="124"/>
                    </a:lnTo>
                    <a:lnTo>
                      <a:pt x="920" y="124"/>
                    </a:lnTo>
                    <a:lnTo>
                      <a:pt x="918" y="124"/>
                    </a:lnTo>
                    <a:lnTo>
                      <a:pt x="918" y="128"/>
                    </a:lnTo>
                    <a:lnTo>
                      <a:pt x="914" y="128"/>
                    </a:lnTo>
                    <a:lnTo>
                      <a:pt x="918" y="128"/>
                    </a:lnTo>
                    <a:lnTo>
                      <a:pt x="920" y="128"/>
                    </a:lnTo>
                    <a:lnTo>
                      <a:pt x="928" y="128"/>
                    </a:lnTo>
                    <a:lnTo>
                      <a:pt x="932" y="128"/>
                    </a:lnTo>
                    <a:lnTo>
                      <a:pt x="936" y="128"/>
                    </a:lnTo>
                    <a:lnTo>
                      <a:pt x="936" y="132"/>
                    </a:lnTo>
                    <a:lnTo>
                      <a:pt x="936" y="136"/>
                    </a:lnTo>
                    <a:lnTo>
                      <a:pt x="932" y="136"/>
                    </a:lnTo>
                    <a:lnTo>
                      <a:pt x="928" y="136"/>
                    </a:lnTo>
                    <a:lnTo>
                      <a:pt x="928" y="138"/>
                    </a:lnTo>
                    <a:lnTo>
                      <a:pt x="920" y="138"/>
                    </a:lnTo>
                    <a:lnTo>
                      <a:pt x="918" y="136"/>
                    </a:lnTo>
                    <a:lnTo>
                      <a:pt x="914" y="136"/>
                    </a:lnTo>
                    <a:lnTo>
                      <a:pt x="910" y="136"/>
                    </a:lnTo>
                    <a:lnTo>
                      <a:pt x="910" y="138"/>
                    </a:lnTo>
                    <a:lnTo>
                      <a:pt x="914" y="138"/>
                    </a:lnTo>
                    <a:lnTo>
                      <a:pt x="918" y="138"/>
                    </a:lnTo>
                    <a:lnTo>
                      <a:pt x="920" y="138"/>
                    </a:lnTo>
                    <a:lnTo>
                      <a:pt x="924" y="138"/>
                    </a:lnTo>
                    <a:lnTo>
                      <a:pt x="928" y="138"/>
                    </a:lnTo>
                    <a:lnTo>
                      <a:pt x="932" y="142"/>
                    </a:lnTo>
                    <a:lnTo>
                      <a:pt x="928" y="142"/>
                    </a:lnTo>
                    <a:lnTo>
                      <a:pt x="928" y="146"/>
                    </a:lnTo>
                    <a:lnTo>
                      <a:pt x="924" y="146"/>
                    </a:lnTo>
                    <a:lnTo>
                      <a:pt x="920" y="146"/>
                    </a:lnTo>
                    <a:lnTo>
                      <a:pt x="918" y="146"/>
                    </a:lnTo>
                    <a:lnTo>
                      <a:pt x="914" y="146"/>
                    </a:lnTo>
                    <a:lnTo>
                      <a:pt x="910" y="146"/>
                    </a:lnTo>
                    <a:lnTo>
                      <a:pt x="906" y="146"/>
                    </a:lnTo>
                    <a:lnTo>
                      <a:pt x="910" y="146"/>
                    </a:lnTo>
                    <a:lnTo>
                      <a:pt x="914" y="146"/>
                    </a:lnTo>
                    <a:lnTo>
                      <a:pt x="920" y="146"/>
                    </a:lnTo>
                    <a:lnTo>
                      <a:pt x="924" y="146"/>
                    </a:lnTo>
                    <a:lnTo>
                      <a:pt x="924" y="150"/>
                    </a:lnTo>
                    <a:lnTo>
                      <a:pt x="920" y="150"/>
                    </a:lnTo>
                    <a:lnTo>
                      <a:pt x="920" y="154"/>
                    </a:lnTo>
                    <a:lnTo>
                      <a:pt x="918" y="150"/>
                    </a:lnTo>
                    <a:lnTo>
                      <a:pt x="914" y="150"/>
                    </a:lnTo>
                    <a:lnTo>
                      <a:pt x="914" y="154"/>
                    </a:lnTo>
                    <a:lnTo>
                      <a:pt x="910" y="154"/>
                    </a:lnTo>
                    <a:lnTo>
                      <a:pt x="906" y="154"/>
                    </a:lnTo>
                    <a:lnTo>
                      <a:pt x="902" y="154"/>
                    </a:lnTo>
                    <a:lnTo>
                      <a:pt x="894" y="154"/>
                    </a:lnTo>
                    <a:lnTo>
                      <a:pt x="890" y="154"/>
                    </a:lnTo>
                    <a:lnTo>
                      <a:pt x="888" y="154"/>
                    </a:lnTo>
                    <a:lnTo>
                      <a:pt x="888" y="150"/>
                    </a:lnTo>
                    <a:lnTo>
                      <a:pt x="884" y="154"/>
                    </a:lnTo>
                    <a:lnTo>
                      <a:pt x="888" y="154"/>
                    </a:lnTo>
                    <a:lnTo>
                      <a:pt x="888" y="158"/>
                    </a:lnTo>
                    <a:lnTo>
                      <a:pt x="890" y="158"/>
                    </a:lnTo>
                    <a:lnTo>
                      <a:pt x="890" y="160"/>
                    </a:lnTo>
                    <a:lnTo>
                      <a:pt x="894" y="160"/>
                    </a:lnTo>
                    <a:lnTo>
                      <a:pt x="890" y="164"/>
                    </a:lnTo>
                    <a:lnTo>
                      <a:pt x="888" y="168"/>
                    </a:lnTo>
                    <a:lnTo>
                      <a:pt x="880" y="172"/>
                    </a:lnTo>
                    <a:lnTo>
                      <a:pt x="880" y="168"/>
                    </a:lnTo>
                    <a:lnTo>
                      <a:pt x="876" y="168"/>
                    </a:lnTo>
                    <a:lnTo>
                      <a:pt x="876" y="172"/>
                    </a:lnTo>
                    <a:lnTo>
                      <a:pt x="872" y="172"/>
                    </a:lnTo>
                    <a:lnTo>
                      <a:pt x="868" y="172"/>
                    </a:lnTo>
                    <a:lnTo>
                      <a:pt x="864" y="172"/>
                    </a:lnTo>
                    <a:lnTo>
                      <a:pt x="862" y="172"/>
                    </a:lnTo>
                    <a:lnTo>
                      <a:pt x="858" y="172"/>
                    </a:lnTo>
                    <a:lnTo>
                      <a:pt x="854" y="168"/>
                    </a:lnTo>
                    <a:lnTo>
                      <a:pt x="850" y="168"/>
                    </a:lnTo>
                    <a:lnTo>
                      <a:pt x="846" y="168"/>
                    </a:lnTo>
                    <a:lnTo>
                      <a:pt x="842" y="168"/>
                    </a:lnTo>
                    <a:lnTo>
                      <a:pt x="842" y="164"/>
                    </a:lnTo>
                    <a:lnTo>
                      <a:pt x="838" y="164"/>
                    </a:lnTo>
                    <a:lnTo>
                      <a:pt x="834" y="160"/>
                    </a:lnTo>
                    <a:lnTo>
                      <a:pt x="838" y="164"/>
                    </a:lnTo>
                    <a:lnTo>
                      <a:pt x="838" y="168"/>
                    </a:lnTo>
                    <a:lnTo>
                      <a:pt x="842" y="168"/>
                    </a:lnTo>
                    <a:lnTo>
                      <a:pt x="846" y="168"/>
                    </a:lnTo>
                    <a:lnTo>
                      <a:pt x="846" y="172"/>
                    </a:lnTo>
                    <a:lnTo>
                      <a:pt x="842" y="172"/>
                    </a:lnTo>
                    <a:lnTo>
                      <a:pt x="834" y="172"/>
                    </a:lnTo>
                    <a:lnTo>
                      <a:pt x="832" y="172"/>
                    </a:lnTo>
                    <a:lnTo>
                      <a:pt x="834" y="172"/>
                    </a:lnTo>
                    <a:lnTo>
                      <a:pt x="834" y="176"/>
                    </a:lnTo>
                    <a:lnTo>
                      <a:pt x="838" y="176"/>
                    </a:lnTo>
                    <a:lnTo>
                      <a:pt x="838" y="172"/>
                    </a:lnTo>
                    <a:lnTo>
                      <a:pt x="842" y="172"/>
                    </a:lnTo>
                    <a:lnTo>
                      <a:pt x="846" y="172"/>
                    </a:lnTo>
                    <a:lnTo>
                      <a:pt x="850" y="172"/>
                    </a:lnTo>
                    <a:lnTo>
                      <a:pt x="854" y="172"/>
                    </a:lnTo>
                    <a:lnTo>
                      <a:pt x="858" y="172"/>
                    </a:lnTo>
                    <a:lnTo>
                      <a:pt x="862" y="172"/>
                    </a:lnTo>
                    <a:lnTo>
                      <a:pt x="862" y="176"/>
                    </a:lnTo>
                    <a:lnTo>
                      <a:pt x="858" y="176"/>
                    </a:lnTo>
                    <a:lnTo>
                      <a:pt x="862" y="176"/>
                    </a:lnTo>
                    <a:lnTo>
                      <a:pt x="864" y="172"/>
                    </a:lnTo>
                    <a:lnTo>
                      <a:pt x="868" y="172"/>
                    </a:lnTo>
                    <a:lnTo>
                      <a:pt x="872" y="172"/>
                    </a:lnTo>
                    <a:lnTo>
                      <a:pt x="876" y="176"/>
                    </a:lnTo>
                    <a:lnTo>
                      <a:pt x="876" y="180"/>
                    </a:lnTo>
                    <a:lnTo>
                      <a:pt x="872" y="180"/>
                    </a:lnTo>
                    <a:lnTo>
                      <a:pt x="872" y="182"/>
                    </a:lnTo>
                    <a:lnTo>
                      <a:pt x="872" y="180"/>
                    </a:lnTo>
                    <a:lnTo>
                      <a:pt x="876" y="180"/>
                    </a:lnTo>
                    <a:lnTo>
                      <a:pt x="880" y="182"/>
                    </a:lnTo>
                    <a:lnTo>
                      <a:pt x="884" y="182"/>
                    </a:lnTo>
                    <a:lnTo>
                      <a:pt x="884" y="180"/>
                    </a:lnTo>
                    <a:lnTo>
                      <a:pt x="888" y="180"/>
                    </a:lnTo>
                    <a:lnTo>
                      <a:pt x="890" y="180"/>
                    </a:lnTo>
                    <a:lnTo>
                      <a:pt x="894" y="186"/>
                    </a:lnTo>
                    <a:lnTo>
                      <a:pt x="894" y="190"/>
                    </a:lnTo>
                    <a:lnTo>
                      <a:pt x="890" y="190"/>
                    </a:lnTo>
                    <a:lnTo>
                      <a:pt x="888" y="190"/>
                    </a:lnTo>
                    <a:lnTo>
                      <a:pt x="888" y="194"/>
                    </a:lnTo>
                    <a:lnTo>
                      <a:pt x="884" y="194"/>
                    </a:lnTo>
                    <a:lnTo>
                      <a:pt x="884" y="190"/>
                    </a:lnTo>
                    <a:lnTo>
                      <a:pt x="880" y="190"/>
                    </a:lnTo>
                    <a:lnTo>
                      <a:pt x="880" y="194"/>
                    </a:lnTo>
                    <a:lnTo>
                      <a:pt x="876" y="194"/>
                    </a:lnTo>
                    <a:lnTo>
                      <a:pt x="872" y="194"/>
                    </a:lnTo>
                    <a:lnTo>
                      <a:pt x="872" y="198"/>
                    </a:lnTo>
                    <a:lnTo>
                      <a:pt x="868" y="198"/>
                    </a:lnTo>
                    <a:lnTo>
                      <a:pt x="864" y="198"/>
                    </a:lnTo>
                    <a:lnTo>
                      <a:pt x="864" y="202"/>
                    </a:lnTo>
                    <a:lnTo>
                      <a:pt x="862" y="202"/>
                    </a:lnTo>
                    <a:lnTo>
                      <a:pt x="858" y="202"/>
                    </a:lnTo>
                    <a:lnTo>
                      <a:pt x="854" y="202"/>
                    </a:lnTo>
                    <a:lnTo>
                      <a:pt x="850" y="202"/>
                    </a:lnTo>
                    <a:lnTo>
                      <a:pt x="846" y="202"/>
                    </a:lnTo>
                    <a:lnTo>
                      <a:pt x="850" y="198"/>
                    </a:lnTo>
                    <a:lnTo>
                      <a:pt x="854" y="194"/>
                    </a:lnTo>
                    <a:lnTo>
                      <a:pt x="850" y="194"/>
                    </a:lnTo>
                    <a:lnTo>
                      <a:pt x="846" y="194"/>
                    </a:lnTo>
                    <a:lnTo>
                      <a:pt x="846" y="190"/>
                    </a:lnTo>
                    <a:lnTo>
                      <a:pt x="842" y="194"/>
                    </a:lnTo>
                    <a:lnTo>
                      <a:pt x="838" y="194"/>
                    </a:lnTo>
                    <a:lnTo>
                      <a:pt x="834" y="194"/>
                    </a:lnTo>
                    <a:lnTo>
                      <a:pt x="834" y="190"/>
                    </a:lnTo>
                    <a:lnTo>
                      <a:pt x="838" y="190"/>
                    </a:lnTo>
                    <a:lnTo>
                      <a:pt x="838" y="186"/>
                    </a:lnTo>
                    <a:lnTo>
                      <a:pt x="834" y="186"/>
                    </a:lnTo>
                    <a:lnTo>
                      <a:pt x="834" y="190"/>
                    </a:lnTo>
                    <a:lnTo>
                      <a:pt x="832" y="190"/>
                    </a:lnTo>
                    <a:lnTo>
                      <a:pt x="828" y="190"/>
                    </a:lnTo>
                    <a:lnTo>
                      <a:pt x="828" y="186"/>
                    </a:lnTo>
                    <a:lnTo>
                      <a:pt x="824" y="182"/>
                    </a:lnTo>
                    <a:lnTo>
                      <a:pt x="824" y="186"/>
                    </a:lnTo>
                    <a:lnTo>
                      <a:pt x="828" y="186"/>
                    </a:lnTo>
                    <a:lnTo>
                      <a:pt x="828" y="190"/>
                    </a:lnTo>
                    <a:lnTo>
                      <a:pt x="832" y="190"/>
                    </a:lnTo>
                    <a:lnTo>
                      <a:pt x="832" y="194"/>
                    </a:lnTo>
                    <a:lnTo>
                      <a:pt x="828" y="194"/>
                    </a:lnTo>
                    <a:lnTo>
                      <a:pt x="824" y="198"/>
                    </a:lnTo>
                    <a:lnTo>
                      <a:pt x="824" y="194"/>
                    </a:lnTo>
                    <a:lnTo>
                      <a:pt x="820" y="194"/>
                    </a:lnTo>
                    <a:lnTo>
                      <a:pt x="820" y="190"/>
                    </a:lnTo>
                    <a:lnTo>
                      <a:pt x="816" y="190"/>
                    </a:lnTo>
                    <a:lnTo>
                      <a:pt x="816" y="186"/>
                    </a:lnTo>
                    <a:lnTo>
                      <a:pt x="812" y="186"/>
                    </a:lnTo>
                    <a:lnTo>
                      <a:pt x="816" y="190"/>
                    </a:lnTo>
                    <a:lnTo>
                      <a:pt x="816" y="194"/>
                    </a:lnTo>
                    <a:lnTo>
                      <a:pt x="812" y="194"/>
                    </a:lnTo>
                    <a:lnTo>
                      <a:pt x="808" y="194"/>
                    </a:lnTo>
                    <a:lnTo>
                      <a:pt x="806" y="194"/>
                    </a:lnTo>
                    <a:lnTo>
                      <a:pt x="806" y="190"/>
                    </a:lnTo>
                    <a:lnTo>
                      <a:pt x="802" y="190"/>
                    </a:lnTo>
                    <a:lnTo>
                      <a:pt x="802" y="194"/>
                    </a:lnTo>
                    <a:lnTo>
                      <a:pt x="806" y="194"/>
                    </a:lnTo>
                    <a:lnTo>
                      <a:pt x="802" y="194"/>
                    </a:lnTo>
                    <a:lnTo>
                      <a:pt x="798" y="194"/>
                    </a:lnTo>
                    <a:lnTo>
                      <a:pt x="794" y="194"/>
                    </a:lnTo>
                    <a:lnTo>
                      <a:pt x="794" y="190"/>
                    </a:lnTo>
                    <a:lnTo>
                      <a:pt x="790" y="190"/>
                    </a:lnTo>
                    <a:lnTo>
                      <a:pt x="790" y="194"/>
                    </a:lnTo>
                    <a:lnTo>
                      <a:pt x="794" y="194"/>
                    </a:lnTo>
                    <a:lnTo>
                      <a:pt x="802" y="198"/>
                    </a:lnTo>
                    <a:lnTo>
                      <a:pt x="798" y="198"/>
                    </a:lnTo>
                    <a:lnTo>
                      <a:pt x="794" y="198"/>
                    </a:lnTo>
                    <a:lnTo>
                      <a:pt x="790" y="198"/>
                    </a:lnTo>
                    <a:lnTo>
                      <a:pt x="786" y="198"/>
                    </a:lnTo>
                    <a:lnTo>
                      <a:pt x="782" y="198"/>
                    </a:lnTo>
                    <a:lnTo>
                      <a:pt x="778" y="198"/>
                    </a:lnTo>
                    <a:lnTo>
                      <a:pt x="776" y="198"/>
                    </a:lnTo>
                    <a:lnTo>
                      <a:pt x="772" y="198"/>
                    </a:lnTo>
                    <a:lnTo>
                      <a:pt x="772" y="194"/>
                    </a:lnTo>
                    <a:lnTo>
                      <a:pt x="776" y="194"/>
                    </a:lnTo>
                    <a:lnTo>
                      <a:pt x="772" y="190"/>
                    </a:lnTo>
                    <a:lnTo>
                      <a:pt x="768" y="190"/>
                    </a:lnTo>
                    <a:lnTo>
                      <a:pt x="772" y="190"/>
                    </a:lnTo>
                    <a:lnTo>
                      <a:pt x="772" y="194"/>
                    </a:lnTo>
                    <a:lnTo>
                      <a:pt x="768" y="194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4"/>
                    </a:lnTo>
                    <a:lnTo>
                      <a:pt x="756" y="194"/>
                    </a:lnTo>
                    <a:lnTo>
                      <a:pt x="756" y="190"/>
                    </a:lnTo>
                    <a:lnTo>
                      <a:pt x="756" y="194"/>
                    </a:lnTo>
                    <a:lnTo>
                      <a:pt x="756" y="198"/>
                    </a:lnTo>
                    <a:lnTo>
                      <a:pt x="752" y="198"/>
                    </a:lnTo>
                    <a:lnTo>
                      <a:pt x="752" y="194"/>
                    </a:lnTo>
                    <a:lnTo>
                      <a:pt x="752" y="198"/>
                    </a:lnTo>
                    <a:lnTo>
                      <a:pt x="748" y="198"/>
                    </a:lnTo>
                    <a:lnTo>
                      <a:pt x="746" y="198"/>
                    </a:lnTo>
                    <a:lnTo>
                      <a:pt x="742" y="194"/>
                    </a:lnTo>
                    <a:lnTo>
                      <a:pt x="746" y="194"/>
                    </a:lnTo>
                    <a:lnTo>
                      <a:pt x="742" y="190"/>
                    </a:lnTo>
                    <a:lnTo>
                      <a:pt x="742" y="186"/>
                    </a:lnTo>
                    <a:lnTo>
                      <a:pt x="742" y="182"/>
                    </a:lnTo>
                    <a:lnTo>
                      <a:pt x="738" y="186"/>
                    </a:lnTo>
                    <a:lnTo>
                      <a:pt x="742" y="186"/>
                    </a:lnTo>
                    <a:lnTo>
                      <a:pt x="742" y="190"/>
                    </a:lnTo>
                    <a:lnTo>
                      <a:pt x="742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0"/>
                    </a:lnTo>
                    <a:lnTo>
                      <a:pt x="738" y="190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2" y="194"/>
                    </a:lnTo>
                    <a:lnTo>
                      <a:pt x="728" y="190"/>
                    </a:lnTo>
                    <a:lnTo>
                      <a:pt x="732" y="186"/>
                    </a:lnTo>
                    <a:lnTo>
                      <a:pt x="728" y="186"/>
                    </a:lnTo>
                    <a:lnTo>
                      <a:pt x="728" y="182"/>
                    </a:lnTo>
                    <a:lnTo>
                      <a:pt x="732" y="182"/>
                    </a:lnTo>
                    <a:lnTo>
                      <a:pt x="734" y="182"/>
                    </a:lnTo>
                    <a:lnTo>
                      <a:pt x="734" y="180"/>
                    </a:lnTo>
                    <a:lnTo>
                      <a:pt x="738" y="180"/>
                    </a:lnTo>
                    <a:lnTo>
                      <a:pt x="742" y="176"/>
                    </a:lnTo>
                    <a:lnTo>
                      <a:pt x="746" y="176"/>
                    </a:lnTo>
                    <a:lnTo>
                      <a:pt x="748" y="176"/>
                    </a:lnTo>
                    <a:lnTo>
                      <a:pt x="752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56" y="176"/>
                    </a:lnTo>
                    <a:lnTo>
                      <a:pt x="760" y="176"/>
                    </a:lnTo>
                    <a:lnTo>
                      <a:pt x="764" y="176"/>
                    </a:lnTo>
                    <a:lnTo>
                      <a:pt x="768" y="176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4" y="172"/>
                    </a:lnTo>
                    <a:lnTo>
                      <a:pt x="760" y="172"/>
                    </a:lnTo>
                    <a:lnTo>
                      <a:pt x="760" y="168"/>
                    </a:lnTo>
                    <a:lnTo>
                      <a:pt x="764" y="168"/>
                    </a:lnTo>
                    <a:lnTo>
                      <a:pt x="760" y="168"/>
                    </a:lnTo>
                    <a:lnTo>
                      <a:pt x="756" y="168"/>
                    </a:lnTo>
                    <a:lnTo>
                      <a:pt x="752" y="168"/>
                    </a:lnTo>
                    <a:lnTo>
                      <a:pt x="752" y="164"/>
                    </a:lnTo>
                    <a:lnTo>
                      <a:pt x="748" y="160"/>
                    </a:lnTo>
                    <a:lnTo>
                      <a:pt x="746" y="160"/>
                    </a:lnTo>
                    <a:lnTo>
                      <a:pt x="746" y="158"/>
                    </a:lnTo>
                    <a:lnTo>
                      <a:pt x="748" y="158"/>
                    </a:lnTo>
                    <a:lnTo>
                      <a:pt x="752" y="158"/>
                    </a:lnTo>
                    <a:lnTo>
                      <a:pt x="752" y="154"/>
                    </a:lnTo>
                    <a:lnTo>
                      <a:pt x="760" y="154"/>
                    </a:lnTo>
                    <a:lnTo>
                      <a:pt x="764" y="154"/>
                    </a:lnTo>
                    <a:lnTo>
                      <a:pt x="768" y="154"/>
                    </a:lnTo>
                    <a:lnTo>
                      <a:pt x="772" y="158"/>
                    </a:lnTo>
                    <a:lnTo>
                      <a:pt x="776" y="158"/>
                    </a:lnTo>
                    <a:lnTo>
                      <a:pt x="778" y="160"/>
                    </a:lnTo>
                    <a:lnTo>
                      <a:pt x="782" y="164"/>
                    </a:lnTo>
                    <a:lnTo>
                      <a:pt x="782" y="168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4"/>
                    </a:lnTo>
                    <a:lnTo>
                      <a:pt x="786" y="168"/>
                    </a:lnTo>
                    <a:lnTo>
                      <a:pt x="790" y="168"/>
                    </a:lnTo>
                    <a:lnTo>
                      <a:pt x="794" y="168"/>
                    </a:lnTo>
                    <a:lnTo>
                      <a:pt x="794" y="172"/>
                    </a:lnTo>
                    <a:lnTo>
                      <a:pt x="798" y="172"/>
                    </a:lnTo>
                    <a:lnTo>
                      <a:pt x="798" y="168"/>
                    </a:lnTo>
                    <a:lnTo>
                      <a:pt x="802" y="168"/>
                    </a:lnTo>
                    <a:lnTo>
                      <a:pt x="806" y="168"/>
                    </a:lnTo>
                    <a:lnTo>
                      <a:pt x="808" y="168"/>
                    </a:lnTo>
                    <a:lnTo>
                      <a:pt x="812" y="168"/>
                    </a:lnTo>
                    <a:lnTo>
                      <a:pt x="808" y="168"/>
                    </a:lnTo>
                    <a:lnTo>
                      <a:pt x="808" y="164"/>
                    </a:lnTo>
                    <a:lnTo>
                      <a:pt x="812" y="164"/>
                    </a:lnTo>
                    <a:lnTo>
                      <a:pt x="816" y="164"/>
                    </a:lnTo>
                    <a:lnTo>
                      <a:pt x="820" y="160"/>
                    </a:lnTo>
                    <a:lnTo>
                      <a:pt x="824" y="158"/>
                    </a:lnTo>
                    <a:lnTo>
                      <a:pt x="828" y="154"/>
                    </a:lnTo>
                    <a:lnTo>
                      <a:pt x="828" y="150"/>
                    </a:lnTo>
                    <a:lnTo>
                      <a:pt x="832" y="150"/>
                    </a:lnTo>
                    <a:lnTo>
                      <a:pt x="828" y="150"/>
                    </a:lnTo>
                    <a:lnTo>
                      <a:pt x="824" y="150"/>
                    </a:lnTo>
                    <a:lnTo>
                      <a:pt x="824" y="154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16" y="158"/>
                    </a:lnTo>
                    <a:lnTo>
                      <a:pt x="816" y="160"/>
                    </a:lnTo>
                    <a:lnTo>
                      <a:pt x="812" y="160"/>
                    </a:lnTo>
                    <a:lnTo>
                      <a:pt x="812" y="164"/>
                    </a:lnTo>
                    <a:lnTo>
                      <a:pt x="808" y="164"/>
                    </a:lnTo>
                    <a:lnTo>
                      <a:pt x="806" y="164"/>
                    </a:lnTo>
                    <a:lnTo>
                      <a:pt x="802" y="164"/>
                    </a:lnTo>
                    <a:lnTo>
                      <a:pt x="798" y="164"/>
                    </a:lnTo>
                    <a:lnTo>
                      <a:pt x="794" y="164"/>
                    </a:lnTo>
                    <a:lnTo>
                      <a:pt x="794" y="160"/>
                    </a:lnTo>
                    <a:lnTo>
                      <a:pt x="798" y="160"/>
                    </a:lnTo>
                    <a:lnTo>
                      <a:pt x="802" y="160"/>
                    </a:lnTo>
                    <a:lnTo>
                      <a:pt x="798" y="158"/>
                    </a:lnTo>
                    <a:lnTo>
                      <a:pt x="798" y="160"/>
                    </a:lnTo>
                    <a:lnTo>
                      <a:pt x="794" y="160"/>
                    </a:lnTo>
                    <a:lnTo>
                      <a:pt x="790" y="160"/>
                    </a:lnTo>
                    <a:lnTo>
                      <a:pt x="786" y="160"/>
                    </a:lnTo>
                    <a:lnTo>
                      <a:pt x="786" y="158"/>
                    </a:lnTo>
                    <a:lnTo>
                      <a:pt x="790" y="158"/>
                    </a:lnTo>
                    <a:lnTo>
                      <a:pt x="786" y="158"/>
                    </a:lnTo>
                    <a:lnTo>
                      <a:pt x="786" y="154"/>
                    </a:lnTo>
                    <a:lnTo>
                      <a:pt x="790" y="154"/>
                    </a:lnTo>
                    <a:lnTo>
                      <a:pt x="794" y="154"/>
                    </a:lnTo>
                    <a:lnTo>
                      <a:pt x="798" y="154"/>
                    </a:lnTo>
                    <a:lnTo>
                      <a:pt x="802" y="154"/>
                    </a:lnTo>
                    <a:lnTo>
                      <a:pt x="798" y="154"/>
                    </a:lnTo>
                    <a:lnTo>
                      <a:pt x="794" y="154"/>
                    </a:lnTo>
                    <a:lnTo>
                      <a:pt x="790" y="154"/>
                    </a:lnTo>
                    <a:lnTo>
                      <a:pt x="786" y="154"/>
                    </a:lnTo>
                    <a:lnTo>
                      <a:pt x="782" y="154"/>
                    </a:lnTo>
                    <a:lnTo>
                      <a:pt x="786" y="150"/>
                    </a:lnTo>
                    <a:lnTo>
                      <a:pt x="790" y="150"/>
                    </a:lnTo>
                    <a:lnTo>
                      <a:pt x="794" y="150"/>
                    </a:lnTo>
                    <a:lnTo>
                      <a:pt x="798" y="150"/>
                    </a:lnTo>
                    <a:lnTo>
                      <a:pt x="802" y="150"/>
                    </a:lnTo>
                    <a:lnTo>
                      <a:pt x="798" y="150"/>
                    </a:lnTo>
                    <a:lnTo>
                      <a:pt x="794" y="150"/>
                    </a:lnTo>
                    <a:lnTo>
                      <a:pt x="790" y="150"/>
                    </a:lnTo>
                    <a:lnTo>
                      <a:pt x="790" y="146"/>
                    </a:lnTo>
                    <a:lnTo>
                      <a:pt x="794" y="146"/>
                    </a:lnTo>
                    <a:lnTo>
                      <a:pt x="798" y="146"/>
                    </a:lnTo>
                    <a:lnTo>
                      <a:pt x="802" y="146"/>
                    </a:lnTo>
                    <a:lnTo>
                      <a:pt x="806" y="146"/>
                    </a:lnTo>
                    <a:lnTo>
                      <a:pt x="802" y="146"/>
                    </a:lnTo>
                    <a:lnTo>
                      <a:pt x="798" y="146"/>
                    </a:lnTo>
                    <a:lnTo>
                      <a:pt x="794" y="146"/>
                    </a:lnTo>
                    <a:lnTo>
                      <a:pt x="794" y="142"/>
                    </a:lnTo>
                    <a:lnTo>
                      <a:pt x="798" y="142"/>
                    </a:lnTo>
                    <a:lnTo>
                      <a:pt x="794" y="142"/>
                    </a:lnTo>
                    <a:lnTo>
                      <a:pt x="794" y="138"/>
                    </a:lnTo>
                    <a:lnTo>
                      <a:pt x="794" y="136"/>
                    </a:lnTo>
                    <a:lnTo>
                      <a:pt x="798" y="136"/>
                    </a:lnTo>
                    <a:lnTo>
                      <a:pt x="794" y="138"/>
                    </a:lnTo>
                    <a:lnTo>
                      <a:pt x="794" y="142"/>
                    </a:lnTo>
                    <a:lnTo>
                      <a:pt x="790" y="142"/>
                    </a:lnTo>
                    <a:lnTo>
                      <a:pt x="790" y="146"/>
                    </a:lnTo>
                    <a:lnTo>
                      <a:pt x="786" y="150"/>
                    </a:lnTo>
                    <a:lnTo>
                      <a:pt x="782" y="150"/>
                    </a:lnTo>
                    <a:lnTo>
                      <a:pt x="778" y="150"/>
                    </a:lnTo>
                    <a:lnTo>
                      <a:pt x="776" y="150"/>
                    </a:lnTo>
                    <a:lnTo>
                      <a:pt x="776" y="146"/>
                    </a:lnTo>
                    <a:lnTo>
                      <a:pt x="778" y="146"/>
                    </a:lnTo>
                    <a:lnTo>
                      <a:pt x="778" y="142"/>
                    </a:lnTo>
                    <a:lnTo>
                      <a:pt x="776" y="142"/>
                    </a:lnTo>
                    <a:lnTo>
                      <a:pt x="776" y="146"/>
                    </a:lnTo>
                    <a:lnTo>
                      <a:pt x="772" y="146"/>
                    </a:lnTo>
                    <a:lnTo>
                      <a:pt x="768" y="146"/>
                    </a:lnTo>
                    <a:lnTo>
                      <a:pt x="768" y="150"/>
                    </a:lnTo>
                    <a:lnTo>
                      <a:pt x="764" y="150"/>
                    </a:lnTo>
                    <a:lnTo>
                      <a:pt x="760" y="150"/>
                    </a:lnTo>
                    <a:lnTo>
                      <a:pt x="756" y="150"/>
                    </a:lnTo>
                    <a:lnTo>
                      <a:pt x="756" y="146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36"/>
                    </a:lnTo>
                    <a:lnTo>
                      <a:pt x="764" y="136"/>
                    </a:lnTo>
                    <a:lnTo>
                      <a:pt x="760" y="136"/>
                    </a:lnTo>
                    <a:lnTo>
                      <a:pt x="764" y="132"/>
                    </a:lnTo>
                    <a:lnTo>
                      <a:pt x="768" y="128"/>
                    </a:lnTo>
                    <a:lnTo>
                      <a:pt x="772" y="128"/>
                    </a:lnTo>
                    <a:lnTo>
                      <a:pt x="776" y="128"/>
                    </a:lnTo>
                    <a:lnTo>
                      <a:pt x="778" y="128"/>
                    </a:lnTo>
                    <a:lnTo>
                      <a:pt x="782" y="128"/>
                    </a:lnTo>
                    <a:lnTo>
                      <a:pt x="786" y="128"/>
                    </a:lnTo>
                    <a:lnTo>
                      <a:pt x="786" y="124"/>
                    </a:lnTo>
                    <a:lnTo>
                      <a:pt x="790" y="124"/>
                    </a:lnTo>
                    <a:lnTo>
                      <a:pt x="794" y="128"/>
                    </a:lnTo>
                    <a:lnTo>
                      <a:pt x="798" y="128"/>
                    </a:lnTo>
                    <a:lnTo>
                      <a:pt x="802" y="128"/>
                    </a:lnTo>
                    <a:lnTo>
                      <a:pt x="806" y="128"/>
                    </a:lnTo>
                    <a:lnTo>
                      <a:pt x="808" y="128"/>
                    </a:lnTo>
                    <a:lnTo>
                      <a:pt x="812" y="128"/>
                    </a:lnTo>
                    <a:lnTo>
                      <a:pt x="816" y="128"/>
                    </a:lnTo>
                    <a:lnTo>
                      <a:pt x="816" y="132"/>
                    </a:lnTo>
                    <a:lnTo>
                      <a:pt x="820" y="132"/>
                    </a:lnTo>
                    <a:lnTo>
                      <a:pt x="824" y="132"/>
                    </a:lnTo>
                    <a:lnTo>
                      <a:pt x="828" y="136"/>
                    </a:lnTo>
                    <a:lnTo>
                      <a:pt x="832" y="136"/>
                    </a:lnTo>
                    <a:lnTo>
                      <a:pt x="828" y="136"/>
                    </a:lnTo>
                    <a:lnTo>
                      <a:pt x="828" y="132"/>
                    </a:lnTo>
                    <a:lnTo>
                      <a:pt x="832" y="132"/>
                    </a:lnTo>
                    <a:lnTo>
                      <a:pt x="828" y="132"/>
                    </a:lnTo>
                    <a:lnTo>
                      <a:pt x="824" y="132"/>
                    </a:lnTo>
                    <a:lnTo>
                      <a:pt x="820" y="132"/>
                    </a:lnTo>
                    <a:lnTo>
                      <a:pt x="820" y="128"/>
                    </a:lnTo>
                    <a:lnTo>
                      <a:pt x="816" y="128"/>
                    </a:lnTo>
                    <a:lnTo>
                      <a:pt x="820" y="128"/>
                    </a:lnTo>
                    <a:lnTo>
                      <a:pt x="824" y="128"/>
                    </a:lnTo>
                    <a:lnTo>
                      <a:pt x="828" y="128"/>
                    </a:lnTo>
                    <a:lnTo>
                      <a:pt x="832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4" y="128"/>
                    </a:lnTo>
                    <a:lnTo>
                      <a:pt x="838" y="128"/>
                    </a:lnTo>
                    <a:lnTo>
                      <a:pt x="838" y="124"/>
                    </a:lnTo>
                    <a:lnTo>
                      <a:pt x="842" y="124"/>
                    </a:lnTo>
                    <a:lnTo>
                      <a:pt x="842" y="120"/>
                    </a:lnTo>
                    <a:lnTo>
                      <a:pt x="838" y="120"/>
                    </a:lnTo>
                    <a:lnTo>
                      <a:pt x="834" y="124"/>
                    </a:lnTo>
                    <a:lnTo>
                      <a:pt x="832" y="124"/>
                    </a:lnTo>
                    <a:lnTo>
                      <a:pt x="832" y="128"/>
                    </a:lnTo>
                    <a:lnTo>
                      <a:pt x="828" y="128"/>
                    </a:lnTo>
                    <a:lnTo>
                      <a:pt x="824" y="128"/>
                    </a:lnTo>
                    <a:lnTo>
                      <a:pt x="824" y="124"/>
                    </a:lnTo>
                    <a:lnTo>
                      <a:pt x="820" y="124"/>
                    </a:lnTo>
                    <a:lnTo>
                      <a:pt x="816" y="124"/>
                    </a:lnTo>
                    <a:lnTo>
                      <a:pt x="812" y="124"/>
                    </a:lnTo>
                    <a:lnTo>
                      <a:pt x="808" y="124"/>
                    </a:lnTo>
                    <a:lnTo>
                      <a:pt x="806" y="124"/>
                    </a:lnTo>
                    <a:lnTo>
                      <a:pt x="802" y="124"/>
                    </a:lnTo>
                    <a:lnTo>
                      <a:pt x="798" y="124"/>
                    </a:lnTo>
                    <a:lnTo>
                      <a:pt x="794" y="124"/>
                    </a:lnTo>
                    <a:lnTo>
                      <a:pt x="794" y="120"/>
                    </a:lnTo>
                    <a:lnTo>
                      <a:pt x="798" y="120"/>
                    </a:lnTo>
                    <a:lnTo>
                      <a:pt x="806" y="120"/>
                    </a:lnTo>
                    <a:lnTo>
                      <a:pt x="808" y="120"/>
                    </a:lnTo>
                    <a:lnTo>
                      <a:pt x="808" y="124"/>
                    </a:lnTo>
                    <a:lnTo>
                      <a:pt x="812" y="124"/>
                    </a:lnTo>
                    <a:lnTo>
                      <a:pt x="816" y="120"/>
                    </a:lnTo>
                    <a:lnTo>
                      <a:pt x="812" y="120"/>
                    </a:lnTo>
                    <a:lnTo>
                      <a:pt x="808" y="120"/>
                    </a:lnTo>
                    <a:lnTo>
                      <a:pt x="806" y="120"/>
                    </a:lnTo>
                    <a:lnTo>
                      <a:pt x="806" y="116"/>
                    </a:lnTo>
                    <a:lnTo>
                      <a:pt x="802" y="116"/>
                    </a:lnTo>
                    <a:lnTo>
                      <a:pt x="802" y="112"/>
                    </a:lnTo>
                    <a:lnTo>
                      <a:pt x="798" y="112"/>
                    </a:lnTo>
                    <a:lnTo>
                      <a:pt x="798" y="108"/>
                    </a:lnTo>
                    <a:lnTo>
                      <a:pt x="794" y="108"/>
                    </a:lnTo>
                    <a:lnTo>
                      <a:pt x="790" y="106"/>
                    </a:lnTo>
                    <a:lnTo>
                      <a:pt x="786" y="106"/>
                    </a:lnTo>
                    <a:lnTo>
                      <a:pt x="786" y="102"/>
                    </a:lnTo>
                    <a:lnTo>
                      <a:pt x="782" y="102"/>
                    </a:lnTo>
                    <a:lnTo>
                      <a:pt x="778" y="102"/>
                    </a:lnTo>
                    <a:lnTo>
                      <a:pt x="776" y="102"/>
                    </a:lnTo>
                    <a:lnTo>
                      <a:pt x="772" y="102"/>
                    </a:lnTo>
                    <a:lnTo>
                      <a:pt x="772" y="98"/>
                    </a:lnTo>
                    <a:lnTo>
                      <a:pt x="772" y="94"/>
                    </a:lnTo>
                    <a:lnTo>
                      <a:pt x="776" y="94"/>
                    </a:lnTo>
                    <a:lnTo>
                      <a:pt x="778" y="94"/>
                    </a:lnTo>
                    <a:lnTo>
                      <a:pt x="778" y="98"/>
                    </a:lnTo>
                    <a:lnTo>
                      <a:pt x="782" y="98"/>
                    </a:lnTo>
                    <a:lnTo>
                      <a:pt x="786" y="98"/>
                    </a:lnTo>
                    <a:lnTo>
                      <a:pt x="782" y="94"/>
                    </a:lnTo>
                    <a:lnTo>
                      <a:pt x="776" y="94"/>
                    </a:lnTo>
                    <a:lnTo>
                      <a:pt x="772" y="94"/>
                    </a:lnTo>
                    <a:lnTo>
                      <a:pt x="768" y="94"/>
                    </a:lnTo>
                    <a:lnTo>
                      <a:pt x="768" y="90"/>
                    </a:lnTo>
                    <a:lnTo>
                      <a:pt x="772" y="86"/>
                    </a:lnTo>
                    <a:lnTo>
                      <a:pt x="776" y="82"/>
                    </a:lnTo>
                    <a:lnTo>
                      <a:pt x="778" y="82"/>
                    </a:lnTo>
                    <a:lnTo>
                      <a:pt x="782" y="86"/>
                    </a:lnTo>
                    <a:lnTo>
                      <a:pt x="786" y="86"/>
                    </a:lnTo>
                    <a:lnTo>
                      <a:pt x="790" y="86"/>
                    </a:lnTo>
                    <a:lnTo>
                      <a:pt x="794" y="86"/>
                    </a:lnTo>
                    <a:lnTo>
                      <a:pt x="798" y="86"/>
                    </a:lnTo>
                    <a:lnTo>
                      <a:pt x="802" y="86"/>
                    </a:lnTo>
                    <a:lnTo>
                      <a:pt x="806" y="86"/>
                    </a:lnTo>
                    <a:lnTo>
                      <a:pt x="808" y="86"/>
                    </a:lnTo>
                    <a:lnTo>
                      <a:pt x="812" y="86"/>
                    </a:lnTo>
                    <a:lnTo>
                      <a:pt x="812" y="90"/>
                    </a:lnTo>
                    <a:lnTo>
                      <a:pt x="816" y="90"/>
                    </a:lnTo>
                    <a:lnTo>
                      <a:pt x="820" y="90"/>
                    </a:lnTo>
                    <a:lnTo>
                      <a:pt x="820" y="94"/>
                    </a:lnTo>
                    <a:lnTo>
                      <a:pt x="824" y="94"/>
                    </a:lnTo>
                    <a:lnTo>
                      <a:pt x="828" y="94"/>
                    </a:lnTo>
                    <a:lnTo>
                      <a:pt x="832" y="98"/>
                    </a:lnTo>
                    <a:lnTo>
                      <a:pt x="834" y="98"/>
                    </a:lnTo>
                    <a:lnTo>
                      <a:pt x="834" y="102"/>
                    </a:lnTo>
                    <a:lnTo>
                      <a:pt x="838" y="102"/>
                    </a:lnTo>
                    <a:lnTo>
                      <a:pt x="838" y="106"/>
                    </a:lnTo>
                    <a:lnTo>
                      <a:pt x="842" y="106"/>
                    </a:lnTo>
                    <a:lnTo>
                      <a:pt x="846" y="106"/>
                    </a:lnTo>
                    <a:lnTo>
                      <a:pt x="850" y="106"/>
                    </a:lnTo>
                    <a:lnTo>
                      <a:pt x="854" y="106"/>
                    </a:lnTo>
                    <a:lnTo>
                      <a:pt x="858" y="106"/>
                    </a:lnTo>
                    <a:lnTo>
                      <a:pt x="862" y="106"/>
                    </a:lnTo>
                    <a:lnTo>
                      <a:pt x="864" y="106"/>
                    </a:lnTo>
                    <a:lnTo>
                      <a:pt x="864" y="102"/>
                    </a:lnTo>
                    <a:lnTo>
                      <a:pt x="862" y="102"/>
                    </a:lnTo>
                    <a:lnTo>
                      <a:pt x="858" y="102"/>
                    </a:lnTo>
                    <a:lnTo>
                      <a:pt x="858" y="106"/>
                    </a:lnTo>
                    <a:lnTo>
                      <a:pt x="854" y="106"/>
                    </a:lnTo>
                    <a:lnTo>
                      <a:pt x="850" y="106"/>
                    </a:lnTo>
                    <a:lnTo>
                      <a:pt x="846" y="102"/>
                    </a:lnTo>
                    <a:lnTo>
                      <a:pt x="842" y="102"/>
                    </a:lnTo>
                    <a:lnTo>
                      <a:pt x="838" y="98"/>
                    </a:lnTo>
                    <a:lnTo>
                      <a:pt x="842" y="98"/>
                    </a:lnTo>
                    <a:lnTo>
                      <a:pt x="842" y="94"/>
                    </a:lnTo>
                    <a:lnTo>
                      <a:pt x="838" y="94"/>
                    </a:lnTo>
                    <a:lnTo>
                      <a:pt x="834" y="94"/>
                    </a:lnTo>
                    <a:lnTo>
                      <a:pt x="832" y="94"/>
                    </a:lnTo>
                    <a:lnTo>
                      <a:pt x="828" y="94"/>
                    </a:lnTo>
                    <a:lnTo>
                      <a:pt x="824" y="90"/>
                    </a:lnTo>
                    <a:lnTo>
                      <a:pt x="820" y="86"/>
                    </a:lnTo>
                    <a:lnTo>
                      <a:pt x="816" y="86"/>
                    </a:lnTo>
                    <a:lnTo>
                      <a:pt x="816" y="82"/>
                    </a:lnTo>
                    <a:lnTo>
                      <a:pt x="820" y="82"/>
                    </a:lnTo>
                    <a:lnTo>
                      <a:pt x="824" y="82"/>
                    </a:lnTo>
                    <a:lnTo>
                      <a:pt x="828" y="82"/>
                    </a:lnTo>
                    <a:lnTo>
                      <a:pt x="832" y="82"/>
                    </a:lnTo>
                    <a:lnTo>
                      <a:pt x="834" y="82"/>
                    </a:lnTo>
                    <a:lnTo>
                      <a:pt x="838" y="82"/>
                    </a:lnTo>
                    <a:lnTo>
                      <a:pt x="842" y="82"/>
                    </a:lnTo>
                    <a:lnTo>
                      <a:pt x="846" y="82"/>
                    </a:lnTo>
                    <a:lnTo>
                      <a:pt x="850" y="82"/>
                    </a:lnTo>
                    <a:lnTo>
                      <a:pt x="850" y="78"/>
                    </a:lnTo>
                    <a:lnTo>
                      <a:pt x="854" y="78"/>
                    </a:lnTo>
                    <a:lnTo>
                      <a:pt x="858" y="78"/>
                    </a:lnTo>
                    <a:lnTo>
                      <a:pt x="862" y="78"/>
                    </a:lnTo>
                    <a:lnTo>
                      <a:pt x="864" y="78"/>
                    </a:lnTo>
                    <a:lnTo>
                      <a:pt x="868" y="78"/>
                    </a:lnTo>
                    <a:lnTo>
                      <a:pt x="872" y="78"/>
                    </a:lnTo>
                    <a:lnTo>
                      <a:pt x="876" y="78"/>
                    </a:lnTo>
                    <a:lnTo>
                      <a:pt x="880" y="78"/>
                    </a:lnTo>
                    <a:lnTo>
                      <a:pt x="884" y="78"/>
                    </a:lnTo>
                    <a:lnTo>
                      <a:pt x="888" y="78"/>
                    </a:lnTo>
                    <a:lnTo>
                      <a:pt x="890" y="78"/>
                    </a:lnTo>
                    <a:lnTo>
                      <a:pt x="890" y="76"/>
                    </a:lnTo>
                    <a:lnTo>
                      <a:pt x="888" y="76"/>
                    </a:lnTo>
                    <a:lnTo>
                      <a:pt x="880" y="76"/>
                    </a:lnTo>
                    <a:lnTo>
                      <a:pt x="876" y="76"/>
                    </a:lnTo>
                    <a:lnTo>
                      <a:pt x="872" y="76"/>
                    </a:lnTo>
                    <a:lnTo>
                      <a:pt x="868" y="76"/>
                    </a:lnTo>
                    <a:lnTo>
                      <a:pt x="864" y="76"/>
                    </a:lnTo>
                    <a:lnTo>
                      <a:pt x="868" y="76"/>
                    </a:lnTo>
                    <a:lnTo>
                      <a:pt x="872" y="76"/>
                    </a:lnTo>
                    <a:lnTo>
                      <a:pt x="876" y="72"/>
                    </a:lnTo>
                    <a:lnTo>
                      <a:pt x="880" y="72"/>
                    </a:lnTo>
                    <a:lnTo>
                      <a:pt x="884" y="72"/>
                    </a:lnTo>
                    <a:lnTo>
                      <a:pt x="888" y="72"/>
                    </a:lnTo>
                    <a:lnTo>
                      <a:pt x="890" y="72"/>
                    </a:lnTo>
                    <a:lnTo>
                      <a:pt x="894" y="72"/>
                    </a:lnTo>
                    <a:lnTo>
                      <a:pt x="902" y="68"/>
                    </a:lnTo>
                    <a:lnTo>
                      <a:pt x="906" y="68"/>
                    </a:lnTo>
                    <a:lnTo>
                      <a:pt x="910" y="68"/>
                    </a:lnTo>
                    <a:lnTo>
                      <a:pt x="914" y="68"/>
                    </a:lnTo>
                    <a:lnTo>
                      <a:pt x="910" y="68"/>
                    </a:lnTo>
                    <a:lnTo>
                      <a:pt x="906" y="68"/>
                    </a:lnTo>
                    <a:lnTo>
                      <a:pt x="902" y="68"/>
                    </a:lnTo>
                    <a:lnTo>
                      <a:pt x="898" y="68"/>
                    </a:lnTo>
                    <a:lnTo>
                      <a:pt x="894" y="68"/>
                    </a:lnTo>
                    <a:lnTo>
                      <a:pt x="890" y="68"/>
                    </a:lnTo>
                    <a:lnTo>
                      <a:pt x="884" y="68"/>
                    </a:lnTo>
                    <a:lnTo>
                      <a:pt x="880" y="68"/>
                    </a:lnTo>
                    <a:lnTo>
                      <a:pt x="876" y="68"/>
                    </a:lnTo>
                    <a:lnTo>
                      <a:pt x="876" y="64"/>
                    </a:lnTo>
                    <a:lnTo>
                      <a:pt x="880" y="64"/>
                    </a:lnTo>
                    <a:lnTo>
                      <a:pt x="884" y="64"/>
                    </a:lnTo>
                    <a:lnTo>
                      <a:pt x="884" y="60"/>
                    </a:lnTo>
                    <a:lnTo>
                      <a:pt x="888" y="60"/>
                    </a:lnTo>
                    <a:lnTo>
                      <a:pt x="890" y="56"/>
                    </a:lnTo>
                    <a:lnTo>
                      <a:pt x="894" y="56"/>
                    </a:lnTo>
                    <a:lnTo>
                      <a:pt x="898" y="56"/>
                    </a:lnTo>
                    <a:lnTo>
                      <a:pt x="902" y="52"/>
                    </a:lnTo>
                    <a:lnTo>
                      <a:pt x="906" y="52"/>
                    </a:lnTo>
                    <a:lnTo>
                      <a:pt x="910" y="52"/>
                    </a:lnTo>
                    <a:lnTo>
                      <a:pt x="906" y="52"/>
                    </a:lnTo>
                    <a:lnTo>
                      <a:pt x="902" y="52"/>
                    </a:lnTo>
                    <a:lnTo>
                      <a:pt x="898" y="52"/>
                    </a:lnTo>
                    <a:lnTo>
                      <a:pt x="894" y="52"/>
                    </a:lnTo>
                    <a:lnTo>
                      <a:pt x="890" y="56"/>
                    </a:lnTo>
                    <a:lnTo>
                      <a:pt x="888" y="56"/>
                    </a:lnTo>
                    <a:lnTo>
                      <a:pt x="884" y="56"/>
                    </a:lnTo>
                    <a:lnTo>
                      <a:pt x="884" y="60"/>
                    </a:lnTo>
                    <a:lnTo>
                      <a:pt x="880" y="60"/>
                    </a:lnTo>
                    <a:lnTo>
                      <a:pt x="876" y="60"/>
                    </a:lnTo>
                    <a:lnTo>
                      <a:pt x="872" y="60"/>
                    </a:lnTo>
                    <a:lnTo>
                      <a:pt x="868" y="60"/>
                    </a:lnTo>
                    <a:lnTo>
                      <a:pt x="872" y="60"/>
                    </a:lnTo>
                    <a:lnTo>
                      <a:pt x="876" y="60"/>
                    </a:lnTo>
                    <a:lnTo>
                      <a:pt x="876" y="64"/>
                    </a:lnTo>
                    <a:lnTo>
                      <a:pt x="872" y="64"/>
                    </a:lnTo>
                    <a:lnTo>
                      <a:pt x="876" y="64"/>
                    </a:lnTo>
                    <a:lnTo>
                      <a:pt x="872" y="68"/>
                    </a:lnTo>
                    <a:lnTo>
                      <a:pt x="868" y="72"/>
                    </a:lnTo>
                    <a:lnTo>
                      <a:pt x="864" y="72"/>
                    </a:lnTo>
                    <a:lnTo>
                      <a:pt x="862" y="72"/>
                    </a:lnTo>
                    <a:lnTo>
                      <a:pt x="858" y="72"/>
                    </a:lnTo>
                    <a:lnTo>
                      <a:pt x="854" y="72"/>
                    </a:lnTo>
                    <a:lnTo>
                      <a:pt x="854" y="76"/>
                    </a:lnTo>
                    <a:lnTo>
                      <a:pt x="850" y="76"/>
                    </a:lnTo>
                    <a:lnTo>
                      <a:pt x="842" y="76"/>
                    </a:lnTo>
                    <a:lnTo>
                      <a:pt x="838" y="76"/>
                    </a:lnTo>
                    <a:lnTo>
                      <a:pt x="834" y="76"/>
                    </a:lnTo>
                    <a:lnTo>
                      <a:pt x="828" y="78"/>
                    </a:lnTo>
                    <a:lnTo>
                      <a:pt x="824" y="78"/>
                    </a:lnTo>
                    <a:lnTo>
                      <a:pt x="820" y="78"/>
                    </a:lnTo>
                    <a:lnTo>
                      <a:pt x="820" y="78"/>
                    </a:lnTo>
                    <a:lnTo>
                      <a:pt x="820" y="7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0" name="Freeform 69">
                <a:extLst>
                  <a:ext uri="{FF2B5EF4-FFF2-40B4-BE49-F238E27FC236}">
                    <a16:creationId xmlns:a16="http://schemas.microsoft.com/office/drawing/2014/main" id="{EBA6D744-E26E-4F10-8545-FDFF2E89FE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54568"/>
                <a:ext cx="76200" cy="88900"/>
              </a:xfrm>
              <a:custGeom>
                <a:avLst/>
                <a:gdLst>
                  <a:gd name="T0" fmla="*/ 6 w 48"/>
                  <a:gd name="T1" fmla="*/ 22 h 56"/>
                  <a:gd name="T2" fmla="*/ 2 w 48"/>
                  <a:gd name="T3" fmla="*/ 22 h 56"/>
                  <a:gd name="T4" fmla="*/ 2 w 48"/>
                  <a:gd name="T5" fmla="*/ 18 h 56"/>
                  <a:gd name="T6" fmla="*/ 0 w 48"/>
                  <a:gd name="T7" fmla="*/ 16 h 56"/>
                  <a:gd name="T8" fmla="*/ 2 w 48"/>
                  <a:gd name="T9" fmla="*/ 12 h 56"/>
                  <a:gd name="T10" fmla="*/ 0 w 48"/>
                  <a:gd name="T11" fmla="*/ 8 h 56"/>
                  <a:gd name="T12" fmla="*/ 0 w 48"/>
                  <a:gd name="T13" fmla="*/ 4 h 56"/>
                  <a:gd name="T14" fmla="*/ 2 w 48"/>
                  <a:gd name="T15" fmla="*/ 4 h 56"/>
                  <a:gd name="T16" fmla="*/ 2 w 48"/>
                  <a:gd name="T17" fmla="*/ 0 h 56"/>
                  <a:gd name="T18" fmla="*/ 6 w 48"/>
                  <a:gd name="T19" fmla="*/ 4 h 56"/>
                  <a:gd name="T20" fmla="*/ 10 w 48"/>
                  <a:gd name="T21" fmla="*/ 4 h 56"/>
                  <a:gd name="T22" fmla="*/ 18 w 48"/>
                  <a:gd name="T23" fmla="*/ 4 h 56"/>
                  <a:gd name="T24" fmla="*/ 26 w 48"/>
                  <a:gd name="T25" fmla="*/ 8 h 56"/>
                  <a:gd name="T26" fmla="*/ 26 w 48"/>
                  <a:gd name="T27" fmla="*/ 8 h 56"/>
                  <a:gd name="T28" fmla="*/ 28 w 48"/>
                  <a:gd name="T29" fmla="*/ 8 h 56"/>
                  <a:gd name="T30" fmla="*/ 28 w 48"/>
                  <a:gd name="T31" fmla="*/ 8 h 56"/>
                  <a:gd name="T32" fmla="*/ 32 w 48"/>
                  <a:gd name="T33" fmla="*/ 4 h 56"/>
                  <a:gd name="T34" fmla="*/ 32 w 48"/>
                  <a:gd name="T35" fmla="*/ 8 h 56"/>
                  <a:gd name="T36" fmla="*/ 32 w 48"/>
                  <a:gd name="T37" fmla="*/ 8 h 56"/>
                  <a:gd name="T38" fmla="*/ 36 w 48"/>
                  <a:gd name="T39" fmla="*/ 16 h 56"/>
                  <a:gd name="T40" fmla="*/ 40 w 48"/>
                  <a:gd name="T41" fmla="*/ 22 h 56"/>
                  <a:gd name="T42" fmla="*/ 44 w 48"/>
                  <a:gd name="T43" fmla="*/ 26 h 56"/>
                  <a:gd name="T44" fmla="*/ 48 w 48"/>
                  <a:gd name="T45" fmla="*/ 30 h 56"/>
                  <a:gd name="T46" fmla="*/ 44 w 48"/>
                  <a:gd name="T47" fmla="*/ 30 h 56"/>
                  <a:gd name="T48" fmla="*/ 44 w 48"/>
                  <a:gd name="T49" fmla="*/ 26 h 56"/>
                  <a:gd name="T50" fmla="*/ 40 w 48"/>
                  <a:gd name="T51" fmla="*/ 38 h 56"/>
                  <a:gd name="T52" fmla="*/ 44 w 48"/>
                  <a:gd name="T53" fmla="*/ 40 h 56"/>
                  <a:gd name="T54" fmla="*/ 40 w 48"/>
                  <a:gd name="T55" fmla="*/ 40 h 56"/>
                  <a:gd name="T56" fmla="*/ 40 w 48"/>
                  <a:gd name="T57" fmla="*/ 44 h 56"/>
                  <a:gd name="T58" fmla="*/ 40 w 48"/>
                  <a:gd name="T59" fmla="*/ 48 h 56"/>
                  <a:gd name="T60" fmla="*/ 40 w 48"/>
                  <a:gd name="T61" fmla="*/ 48 h 56"/>
                  <a:gd name="T62" fmla="*/ 40 w 48"/>
                  <a:gd name="T63" fmla="*/ 52 h 56"/>
                  <a:gd name="T64" fmla="*/ 40 w 48"/>
                  <a:gd name="T65" fmla="*/ 56 h 56"/>
                  <a:gd name="T66" fmla="*/ 40 w 48"/>
                  <a:gd name="T67" fmla="*/ 52 h 56"/>
                  <a:gd name="T68" fmla="*/ 36 w 48"/>
                  <a:gd name="T69" fmla="*/ 48 h 56"/>
                  <a:gd name="T70" fmla="*/ 36 w 48"/>
                  <a:gd name="T71" fmla="*/ 44 h 56"/>
                  <a:gd name="T72" fmla="*/ 36 w 48"/>
                  <a:gd name="T73" fmla="*/ 40 h 56"/>
                  <a:gd name="T74" fmla="*/ 32 w 48"/>
                  <a:gd name="T75" fmla="*/ 44 h 56"/>
                  <a:gd name="T76" fmla="*/ 36 w 48"/>
                  <a:gd name="T77" fmla="*/ 44 h 56"/>
                  <a:gd name="T78" fmla="*/ 36 w 48"/>
                  <a:gd name="T79" fmla="*/ 48 h 56"/>
                  <a:gd name="T80" fmla="*/ 36 w 48"/>
                  <a:gd name="T81" fmla="*/ 48 h 56"/>
                  <a:gd name="T82" fmla="*/ 32 w 48"/>
                  <a:gd name="T83" fmla="*/ 48 h 56"/>
                  <a:gd name="T84" fmla="*/ 28 w 48"/>
                  <a:gd name="T85" fmla="*/ 44 h 56"/>
                  <a:gd name="T86" fmla="*/ 32 w 48"/>
                  <a:gd name="T87" fmla="*/ 38 h 56"/>
                  <a:gd name="T88" fmla="*/ 28 w 48"/>
                  <a:gd name="T89" fmla="*/ 34 h 56"/>
                  <a:gd name="T90" fmla="*/ 26 w 48"/>
                  <a:gd name="T91" fmla="*/ 30 h 56"/>
                  <a:gd name="T92" fmla="*/ 22 w 48"/>
                  <a:gd name="T93" fmla="*/ 30 h 56"/>
                  <a:gd name="T94" fmla="*/ 18 w 48"/>
                  <a:gd name="T95" fmla="*/ 26 h 56"/>
                  <a:gd name="T96" fmla="*/ 18 w 48"/>
                  <a:gd name="T97" fmla="*/ 26 h 56"/>
                  <a:gd name="T98" fmla="*/ 14 w 48"/>
                  <a:gd name="T99" fmla="*/ 22 h 56"/>
                  <a:gd name="T100" fmla="*/ 10 w 48"/>
                  <a:gd name="T101" fmla="*/ 18 h 56"/>
                  <a:gd name="T102" fmla="*/ 10 w 48"/>
                  <a:gd name="T103" fmla="*/ 18 h 56"/>
                  <a:gd name="T104" fmla="*/ 10 w 48"/>
                  <a:gd name="T105" fmla="*/ 18 h 56"/>
                  <a:gd name="T106" fmla="*/ 14 w 48"/>
                  <a:gd name="T107" fmla="*/ 22 h 56"/>
                  <a:gd name="T108" fmla="*/ 10 w 48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8" h="56">
                    <a:moveTo>
                      <a:pt x="10" y="26"/>
                    </a:moveTo>
                    <a:lnTo>
                      <a:pt x="6" y="26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8"/>
                    </a:lnTo>
                    <a:lnTo>
                      <a:pt x="32" y="38"/>
                    </a:lnTo>
                    <a:lnTo>
                      <a:pt x="28" y="38"/>
                    </a:lnTo>
                    <a:lnTo>
                      <a:pt x="28" y="38"/>
                    </a:lnTo>
                    <a:lnTo>
                      <a:pt x="28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1" name="Freeform 70">
                <a:extLst>
                  <a:ext uri="{FF2B5EF4-FFF2-40B4-BE49-F238E27FC236}">
                    <a16:creationId xmlns:a16="http://schemas.microsoft.com/office/drawing/2014/main" id="{86644A3E-CFCB-41F5-AD76-C91DE66837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924368"/>
                <a:ext cx="244475" cy="92075"/>
              </a:xfrm>
              <a:custGeom>
                <a:avLst/>
                <a:gdLst>
                  <a:gd name="T0" fmla="*/ 82 w 154"/>
                  <a:gd name="T1" fmla="*/ 30 h 58"/>
                  <a:gd name="T2" fmla="*/ 68 w 154"/>
                  <a:gd name="T3" fmla="*/ 26 h 58"/>
                  <a:gd name="T4" fmla="*/ 60 w 154"/>
                  <a:gd name="T5" fmla="*/ 18 h 58"/>
                  <a:gd name="T6" fmla="*/ 44 w 154"/>
                  <a:gd name="T7" fmla="*/ 14 h 58"/>
                  <a:gd name="T8" fmla="*/ 38 w 154"/>
                  <a:gd name="T9" fmla="*/ 14 h 58"/>
                  <a:gd name="T10" fmla="*/ 44 w 154"/>
                  <a:gd name="T11" fmla="*/ 8 h 58"/>
                  <a:gd name="T12" fmla="*/ 30 w 154"/>
                  <a:gd name="T13" fmla="*/ 8 h 58"/>
                  <a:gd name="T14" fmla="*/ 22 w 154"/>
                  <a:gd name="T15" fmla="*/ 14 h 58"/>
                  <a:gd name="T16" fmla="*/ 14 w 154"/>
                  <a:gd name="T17" fmla="*/ 18 h 58"/>
                  <a:gd name="T18" fmla="*/ 8 w 154"/>
                  <a:gd name="T19" fmla="*/ 26 h 58"/>
                  <a:gd name="T20" fmla="*/ 4 w 154"/>
                  <a:gd name="T21" fmla="*/ 18 h 58"/>
                  <a:gd name="T22" fmla="*/ 10 w 154"/>
                  <a:gd name="T23" fmla="*/ 8 h 58"/>
                  <a:gd name="T24" fmla="*/ 26 w 154"/>
                  <a:gd name="T25" fmla="*/ 4 h 58"/>
                  <a:gd name="T26" fmla="*/ 40 w 154"/>
                  <a:gd name="T27" fmla="*/ 0 h 58"/>
                  <a:gd name="T28" fmla="*/ 52 w 154"/>
                  <a:gd name="T29" fmla="*/ 4 h 58"/>
                  <a:gd name="T30" fmla="*/ 60 w 154"/>
                  <a:gd name="T31" fmla="*/ 4 h 58"/>
                  <a:gd name="T32" fmla="*/ 70 w 154"/>
                  <a:gd name="T33" fmla="*/ 8 h 58"/>
                  <a:gd name="T34" fmla="*/ 78 w 154"/>
                  <a:gd name="T35" fmla="*/ 14 h 58"/>
                  <a:gd name="T36" fmla="*/ 94 w 154"/>
                  <a:gd name="T37" fmla="*/ 18 h 58"/>
                  <a:gd name="T38" fmla="*/ 100 w 154"/>
                  <a:gd name="T39" fmla="*/ 26 h 58"/>
                  <a:gd name="T40" fmla="*/ 104 w 154"/>
                  <a:gd name="T41" fmla="*/ 22 h 58"/>
                  <a:gd name="T42" fmla="*/ 104 w 154"/>
                  <a:gd name="T43" fmla="*/ 26 h 58"/>
                  <a:gd name="T44" fmla="*/ 112 w 154"/>
                  <a:gd name="T45" fmla="*/ 30 h 58"/>
                  <a:gd name="T46" fmla="*/ 120 w 154"/>
                  <a:gd name="T47" fmla="*/ 34 h 58"/>
                  <a:gd name="T48" fmla="*/ 130 w 154"/>
                  <a:gd name="T49" fmla="*/ 38 h 58"/>
                  <a:gd name="T50" fmla="*/ 130 w 154"/>
                  <a:gd name="T51" fmla="*/ 44 h 58"/>
                  <a:gd name="T52" fmla="*/ 138 w 154"/>
                  <a:gd name="T53" fmla="*/ 44 h 58"/>
                  <a:gd name="T54" fmla="*/ 150 w 154"/>
                  <a:gd name="T55" fmla="*/ 50 h 58"/>
                  <a:gd name="T56" fmla="*/ 146 w 154"/>
                  <a:gd name="T57" fmla="*/ 54 h 58"/>
                  <a:gd name="T58" fmla="*/ 130 w 154"/>
                  <a:gd name="T59" fmla="*/ 58 h 58"/>
                  <a:gd name="T60" fmla="*/ 120 w 154"/>
                  <a:gd name="T61" fmla="*/ 54 h 58"/>
                  <a:gd name="T62" fmla="*/ 112 w 154"/>
                  <a:gd name="T63" fmla="*/ 54 h 58"/>
                  <a:gd name="T64" fmla="*/ 104 w 154"/>
                  <a:gd name="T65" fmla="*/ 58 h 58"/>
                  <a:gd name="T66" fmla="*/ 104 w 154"/>
                  <a:gd name="T67" fmla="*/ 50 h 58"/>
                  <a:gd name="T68" fmla="*/ 108 w 154"/>
                  <a:gd name="T69" fmla="*/ 44 h 58"/>
                  <a:gd name="T70" fmla="*/ 98 w 154"/>
                  <a:gd name="T71" fmla="*/ 40 h 58"/>
                  <a:gd name="T72" fmla="*/ 90 w 154"/>
                  <a:gd name="T73" fmla="*/ 38 h 58"/>
                  <a:gd name="T74" fmla="*/ 90 w 154"/>
                  <a:gd name="T75" fmla="*/ 30 h 58"/>
                  <a:gd name="T76" fmla="*/ 78 w 154"/>
                  <a:gd name="T77" fmla="*/ 8 h 58"/>
                  <a:gd name="T78" fmla="*/ 90 w 154"/>
                  <a:gd name="T79" fmla="*/ 14 h 58"/>
                  <a:gd name="T80" fmla="*/ 90 w 154"/>
                  <a:gd name="T81" fmla="*/ 10 h 58"/>
                  <a:gd name="T82" fmla="*/ 90 w 154"/>
                  <a:gd name="T83" fmla="*/ 14 h 58"/>
                  <a:gd name="T84" fmla="*/ 94 w 154"/>
                  <a:gd name="T85" fmla="*/ 10 h 58"/>
                  <a:gd name="T86" fmla="*/ 98 w 154"/>
                  <a:gd name="T87" fmla="*/ 14 h 58"/>
                  <a:gd name="T88" fmla="*/ 100 w 154"/>
                  <a:gd name="T89" fmla="*/ 14 h 58"/>
                  <a:gd name="T90" fmla="*/ 100 w 154"/>
                  <a:gd name="T91" fmla="*/ 22 h 58"/>
                  <a:gd name="T92" fmla="*/ 100 w 154"/>
                  <a:gd name="T93" fmla="*/ 22 h 58"/>
                  <a:gd name="T94" fmla="*/ 22 w 154"/>
                  <a:gd name="T95" fmla="*/ 26 h 58"/>
                  <a:gd name="T96" fmla="*/ 26 w 154"/>
                  <a:gd name="T97" fmla="*/ 22 h 58"/>
                  <a:gd name="T98" fmla="*/ 34 w 154"/>
                  <a:gd name="T99" fmla="*/ 30 h 58"/>
                  <a:gd name="T100" fmla="*/ 26 w 154"/>
                  <a:gd name="T101" fmla="*/ 30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4" h="58">
                    <a:moveTo>
                      <a:pt x="90" y="30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2" y="14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0" y="4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4"/>
                    </a:lnTo>
                    <a:lnTo>
                      <a:pt x="82" y="14"/>
                    </a:lnTo>
                    <a:lnTo>
                      <a:pt x="86" y="14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0" y="22"/>
                    </a:lnTo>
                    <a:lnTo>
                      <a:pt x="100" y="26"/>
                    </a:lnTo>
                    <a:lnTo>
                      <a:pt x="104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8" y="30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6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4" y="34"/>
                    </a:lnTo>
                    <a:lnTo>
                      <a:pt x="124" y="38"/>
                    </a:lnTo>
                    <a:lnTo>
                      <a:pt x="128" y="38"/>
                    </a:lnTo>
                    <a:lnTo>
                      <a:pt x="130" y="38"/>
                    </a:lnTo>
                    <a:lnTo>
                      <a:pt x="130" y="40"/>
                    </a:lnTo>
                    <a:lnTo>
                      <a:pt x="128" y="40"/>
                    </a:lnTo>
                    <a:lnTo>
                      <a:pt x="128" y="44"/>
                    </a:lnTo>
                    <a:lnTo>
                      <a:pt x="130" y="44"/>
                    </a:lnTo>
                    <a:lnTo>
                      <a:pt x="134" y="44"/>
                    </a:lnTo>
                    <a:lnTo>
                      <a:pt x="134" y="40"/>
                    </a:lnTo>
                    <a:lnTo>
                      <a:pt x="134" y="44"/>
                    </a:lnTo>
                    <a:lnTo>
                      <a:pt x="138" y="44"/>
                    </a:lnTo>
                    <a:lnTo>
                      <a:pt x="142" y="44"/>
                    </a:lnTo>
                    <a:lnTo>
                      <a:pt x="146" y="44"/>
                    </a:lnTo>
                    <a:lnTo>
                      <a:pt x="146" y="48"/>
                    </a:lnTo>
                    <a:lnTo>
                      <a:pt x="150" y="50"/>
                    </a:lnTo>
                    <a:lnTo>
                      <a:pt x="150" y="48"/>
                    </a:lnTo>
                    <a:lnTo>
                      <a:pt x="154" y="50"/>
                    </a:lnTo>
                    <a:lnTo>
                      <a:pt x="150" y="54"/>
                    </a:lnTo>
                    <a:lnTo>
                      <a:pt x="146" y="54"/>
                    </a:lnTo>
                    <a:lnTo>
                      <a:pt x="142" y="54"/>
                    </a:lnTo>
                    <a:lnTo>
                      <a:pt x="138" y="54"/>
                    </a:lnTo>
                    <a:lnTo>
                      <a:pt x="134" y="58"/>
                    </a:lnTo>
                    <a:lnTo>
                      <a:pt x="130" y="58"/>
                    </a:lnTo>
                    <a:lnTo>
                      <a:pt x="130" y="54"/>
                    </a:lnTo>
                    <a:lnTo>
                      <a:pt x="128" y="54"/>
                    </a:lnTo>
                    <a:lnTo>
                      <a:pt x="124" y="54"/>
                    </a:lnTo>
                    <a:lnTo>
                      <a:pt x="120" y="54"/>
                    </a:lnTo>
                    <a:lnTo>
                      <a:pt x="116" y="54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12" y="54"/>
                    </a:lnTo>
                    <a:lnTo>
                      <a:pt x="112" y="58"/>
                    </a:lnTo>
                    <a:lnTo>
                      <a:pt x="108" y="54"/>
                    </a:lnTo>
                    <a:lnTo>
                      <a:pt x="108" y="58"/>
                    </a:lnTo>
                    <a:lnTo>
                      <a:pt x="104" y="58"/>
                    </a:lnTo>
                    <a:lnTo>
                      <a:pt x="100" y="58"/>
                    </a:lnTo>
                    <a:lnTo>
                      <a:pt x="100" y="54"/>
                    </a:lnTo>
                    <a:lnTo>
                      <a:pt x="104" y="54"/>
                    </a:lnTo>
                    <a:lnTo>
                      <a:pt x="104" y="50"/>
                    </a:lnTo>
                    <a:lnTo>
                      <a:pt x="108" y="50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4"/>
                    </a:lnTo>
                    <a:lnTo>
                      <a:pt x="104" y="44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4" y="38"/>
                    </a:lnTo>
                    <a:lnTo>
                      <a:pt x="90" y="38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close/>
                    <a:moveTo>
                      <a:pt x="78" y="10"/>
                    </a:moveTo>
                    <a:lnTo>
                      <a:pt x="78" y="8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close/>
                    <a:moveTo>
                      <a:pt x="90" y="14"/>
                    </a:moveTo>
                    <a:lnTo>
                      <a:pt x="94" y="10"/>
                    </a:lnTo>
                    <a:lnTo>
                      <a:pt x="90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0" y="10"/>
                    </a:lnTo>
                    <a:lnTo>
                      <a:pt x="90" y="14"/>
                    </a:lnTo>
                    <a:lnTo>
                      <a:pt x="90" y="14"/>
                    </a:lnTo>
                    <a:lnTo>
                      <a:pt x="90" y="14"/>
                    </a:lnTo>
                    <a:close/>
                    <a:moveTo>
                      <a:pt x="98" y="14"/>
                    </a:moveTo>
                    <a:lnTo>
                      <a:pt x="94" y="14"/>
                    </a:lnTo>
                    <a:lnTo>
                      <a:pt x="94" y="10"/>
                    </a:lnTo>
                    <a:lnTo>
                      <a:pt x="98" y="10"/>
                    </a:lnTo>
                    <a:lnTo>
                      <a:pt x="98" y="14"/>
                    </a:lnTo>
                    <a:lnTo>
                      <a:pt x="98" y="14"/>
                    </a:lnTo>
                    <a:lnTo>
                      <a:pt x="98" y="14"/>
                    </a:lnTo>
                    <a:close/>
                    <a:moveTo>
                      <a:pt x="100" y="18"/>
                    </a:moveTo>
                    <a:lnTo>
                      <a:pt x="98" y="18"/>
                    </a:lnTo>
                    <a:lnTo>
                      <a:pt x="98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0" y="18"/>
                    </a:lnTo>
                    <a:lnTo>
                      <a:pt x="100" y="18"/>
                    </a:lnTo>
                    <a:close/>
                    <a:moveTo>
                      <a:pt x="100" y="22"/>
                    </a:moveTo>
                    <a:lnTo>
                      <a:pt x="98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0" y="22"/>
                    </a:lnTo>
                    <a:lnTo>
                      <a:pt x="100" y="22"/>
                    </a:lnTo>
                    <a:close/>
                    <a:moveTo>
                      <a:pt x="26" y="30"/>
                    </a:move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2" name="Freeform 71">
                <a:extLst>
                  <a:ext uri="{FF2B5EF4-FFF2-40B4-BE49-F238E27FC236}">
                    <a16:creationId xmlns:a16="http://schemas.microsoft.com/office/drawing/2014/main" id="{5D6D6315-B090-4F0F-843D-DD5A39D479A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4010093"/>
                <a:ext cx="79375" cy="66675"/>
              </a:xfrm>
              <a:custGeom>
                <a:avLst/>
                <a:gdLst>
                  <a:gd name="T0" fmla="*/ 24 w 50"/>
                  <a:gd name="T1" fmla="*/ 30 h 42"/>
                  <a:gd name="T2" fmla="*/ 22 w 50"/>
                  <a:gd name="T3" fmla="*/ 30 h 42"/>
                  <a:gd name="T4" fmla="*/ 18 w 50"/>
                  <a:gd name="T5" fmla="*/ 30 h 42"/>
                  <a:gd name="T6" fmla="*/ 18 w 50"/>
                  <a:gd name="T7" fmla="*/ 30 h 42"/>
                  <a:gd name="T8" fmla="*/ 18 w 50"/>
                  <a:gd name="T9" fmla="*/ 26 h 42"/>
                  <a:gd name="T10" fmla="*/ 18 w 50"/>
                  <a:gd name="T11" fmla="*/ 30 h 42"/>
                  <a:gd name="T12" fmla="*/ 14 w 50"/>
                  <a:gd name="T13" fmla="*/ 30 h 42"/>
                  <a:gd name="T14" fmla="*/ 10 w 50"/>
                  <a:gd name="T15" fmla="*/ 30 h 42"/>
                  <a:gd name="T16" fmla="*/ 10 w 50"/>
                  <a:gd name="T17" fmla="*/ 34 h 42"/>
                  <a:gd name="T18" fmla="*/ 10 w 50"/>
                  <a:gd name="T19" fmla="*/ 38 h 42"/>
                  <a:gd name="T20" fmla="*/ 2 w 50"/>
                  <a:gd name="T21" fmla="*/ 38 h 42"/>
                  <a:gd name="T22" fmla="*/ 2 w 50"/>
                  <a:gd name="T23" fmla="*/ 34 h 42"/>
                  <a:gd name="T24" fmla="*/ 2 w 50"/>
                  <a:gd name="T25" fmla="*/ 30 h 42"/>
                  <a:gd name="T26" fmla="*/ 0 w 50"/>
                  <a:gd name="T27" fmla="*/ 26 h 42"/>
                  <a:gd name="T28" fmla="*/ 0 w 50"/>
                  <a:gd name="T29" fmla="*/ 26 h 42"/>
                  <a:gd name="T30" fmla="*/ 0 w 50"/>
                  <a:gd name="T31" fmla="*/ 26 h 42"/>
                  <a:gd name="T32" fmla="*/ 2 w 50"/>
                  <a:gd name="T33" fmla="*/ 24 h 42"/>
                  <a:gd name="T34" fmla="*/ 2 w 50"/>
                  <a:gd name="T35" fmla="*/ 24 h 42"/>
                  <a:gd name="T36" fmla="*/ 2 w 50"/>
                  <a:gd name="T37" fmla="*/ 16 h 42"/>
                  <a:gd name="T38" fmla="*/ 2 w 50"/>
                  <a:gd name="T39" fmla="*/ 16 h 42"/>
                  <a:gd name="T40" fmla="*/ 2 w 50"/>
                  <a:gd name="T41" fmla="*/ 8 h 42"/>
                  <a:gd name="T42" fmla="*/ 2 w 50"/>
                  <a:gd name="T43" fmla="*/ 8 h 42"/>
                  <a:gd name="T44" fmla="*/ 2 w 50"/>
                  <a:gd name="T45" fmla="*/ 4 h 42"/>
                  <a:gd name="T46" fmla="*/ 2 w 50"/>
                  <a:gd name="T47" fmla="*/ 4 h 42"/>
                  <a:gd name="T48" fmla="*/ 6 w 50"/>
                  <a:gd name="T49" fmla="*/ 0 h 42"/>
                  <a:gd name="T50" fmla="*/ 10 w 50"/>
                  <a:gd name="T51" fmla="*/ 4 h 42"/>
                  <a:gd name="T52" fmla="*/ 10 w 50"/>
                  <a:gd name="T53" fmla="*/ 0 h 42"/>
                  <a:gd name="T54" fmla="*/ 14 w 50"/>
                  <a:gd name="T55" fmla="*/ 0 h 42"/>
                  <a:gd name="T56" fmla="*/ 18 w 50"/>
                  <a:gd name="T57" fmla="*/ 4 h 42"/>
                  <a:gd name="T58" fmla="*/ 22 w 50"/>
                  <a:gd name="T59" fmla="*/ 4 h 42"/>
                  <a:gd name="T60" fmla="*/ 24 w 50"/>
                  <a:gd name="T61" fmla="*/ 8 h 42"/>
                  <a:gd name="T62" fmla="*/ 24 w 50"/>
                  <a:gd name="T63" fmla="*/ 4 h 42"/>
                  <a:gd name="T64" fmla="*/ 28 w 50"/>
                  <a:gd name="T65" fmla="*/ 8 h 42"/>
                  <a:gd name="T66" fmla="*/ 28 w 50"/>
                  <a:gd name="T67" fmla="*/ 12 h 42"/>
                  <a:gd name="T68" fmla="*/ 28 w 50"/>
                  <a:gd name="T69" fmla="*/ 12 h 42"/>
                  <a:gd name="T70" fmla="*/ 36 w 50"/>
                  <a:gd name="T71" fmla="*/ 12 h 42"/>
                  <a:gd name="T72" fmla="*/ 40 w 50"/>
                  <a:gd name="T73" fmla="*/ 12 h 42"/>
                  <a:gd name="T74" fmla="*/ 32 w 50"/>
                  <a:gd name="T75" fmla="*/ 16 h 42"/>
                  <a:gd name="T76" fmla="*/ 32 w 50"/>
                  <a:gd name="T77" fmla="*/ 16 h 42"/>
                  <a:gd name="T78" fmla="*/ 36 w 50"/>
                  <a:gd name="T79" fmla="*/ 16 h 42"/>
                  <a:gd name="T80" fmla="*/ 36 w 50"/>
                  <a:gd name="T81" fmla="*/ 16 h 42"/>
                  <a:gd name="T82" fmla="*/ 40 w 50"/>
                  <a:gd name="T83" fmla="*/ 20 h 42"/>
                  <a:gd name="T84" fmla="*/ 44 w 50"/>
                  <a:gd name="T85" fmla="*/ 20 h 42"/>
                  <a:gd name="T86" fmla="*/ 48 w 50"/>
                  <a:gd name="T87" fmla="*/ 24 h 42"/>
                  <a:gd name="T88" fmla="*/ 50 w 50"/>
                  <a:gd name="T89" fmla="*/ 26 h 42"/>
                  <a:gd name="T90" fmla="*/ 48 w 50"/>
                  <a:gd name="T91" fmla="*/ 30 h 42"/>
                  <a:gd name="T92" fmla="*/ 48 w 50"/>
                  <a:gd name="T93" fmla="*/ 30 h 42"/>
                  <a:gd name="T94" fmla="*/ 44 w 50"/>
                  <a:gd name="T95" fmla="*/ 30 h 42"/>
                  <a:gd name="T96" fmla="*/ 44 w 50"/>
                  <a:gd name="T97" fmla="*/ 30 h 42"/>
                  <a:gd name="T98" fmla="*/ 40 w 50"/>
                  <a:gd name="T99" fmla="*/ 30 h 42"/>
                  <a:gd name="T100" fmla="*/ 32 w 50"/>
                  <a:gd name="T101" fmla="*/ 26 h 42"/>
                  <a:gd name="T102" fmla="*/ 28 w 50"/>
                  <a:gd name="T103" fmla="*/ 26 h 42"/>
                  <a:gd name="T104" fmla="*/ 24 w 50"/>
                  <a:gd name="T105" fmla="*/ 26 h 42"/>
                  <a:gd name="T106" fmla="*/ 44 w 50"/>
                  <a:gd name="T107" fmla="*/ 34 h 42"/>
                  <a:gd name="T108" fmla="*/ 44 w 50"/>
                  <a:gd name="T109" fmla="*/ 34 h 42"/>
                  <a:gd name="T110" fmla="*/ 48 w 50"/>
                  <a:gd name="T11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0" h="42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10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4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  <a:moveTo>
                      <a:pt x="48" y="34"/>
                    </a:move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3" name="Freeform 72">
                <a:extLst>
                  <a:ext uri="{FF2B5EF4-FFF2-40B4-BE49-F238E27FC236}">
                    <a16:creationId xmlns:a16="http://schemas.microsoft.com/office/drawing/2014/main" id="{BF07D7BD-6A1A-4B61-AB37-C4AC40BBAD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71725" y="4165668"/>
                <a:ext cx="50800" cy="34925"/>
              </a:xfrm>
              <a:custGeom>
                <a:avLst/>
                <a:gdLst>
                  <a:gd name="T0" fmla="*/ 32 w 32"/>
                  <a:gd name="T1" fmla="*/ 16 h 22"/>
                  <a:gd name="T2" fmla="*/ 32 w 32"/>
                  <a:gd name="T3" fmla="*/ 16 h 22"/>
                  <a:gd name="T4" fmla="*/ 32 w 32"/>
                  <a:gd name="T5" fmla="*/ 18 h 22"/>
                  <a:gd name="T6" fmla="*/ 32 w 32"/>
                  <a:gd name="T7" fmla="*/ 18 h 22"/>
                  <a:gd name="T8" fmla="*/ 32 w 32"/>
                  <a:gd name="T9" fmla="*/ 18 h 22"/>
                  <a:gd name="T10" fmla="*/ 32 w 32"/>
                  <a:gd name="T11" fmla="*/ 22 h 22"/>
                  <a:gd name="T12" fmla="*/ 28 w 32"/>
                  <a:gd name="T13" fmla="*/ 22 h 22"/>
                  <a:gd name="T14" fmla="*/ 28 w 32"/>
                  <a:gd name="T15" fmla="*/ 22 h 22"/>
                  <a:gd name="T16" fmla="*/ 22 w 32"/>
                  <a:gd name="T17" fmla="*/ 22 h 22"/>
                  <a:gd name="T18" fmla="*/ 22 w 32"/>
                  <a:gd name="T19" fmla="*/ 18 h 22"/>
                  <a:gd name="T20" fmla="*/ 22 w 32"/>
                  <a:gd name="T21" fmla="*/ 18 h 22"/>
                  <a:gd name="T22" fmla="*/ 22 w 32"/>
                  <a:gd name="T23" fmla="*/ 22 h 22"/>
                  <a:gd name="T24" fmla="*/ 18 w 32"/>
                  <a:gd name="T25" fmla="*/ 22 h 22"/>
                  <a:gd name="T26" fmla="*/ 18 w 32"/>
                  <a:gd name="T27" fmla="*/ 18 h 22"/>
                  <a:gd name="T28" fmla="*/ 14 w 32"/>
                  <a:gd name="T29" fmla="*/ 18 h 22"/>
                  <a:gd name="T30" fmla="*/ 14 w 32"/>
                  <a:gd name="T31" fmla="*/ 18 h 22"/>
                  <a:gd name="T32" fmla="*/ 10 w 32"/>
                  <a:gd name="T33" fmla="*/ 16 h 22"/>
                  <a:gd name="T34" fmla="*/ 8 w 32"/>
                  <a:gd name="T35" fmla="*/ 16 h 22"/>
                  <a:gd name="T36" fmla="*/ 4 w 32"/>
                  <a:gd name="T37" fmla="*/ 16 h 22"/>
                  <a:gd name="T38" fmla="*/ 4 w 32"/>
                  <a:gd name="T39" fmla="*/ 16 h 22"/>
                  <a:gd name="T40" fmla="*/ 4 w 32"/>
                  <a:gd name="T41" fmla="*/ 16 h 22"/>
                  <a:gd name="T42" fmla="*/ 0 w 32"/>
                  <a:gd name="T43" fmla="*/ 12 h 22"/>
                  <a:gd name="T44" fmla="*/ 0 w 32"/>
                  <a:gd name="T45" fmla="*/ 8 h 22"/>
                  <a:gd name="T46" fmla="*/ 4 w 32"/>
                  <a:gd name="T47" fmla="*/ 8 h 22"/>
                  <a:gd name="T48" fmla="*/ 8 w 32"/>
                  <a:gd name="T49" fmla="*/ 4 h 22"/>
                  <a:gd name="T50" fmla="*/ 8 w 32"/>
                  <a:gd name="T51" fmla="*/ 4 h 22"/>
                  <a:gd name="T52" fmla="*/ 8 w 32"/>
                  <a:gd name="T53" fmla="*/ 4 h 22"/>
                  <a:gd name="T54" fmla="*/ 8 w 32"/>
                  <a:gd name="T55" fmla="*/ 4 h 22"/>
                  <a:gd name="T56" fmla="*/ 8 w 32"/>
                  <a:gd name="T57" fmla="*/ 0 h 22"/>
                  <a:gd name="T58" fmla="*/ 10 w 32"/>
                  <a:gd name="T59" fmla="*/ 0 h 22"/>
                  <a:gd name="T60" fmla="*/ 10 w 32"/>
                  <a:gd name="T61" fmla="*/ 0 h 22"/>
                  <a:gd name="T62" fmla="*/ 14 w 32"/>
                  <a:gd name="T63" fmla="*/ 0 h 22"/>
                  <a:gd name="T64" fmla="*/ 14 w 32"/>
                  <a:gd name="T65" fmla="*/ 4 h 22"/>
                  <a:gd name="T66" fmla="*/ 14 w 32"/>
                  <a:gd name="T67" fmla="*/ 4 h 22"/>
                  <a:gd name="T68" fmla="*/ 18 w 32"/>
                  <a:gd name="T69" fmla="*/ 4 h 22"/>
                  <a:gd name="T70" fmla="*/ 18 w 32"/>
                  <a:gd name="T71" fmla="*/ 4 h 22"/>
                  <a:gd name="T72" fmla="*/ 18 w 32"/>
                  <a:gd name="T73" fmla="*/ 8 h 22"/>
                  <a:gd name="T74" fmla="*/ 18 w 32"/>
                  <a:gd name="T75" fmla="*/ 8 h 22"/>
                  <a:gd name="T76" fmla="*/ 22 w 32"/>
                  <a:gd name="T77" fmla="*/ 8 h 22"/>
                  <a:gd name="T78" fmla="*/ 22 w 32"/>
                  <a:gd name="T79" fmla="*/ 8 h 22"/>
                  <a:gd name="T80" fmla="*/ 22 w 32"/>
                  <a:gd name="T81" fmla="*/ 12 h 22"/>
                  <a:gd name="T82" fmla="*/ 24 w 32"/>
                  <a:gd name="T83" fmla="*/ 12 h 22"/>
                  <a:gd name="T84" fmla="*/ 24 w 32"/>
                  <a:gd name="T85" fmla="*/ 12 h 22"/>
                  <a:gd name="T86" fmla="*/ 24 w 32"/>
                  <a:gd name="T87" fmla="*/ 8 h 22"/>
                  <a:gd name="T88" fmla="*/ 28 w 32"/>
                  <a:gd name="T89" fmla="*/ 8 h 22"/>
                  <a:gd name="T90" fmla="*/ 28 w 32"/>
                  <a:gd name="T91" fmla="*/ 12 h 22"/>
                  <a:gd name="T92" fmla="*/ 28 w 32"/>
                  <a:gd name="T93" fmla="*/ 12 h 22"/>
                  <a:gd name="T94" fmla="*/ 32 w 32"/>
                  <a:gd name="T95" fmla="*/ 12 h 22"/>
                  <a:gd name="T96" fmla="*/ 32 w 32"/>
                  <a:gd name="T97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32" h="22"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18"/>
                    </a:lnTo>
                    <a:lnTo>
                      <a:pt x="32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4" name="Freeform 73">
                <a:extLst>
                  <a:ext uri="{FF2B5EF4-FFF2-40B4-BE49-F238E27FC236}">
                    <a16:creationId xmlns:a16="http://schemas.microsoft.com/office/drawing/2014/main" id="{D4A723F3-5C99-480F-9089-6113DFDB290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55900" y="1781243"/>
                <a:ext cx="1365250" cy="993775"/>
              </a:xfrm>
              <a:custGeom>
                <a:avLst/>
                <a:gdLst>
                  <a:gd name="T0" fmla="*/ 472 w 860"/>
                  <a:gd name="T1" fmla="*/ 18 h 626"/>
                  <a:gd name="T2" fmla="*/ 342 w 860"/>
                  <a:gd name="T3" fmla="*/ 34 h 626"/>
                  <a:gd name="T4" fmla="*/ 738 w 860"/>
                  <a:gd name="T5" fmla="*/ 60 h 626"/>
                  <a:gd name="T6" fmla="*/ 764 w 860"/>
                  <a:gd name="T7" fmla="*/ 160 h 626"/>
                  <a:gd name="T8" fmla="*/ 734 w 860"/>
                  <a:gd name="T9" fmla="*/ 204 h 626"/>
                  <a:gd name="T10" fmla="*/ 742 w 860"/>
                  <a:gd name="T11" fmla="*/ 256 h 626"/>
                  <a:gd name="T12" fmla="*/ 234 w 860"/>
                  <a:gd name="T13" fmla="*/ 284 h 626"/>
                  <a:gd name="T14" fmla="*/ 246 w 860"/>
                  <a:gd name="T15" fmla="*/ 294 h 626"/>
                  <a:gd name="T16" fmla="*/ 252 w 860"/>
                  <a:gd name="T17" fmla="*/ 314 h 626"/>
                  <a:gd name="T18" fmla="*/ 506 w 860"/>
                  <a:gd name="T19" fmla="*/ 484 h 626"/>
                  <a:gd name="T20" fmla="*/ 332 w 860"/>
                  <a:gd name="T21" fmla="*/ 578 h 626"/>
                  <a:gd name="T22" fmla="*/ 418 w 860"/>
                  <a:gd name="T23" fmla="*/ 622 h 626"/>
                  <a:gd name="T24" fmla="*/ 308 w 860"/>
                  <a:gd name="T25" fmla="*/ 398 h 626"/>
                  <a:gd name="T26" fmla="*/ 312 w 860"/>
                  <a:gd name="T27" fmla="*/ 366 h 626"/>
                  <a:gd name="T28" fmla="*/ 268 w 860"/>
                  <a:gd name="T29" fmla="*/ 320 h 626"/>
                  <a:gd name="T30" fmla="*/ 256 w 860"/>
                  <a:gd name="T31" fmla="*/ 306 h 626"/>
                  <a:gd name="T32" fmla="*/ 200 w 860"/>
                  <a:gd name="T33" fmla="*/ 238 h 626"/>
                  <a:gd name="T34" fmla="*/ 86 w 860"/>
                  <a:gd name="T35" fmla="*/ 216 h 626"/>
                  <a:gd name="T36" fmla="*/ 86 w 860"/>
                  <a:gd name="T37" fmla="*/ 190 h 626"/>
                  <a:gd name="T38" fmla="*/ 30 w 860"/>
                  <a:gd name="T39" fmla="*/ 172 h 626"/>
                  <a:gd name="T40" fmla="*/ 122 w 860"/>
                  <a:gd name="T41" fmla="*/ 104 h 626"/>
                  <a:gd name="T42" fmla="*/ 178 w 860"/>
                  <a:gd name="T43" fmla="*/ 52 h 626"/>
                  <a:gd name="T44" fmla="*/ 276 w 860"/>
                  <a:gd name="T45" fmla="*/ 60 h 626"/>
                  <a:gd name="T46" fmla="*/ 406 w 860"/>
                  <a:gd name="T47" fmla="*/ 56 h 626"/>
                  <a:gd name="T48" fmla="*/ 464 w 860"/>
                  <a:gd name="T49" fmla="*/ 26 h 626"/>
                  <a:gd name="T50" fmla="*/ 418 w 860"/>
                  <a:gd name="T51" fmla="*/ 12 h 626"/>
                  <a:gd name="T52" fmla="*/ 524 w 860"/>
                  <a:gd name="T53" fmla="*/ 4 h 626"/>
                  <a:gd name="T54" fmla="*/ 584 w 860"/>
                  <a:gd name="T55" fmla="*/ 18 h 626"/>
                  <a:gd name="T56" fmla="*/ 678 w 860"/>
                  <a:gd name="T57" fmla="*/ 16 h 626"/>
                  <a:gd name="T58" fmla="*/ 606 w 860"/>
                  <a:gd name="T59" fmla="*/ 44 h 626"/>
                  <a:gd name="T60" fmla="*/ 692 w 860"/>
                  <a:gd name="T61" fmla="*/ 48 h 626"/>
                  <a:gd name="T62" fmla="*/ 786 w 860"/>
                  <a:gd name="T63" fmla="*/ 52 h 626"/>
                  <a:gd name="T64" fmla="*/ 748 w 860"/>
                  <a:gd name="T65" fmla="*/ 90 h 626"/>
                  <a:gd name="T66" fmla="*/ 756 w 860"/>
                  <a:gd name="T67" fmla="*/ 124 h 626"/>
                  <a:gd name="T68" fmla="*/ 744 w 860"/>
                  <a:gd name="T69" fmla="*/ 178 h 626"/>
                  <a:gd name="T70" fmla="*/ 726 w 860"/>
                  <a:gd name="T71" fmla="*/ 208 h 626"/>
                  <a:gd name="T72" fmla="*/ 734 w 860"/>
                  <a:gd name="T73" fmla="*/ 238 h 626"/>
                  <a:gd name="T74" fmla="*/ 738 w 860"/>
                  <a:gd name="T75" fmla="*/ 280 h 626"/>
                  <a:gd name="T76" fmla="*/ 660 w 860"/>
                  <a:gd name="T77" fmla="*/ 294 h 626"/>
                  <a:gd name="T78" fmla="*/ 704 w 860"/>
                  <a:gd name="T79" fmla="*/ 328 h 626"/>
                  <a:gd name="T80" fmla="*/ 688 w 860"/>
                  <a:gd name="T81" fmla="*/ 358 h 626"/>
                  <a:gd name="T82" fmla="*/ 632 w 860"/>
                  <a:gd name="T83" fmla="*/ 358 h 626"/>
                  <a:gd name="T84" fmla="*/ 704 w 860"/>
                  <a:gd name="T85" fmla="*/ 388 h 626"/>
                  <a:gd name="T86" fmla="*/ 580 w 860"/>
                  <a:gd name="T87" fmla="*/ 426 h 626"/>
                  <a:gd name="T88" fmla="*/ 502 w 860"/>
                  <a:gd name="T89" fmla="*/ 484 h 626"/>
                  <a:gd name="T90" fmla="*/ 458 w 860"/>
                  <a:gd name="T91" fmla="*/ 530 h 626"/>
                  <a:gd name="T92" fmla="*/ 436 w 860"/>
                  <a:gd name="T93" fmla="*/ 578 h 626"/>
                  <a:gd name="T94" fmla="*/ 420 w 860"/>
                  <a:gd name="T95" fmla="*/ 618 h 626"/>
                  <a:gd name="T96" fmla="*/ 388 w 860"/>
                  <a:gd name="T97" fmla="*/ 596 h 626"/>
                  <a:gd name="T98" fmla="*/ 332 w 860"/>
                  <a:gd name="T99" fmla="*/ 578 h 626"/>
                  <a:gd name="T100" fmla="*/ 306 w 860"/>
                  <a:gd name="T101" fmla="*/ 534 h 626"/>
                  <a:gd name="T102" fmla="*/ 302 w 860"/>
                  <a:gd name="T103" fmla="*/ 518 h 626"/>
                  <a:gd name="T104" fmla="*/ 286 w 860"/>
                  <a:gd name="T105" fmla="*/ 482 h 626"/>
                  <a:gd name="T106" fmla="*/ 278 w 860"/>
                  <a:gd name="T107" fmla="*/ 462 h 626"/>
                  <a:gd name="T108" fmla="*/ 290 w 860"/>
                  <a:gd name="T109" fmla="*/ 436 h 626"/>
                  <a:gd name="T110" fmla="*/ 278 w 860"/>
                  <a:gd name="T111" fmla="*/ 432 h 626"/>
                  <a:gd name="T112" fmla="*/ 306 w 860"/>
                  <a:gd name="T113" fmla="*/ 418 h 626"/>
                  <a:gd name="T114" fmla="*/ 768 w 860"/>
                  <a:gd name="T115" fmla="*/ 216 h 626"/>
                  <a:gd name="T116" fmla="*/ 712 w 860"/>
                  <a:gd name="T117" fmla="*/ 310 h 626"/>
                  <a:gd name="T118" fmla="*/ 648 w 860"/>
                  <a:gd name="T119" fmla="*/ 358 h 626"/>
                  <a:gd name="T120" fmla="*/ 264 w 860"/>
                  <a:gd name="T121" fmla="*/ 380 h 626"/>
                  <a:gd name="T122" fmla="*/ 610 w 860"/>
                  <a:gd name="T123" fmla="*/ 426 h 626"/>
                  <a:gd name="T124" fmla="*/ 462 w 860"/>
                  <a:gd name="T125" fmla="*/ 518 h 6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860" h="626">
                    <a:moveTo>
                      <a:pt x="472" y="8"/>
                    </a:moveTo>
                    <a:lnTo>
                      <a:pt x="476" y="8"/>
                    </a:lnTo>
                    <a:lnTo>
                      <a:pt x="480" y="8"/>
                    </a:lnTo>
                    <a:lnTo>
                      <a:pt x="480" y="12"/>
                    </a:lnTo>
                    <a:lnTo>
                      <a:pt x="476" y="12"/>
                    </a:lnTo>
                    <a:lnTo>
                      <a:pt x="472" y="8"/>
                    </a:lnTo>
                    <a:lnTo>
                      <a:pt x="472" y="8"/>
                    </a:lnTo>
                    <a:lnTo>
                      <a:pt x="472" y="8"/>
                    </a:lnTo>
                    <a:close/>
                    <a:moveTo>
                      <a:pt x="480" y="16"/>
                    </a:moveTo>
                    <a:lnTo>
                      <a:pt x="476" y="16"/>
                    </a:lnTo>
                    <a:lnTo>
                      <a:pt x="472" y="16"/>
                    </a:lnTo>
                    <a:lnTo>
                      <a:pt x="468" y="16"/>
                    </a:lnTo>
                    <a:lnTo>
                      <a:pt x="468" y="12"/>
                    </a:lnTo>
                    <a:lnTo>
                      <a:pt x="464" y="12"/>
                    </a:lnTo>
                    <a:lnTo>
                      <a:pt x="462" y="12"/>
                    </a:lnTo>
                    <a:lnTo>
                      <a:pt x="458" y="12"/>
                    </a:lnTo>
                    <a:lnTo>
                      <a:pt x="458" y="8"/>
                    </a:lnTo>
                    <a:lnTo>
                      <a:pt x="462" y="8"/>
                    </a:lnTo>
                    <a:lnTo>
                      <a:pt x="464" y="12"/>
                    </a:lnTo>
                    <a:lnTo>
                      <a:pt x="468" y="12"/>
                    </a:lnTo>
                    <a:lnTo>
                      <a:pt x="472" y="12"/>
                    </a:lnTo>
                    <a:lnTo>
                      <a:pt x="476" y="12"/>
                    </a:lnTo>
                    <a:lnTo>
                      <a:pt x="476" y="16"/>
                    </a:lnTo>
                    <a:lnTo>
                      <a:pt x="480" y="16"/>
                    </a:lnTo>
                    <a:lnTo>
                      <a:pt x="484" y="16"/>
                    </a:lnTo>
                    <a:lnTo>
                      <a:pt x="480" y="16"/>
                    </a:lnTo>
                    <a:lnTo>
                      <a:pt x="480" y="16"/>
                    </a:lnTo>
                    <a:lnTo>
                      <a:pt x="480" y="16"/>
                    </a:lnTo>
                    <a:close/>
                    <a:moveTo>
                      <a:pt x="446" y="12"/>
                    </a:moveTo>
                    <a:lnTo>
                      <a:pt x="442" y="12"/>
                    </a:lnTo>
                    <a:lnTo>
                      <a:pt x="446" y="8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6" y="12"/>
                    </a:lnTo>
                    <a:lnTo>
                      <a:pt x="446" y="12"/>
                    </a:lnTo>
                    <a:close/>
                    <a:moveTo>
                      <a:pt x="432" y="12"/>
                    </a:moveTo>
                    <a:lnTo>
                      <a:pt x="436" y="12"/>
                    </a:lnTo>
                    <a:lnTo>
                      <a:pt x="440" y="12"/>
                    </a:lnTo>
                    <a:lnTo>
                      <a:pt x="436" y="12"/>
                    </a:lnTo>
                    <a:lnTo>
                      <a:pt x="432" y="12"/>
                    </a:lnTo>
                    <a:lnTo>
                      <a:pt x="432" y="12"/>
                    </a:lnTo>
                    <a:lnTo>
                      <a:pt x="432" y="12"/>
                    </a:lnTo>
                    <a:close/>
                    <a:moveTo>
                      <a:pt x="442" y="12"/>
                    </a:moveTo>
                    <a:lnTo>
                      <a:pt x="446" y="12"/>
                    </a:lnTo>
                    <a:lnTo>
                      <a:pt x="450" y="12"/>
                    </a:lnTo>
                    <a:lnTo>
                      <a:pt x="446" y="12"/>
                    </a:lnTo>
                    <a:lnTo>
                      <a:pt x="442" y="12"/>
                    </a:lnTo>
                    <a:lnTo>
                      <a:pt x="442" y="12"/>
                    </a:lnTo>
                    <a:lnTo>
                      <a:pt x="442" y="12"/>
                    </a:lnTo>
                    <a:close/>
                    <a:moveTo>
                      <a:pt x="488" y="16"/>
                    </a:move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0" y="16"/>
                    </a:lnTo>
                    <a:lnTo>
                      <a:pt x="488" y="16"/>
                    </a:lnTo>
                    <a:lnTo>
                      <a:pt x="488" y="16"/>
                    </a:lnTo>
                    <a:lnTo>
                      <a:pt x="488" y="16"/>
                    </a:lnTo>
                    <a:close/>
                    <a:moveTo>
                      <a:pt x="468" y="18"/>
                    </a:moveTo>
                    <a:lnTo>
                      <a:pt x="464" y="18"/>
                    </a:lnTo>
                    <a:lnTo>
                      <a:pt x="462" y="18"/>
                    </a:lnTo>
                    <a:lnTo>
                      <a:pt x="458" y="18"/>
                    </a:lnTo>
                    <a:lnTo>
                      <a:pt x="454" y="18"/>
                    </a:lnTo>
                    <a:lnTo>
                      <a:pt x="450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4" y="16"/>
                    </a:lnTo>
                    <a:lnTo>
                      <a:pt x="458" y="16"/>
                    </a:lnTo>
                    <a:lnTo>
                      <a:pt x="462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68" y="18"/>
                    </a:lnTo>
                    <a:lnTo>
                      <a:pt x="468" y="18"/>
                    </a:lnTo>
                    <a:close/>
                    <a:moveTo>
                      <a:pt x="472" y="18"/>
                    </a:moveTo>
                    <a:lnTo>
                      <a:pt x="468" y="18"/>
                    </a:lnTo>
                    <a:lnTo>
                      <a:pt x="464" y="18"/>
                    </a:lnTo>
                    <a:lnTo>
                      <a:pt x="464" y="16"/>
                    </a:lnTo>
                    <a:lnTo>
                      <a:pt x="462" y="16"/>
                    </a:lnTo>
                    <a:lnTo>
                      <a:pt x="458" y="16"/>
                    </a:lnTo>
                    <a:lnTo>
                      <a:pt x="462" y="16"/>
                    </a:lnTo>
                    <a:lnTo>
                      <a:pt x="464" y="16"/>
                    </a:lnTo>
                    <a:lnTo>
                      <a:pt x="468" y="16"/>
                    </a:lnTo>
                    <a:lnTo>
                      <a:pt x="472" y="16"/>
                    </a:lnTo>
                    <a:lnTo>
                      <a:pt x="476" y="16"/>
                    </a:lnTo>
                    <a:lnTo>
                      <a:pt x="476" y="18"/>
                    </a:lnTo>
                    <a:lnTo>
                      <a:pt x="472" y="18"/>
                    </a:lnTo>
                    <a:lnTo>
                      <a:pt x="472" y="18"/>
                    </a:lnTo>
                    <a:lnTo>
                      <a:pt x="472" y="18"/>
                    </a:lnTo>
                    <a:close/>
                    <a:moveTo>
                      <a:pt x="368" y="22"/>
                    </a:moveTo>
                    <a:lnTo>
                      <a:pt x="364" y="22"/>
                    </a:lnTo>
                    <a:lnTo>
                      <a:pt x="368" y="22"/>
                    </a:lnTo>
                    <a:lnTo>
                      <a:pt x="372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22"/>
                    </a:lnTo>
                    <a:lnTo>
                      <a:pt x="368" y="22"/>
                    </a:lnTo>
                    <a:lnTo>
                      <a:pt x="368" y="22"/>
                    </a:lnTo>
                    <a:close/>
                    <a:moveTo>
                      <a:pt x="350" y="26"/>
                    </a:moveTo>
                    <a:lnTo>
                      <a:pt x="346" y="26"/>
                    </a:lnTo>
                    <a:lnTo>
                      <a:pt x="346" y="22"/>
                    </a:lnTo>
                    <a:lnTo>
                      <a:pt x="350" y="22"/>
                    </a:lnTo>
                    <a:lnTo>
                      <a:pt x="354" y="22"/>
                    </a:lnTo>
                    <a:lnTo>
                      <a:pt x="358" y="22"/>
                    </a:lnTo>
                    <a:lnTo>
                      <a:pt x="362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50" y="26"/>
                    </a:lnTo>
                    <a:lnTo>
                      <a:pt x="350" y="26"/>
                    </a:lnTo>
                    <a:close/>
                    <a:moveTo>
                      <a:pt x="394" y="48"/>
                    </a:moveTo>
                    <a:lnTo>
                      <a:pt x="392" y="44"/>
                    </a:lnTo>
                    <a:lnTo>
                      <a:pt x="388" y="44"/>
                    </a:lnTo>
                    <a:lnTo>
                      <a:pt x="388" y="42"/>
                    </a:lnTo>
                    <a:lnTo>
                      <a:pt x="384" y="42"/>
                    </a:lnTo>
                    <a:lnTo>
                      <a:pt x="380" y="42"/>
                    </a:lnTo>
                    <a:lnTo>
                      <a:pt x="376" y="42"/>
                    </a:lnTo>
                    <a:lnTo>
                      <a:pt x="372" y="42"/>
                    </a:lnTo>
                    <a:lnTo>
                      <a:pt x="368" y="38"/>
                    </a:lnTo>
                    <a:lnTo>
                      <a:pt x="364" y="38"/>
                    </a:lnTo>
                    <a:lnTo>
                      <a:pt x="364" y="34"/>
                    </a:lnTo>
                    <a:lnTo>
                      <a:pt x="362" y="34"/>
                    </a:lnTo>
                    <a:lnTo>
                      <a:pt x="362" y="30"/>
                    </a:lnTo>
                    <a:lnTo>
                      <a:pt x="358" y="30"/>
                    </a:lnTo>
                    <a:lnTo>
                      <a:pt x="362" y="30"/>
                    </a:lnTo>
                    <a:lnTo>
                      <a:pt x="364" y="30"/>
                    </a:lnTo>
                    <a:lnTo>
                      <a:pt x="368" y="30"/>
                    </a:lnTo>
                    <a:lnTo>
                      <a:pt x="372" y="30"/>
                    </a:lnTo>
                    <a:lnTo>
                      <a:pt x="376" y="30"/>
                    </a:lnTo>
                    <a:lnTo>
                      <a:pt x="380" y="30"/>
                    </a:lnTo>
                    <a:lnTo>
                      <a:pt x="384" y="30"/>
                    </a:lnTo>
                    <a:lnTo>
                      <a:pt x="392" y="34"/>
                    </a:lnTo>
                    <a:lnTo>
                      <a:pt x="394" y="34"/>
                    </a:lnTo>
                    <a:lnTo>
                      <a:pt x="398" y="34"/>
                    </a:lnTo>
                    <a:lnTo>
                      <a:pt x="398" y="38"/>
                    </a:lnTo>
                    <a:lnTo>
                      <a:pt x="402" y="38"/>
                    </a:lnTo>
                    <a:lnTo>
                      <a:pt x="402" y="42"/>
                    </a:lnTo>
                    <a:lnTo>
                      <a:pt x="398" y="42"/>
                    </a:lnTo>
                    <a:lnTo>
                      <a:pt x="394" y="42"/>
                    </a:lnTo>
                    <a:lnTo>
                      <a:pt x="394" y="44"/>
                    </a:lnTo>
                    <a:lnTo>
                      <a:pt x="398" y="44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4" y="48"/>
                    </a:lnTo>
                    <a:lnTo>
                      <a:pt x="394" y="48"/>
                    </a:lnTo>
                    <a:close/>
                    <a:moveTo>
                      <a:pt x="350" y="38"/>
                    </a:moveTo>
                    <a:lnTo>
                      <a:pt x="346" y="34"/>
                    </a:lnTo>
                    <a:lnTo>
                      <a:pt x="342" y="34"/>
                    </a:lnTo>
                    <a:lnTo>
                      <a:pt x="346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0" y="38"/>
                    </a:lnTo>
                    <a:lnTo>
                      <a:pt x="350" y="38"/>
                    </a:lnTo>
                    <a:close/>
                    <a:moveTo>
                      <a:pt x="308" y="48"/>
                    </a:moveTo>
                    <a:lnTo>
                      <a:pt x="306" y="48"/>
                    </a:lnTo>
                    <a:lnTo>
                      <a:pt x="302" y="48"/>
                    </a:lnTo>
                    <a:lnTo>
                      <a:pt x="298" y="48"/>
                    </a:lnTo>
                    <a:lnTo>
                      <a:pt x="294" y="48"/>
                    </a:lnTo>
                    <a:lnTo>
                      <a:pt x="290" y="48"/>
                    </a:lnTo>
                    <a:lnTo>
                      <a:pt x="286" y="48"/>
                    </a:lnTo>
                    <a:lnTo>
                      <a:pt x="282" y="48"/>
                    </a:lnTo>
                    <a:lnTo>
                      <a:pt x="282" y="44"/>
                    </a:lnTo>
                    <a:lnTo>
                      <a:pt x="278" y="44"/>
                    </a:lnTo>
                    <a:lnTo>
                      <a:pt x="278" y="42"/>
                    </a:lnTo>
                    <a:lnTo>
                      <a:pt x="282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86" y="42"/>
                    </a:lnTo>
                    <a:lnTo>
                      <a:pt x="290" y="42"/>
                    </a:lnTo>
                    <a:lnTo>
                      <a:pt x="290" y="44"/>
                    </a:lnTo>
                    <a:lnTo>
                      <a:pt x="294" y="44"/>
                    </a:lnTo>
                    <a:lnTo>
                      <a:pt x="298" y="44"/>
                    </a:lnTo>
                    <a:lnTo>
                      <a:pt x="306" y="48"/>
                    </a:lnTo>
                    <a:lnTo>
                      <a:pt x="308" y="48"/>
                    </a:lnTo>
                    <a:lnTo>
                      <a:pt x="308" y="48"/>
                    </a:lnTo>
                    <a:lnTo>
                      <a:pt x="308" y="48"/>
                    </a:lnTo>
                    <a:close/>
                    <a:moveTo>
                      <a:pt x="294" y="42"/>
                    </a:moveTo>
                    <a:lnTo>
                      <a:pt x="298" y="42"/>
                    </a:lnTo>
                    <a:lnTo>
                      <a:pt x="298" y="44"/>
                    </a:lnTo>
                    <a:lnTo>
                      <a:pt x="294" y="44"/>
                    </a:lnTo>
                    <a:lnTo>
                      <a:pt x="294" y="42"/>
                    </a:lnTo>
                    <a:lnTo>
                      <a:pt x="294" y="42"/>
                    </a:lnTo>
                    <a:lnTo>
                      <a:pt x="294" y="42"/>
                    </a:lnTo>
                    <a:close/>
                    <a:moveTo>
                      <a:pt x="764" y="48"/>
                    </a:moveTo>
                    <a:lnTo>
                      <a:pt x="760" y="44"/>
                    </a:lnTo>
                    <a:lnTo>
                      <a:pt x="756" y="44"/>
                    </a:lnTo>
                    <a:lnTo>
                      <a:pt x="756" y="42"/>
                    </a:lnTo>
                    <a:lnTo>
                      <a:pt x="760" y="42"/>
                    </a:lnTo>
                    <a:lnTo>
                      <a:pt x="760" y="44"/>
                    </a:lnTo>
                    <a:lnTo>
                      <a:pt x="764" y="48"/>
                    </a:lnTo>
                    <a:lnTo>
                      <a:pt x="768" y="48"/>
                    </a:lnTo>
                    <a:lnTo>
                      <a:pt x="764" y="48"/>
                    </a:lnTo>
                    <a:lnTo>
                      <a:pt x="764" y="48"/>
                    </a:lnTo>
                    <a:lnTo>
                      <a:pt x="764" y="48"/>
                    </a:lnTo>
                    <a:close/>
                    <a:moveTo>
                      <a:pt x="744" y="52"/>
                    </a:moveTo>
                    <a:lnTo>
                      <a:pt x="742" y="48"/>
                    </a:lnTo>
                    <a:lnTo>
                      <a:pt x="738" y="48"/>
                    </a:lnTo>
                    <a:lnTo>
                      <a:pt x="738" y="44"/>
                    </a:lnTo>
                    <a:lnTo>
                      <a:pt x="742" y="44"/>
                    </a:lnTo>
                    <a:lnTo>
                      <a:pt x="744" y="44"/>
                    </a:lnTo>
                    <a:lnTo>
                      <a:pt x="744" y="48"/>
                    </a:lnTo>
                    <a:lnTo>
                      <a:pt x="748" y="48"/>
                    </a:lnTo>
                    <a:lnTo>
                      <a:pt x="752" y="48"/>
                    </a:lnTo>
                    <a:lnTo>
                      <a:pt x="752" y="52"/>
                    </a:lnTo>
                    <a:lnTo>
                      <a:pt x="748" y="52"/>
                    </a:lnTo>
                    <a:lnTo>
                      <a:pt x="744" y="52"/>
                    </a:lnTo>
                    <a:lnTo>
                      <a:pt x="744" y="52"/>
                    </a:lnTo>
                    <a:lnTo>
                      <a:pt x="744" y="52"/>
                    </a:lnTo>
                    <a:close/>
                    <a:moveTo>
                      <a:pt x="768" y="60"/>
                    </a:moveTo>
                    <a:lnTo>
                      <a:pt x="764" y="60"/>
                    </a:lnTo>
                    <a:lnTo>
                      <a:pt x="760" y="56"/>
                    </a:lnTo>
                    <a:lnTo>
                      <a:pt x="764" y="56"/>
                    </a:lnTo>
                    <a:lnTo>
                      <a:pt x="768" y="56"/>
                    </a:lnTo>
                    <a:lnTo>
                      <a:pt x="770" y="56"/>
                    </a:lnTo>
                    <a:lnTo>
                      <a:pt x="770" y="60"/>
                    </a:lnTo>
                    <a:lnTo>
                      <a:pt x="774" y="60"/>
                    </a:lnTo>
                    <a:lnTo>
                      <a:pt x="770" y="60"/>
                    </a:lnTo>
                    <a:lnTo>
                      <a:pt x="768" y="60"/>
                    </a:lnTo>
                    <a:lnTo>
                      <a:pt x="768" y="60"/>
                    </a:lnTo>
                    <a:lnTo>
                      <a:pt x="768" y="60"/>
                    </a:lnTo>
                    <a:close/>
                    <a:moveTo>
                      <a:pt x="738" y="60"/>
                    </a:moveTo>
                    <a:lnTo>
                      <a:pt x="734" y="56"/>
                    </a:lnTo>
                    <a:lnTo>
                      <a:pt x="738" y="56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2" y="60"/>
                    </a:lnTo>
                    <a:lnTo>
                      <a:pt x="738" y="60"/>
                    </a:lnTo>
                    <a:lnTo>
                      <a:pt x="738" y="60"/>
                    </a:lnTo>
                    <a:lnTo>
                      <a:pt x="738" y="60"/>
                    </a:lnTo>
                    <a:close/>
                    <a:moveTo>
                      <a:pt x="86" y="90"/>
                    </a:moveTo>
                    <a:lnTo>
                      <a:pt x="90" y="90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86" y="90"/>
                    </a:lnTo>
                    <a:lnTo>
                      <a:pt x="86" y="90"/>
                    </a:lnTo>
                    <a:lnTo>
                      <a:pt x="86" y="90"/>
                    </a:lnTo>
                    <a:close/>
                    <a:moveTo>
                      <a:pt x="760" y="130"/>
                    </a:moveTo>
                    <a:lnTo>
                      <a:pt x="760" y="134"/>
                    </a:lnTo>
                    <a:lnTo>
                      <a:pt x="756" y="134"/>
                    </a:lnTo>
                    <a:lnTo>
                      <a:pt x="756" y="130"/>
                    </a:lnTo>
                    <a:lnTo>
                      <a:pt x="760" y="130"/>
                    </a:lnTo>
                    <a:lnTo>
                      <a:pt x="760" y="130"/>
                    </a:lnTo>
                    <a:lnTo>
                      <a:pt x="760" y="130"/>
                    </a:lnTo>
                    <a:close/>
                    <a:moveTo>
                      <a:pt x="782" y="130"/>
                    </a:moveTo>
                    <a:lnTo>
                      <a:pt x="782" y="134"/>
                    </a:lnTo>
                    <a:lnTo>
                      <a:pt x="778" y="134"/>
                    </a:lnTo>
                    <a:lnTo>
                      <a:pt x="778" y="138"/>
                    </a:lnTo>
                    <a:lnTo>
                      <a:pt x="774" y="138"/>
                    </a:lnTo>
                    <a:lnTo>
                      <a:pt x="774" y="134"/>
                    </a:lnTo>
                    <a:lnTo>
                      <a:pt x="778" y="130"/>
                    </a:lnTo>
                    <a:lnTo>
                      <a:pt x="782" y="130"/>
                    </a:lnTo>
                    <a:lnTo>
                      <a:pt x="782" y="130"/>
                    </a:lnTo>
                    <a:lnTo>
                      <a:pt x="782" y="130"/>
                    </a:lnTo>
                    <a:close/>
                    <a:moveTo>
                      <a:pt x="774" y="146"/>
                    </a:moveTo>
                    <a:lnTo>
                      <a:pt x="770" y="142"/>
                    </a:lnTo>
                    <a:lnTo>
                      <a:pt x="774" y="142"/>
                    </a:lnTo>
                    <a:lnTo>
                      <a:pt x="774" y="146"/>
                    </a:lnTo>
                    <a:lnTo>
                      <a:pt x="774" y="146"/>
                    </a:lnTo>
                    <a:lnTo>
                      <a:pt x="774" y="146"/>
                    </a:lnTo>
                    <a:close/>
                    <a:moveTo>
                      <a:pt x="770" y="146"/>
                    </a:moveTo>
                    <a:lnTo>
                      <a:pt x="770" y="150"/>
                    </a:lnTo>
                    <a:lnTo>
                      <a:pt x="768" y="150"/>
                    </a:lnTo>
                    <a:lnTo>
                      <a:pt x="768" y="146"/>
                    </a:lnTo>
                    <a:lnTo>
                      <a:pt x="770" y="146"/>
                    </a:lnTo>
                    <a:lnTo>
                      <a:pt x="770" y="146"/>
                    </a:lnTo>
                    <a:lnTo>
                      <a:pt x="770" y="146"/>
                    </a:lnTo>
                    <a:close/>
                    <a:moveTo>
                      <a:pt x="760" y="154"/>
                    </a:moveTo>
                    <a:lnTo>
                      <a:pt x="764" y="158"/>
                    </a:lnTo>
                    <a:lnTo>
                      <a:pt x="760" y="158"/>
                    </a:lnTo>
                    <a:lnTo>
                      <a:pt x="756" y="158"/>
                    </a:lnTo>
                    <a:lnTo>
                      <a:pt x="756" y="154"/>
                    </a:lnTo>
                    <a:lnTo>
                      <a:pt x="760" y="154"/>
                    </a:lnTo>
                    <a:lnTo>
                      <a:pt x="760" y="154"/>
                    </a:lnTo>
                    <a:lnTo>
                      <a:pt x="760" y="154"/>
                    </a:lnTo>
                    <a:close/>
                    <a:moveTo>
                      <a:pt x="756" y="158"/>
                    </a:moveTo>
                    <a:lnTo>
                      <a:pt x="752" y="158"/>
                    </a:lnTo>
                    <a:lnTo>
                      <a:pt x="752" y="154"/>
                    </a:lnTo>
                    <a:lnTo>
                      <a:pt x="756" y="154"/>
                    </a:lnTo>
                    <a:lnTo>
                      <a:pt x="756" y="158"/>
                    </a:lnTo>
                    <a:lnTo>
                      <a:pt x="756" y="158"/>
                    </a:lnTo>
                    <a:lnTo>
                      <a:pt x="756" y="158"/>
                    </a:lnTo>
                    <a:close/>
                    <a:moveTo>
                      <a:pt x="760" y="160"/>
                    </a:moveTo>
                    <a:lnTo>
                      <a:pt x="760" y="158"/>
                    </a:lnTo>
                    <a:lnTo>
                      <a:pt x="764" y="158"/>
                    </a:lnTo>
                    <a:lnTo>
                      <a:pt x="760" y="160"/>
                    </a:lnTo>
                    <a:lnTo>
                      <a:pt x="760" y="160"/>
                    </a:lnTo>
                    <a:lnTo>
                      <a:pt x="760" y="160"/>
                    </a:lnTo>
                    <a:close/>
                    <a:moveTo>
                      <a:pt x="744" y="160"/>
                    </a:moveTo>
                    <a:lnTo>
                      <a:pt x="742" y="160"/>
                    </a:lnTo>
                    <a:lnTo>
                      <a:pt x="738" y="160"/>
                    </a:lnTo>
                    <a:lnTo>
                      <a:pt x="742" y="160"/>
                    </a:lnTo>
                    <a:lnTo>
                      <a:pt x="744" y="160"/>
                    </a:lnTo>
                    <a:lnTo>
                      <a:pt x="744" y="160"/>
                    </a:lnTo>
                    <a:lnTo>
                      <a:pt x="744" y="160"/>
                    </a:lnTo>
                    <a:close/>
                    <a:moveTo>
                      <a:pt x="764" y="160"/>
                    </a:moveTo>
                    <a:lnTo>
                      <a:pt x="764" y="164"/>
                    </a:lnTo>
                    <a:lnTo>
                      <a:pt x="760" y="164"/>
                    </a:lnTo>
                    <a:lnTo>
                      <a:pt x="760" y="160"/>
                    </a:lnTo>
                    <a:lnTo>
                      <a:pt x="764" y="160"/>
                    </a:lnTo>
                    <a:lnTo>
                      <a:pt x="768" y="160"/>
                    </a:lnTo>
                    <a:lnTo>
                      <a:pt x="764" y="160"/>
                    </a:lnTo>
                    <a:lnTo>
                      <a:pt x="764" y="160"/>
                    </a:lnTo>
                    <a:lnTo>
                      <a:pt x="764" y="160"/>
                    </a:lnTo>
                    <a:close/>
                    <a:moveTo>
                      <a:pt x="734" y="164"/>
                    </a:moveTo>
                    <a:lnTo>
                      <a:pt x="734" y="168"/>
                    </a:lnTo>
                    <a:lnTo>
                      <a:pt x="730" y="168"/>
                    </a:lnTo>
                    <a:lnTo>
                      <a:pt x="730" y="164"/>
                    </a:lnTo>
                    <a:lnTo>
                      <a:pt x="734" y="164"/>
                    </a:lnTo>
                    <a:lnTo>
                      <a:pt x="734" y="164"/>
                    </a:lnTo>
                    <a:lnTo>
                      <a:pt x="734" y="164"/>
                    </a:lnTo>
                    <a:close/>
                    <a:moveTo>
                      <a:pt x="748" y="174"/>
                    </a:moveTo>
                    <a:lnTo>
                      <a:pt x="748" y="178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8" y="174"/>
                    </a:lnTo>
                    <a:lnTo>
                      <a:pt x="748" y="174"/>
                    </a:lnTo>
                    <a:lnTo>
                      <a:pt x="748" y="174"/>
                    </a:lnTo>
                    <a:close/>
                    <a:moveTo>
                      <a:pt x="752" y="178"/>
                    </a:moveTo>
                    <a:lnTo>
                      <a:pt x="748" y="178"/>
                    </a:lnTo>
                    <a:lnTo>
                      <a:pt x="752" y="178"/>
                    </a:lnTo>
                    <a:lnTo>
                      <a:pt x="752" y="178"/>
                    </a:lnTo>
                    <a:lnTo>
                      <a:pt x="752" y="178"/>
                    </a:lnTo>
                    <a:close/>
                    <a:moveTo>
                      <a:pt x="96" y="178"/>
                    </a:moveTo>
                    <a:lnTo>
                      <a:pt x="94" y="178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6" y="178"/>
                    </a:lnTo>
                    <a:lnTo>
                      <a:pt x="96" y="178"/>
                    </a:lnTo>
                    <a:lnTo>
                      <a:pt x="96" y="178"/>
                    </a:lnTo>
                    <a:close/>
                    <a:moveTo>
                      <a:pt x="26" y="182"/>
                    </a:moveTo>
                    <a:lnTo>
                      <a:pt x="26" y="178"/>
                    </a:lnTo>
                    <a:lnTo>
                      <a:pt x="30" y="178"/>
                    </a:lnTo>
                    <a:lnTo>
                      <a:pt x="34" y="178"/>
                    </a:lnTo>
                    <a:lnTo>
                      <a:pt x="34" y="182"/>
                    </a:lnTo>
                    <a:lnTo>
                      <a:pt x="38" y="182"/>
                    </a:lnTo>
                    <a:lnTo>
                      <a:pt x="40" y="182"/>
                    </a:lnTo>
                    <a:lnTo>
                      <a:pt x="38" y="182"/>
                    </a:lnTo>
                    <a:lnTo>
                      <a:pt x="34" y="182"/>
                    </a:lnTo>
                    <a:lnTo>
                      <a:pt x="30" y="182"/>
                    </a:lnTo>
                    <a:lnTo>
                      <a:pt x="26" y="182"/>
                    </a:lnTo>
                    <a:lnTo>
                      <a:pt x="22" y="182"/>
                    </a:lnTo>
                    <a:lnTo>
                      <a:pt x="26" y="182"/>
                    </a:lnTo>
                    <a:lnTo>
                      <a:pt x="26" y="182"/>
                    </a:lnTo>
                    <a:lnTo>
                      <a:pt x="26" y="182"/>
                    </a:lnTo>
                    <a:close/>
                    <a:moveTo>
                      <a:pt x="10" y="182"/>
                    </a:moveTo>
                    <a:lnTo>
                      <a:pt x="14" y="182"/>
                    </a:lnTo>
                    <a:lnTo>
                      <a:pt x="18" y="182"/>
                    </a:lnTo>
                    <a:lnTo>
                      <a:pt x="22" y="182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8" y="182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82"/>
                    </a:lnTo>
                    <a:close/>
                    <a:moveTo>
                      <a:pt x="752" y="198"/>
                    </a:moveTo>
                    <a:lnTo>
                      <a:pt x="756" y="198"/>
                    </a:lnTo>
                    <a:lnTo>
                      <a:pt x="752" y="200"/>
                    </a:lnTo>
                    <a:lnTo>
                      <a:pt x="752" y="198"/>
                    </a:lnTo>
                    <a:lnTo>
                      <a:pt x="752" y="198"/>
                    </a:lnTo>
                    <a:lnTo>
                      <a:pt x="752" y="198"/>
                    </a:lnTo>
                    <a:close/>
                    <a:moveTo>
                      <a:pt x="752" y="200"/>
                    </a:moveTo>
                    <a:lnTo>
                      <a:pt x="756" y="200"/>
                    </a:lnTo>
                    <a:lnTo>
                      <a:pt x="752" y="200"/>
                    </a:lnTo>
                    <a:lnTo>
                      <a:pt x="752" y="200"/>
                    </a:lnTo>
                    <a:lnTo>
                      <a:pt x="752" y="200"/>
                    </a:lnTo>
                    <a:close/>
                    <a:moveTo>
                      <a:pt x="734" y="204"/>
                    </a:moveTo>
                    <a:lnTo>
                      <a:pt x="730" y="204"/>
                    </a:lnTo>
                    <a:lnTo>
                      <a:pt x="726" y="204"/>
                    </a:lnTo>
                    <a:lnTo>
                      <a:pt x="730" y="204"/>
                    </a:lnTo>
                    <a:lnTo>
                      <a:pt x="734" y="204"/>
                    </a:lnTo>
                    <a:lnTo>
                      <a:pt x="734" y="204"/>
                    </a:lnTo>
                    <a:lnTo>
                      <a:pt x="734" y="204"/>
                    </a:lnTo>
                    <a:close/>
                    <a:moveTo>
                      <a:pt x="48" y="204"/>
                    </a:moveTo>
                    <a:lnTo>
                      <a:pt x="44" y="204"/>
                    </a:lnTo>
                    <a:lnTo>
                      <a:pt x="40" y="204"/>
                    </a:lnTo>
                    <a:lnTo>
                      <a:pt x="44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close/>
                    <a:moveTo>
                      <a:pt x="738" y="208"/>
                    </a:moveTo>
                    <a:lnTo>
                      <a:pt x="738" y="212"/>
                    </a:lnTo>
                    <a:lnTo>
                      <a:pt x="738" y="208"/>
                    </a:lnTo>
                    <a:lnTo>
                      <a:pt x="734" y="208"/>
                    </a:lnTo>
                    <a:lnTo>
                      <a:pt x="738" y="208"/>
                    </a:lnTo>
                    <a:lnTo>
                      <a:pt x="738" y="204"/>
                    </a:lnTo>
                    <a:lnTo>
                      <a:pt x="738" y="208"/>
                    </a:lnTo>
                    <a:lnTo>
                      <a:pt x="738" y="208"/>
                    </a:lnTo>
                    <a:lnTo>
                      <a:pt x="738" y="208"/>
                    </a:lnTo>
                    <a:close/>
                    <a:moveTo>
                      <a:pt x="40" y="208"/>
                    </a:moveTo>
                    <a:lnTo>
                      <a:pt x="44" y="208"/>
                    </a:lnTo>
                    <a:lnTo>
                      <a:pt x="40" y="208"/>
                    </a:lnTo>
                    <a:lnTo>
                      <a:pt x="40" y="208"/>
                    </a:lnTo>
                    <a:lnTo>
                      <a:pt x="40" y="208"/>
                    </a:lnTo>
                    <a:close/>
                    <a:moveTo>
                      <a:pt x="744" y="208"/>
                    </a:moveTo>
                    <a:lnTo>
                      <a:pt x="748" y="208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08"/>
                    </a:lnTo>
                    <a:lnTo>
                      <a:pt x="742" y="212"/>
                    </a:lnTo>
                    <a:lnTo>
                      <a:pt x="742" y="208"/>
                    </a:lnTo>
                    <a:lnTo>
                      <a:pt x="744" y="208"/>
                    </a:lnTo>
                    <a:lnTo>
                      <a:pt x="744" y="208"/>
                    </a:lnTo>
                    <a:lnTo>
                      <a:pt x="744" y="208"/>
                    </a:lnTo>
                    <a:close/>
                    <a:moveTo>
                      <a:pt x="734" y="212"/>
                    </a:move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2" y="212"/>
                    </a:lnTo>
                    <a:lnTo>
                      <a:pt x="738" y="212"/>
                    </a:lnTo>
                    <a:lnTo>
                      <a:pt x="734" y="212"/>
                    </a:lnTo>
                    <a:lnTo>
                      <a:pt x="734" y="212"/>
                    </a:lnTo>
                    <a:lnTo>
                      <a:pt x="734" y="212"/>
                    </a:lnTo>
                    <a:close/>
                    <a:moveTo>
                      <a:pt x="744" y="212"/>
                    </a:moveTo>
                    <a:lnTo>
                      <a:pt x="742" y="212"/>
                    </a:lnTo>
                    <a:lnTo>
                      <a:pt x="744" y="212"/>
                    </a:lnTo>
                    <a:lnTo>
                      <a:pt x="748" y="212"/>
                    </a:lnTo>
                    <a:lnTo>
                      <a:pt x="744" y="212"/>
                    </a:lnTo>
                    <a:lnTo>
                      <a:pt x="744" y="212"/>
                    </a:lnTo>
                    <a:lnTo>
                      <a:pt x="744" y="212"/>
                    </a:lnTo>
                    <a:close/>
                    <a:moveTo>
                      <a:pt x="110" y="220"/>
                    </a:moveTo>
                    <a:lnTo>
                      <a:pt x="114" y="220"/>
                    </a:lnTo>
                    <a:lnTo>
                      <a:pt x="110" y="220"/>
                    </a:lnTo>
                    <a:lnTo>
                      <a:pt x="108" y="220"/>
                    </a:lnTo>
                    <a:lnTo>
                      <a:pt x="110" y="220"/>
                    </a:lnTo>
                    <a:lnTo>
                      <a:pt x="110" y="220"/>
                    </a:lnTo>
                    <a:lnTo>
                      <a:pt x="110" y="220"/>
                    </a:lnTo>
                    <a:close/>
                    <a:moveTo>
                      <a:pt x="748" y="224"/>
                    </a:moveTo>
                    <a:lnTo>
                      <a:pt x="744" y="224"/>
                    </a:lnTo>
                    <a:lnTo>
                      <a:pt x="748" y="220"/>
                    </a:lnTo>
                    <a:lnTo>
                      <a:pt x="748" y="224"/>
                    </a:lnTo>
                    <a:lnTo>
                      <a:pt x="748" y="224"/>
                    </a:lnTo>
                    <a:lnTo>
                      <a:pt x="748" y="224"/>
                    </a:lnTo>
                    <a:close/>
                    <a:moveTo>
                      <a:pt x="744" y="246"/>
                    </a:moveTo>
                    <a:lnTo>
                      <a:pt x="748" y="250"/>
                    </a:lnTo>
                    <a:lnTo>
                      <a:pt x="744" y="250"/>
                    </a:lnTo>
                    <a:lnTo>
                      <a:pt x="748" y="250"/>
                    </a:lnTo>
                    <a:lnTo>
                      <a:pt x="752" y="254"/>
                    </a:lnTo>
                    <a:lnTo>
                      <a:pt x="748" y="256"/>
                    </a:lnTo>
                    <a:lnTo>
                      <a:pt x="744" y="256"/>
                    </a:lnTo>
                    <a:lnTo>
                      <a:pt x="742" y="256"/>
                    </a:lnTo>
                    <a:lnTo>
                      <a:pt x="742" y="254"/>
                    </a:lnTo>
                    <a:lnTo>
                      <a:pt x="742" y="250"/>
                    </a:lnTo>
                    <a:lnTo>
                      <a:pt x="742" y="246"/>
                    </a:lnTo>
                    <a:lnTo>
                      <a:pt x="744" y="246"/>
                    </a:lnTo>
                    <a:lnTo>
                      <a:pt x="744" y="246"/>
                    </a:lnTo>
                    <a:lnTo>
                      <a:pt x="744" y="246"/>
                    </a:lnTo>
                    <a:close/>
                    <a:moveTo>
                      <a:pt x="770" y="256"/>
                    </a:moveTo>
                    <a:lnTo>
                      <a:pt x="768" y="256"/>
                    </a:lnTo>
                    <a:lnTo>
                      <a:pt x="770" y="256"/>
                    </a:lnTo>
                    <a:lnTo>
                      <a:pt x="774" y="256"/>
                    </a:lnTo>
                    <a:lnTo>
                      <a:pt x="770" y="256"/>
                    </a:lnTo>
                    <a:lnTo>
                      <a:pt x="770" y="256"/>
                    </a:lnTo>
                    <a:lnTo>
                      <a:pt x="770" y="256"/>
                    </a:lnTo>
                    <a:close/>
                    <a:moveTo>
                      <a:pt x="768" y="260"/>
                    </a:moveTo>
                    <a:lnTo>
                      <a:pt x="764" y="260"/>
                    </a:lnTo>
                    <a:lnTo>
                      <a:pt x="760" y="260"/>
                    </a:lnTo>
                    <a:lnTo>
                      <a:pt x="764" y="256"/>
                    </a:lnTo>
                    <a:lnTo>
                      <a:pt x="768" y="256"/>
                    </a:lnTo>
                    <a:lnTo>
                      <a:pt x="768" y="260"/>
                    </a:lnTo>
                    <a:lnTo>
                      <a:pt x="768" y="260"/>
                    </a:lnTo>
                    <a:lnTo>
                      <a:pt x="768" y="260"/>
                    </a:lnTo>
                    <a:close/>
                    <a:moveTo>
                      <a:pt x="226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26" y="260"/>
                    </a:lnTo>
                    <a:lnTo>
                      <a:pt x="226" y="260"/>
                    </a:lnTo>
                    <a:close/>
                    <a:moveTo>
                      <a:pt x="220" y="260"/>
                    </a:moveTo>
                    <a:lnTo>
                      <a:pt x="222" y="260"/>
                    </a:lnTo>
                    <a:lnTo>
                      <a:pt x="226" y="260"/>
                    </a:lnTo>
                    <a:lnTo>
                      <a:pt x="230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26" y="260"/>
                    </a:lnTo>
                    <a:lnTo>
                      <a:pt x="222" y="264"/>
                    </a:lnTo>
                    <a:lnTo>
                      <a:pt x="220" y="260"/>
                    </a:lnTo>
                    <a:lnTo>
                      <a:pt x="220" y="260"/>
                    </a:lnTo>
                    <a:lnTo>
                      <a:pt x="220" y="260"/>
                    </a:lnTo>
                    <a:close/>
                    <a:moveTo>
                      <a:pt x="734" y="264"/>
                    </a:moveTo>
                    <a:lnTo>
                      <a:pt x="738" y="264"/>
                    </a:lnTo>
                    <a:lnTo>
                      <a:pt x="742" y="264"/>
                    </a:lnTo>
                    <a:lnTo>
                      <a:pt x="742" y="268"/>
                    </a:lnTo>
                    <a:lnTo>
                      <a:pt x="744" y="268"/>
                    </a:lnTo>
                    <a:lnTo>
                      <a:pt x="748" y="268"/>
                    </a:lnTo>
                    <a:lnTo>
                      <a:pt x="748" y="272"/>
                    </a:lnTo>
                    <a:lnTo>
                      <a:pt x="744" y="272"/>
                    </a:lnTo>
                    <a:lnTo>
                      <a:pt x="742" y="272"/>
                    </a:lnTo>
                    <a:lnTo>
                      <a:pt x="738" y="272"/>
                    </a:lnTo>
                    <a:lnTo>
                      <a:pt x="734" y="272"/>
                    </a:lnTo>
                    <a:lnTo>
                      <a:pt x="730" y="272"/>
                    </a:lnTo>
                    <a:lnTo>
                      <a:pt x="726" y="272"/>
                    </a:lnTo>
                    <a:lnTo>
                      <a:pt x="722" y="272"/>
                    </a:lnTo>
                    <a:lnTo>
                      <a:pt x="722" y="268"/>
                    </a:lnTo>
                    <a:lnTo>
                      <a:pt x="722" y="264"/>
                    </a:lnTo>
                    <a:lnTo>
                      <a:pt x="726" y="264"/>
                    </a:lnTo>
                    <a:lnTo>
                      <a:pt x="730" y="264"/>
                    </a:lnTo>
                    <a:lnTo>
                      <a:pt x="734" y="264"/>
                    </a:lnTo>
                    <a:lnTo>
                      <a:pt x="734" y="264"/>
                    </a:lnTo>
                    <a:lnTo>
                      <a:pt x="734" y="264"/>
                    </a:lnTo>
                    <a:close/>
                    <a:moveTo>
                      <a:pt x="234" y="280"/>
                    </a:moveTo>
                    <a:lnTo>
                      <a:pt x="230" y="280"/>
                    </a:lnTo>
                    <a:lnTo>
                      <a:pt x="234" y="280"/>
                    </a:lnTo>
                    <a:lnTo>
                      <a:pt x="238" y="280"/>
                    </a:lnTo>
                    <a:lnTo>
                      <a:pt x="242" y="280"/>
                    </a:lnTo>
                    <a:lnTo>
                      <a:pt x="238" y="280"/>
                    </a:lnTo>
                    <a:lnTo>
                      <a:pt x="234" y="280"/>
                    </a:lnTo>
                    <a:lnTo>
                      <a:pt x="234" y="280"/>
                    </a:lnTo>
                    <a:lnTo>
                      <a:pt x="234" y="280"/>
                    </a:lnTo>
                    <a:close/>
                    <a:moveTo>
                      <a:pt x="234" y="284"/>
                    </a:moveTo>
                    <a:lnTo>
                      <a:pt x="230" y="286"/>
                    </a:lnTo>
                    <a:lnTo>
                      <a:pt x="226" y="286"/>
                    </a:lnTo>
                    <a:lnTo>
                      <a:pt x="226" y="284"/>
                    </a:lnTo>
                    <a:lnTo>
                      <a:pt x="230" y="284"/>
                    </a:lnTo>
                    <a:lnTo>
                      <a:pt x="234" y="284"/>
                    </a:lnTo>
                    <a:lnTo>
                      <a:pt x="234" y="284"/>
                    </a:lnTo>
                    <a:lnTo>
                      <a:pt x="234" y="284"/>
                    </a:lnTo>
                    <a:close/>
                    <a:moveTo>
                      <a:pt x="234" y="286"/>
                    </a:moveTo>
                    <a:lnTo>
                      <a:pt x="230" y="286"/>
                    </a:lnTo>
                    <a:lnTo>
                      <a:pt x="234" y="286"/>
                    </a:lnTo>
                    <a:lnTo>
                      <a:pt x="234" y="284"/>
                    </a:lnTo>
                    <a:lnTo>
                      <a:pt x="238" y="284"/>
                    </a:lnTo>
                    <a:lnTo>
                      <a:pt x="238" y="286"/>
                    </a:lnTo>
                    <a:lnTo>
                      <a:pt x="234" y="286"/>
                    </a:lnTo>
                    <a:lnTo>
                      <a:pt x="234" y="286"/>
                    </a:lnTo>
                    <a:lnTo>
                      <a:pt x="234" y="286"/>
                    </a:lnTo>
                    <a:close/>
                    <a:moveTo>
                      <a:pt x="242" y="286"/>
                    </a:moveTo>
                    <a:lnTo>
                      <a:pt x="246" y="286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46" y="290"/>
                    </a:lnTo>
                    <a:lnTo>
                      <a:pt x="242" y="290"/>
                    </a:lnTo>
                    <a:lnTo>
                      <a:pt x="238" y="286"/>
                    </a:lnTo>
                    <a:lnTo>
                      <a:pt x="242" y="286"/>
                    </a:lnTo>
                    <a:lnTo>
                      <a:pt x="242" y="286"/>
                    </a:lnTo>
                    <a:lnTo>
                      <a:pt x="242" y="286"/>
                    </a:lnTo>
                    <a:close/>
                    <a:moveTo>
                      <a:pt x="242" y="290"/>
                    </a:move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686" y="290"/>
                    </a:moveTo>
                    <a:lnTo>
                      <a:pt x="688" y="290"/>
                    </a:lnTo>
                    <a:lnTo>
                      <a:pt x="692" y="294"/>
                    </a:lnTo>
                    <a:lnTo>
                      <a:pt x="696" y="294"/>
                    </a:lnTo>
                    <a:lnTo>
                      <a:pt x="700" y="294"/>
                    </a:lnTo>
                    <a:lnTo>
                      <a:pt x="704" y="294"/>
                    </a:lnTo>
                    <a:lnTo>
                      <a:pt x="704" y="298"/>
                    </a:lnTo>
                    <a:lnTo>
                      <a:pt x="696" y="298"/>
                    </a:lnTo>
                    <a:lnTo>
                      <a:pt x="696" y="294"/>
                    </a:lnTo>
                    <a:lnTo>
                      <a:pt x="692" y="294"/>
                    </a:lnTo>
                    <a:lnTo>
                      <a:pt x="688" y="294"/>
                    </a:lnTo>
                    <a:lnTo>
                      <a:pt x="686" y="294"/>
                    </a:lnTo>
                    <a:lnTo>
                      <a:pt x="682" y="294"/>
                    </a:lnTo>
                    <a:lnTo>
                      <a:pt x="678" y="294"/>
                    </a:lnTo>
                    <a:lnTo>
                      <a:pt x="682" y="294"/>
                    </a:lnTo>
                    <a:lnTo>
                      <a:pt x="686" y="294"/>
                    </a:lnTo>
                    <a:lnTo>
                      <a:pt x="688" y="294"/>
                    </a:lnTo>
                    <a:lnTo>
                      <a:pt x="692" y="294"/>
                    </a:lnTo>
                    <a:lnTo>
                      <a:pt x="692" y="298"/>
                    </a:lnTo>
                    <a:lnTo>
                      <a:pt x="696" y="298"/>
                    </a:lnTo>
                    <a:lnTo>
                      <a:pt x="700" y="298"/>
                    </a:lnTo>
                    <a:lnTo>
                      <a:pt x="704" y="298"/>
                    </a:lnTo>
                    <a:lnTo>
                      <a:pt x="708" y="298"/>
                    </a:lnTo>
                    <a:lnTo>
                      <a:pt x="704" y="298"/>
                    </a:lnTo>
                    <a:lnTo>
                      <a:pt x="700" y="298"/>
                    </a:lnTo>
                    <a:lnTo>
                      <a:pt x="700" y="302"/>
                    </a:lnTo>
                    <a:lnTo>
                      <a:pt x="696" y="302"/>
                    </a:lnTo>
                    <a:lnTo>
                      <a:pt x="692" y="302"/>
                    </a:lnTo>
                    <a:lnTo>
                      <a:pt x="688" y="302"/>
                    </a:lnTo>
                    <a:lnTo>
                      <a:pt x="686" y="302"/>
                    </a:lnTo>
                    <a:lnTo>
                      <a:pt x="682" y="302"/>
                    </a:lnTo>
                    <a:lnTo>
                      <a:pt x="678" y="298"/>
                    </a:lnTo>
                    <a:lnTo>
                      <a:pt x="674" y="298"/>
                    </a:lnTo>
                    <a:lnTo>
                      <a:pt x="670" y="298"/>
                    </a:lnTo>
                    <a:lnTo>
                      <a:pt x="666" y="298"/>
                    </a:lnTo>
                    <a:lnTo>
                      <a:pt x="670" y="294"/>
                    </a:lnTo>
                    <a:lnTo>
                      <a:pt x="674" y="294"/>
                    </a:lnTo>
                    <a:lnTo>
                      <a:pt x="674" y="290"/>
                    </a:lnTo>
                    <a:lnTo>
                      <a:pt x="678" y="290"/>
                    </a:lnTo>
                    <a:lnTo>
                      <a:pt x="682" y="290"/>
                    </a:lnTo>
                    <a:lnTo>
                      <a:pt x="686" y="290"/>
                    </a:lnTo>
                    <a:lnTo>
                      <a:pt x="686" y="290"/>
                    </a:lnTo>
                    <a:lnTo>
                      <a:pt x="686" y="290"/>
                    </a:lnTo>
                    <a:close/>
                    <a:moveTo>
                      <a:pt x="246" y="294"/>
                    </a:moveTo>
                    <a:lnTo>
                      <a:pt x="250" y="290"/>
                    </a:lnTo>
                    <a:lnTo>
                      <a:pt x="250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0"/>
                    </a:moveTo>
                    <a:lnTo>
                      <a:pt x="242" y="294"/>
                    </a:lnTo>
                    <a:lnTo>
                      <a:pt x="238" y="294"/>
                    </a:lnTo>
                    <a:lnTo>
                      <a:pt x="238" y="290"/>
                    </a:lnTo>
                    <a:lnTo>
                      <a:pt x="242" y="290"/>
                    </a:lnTo>
                    <a:lnTo>
                      <a:pt x="242" y="290"/>
                    </a:lnTo>
                    <a:lnTo>
                      <a:pt x="242" y="290"/>
                    </a:lnTo>
                    <a:close/>
                    <a:moveTo>
                      <a:pt x="246" y="294"/>
                    </a:moveTo>
                    <a:lnTo>
                      <a:pt x="242" y="294"/>
                    </a:lnTo>
                    <a:lnTo>
                      <a:pt x="246" y="294"/>
                    </a:lnTo>
                    <a:lnTo>
                      <a:pt x="246" y="294"/>
                    </a:lnTo>
                    <a:lnTo>
                      <a:pt x="246" y="294"/>
                    </a:lnTo>
                    <a:close/>
                    <a:moveTo>
                      <a:pt x="242" y="294"/>
                    </a:moveTo>
                    <a:lnTo>
                      <a:pt x="242" y="298"/>
                    </a:lnTo>
                    <a:lnTo>
                      <a:pt x="238" y="298"/>
                    </a:lnTo>
                    <a:lnTo>
                      <a:pt x="238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42" y="294"/>
                    </a:lnTo>
                    <a:close/>
                    <a:moveTo>
                      <a:pt x="250" y="306"/>
                    </a:moveTo>
                    <a:lnTo>
                      <a:pt x="250" y="302"/>
                    </a:lnTo>
                    <a:lnTo>
                      <a:pt x="246" y="302"/>
                    </a:lnTo>
                    <a:lnTo>
                      <a:pt x="250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50" y="306"/>
                    </a:lnTo>
                    <a:lnTo>
                      <a:pt x="250" y="306"/>
                    </a:lnTo>
                    <a:lnTo>
                      <a:pt x="250" y="306"/>
                    </a:lnTo>
                    <a:close/>
                    <a:moveTo>
                      <a:pt x="682" y="306"/>
                    </a:moveTo>
                    <a:lnTo>
                      <a:pt x="682" y="310"/>
                    </a:lnTo>
                    <a:lnTo>
                      <a:pt x="678" y="310"/>
                    </a:lnTo>
                    <a:lnTo>
                      <a:pt x="674" y="306"/>
                    </a:lnTo>
                    <a:lnTo>
                      <a:pt x="678" y="306"/>
                    </a:lnTo>
                    <a:lnTo>
                      <a:pt x="682" y="306"/>
                    </a:lnTo>
                    <a:lnTo>
                      <a:pt x="682" y="306"/>
                    </a:lnTo>
                    <a:lnTo>
                      <a:pt x="682" y="306"/>
                    </a:lnTo>
                    <a:close/>
                    <a:moveTo>
                      <a:pt x="246" y="306"/>
                    </a:moveTo>
                    <a:lnTo>
                      <a:pt x="250" y="306"/>
                    </a:lnTo>
                    <a:lnTo>
                      <a:pt x="246" y="306"/>
                    </a:lnTo>
                    <a:lnTo>
                      <a:pt x="246" y="306"/>
                    </a:lnTo>
                    <a:lnTo>
                      <a:pt x="246" y="306"/>
                    </a:lnTo>
                    <a:close/>
                    <a:moveTo>
                      <a:pt x="252" y="306"/>
                    </a:moveTo>
                    <a:lnTo>
                      <a:pt x="252" y="310"/>
                    </a:lnTo>
                    <a:lnTo>
                      <a:pt x="250" y="310"/>
                    </a:lnTo>
                    <a:lnTo>
                      <a:pt x="250" y="314"/>
                    </a:lnTo>
                    <a:lnTo>
                      <a:pt x="246" y="314"/>
                    </a:lnTo>
                    <a:lnTo>
                      <a:pt x="242" y="314"/>
                    </a:lnTo>
                    <a:lnTo>
                      <a:pt x="246" y="310"/>
                    </a:lnTo>
                    <a:lnTo>
                      <a:pt x="250" y="310"/>
                    </a:lnTo>
                    <a:lnTo>
                      <a:pt x="250" y="306"/>
                    </a:lnTo>
                    <a:lnTo>
                      <a:pt x="252" y="306"/>
                    </a:lnTo>
                    <a:lnTo>
                      <a:pt x="252" y="306"/>
                    </a:lnTo>
                    <a:lnTo>
                      <a:pt x="252" y="306"/>
                    </a:lnTo>
                    <a:close/>
                    <a:moveTo>
                      <a:pt x="246" y="310"/>
                    </a:moveTo>
                    <a:lnTo>
                      <a:pt x="242" y="310"/>
                    </a:lnTo>
                    <a:lnTo>
                      <a:pt x="238" y="314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6" y="310"/>
                    </a:lnTo>
                    <a:lnTo>
                      <a:pt x="246" y="310"/>
                    </a:lnTo>
                    <a:lnTo>
                      <a:pt x="246" y="310"/>
                    </a:lnTo>
                    <a:close/>
                    <a:moveTo>
                      <a:pt x="252" y="310"/>
                    </a:moveTo>
                    <a:lnTo>
                      <a:pt x="256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0"/>
                    </a:moveTo>
                    <a:lnTo>
                      <a:pt x="252" y="314"/>
                    </a:lnTo>
                    <a:lnTo>
                      <a:pt x="250" y="314"/>
                    </a:lnTo>
                    <a:lnTo>
                      <a:pt x="250" y="310"/>
                    </a:lnTo>
                    <a:lnTo>
                      <a:pt x="252" y="310"/>
                    </a:lnTo>
                    <a:lnTo>
                      <a:pt x="252" y="310"/>
                    </a:lnTo>
                    <a:lnTo>
                      <a:pt x="252" y="310"/>
                    </a:lnTo>
                    <a:close/>
                    <a:moveTo>
                      <a:pt x="252" y="314"/>
                    </a:moveTo>
                    <a:lnTo>
                      <a:pt x="250" y="314"/>
                    </a:lnTo>
                    <a:lnTo>
                      <a:pt x="252" y="314"/>
                    </a:lnTo>
                    <a:lnTo>
                      <a:pt x="252" y="314"/>
                    </a:lnTo>
                    <a:lnTo>
                      <a:pt x="252" y="314"/>
                    </a:lnTo>
                    <a:close/>
                    <a:moveTo>
                      <a:pt x="252" y="316"/>
                    </a:moveTo>
                    <a:lnTo>
                      <a:pt x="252" y="320"/>
                    </a:lnTo>
                    <a:lnTo>
                      <a:pt x="250" y="320"/>
                    </a:lnTo>
                    <a:lnTo>
                      <a:pt x="250" y="324"/>
                    </a:lnTo>
                    <a:lnTo>
                      <a:pt x="246" y="324"/>
                    </a:lnTo>
                    <a:lnTo>
                      <a:pt x="246" y="320"/>
                    </a:lnTo>
                    <a:lnTo>
                      <a:pt x="250" y="320"/>
                    </a:lnTo>
                    <a:lnTo>
                      <a:pt x="252" y="320"/>
                    </a:lnTo>
                    <a:lnTo>
                      <a:pt x="252" y="316"/>
                    </a:lnTo>
                    <a:lnTo>
                      <a:pt x="252" y="316"/>
                    </a:lnTo>
                    <a:lnTo>
                      <a:pt x="252" y="316"/>
                    </a:lnTo>
                    <a:close/>
                    <a:moveTo>
                      <a:pt x="670" y="350"/>
                    </a:moveTo>
                    <a:lnTo>
                      <a:pt x="674" y="354"/>
                    </a:lnTo>
                    <a:lnTo>
                      <a:pt x="670" y="350"/>
                    </a:lnTo>
                    <a:lnTo>
                      <a:pt x="670" y="350"/>
                    </a:lnTo>
                    <a:lnTo>
                      <a:pt x="670" y="350"/>
                    </a:lnTo>
                    <a:close/>
                    <a:moveTo>
                      <a:pt x="308" y="370"/>
                    </a:moveTo>
                    <a:lnTo>
                      <a:pt x="306" y="370"/>
                    </a:lnTo>
                    <a:lnTo>
                      <a:pt x="306" y="366"/>
                    </a:lnTo>
                    <a:lnTo>
                      <a:pt x="302" y="366"/>
                    </a:lnTo>
                    <a:lnTo>
                      <a:pt x="306" y="366"/>
                    </a:lnTo>
                    <a:lnTo>
                      <a:pt x="308" y="370"/>
                    </a:lnTo>
                    <a:lnTo>
                      <a:pt x="308" y="370"/>
                    </a:lnTo>
                    <a:lnTo>
                      <a:pt x="308" y="370"/>
                    </a:lnTo>
                    <a:close/>
                    <a:moveTo>
                      <a:pt x="704" y="388"/>
                    </a:moveTo>
                    <a:lnTo>
                      <a:pt x="700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704" y="388"/>
                    </a:lnTo>
                    <a:lnTo>
                      <a:pt x="704" y="388"/>
                    </a:lnTo>
                    <a:lnTo>
                      <a:pt x="704" y="388"/>
                    </a:lnTo>
                    <a:close/>
                    <a:moveTo>
                      <a:pt x="298" y="414"/>
                    </a:moveTo>
                    <a:lnTo>
                      <a:pt x="294" y="418"/>
                    </a:lnTo>
                    <a:lnTo>
                      <a:pt x="290" y="418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8" y="414"/>
                    </a:lnTo>
                    <a:lnTo>
                      <a:pt x="294" y="414"/>
                    </a:lnTo>
                    <a:lnTo>
                      <a:pt x="294" y="418"/>
                    </a:lnTo>
                    <a:lnTo>
                      <a:pt x="298" y="414"/>
                    </a:lnTo>
                    <a:lnTo>
                      <a:pt x="298" y="414"/>
                    </a:lnTo>
                    <a:lnTo>
                      <a:pt x="298" y="414"/>
                    </a:lnTo>
                    <a:close/>
                    <a:moveTo>
                      <a:pt x="282" y="418"/>
                    </a:moveTo>
                    <a:lnTo>
                      <a:pt x="282" y="422"/>
                    </a:lnTo>
                    <a:lnTo>
                      <a:pt x="278" y="422"/>
                    </a:lnTo>
                    <a:lnTo>
                      <a:pt x="282" y="418"/>
                    </a:lnTo>
                    <a:lnTo>
                      <a:pt x="282" y="418"/>
                    </a:lnTo>
                    <a:lnTo>
                      <a:pt x="282" y="418"/>
                    </a:lnTo>
                    <a:close/>
                    <a:moveTo>
                      <a:pt x="584" y="426"/>
                    </a:moveTo>
                    <a:lnTo>
                      <a:pt x="580" y="426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84" y="426"/>
                    </a:lnTo>
                    <a:lnTo>
                      <a:pt x="584" y="426"/>
                    </a:lnTo>
                    <a:lnTo>
                      <a:pt x="584" y="426"/>
                    </a:lnTo>
                    <a:close/>
                    <a:moveTo>
                      <a:pt x="282" y="458"/>
                    </a:moveTo>
                    <a:lnTo>
                      <a:pt x="278" y="458"/>
                    </a:lnTo>
                    <a:lnTo>
                      <a:pt x="276" y="458"/>
                    </a:lnTo>
                    <a:lnTo>
                      <a:pt x="278" y="458"/>
                    </a:lnTo>
                    <a:lnTo>
                      <a:pt x="282" y="458"/>
                    </a:lnTo>
                    <a:lnTo>
                      <a:pt x="282" y="458"/>
                    </a:lnTo>
                    <a:lnTo>
                      <a:pt x="282" y="458"/>
                    </a:lnTo>
                    <a:close/>
                    <a:moveTo>
                      <a:pt x="510" y="484"/>
                    </a:moveTo>
                    <a:lnTo>
                      <a:pt x="510" y="482"/>
                    </a:lnTo>
                    <a:lnTo>
                      <a:pt x="510" y="484"/>
                    </a:lnTo>
                    <a:lnTo>
                      <a:pt x="510" y="484"/>
                    </a:lnTo>
                    <a:lnTo>
                      <a:pt x="510" y="484"/>
                    </a:lnTo>
                    <a:close/>
                    <a:moveTo>
                      <a:pt x="510" y="488"/>
                    </a:moveTo>
                    <a:lnTo>
                      <a:pt x="506" y="488"/>
                    </a:lnTo>
                    <a:lnTo>
                      <a:pt x="506" y="484"/>
                    </a:lnTo>
                    <a:lnTo>
                      <a:pt x="510" y="488"/>
                    </a:lnTo>
                    <a:lnTo>
                      <a:pt x="510" y="488"/>
                    </a:lnTo>
                    <a:lnTo>
                      <a:pt x="510" y="488"/>
                    </a:lnTo>
                    <a:close/>
                    <a:moveTo>
                      <a:pt x="278" y="488"/>
                    </a:moveTo>
                    <a:lnTo>
                      <a:pt x="282" y="488"/>
                    </a:lnTo>
                    <a:lnTo>
                      <a:pt x="282" y="492"/>
                    </a:lnTo>
                    <a:lnTo>
                      <a:pt x="278" y="488"/>
                    </a:lnTo>
                    <a:lnTo>
                      <a:pt x="278" y="488"/>
                    </a:lnTo>
                    <a:lnTo>
                      <a:pt x="278" y="488"/>
                    </a:lnTo>
                    <a:close/>
                    <a:moveTo>
                      <a:pt x="450" y="522"/>
                    </a:moveTo>
                    <a:lnTo>
                      <a:pt x="454" y="522"/>
                    </a:lnTo>
                    <a:lnTo>
                      <a:pt x="458" y="522"/>
                    </a:lnTo>
                    <a:lnTo>
                      <a:pt x="454" y="522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  <a:moveTo>
                      <a:pt x="450" y="548"/>
                    </a:moveTo>
                    <a:lnTo>
                      <a:pt x="450" y="544"/>
                    </a:lnTo>
                    <a:lnTo>
                      <a:pt x="446" y="544"/>
                    </a:lnTo>
                    <a:lnTo>
                      <a:pt x="442" y="544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46" y="544"/>
                    </a:lnTo>
                    <a:lnTo>
                      <a:pt x="450" y="544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450" y="548"/>
                    </a:moveTo>
                    <a:lnTo>
                      <a:pt x="446" y="548"/>
                    </a:lnTo>
                    <a:lnTo>
                      <a:pt x="450" y="548"/>
                    </a:lnTo>
                    <a:lnTo>
                      <a:pt x="450" y="548"/>
                    </a:lnTo>
                    <a:lnTo>
                      <a:pt x="450" y="548"/>
                    </a:lnTo>
                    <a:close/>
                    <a:moveTo>
                      <a:pt x="312" y="548"/>
                    </a:moveTo>
                    <a:lnTo>
                      <a:pt x="316" y="548"/>
                    </a:lnTo>
                    <a:lnTo>
                      <a:pt x="312" y="548"/>
                    </a:lnTo>
                    <a:lnTo>
                      <a:pt x="312" y="548"/>
                    </a:lnTo>
                    <a:lnTo>
                      <a:pt x="312" y="548"/>
                    </a:lnTo>
                    <a:close/>
                    <a:moveTo>
                      <a:pt x="446" y="548"/>
                    </a:moveTo>
                    <a:lnTo>
                      <a:pt x="442" y="548"/>
                    </a:lnTo>
                    <a:lnTo>
                      <a:pt x="446" y="548"/>
                    </a:lnTo>
                    <a:lnTo>
                      <a:pt x="446" y="552"/>
                    </a:lnTo>
                    <a:lnTo>
                      <a:pt x="446" y="548"/>
                    </a:lnTo>
                    <a:lnTo>
                      <a:pt x="446" y="548"/>
                    </a:lnTo>
                    <a:lnTo>
                      <a:pt x="446" y="548"/>
                    </a:lnTo>
                    <a:close/>
                    <a:moveTo>
                      <a:pt x="442" y="556"/>
                    </a:moveTo>
                    <a:lnTo>
                      <a:pt x="442" y="552"/>
                    </a:lnTo>
                    <a:lnTo>
                      <a:pt x="446" y="552"/>
                    </a:lnTo>
                    <a:lnTo>
                      <a:pt x="442" y="556"/>
                    </a:lnTo>
                    <a:lnTo>
                      <a:pt x="442" y="556"/>
                    </a:lnTo>
                    <a:lnTo>
                      <a:pt x="442" y="556"/>
                    </a:lnTo>
                    <a:close/>
                    <a:moveTo>
                      <a:pt x="432" y="560"/>
                    </a:moveTo>
                    <a:lnTo>
                      <a:pt x="432" y="556"/>
                    </a:lnTo>
                    <a:lnTo>
                      <a:pt x="436" y="556"/>
                    </a:lnTo>
                    <a:lnTo>
                      <a:pt x="440" y="556"/>
                    </a:lnTo>
                    <a:lnTo>
                      <a:pt x="440" y="560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6" y="560"/>
                    </a:lnTo>
                    <a:lnTo>
                      <a:pt x="440" y="560"/>
                    </a:lnTo>
                    <a:lnTo>
                      <a:pt x="436" y="560"/>
                    </a:lnTo>
                    <a:lnTo>
                      <a:pt x="432" y="560"/>
                    </a:lnTo>
                    <a:lnTo>
                      <a:pt x="432" y="560"/>
                    </a:lnTo>
                    <a:lnTo>
                      <a:pt x="432" y="560"/>
                    </a:lnTo>
                    <a:close/>
                    <a:moveTo>
                      <a:pt x="436" y="564"/>
                    </a:moveTo>
                    <a:lnTo>
                      <a:pt x="432" y="564"/>
                    </a:lnTo>
                    <a:lnTo>
                      <a:pt x="436" y="560"/>
                    </a:lnTo>
                    <a:lnTo>
                      <a:pt x="436" y="564"/>
                    </a:lnTo>
                    <a:lnTo>
                      <a:pt x="436" y="564"/>
                    </a:lnTo>
                    <a:lnTo>
                      <a:pt x="436" y="564"/>
                    </a:lnTo>
                    <a:close/>
                    <a:moveTo>
                      <a:pt x="332" y="578"/>
                    </a:moveTo>
                    <a:lnTo>
                      <a:pt x="332" y="574"/>
                    </a:lnTo>
                    <a:lnTo>
                      <a:pt x="332" y="578"/>
                    </a:lnTo>
                    <a:lnTo>
                      <a:pt x="332" y="578"/>
                    </a:lnTo>
                    <a:lnTo>
                      <a:pt x="332" y="578"/>
                    </a:lnTo>
                    <a:close/>
                    <a:moveTo>
                      <a:pt x="436" y="582"/>
                    </a:moveTo>
                    <a:lnTo>
                      <a:pt x="436" y="578"/>
                    </a:lnTo>
                    <a:lnTo>
                      <a:pt x="436" y="582"/>
                    </a:lnTo>
                    <a:lnTo>
                      <a:pt x="436" y="582"/>
                    </a:lnTo>
                    <a:lnTo>
                      <a:pt x="436" y="582"/>
                    </a:lnTo>
                    <a:close/>
                    <a:moveTo>
                      <a:pt x="346" y="588"/>
                    </a:moveTo>
                    <a:lnTo>
                      <a:pt x="342" y="588"/>
                    </a:lnTo>
                    <a:lnTo>
                      <a:pt x="346" y="588"/>
                    </a:lnTo>
                    <a:lnTo>
                      <a:pt x="346" y="588"/>
                    </a:lnTo>
                    <a:lnTo>
                      <a:pt x="346" y="588"/>
                    </a:lnTo>
                    <a:close/>
                    <a:moveTo>
                      <a:pt x="350" y="596"/>
                    </a:moveTo>
                    <a:lnTo>
                      <a:pt x="354" y="596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0" y="596"/>
                    </a:lnTo>
                    <a:lnTo>
                      <a:pt x="350" y="596"/>
                    </a:lnTo>
                    <a:close/>
                    <a:moveTo>
                      <a:pt x="380" y="600"/>
                    </a:moveTo>
                    <a:lnTo>
                      <a:pt x="376" y="600"/>
                    </a:lnTo>
                    <a:lnTo>
                      <a:pt x="376" y="604"/>
                    </a:lnTo>
                    <a:lnTo>
                      <a:pt x="372" y="604"/>
                    </a:lnTo>
                    <a:lnTo>
                      <a:pt x="368" y="604"/>
                    </a:lnTo>
                    <a:lnTo>
                      <a:pt x="372" y="604"/>
                    </a:lnTo>
                    <a:lnTo>
                      <a:pt x="372" y="600"/>
                    </a:lnTo>
                    <a:lnTo>
                      <a:pt x="376" y="600"/>
                    </a:lnTo>
                    <a:lnTo>
                      <a:pt x="380" y="600"/>
                    </a:lnTo>
                    <a:lnTo>
                      <a:pt x="380" y="600"/>
                    </a:lnTo>
                    <a:lnTo>
                      <a:pt x="380" y="600"/>
                    </a:lnTo>
                    <a:close/>
                    <a:moveTo>
                      <a:pt x="424" y="600"/>
                    </a:moveTo>
                    <a:lnTo>
                      <a:pt x="428" y="600"/>
                    </a:lnTo>
                    <a:lnTo>
                      <a:pt x="424" y="600"/>
                    </a:lnTo>
                    <a:lnTo>
                      <a:pt x="424" y="600"/>
                    </a:lnTo>
                    <a:lnTo>
                      <a:pt x="424" y="600"/>
                    </a:lnTo>
                    <a:close/>
                    <a:moveTo>
                      <a:pt x="358" y="604"/>
                    </a:moveTo>
                    <a:lnTo>
                      <a:pt x="354" y="604"/>
                    </a:lnTo>
                    <a:lnTo>
                      <a:pt x="350" y="604"/>
                    </a:lnTo>
                    <a:lnTo>
                      <a:pt x="354" y="600"/>
                    </a:lnTo>
                    <a:lnTo>
                      <a:pt x="358" y="600"/>
                    </a:lnTo>
                    <a:lnTo>
                      <a:pt x="358" y="604"/>
                    </a:lnTo>
                    <a:lnTo>
                      <a:pt x="358" y="604"/>
                    </a:lnTo>
                    <a:lnTo>
                      <a:pt x="358" y="604"/>
                    </a:lnTo>
                    <a:close/>
                    <a:moveTo>
                      <a:pt x="384" y="604"/>
                    </a:moveTo>
                    <a:lnTo>
                      <a:pt x="380" y="604"/>
                    </a:lnTo>
                    <a:lnTo>
                      <a:pt x="380" y="608"/>
                    </a:lnTo>
                    <a:lnTo>
                      <a:pt x="380" y="604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84" y="604"/>
                    </a:moveTo>
                    <a:lnTo>
                      <a:pt x="384" y="608"/>
                    </a:lnTo>
                    <a:lnTo>
                      <a:pt x="380" y="608"/>
                    </a:lnTo>
                    <a:lnTo>
                      <a:pt x="384" y="604"/>
                    </a:lnTo>
                    <a:lnTo>
                      <a:pt x="384" y="604"/>
                    </a:lnTo>
                    <a:lnTo>
                      <a:pt x="384" y="604"/>
                    </a:lnTo>
                    <a:close/>
                    <a:moveTo>
                      <a:pt x="394" y="612"/>
                    </a:moveTo>
                    <a:lnTo>
                      <a:pt x="394" y="614"/>
                    </a:lnTo>
                    <a:lnTo>
                      <a:pt x="392" y="614"/>
                    </a:lnTo>
                    <a:lnTo>
                      <a:pt x="392" y="612"/>
                    </a:lnTo>
                    <a:lnTo>
                      <a:pt x="394" y="612"/>
                    </a:lnTo>
                    <a:lnTo>
                      <a:pt x="394" y="612"/>
                    </a:lnTo>
                    <a:lnTo>
                      <a:pt x="394" y="612"/>
                    </a:lnTo>
                    <a:close/>
                    <a:moveTo>
                      <a:pt x="418" y="622"/>
                    </a:moveTo>
                    <a:lnTo>
                      <a:pt x="414" y="622"/>
                    </a:lnTo>
                    <a:lnTo>
                      <a:pt x="410" y="618"/>
                    </a:lnTo>
                    <a:lnTo>
                      <a:pt x="410" y="614"/>
                    </a:lnTo>
                    <a:lnTo>
                      <a:pt x="414" y="618"/>
                    </a:lnTo>
                    <a:lnTo>
                      <a:pt x="418" y="618"/>
                    </a:lnTo>
                    <a:lnTo>
                      <a:pt x="420" y="618"/>
                    </a:lnTo>
                    <a:lnTo>
                      <a:pt x="420" y="622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14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06" y="618"/>
                    </a:lnTo>
                    <a:lnTo>
                      <a:pt x="406" y="614"/>
                    </a:lnTo>
                    <a:lnTo>
                      <a:pt x="406" y="614"/>
                    </a:lnTo>
                    <a:lnTo>
                      <a:pt x="406" y="614"/>
                    </a:lnTo>
                    <a:close/>
                    <a:moveTo>
                      <a:pt x="406" y="618"/>
                    </a:moveTo>
                    <a:lnTo>
                      <a:pt x="406" y="622"/>
                    </a:lnTo>
                    <a:lnTo>
                      <a:pt x="402" y="622"/>
                    </a:lnTo>
                    <a:lnTo>
                      <a:pt x="402" y="618"/>
                    </a:lnTo>
                    <a:lnTo>
                      <a:pt x="406" y="618"/>
                    </a:lnTo>
                    <a:lnTo>
                      <a:pt x="406" y="618"/>
                    </a:lnTo>
                    <a:lnTo>
                      <a:pt x="406" y="618"/>
                    </a:lnTo>
                    <a:close/>
                    <a:moveTo>
                      <a:pt x="418" y="622"/>
                    </a:moveTo>
                    <a:lnTo>
                      <a:pt x="418" y="618"/>
                    </a:lnTo>
                    <a:lnTo>
                      <a:pt x="420" y="618"/>
                    </a:lnTo>
                    <a:lnTo>
                      <a:pt x="418" y="622"/>
                    </a:lnTo>
                    <a:lnTo>
                      <a:pt x="418" y="622"/>
                    </a:lnTo>
                    <a:lnTo>
                      <a:pt x="418" y="622"/>
                    </a:lnTo>
                    <a:close/>
                    <a:moveTo>
                      <a:pt x="406" y="622"/>
                    </a:moveTo>
                    <a:lnTo>
                      <a:pt x="406" y="618"/>
                    </a:lnTo>
                    <a:lnTo>
                      <a:pt x="410" y="618"/>
                    </a:lnTo>
                    <a:lnTo>
                      <a:pt x="410" y="622"/>
                    </a:lnTo>
                    <a:lnTo>
                      <a:pt x="406" y="622"/>
                    </a:lnTo>
                    <a:lnTo>
                      <a:pt x="406" y="622"/>
                    </a:lnTo>
                    <a:lnTo>
                      <a:pt x="406" y="622"/>
                    </a:lnTo>
                    <a:close/>
                    <a:moveTo>
                      <a:pt x="410" y="626"/>
                    </a:moveTo>
                    <a:lnTo>
                      <a:pt x="410" y="622"/>
                    </a:lnTo>
                    <a:lnTo>
                      <a:pt x="414" y="622"/>
                    </a:lnTo>
                    <a:lnTo>
                      <a:pt x="414" y="626"/>
                    </a:lnTo>
                    <a:lnTo>
                      <a:pt x="410" y="626"/>
                    </a:lnTo>
                    <a:lnTo>
                      <a:pt x="410" y="626"/>
                    </a:lnTo>
                    <a:lnTo>
                      <a:pt x="410" y="626"/>
                    </a:lnTo>
                    <a:close/>
                    <a:moveTo>
                      <a:pt x="312" y="414"/>
                    </a:moveTo>
                    <a:lnTo>
                      <a:pt x="312" y="410"/>
                    </a:lnTo>
                    <a:lnTo>
                      <a:pt x="316" y="410"/>
                    </a:lnTo>
                    <a:lnTo>
                      <a:pt x="312" y="410"/>
                    </a:lnTo>
                    <a:lnTo>
                      <a:pt x="308" y="410"/>
                    </a:lnTo>
                    <a:lnTo>
                      <a:pt x="308" y="414"/>
                    </a:lnTo>
                    <a:lnTo>
                      <a:pt x="308" y="410"/>
                    </a:lnTo>
                    <a:lnTo>
                      <a:pt x="306" y="410"/>
                    </a:lnTo>
                    <a:lnTo>
                      <a:pt x="308" y="410"/>
                    </a:lnTo>
                    <a:lnTo>
                      <a:pt x="312" y="406"/>
                    </a:lnTo>
                    <a:lnTo>
                      <a:pt x="308" y="406"/>
                    </a:lnTo>
                    <a:lnTo>
                      <a:pt x="308" y="402"/>
                    </a:lnTo>
                    <a:lnTo>
                      <a:pt x="312" y="402"/>
                    </a:lnTo>
                    <a:lnTo>
                      <a:pt x="312" y="406"/>
                    </a:lnTo>
                    <a:lnTo>
                      <a:pt x="312" y="402"/>
                    </a:lnTo>
                    <a:lnTo>
                      <a:pt x="316" y="402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16" y="406"/>
                    </a:lnTo>
                    <a:lnTo>
                      <a:pt x="320" y="406"/>
                    </a:lnTo>
                    <a:lnTo>
                      <a:pt x="320" y="402"/>
                    </a:lnTo>
                    <a:lnTo>
                      <a:pt x="320" y="406"/>
                    </a:lnTo>
                    <a:lnTo>
                      <a:pt x="324" y="406"/>
                    </a:lnTo>
                    <a:lnTo>
                      <a:pt x="324" y="402"/>
                    </a:lnTo>
                    <a:lnTo>
                      <a:pt x="320" y="402"/>
                    </a:lnTo>
                    <a:lnTo>
                      <a:pt x="316" y="402"/>
                    </a:lnTo>
                    <a:lnTo>
                      <a:pt x="320" y="402"/>
                    </a:lnTo>
                    <a:lnTo>
                      <a:pt x="324" y="402"/>
                    </a:lnTo>
                    <a:lnTo>
                      <a:pt x="324" y="398"/>
                    </a:lnTo>
                    <a:lnTo>
                      <a:pt x="320" y="398"/>
                    </a:lnTo>
                    <a:lnTo>
                      <a:pt x="316" y="398"/>
                    </a:lnTo>
                    <a:lnTo>
                      <a:pt x="320" y="398"/>
                    </a:lnTo>
                    <a:lnTo>
                      <a:pt x="320" y="396"/>
                    </a:lnTo>
                    <a:lnTo>
                      <a:pt x="316" y="396"/>
                    </a:lnTo>
                    <a:lnTo>
                      <a:pt x="316" y="398"/>
                    </a:lnTo>
                    <a:lnTo>
                      <a:pt x="312" y="402"/>
                    </a:lnTo>
                    <a:lnTo>
                      <a:pt x="308" y="402"/>
                    </a:lnTo>
                    <a:lnTo>
                      <a:pt x="308" y="398"/>
                    </a:lnTo>
                    <a:lnTo>
                      <a:pt x="312" y="398"/>
                    </a:lnTo>
                    <a:lnTo>
                      <a:pt x="312" y="396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16" y="392"/>
                    </a:lnTo>
                    <a:lnTo>
                      <a:pt x="312" y="392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92"/>
                    </a:lnTo>
                    <a:lnTo>
                      <a:pt x="320" y="392"/>
                    </a:lnTo>
                    <a:lnTo>
                      <a:pt x="320" y="388"/>
                    </a:lnTo>
                    <a:lnTo>
                      <a:pt x="316" y="388"/>
                    </a:lnTo>
                    <a:lnTo>
                      <a:pt x="312" y="388"/>
                    </a:lnTo>
                    <a:lnTo>
                      <a:pt x="316" y="388"/>
                    </a:lnTo>
                    <a:lnTo>
                      <a:pt x="316" y="384"/>
                    </a:lnTo>
                    <a:lnTo>
                      <a:pt x="320" y="388"/>
                    </a:lnTo>
                    <a:lnTo>
                      <a:pt x="324" y="388"/>
                    </a:lnTo>
                    <a:lnTo>
                      <a:pt x="320" y="384"/>
                    </a:lnTo>
                    <a:lnTo>
                      <a:pt x="316" y="384"/>
                    </a:lnTo>
                    <a:lnTo>
                      <a:pt x="316" y="380"/>
                    </a:lnTo>
                    <a:lnTo>
                      <a:pt x="320" y="380"/>
                    </a:lnTo>
                    <a:lnTo>
                      <a:pt x="316" y="380"/>
                    </a:lnTo>
                    <a:lnTo>
                      <a:pt x="312" y="380"/>
                    </a:lnTo>
                    <a:lnTo>
                      <a:pt x="308" y="380"/>
                    </a:lnTo>
                    <a:lnTo>
                      <a:pt x="306" y="380"/>
                    </a:lnTo>
                    <a:lnTo>
                      <a:pt x="308" y="380"/>
                    </a:lnTo>
                    <a:lnTo>
                      <a:pt x="312" y="380"/>
                    </a:lnTo>
                    <a:lnTo>
                      <a:pt x="308" y="376"/>
                    </a:lnTo>
                    <a:lnTo>
                      <a:pt x="306" y="376"/>
                    </a:lnTo>
                    <a:lnTo>
                      <a:pt x="306" y="380"/>
                    </a:lnTo>
                    <a:lnTo>
                      <a:pt x="302" y="380"/>
                    </a:lnTo>
                    <a:lnTo>
                      <a:pt x="298" y="380"/>
                    </a:lnTo>
                    <a:lnTo>
                      <a:pt x="294" y="380"/>
                    </a:lnTo>
                    <a:lnTo>
                      <a:pt x="290" y="380"/>
                    </a:lnTo>
                    <a:lnTo>
                      <a:pt x="290" y="376"/>
                    </a:lnTo>
                    <a:lnTo>
                      <a:pt x="286" y="376"/>
                    </a:lnTo>
                    <a:lnTo>
                      <a:pt x="286" y="372"/>
                    </a:lnTo>
                    <a:lnTo>
                      <a:pt x="282" y="372"/>
                    </a:lnTo>
                    <a:lnTo>
                      <a:pt x="278" y="372"/>
                    </a:lnTo>
                    <a:lnTo>
                      <a:pt x="276" y="370"/>
                    </a:lnTo>
                    <a:lnTo>
                      <a:pt x="272" y="370"/>
                    </a:lnTo>
                    <a:lnTo>
                      <a:pt x="268" y="370"/>
                    </a:lnTo>
                    <a:lnTo>
                      <a:pt x="264" y="370"/>
                    </a:lnTo>
                    <a:lnTo>
                      <a:pt x="264" y="366"/>
                    </a:lnTo>
                    <a:lnTo>
                      <a:pt x="260" y="362"/>
                    </a:lnTo>
                    <a:lnTo>
                      <a:pt x="264" y="362"/>
                    </a:lnTo>
                    <a:lnTo>
                      <a:pt x="264" y="358"/>
                    </a:lnTo>
                    <a:lnTo>
                      <a:pt x="268" y="358"/>
                    </a:lnTo>
                    <a:lnTo>
                      <a:pt x="272" y="358"/>
                    </a:lnTo>
                    <a:lnTo>
                      <a:pt x="276" y="362"/>
                    </a:lnTo>
                    <a:lnTo>
                      <a:pt x="278" y="362"/>
                    </a:lnTo>
                    <a:lnTo>
                      <a:pt x="282" y="362"/>
                    </a:lnTo>
                    <a:lnTo>
                      <a:pt x="286" y="362"/>
                    </a:lnTo>
                    <a:lnTo>
                      <a:pt x="290" y="362"/>
                    </a:lnTo>
                    <a:lnTo>
                      <a:pt x="294" y="366"/>
                    </a:lnTo>
                    <a:lnTo>
                      <a:pt x="298" y="366"/>
                    </a:lnTo>
                    <a:lnTo>
                      <a:pt x="302" y="370"/>
                    </a:lnTo>
                    <a:lnTo>
                      <a:pt x="306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12" y="372"/>
                    </a:lnTo>
                    <a:lnTo>
                      <a:pt x="316" y="372"/>
                    </a:lnTo>
                    <a:lnTo>
                      <a:pt x="316" y="370"/>
                    </a:lnTo>
                    <a:lnTo>
                      <a:pt x="316" y="366"/>
                    </a:lnTo>
                    <a:lnTo>
                      <a:pt x="316" y="370"/>
                    </a:lnTo>
                    <a:lnTo>
                      <a:pt x="312" y="370"/>
                    </a:lnTo>
                    <a:lnTo>
                      <a:pt x="308" y="370"/>
                    </a:lnTo>
                    <a:lnTo>
                      <a:pt x="312" y="370"/>
                    </a:lnTo>
                    <a:lnTo>
                      <a:pt x="308" y="366"/>
                    </a:lnTo>
                    <a:lnTo>
                      <a:pt x="306" y="366"/>
                    </a:lnTo>
                    <a:lnTo>
                      <a:pt x="308" y="366"/>
                    </a:lnTo>
                    <a:lnTo>
                      <a:pt x="312" y="366"/>
                    </a:lnTo>
                    <a:lnTo>
                      <a:pt x="312" y="362"/>
                    </a:lnTo>
                    <a:lnTo>
                      <a:pt x="312" y="366"/>
                    </a:lnTo>
                    <a:lnTo>
                      <a:pt x="316" y="366"/>
                    </a:lnTo>
                    <a:lnTo>
                      <a:pt x="312" y="362"/>
                    </a:lnTo>
                    <a:lnTo>
                      <a:pt x="308" y="362"/>
                    </a:lnTo>
                    <a:lnTo>
                      <a:pt x="306" y="362"/>
                    </a:lnTo>
                    <a:lnTo>
                      <a:pt x="306" y="358"/>
                    </a:lnTo>
                    <a:lnTo>
                      <a:pt x="308" y="358"/>
                    </a:lnTo>
                    <a:lnTo>
                      <a:pt x="312" y="362"/>
                    </a:lnTo>
                    <a:lnTo>
                      <a:pt x="316" y="362"/>
                    </a:lnTo>
                    <a:lnTo>
                      <a:pt x="312" y="362"/>
                    </a:lnTo>
                    <a:lnTo>
                      <a:pt x="312" y="358"/>
                    </a:lnTo>
                    <a:lnTo>
                      <a:pt x="308" y="358"/>
                    </a:lnTo>
                    <a:lnTo>
                      <a:pt x="306" y="358"/>
                    </a:lnTo>
                    <a:lnTo>
                      <a:pt x="302" y="358"/>
                    </a:lnTo>
                    <a:lnTo>
                      <a:pt x="302" y="354"/>
                    </a:lnTo>
                    <a:lnTo>
                      <a:pt x="298" y="354"/>
                    </a:lnTo>
                    <a:lnTo>
                      <a:pt x="302" y="354"/>
                    </a:lnTo>
                    <a:lnTo>
                      <a:pt x="306" y="354"/>
                    </a:lnTo>
                    <a:lnTo>
                      <a:pt x="308" y="354"/>
                    </a:lnTo>
                    <a:lnTo>
                      <a:pt x="312" y="354"/>
                    </a:lnTo>
                    <a:lnTo>
                      <a:pt x="308" y="354"/>
                    </a:lnTo>
                    <a:lnTo>
                      <a:pt x="306" y="354"/>
                    </a:lnTo>
                    <a:lnTo>
                      <a:pt x="306" y="350"/>
                    </a:lnTo>
                    <a:lnTo>
                      <a:pt x="308" y="350"/>
                    </a:lnTo>
                    <a:lnTo>
                      <a:pt x="306" y="350"/>
                    </a:lnTo>
                    <a:lnTo>
                      <a:pt x="302" y="350"/>
                    </a:lnTo>
                    <a:lnTo>
                      <a:pt x="298" y="350"/>
                    </a:lnTo>
                    <a:lnTo>
                      <a:pt x="294" y="350"/>
                    </a:lnTo>
                    <a:lnTo>
                      <a:pt x="298" y="350"/>
                    </a:lnTo>
                    <a:lnTo>
                      <a:pt x="298" y="346"/>
                    </a:lnTo>
                    <a:lnTo>
                      <a:pt x="302" y="346"/>
                    </a:lnTo>
                    <a:lnTo>
                      <a:pt x="298" y="346"/>
                    </a:lnTo>
                    <a:lnTo>
                      <a:pt x="294" y="346"/>
                    </a:lnTo>
                    <a:lnTo>
                      <a:pt x="294" y="350"/>
                    </a:lnTo>
                    <a:lnTo>
                      <a:pt x="290" y="350"/>
                    </a:lnTo>
                    <a:lnTo>
                      <a:pt x="290" y="346"/>
                    </a:lnTo>
                    <a:lnTo>
                      <a:pt x="294" y="346"/>
                    </a:lnTo>
                    <a:lnTo>
                      <a:pt x="294" y="342"/>
                    </a:lnTo>
                    <a:lnTo>
                      <a:pt x="298" y="342"/>
                    </a:lnTo>
                    <a:lnTo>
                      <a:pt x="302" y="342"/>
                    </a:lnTo>
                    <a:lnTo>
                      <a:pt x="306" y="342"/>
                    </a:lnTo>
                    <a:lnTo>
                      <a:pt x="302" y="342"/>
                    </a:lnTo>
                    <a:lnTo>
                      <a:pt x="298" y="342"/>
                    </a:lnTo>
                    <a:lnTo>
                      <a:pt x="294" y="342"/>
                    </a:lnTo>
                    <a:lnTo>
                      <a:pt x="290" y="342"/>
                    </a:lnTo>
                    <a:lnTo>
                      <a:pt x="286" y="342"/>
                    </a:lnTo>
                    <a:lnTo>
                      <a:pt x="282" y="342"/>
                    </a:lnTo>
                    <a:lnTo>
                      <a:pt x="286" y="342"/>
                    </a:lnTo>
                    <a:lnTo>
                      <a:pt x="286" y="340"/>
                    </a:lnTo>
                    <a:lnTo>
                      <a:pt x="290" y="340"/>
                    </a:lnTo>
                    <a:lnTo>
                      <a:pt x="294" y="340"/>
                    </a:lnTo>
                    <a:lnTo>
                      <a:pt x="298" y="340"/>
                    </a:lnTo>
                    <a:lnTo>
                      <a:pt x="302" y="340"/>
                    </a:lnTo>
                    <a:lnTo>
                      <a:pt x="302" y="336"/>
                    </a:lnTo>
                    <a:lnTo>
                      <a:pt x="298" y="336"/>
                    </a:lnTo>
                    <a:lnTo>
                      <a:pt x="298" y="340"/>
                    </a:lnTo>
                    <a:lnTo>
                      <a:pt x="294" y="340"/>
                    </a:lnTo>
                    <a:lnTo>
                      <a:pt x="290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2" y="336"/>
                    </a:lnTo>
                    <a:lnTo>
                      <a:pt x="278" y="336"/>
                    </a:lnTo>
                    <a:lnTo>
                      <a:pt x="282" y="336"/>
                    </a:lnTo>
                    <a:lnTo>
                      <a:pt x="282" y="332"/>
                    </a:lnTo>
                    <a:lnTo>
                      <a:pt x="286" y="328"/>
                    </a:lnTo>
                    <a:lnTo>
                      <a:pt x="282" y="332"/>
                    </a:lnTo>
                    <a:lnTo>
                      <a:pt x="278" y="332"/>
                    </a:lnTo>
                    <a:lnTo>
                      <a:pt x="276" y="332"/>
                    </a:lnTo>
                    <a:lnTo>
                      <a:pt x="276" y="328"/>
                    </a:lnTo>
                    <a:lnTo>
                      <a:pt x="276" y="324"/>
                    </a:lnTo>
                    <a:lnTo>
                      <a:pt x="272" y="324"/>
                    </a:lnTo>
                    <a:lnTo>
                      <a:pt x="272" y="320"/>
                    </a:lnTo>
                    <a:lnTo>
                      <a:pt x="276" y="320"/>
                    </a:lnTo>
                    <a:lnTo>
                      <a:pt x="272" y="320"/>
                    </a:lnTo>
                    <a:lnTo>
                      <a:pt x="268" y="320"/>
                    </a:lnTo>
                    <a:lnTo>
                      <a:pt x="272" y="324"/>
                    </a:lnTo>
                    <a:lnTo>
                      <a:pt x="272" y="328"/>
                    </a:lnTo>
                    <a:lnTo>
                      <a:pt x="276" y="328"/>
                    </a:lnTo>
                    <a:lnTo>
                      <a:pt x="276" y="332"/>
                    </a:lnTo>
                    <a:lnTo>
                      <a:pt x="276" y="336"/>
                    </a:lnTo>
                    <a:lnTo>
                      <a:pt x="272" y="336"/>
                    </a:lnTo>
                    <a:lnTo>
                      <a:pt x="268" y="336"/>
                    </a:lnTo>
                    <a:lnTo>
                      <a:pt x="272" y="336"/>
                    </a:lnTo>
                    <a:lnTo>
                      <a:pt x="272" y="340"/>
                    </a:lnTo>
                    <a:lnTo>
                      <a:pt x="268" y="340"/>
                    </a:lnTo>
                    <a:lnTo>
                      <a:pt x="268" y="336"/>
                    </a:lnTo>
                    <a:lnTo>
                      <a:pt x="268" y="340"/>
                    </a:lnTo>
                    <a:lnTo>
                      <a:pt x="272" y="340"/>
                    </a:lnTo>
                    <a:lnTo>
                      <a:pt x="272" y="342"/>
                    </a:lnTo>
                    <a:lnTo>
                      <a:pt x="268" y="342"/>
                    </a:lnTo>
                    <a:lnTo>
                      <a:pt x="264" y="342"/>
                    </a:lnTo>
                    <a:lnTo>
                      <a:pt x="264" y="346"/>
                    </a:lnTo>
                    <a:lnTo>
                      <a:pt x="260" y="346"/>
                    </a:lnTo>
                    <a:lnTo>
                      <a:pt x="256" y="346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52" y="342"/>
                    </a:lnTo>
                    <a:lnTo>
                      <a:pt x="250" y="342"/>
                    </a:lnTo>
                    <a:lnTo>
                      <a:pt x="246" y="342"/>
                    </a:lnTo>
                    <a:lnTo>
                      <a:pt x="246" y="340"/>
                    </a:lnTo>
                    <a:lnTo>
                      <a:pt x="242" y="336"/>
                    </a:lnTo>
                    <a:lnTo>
                      <a:pt x="246" y="336"/>
                    </a:lnTo>
                    <a:lnTo>
                      <a:pt x="250" y="336"/>
                    </a:lnTo>
                    <a:lnTo>
                      <a:pt x="250" y="332"/>
                    </a:lnTo>
                    <a:lnTo>
                      <a:pt x="252" y="332"/>
                    </a:lnTo>
                    <a:lnTo>
                      <a:pt x="256" y="332"/>
                    </a:lnTo>
                    <a:lnTo>
                      <a:pt x="260" y="328"/>
                    </a:lnTo>
                    <a:lnTo>
                      <a:pt x="260" y="324"/>
                    </a:lnTo>
                    <a:lnTo>
                      <a:pt x="264" y="324"/>
                    </a:lnTo>
                    <a:lnTo>
                      <a:pt x="260" y="324"/>
                    </a:lnTo>
                    <a:lnTo>
                      <a:pt x="260" y="328"/>
                    </a:lnTo>
                    <a:lnTo>
                      <a:pt x="256" y="328"/>
                    </a:lnTo>
                    <a:lnTo>
                      <a:pt x="256" y="332"/>
                    </a:lnTo>
                    <a:lnTo>
                      <a:pt x="252" y="332"/>
                    </a:lnTo>
                    <a:lnTo>
                      <a:pt x="250" y="332"/>
                    </a:lnTo>
                    <a:lnTo>
                      <a:pt x="250" y="328"/>
                    </a:lnTo>
                    <a:lnTo>
                      <a:pt x="246" y="328"/>
                    </a:lnTo>
                    <a:lnTo>
                      <a:pt x="250" y="328"/>
                    </a:lnTo>
                    <a:lnTo>
                      <a:pt x="250" y="324"/>
                    </a:lnTo>
                    <a:lnTo>
                      <a:pt x="256" y="320"/>
                    </a:lnTo>
                    <a:lnTo>
                      <a:pt x="252" y="320"/>
                    </a:lnTo>
                    <a:lnTo>
                      <a:pt x="256" y="320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6" y="316"/>
                    </a:lnTo>
                    <a:lnTo>
                      <a:pt x="252" y="316"/>
                    </a:lnTo>
                    <a:lnTo>
                      <a:pt x="250" y="320"/>
                    </a:lnTo>
                    <a:lnTo>
                      <a:pt x="250" y="316"/>
                    </a:lnTo>
                    <a:lnTo>
                      <a:pt x="246" y="316"/>
                    </a:lnTo>
                    <a:lnTo>
                      <a:pt x="246" y="314"/>
                    </a:lnTo>
                    <a:lnTo>
                      <a:pt x="250" y="314"/>
                    </a:lnTo>
                    <a:lnTo>
                      <a:pt x="250" y="316"/>
                    </a:lnTo>
                    <a:lnTo>
                      <a:pt x="252" y="316"/>
                    </a:lnTo>
                    <a:lnTo>
                      <a:pt x="260" y="316"/>
                    </a:lnTo>
                    <a:lnTo>
                      <a:pt x="264" y="316"/>
                    </a:lnTo>
                    <a:lnTo>
                      <a:pt x="260" y="316"/>
                    </a:lnTo>
                    <a:lnTo>
                      <a:pt x="256" y="316"/>
                    </a:lnTo>
                    <a:lnTo>
                      <a:pt x="256" y="314"/>
                    </a:lnTo>
                    <a:lnTo>
                      <a:pt x="252" y="316"/>
                    </a:lnTo>
                    <a:lnTo>
                      <a:pt x="252" y="314"/>
                    </a:lnTo>
                    <a:lnTo>
                      <a:pt x="256" y="314"/>
                    </a:lnTo>
                    <a:lnTo>
                      <a:pt x="260" y="314"/>
                    </a:lnTo>
                    <a:lnTo>
                      <a:pt x="256" y="314"/>
                    </a:lnTo>
                    <a:lnTo>
                      <a:pt x="256" y="310"/>
                    </a:lnTo>
                    <a:lnTo>
                      <a:pt x="260" y="310"/>
                    </a:lnTo>
                    <a:lnTo>
                      <a:pt x="256" y="310"/>
                    </a:lnTo>
                    <a:lnTo>
                      <a:pt x="256" y="306"/>
                    </a:lnTo>
                    <a:lnTo>
                      <a:pt x="260" y="306"/>
                    </a:lnTo>
                    <a:lnTo>
                      <a:pt x="256" y="306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0" y="302"/>
                    </a:lnTo>
                    <a:lnTo>
                      <a:pt x="246" y="302"/>
                    </a:lnTo>
                    <a:lnTo>
                      <a:pt x="246" y="298"/>
                    </a:lnTo>
                    <a:lnTo>
                      <a:pt x="250" y="298"/>
                    </a:lnTo>
                    <a:lnTo>
                      <a:pt x="252" y="298"/>
                    </a:lnTo>
                    <a:lnTo>
                      <a:pt x="250" y="294"/>
                    </a:lnTo>
                    <a:lnTo>
                      <a:pt x="250" y="290"/>
                    </a:lnTo>
                    <a:lnTo>
                      <a:pt x="252" y="290"/>
                    </a:lnTo>
                    <a:lnTo>
                      <a:pt x="252" y="294"/>
                    </a:lnTo>
                    <a:lnTo>
                      <a:pt x="252" y="290"/>
                    </a:lnTo>
                    <a:lnTo>
                      <a:pt x="250" y="290"/>
                    </a:lnTo>
                    <a:lnTo>
                      <a:pt x="246" y="290"/>
                    </a:lnTo>
                    <a:lnTo>
                      <a:pt x="246" y="286"/>
                    </a:lnTo>
                    <a:lnTo>
                      <a:pt x="242" y="286"/>
                    </a:lnTo>
                    <a:lnTo>
                      <a:pt x="238" y="286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38" y="284"/>
                    </a:lnTo>
                    <a:lnTo>
                      <a:pt x="242" y="284"/>
                    </a:lnTo>
                    <a:lnTo>
                      <a:pt x="246" y="284"/>
                    </a:lnTo>
                    <a:lnTo>
                      <a:pt x="242" y="284"/>
                    </a:lnTo>
                    <a:lnTo>
                      <a:pt x="242" y="280"/>
                    </a:lnTo>
                    <a:lnTo>
                      <a:pt x="246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4" y="276"/>
                    </a:lnTo>
                    <a:lnTo>
                      <a:pt x="234" y="272"/>
                    </a:lnTo>
                    <a:lnTo>
                      <a:pt x="238" y="272"/>
                    </a:lnTo>
                    <a:lnTo>
                      <a:pt x="238" y="268"/>
                    </a:lnTo>
                    <a:lnTo>
                      <a:pt x="234" y="268"/>
                    </a:lnTo>
                    <a:lnTo>
                      <a:pt x="230" y="272"/>
                    </a:lnTo>
                    <a:lnTo>
                      <a:pt x="226" y="272"/>
                    </a:lnTo>
                    <a:lnTo>
                      <a:pt x="222" y="272"/>
                    </a:lnTo>
                    <a:lnTo>
                      <a:pt x="220" y="272"/>
                    </a:lnTo>
                    <a:lnTo>
                      <a:pt x="222" y="272"/>
                    </a:lnTo>
                    <a:lnTo>
                      <a:pt x="226" y="272"/>
                    </a:lnTo>
                    <a:lnTo>
                      <a:pt x="230" y="272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4"/>
                    </a:lnTo>
                    <a:lnTo>
                      <a:pt x="234" y="264"/>
                    </a:lnTo>
                    <a:lnTo>
                      <a:pt x="230" y="264"/>
                    </a:lnTo>
                    <a:lnTo>
                      <a:pt x="226" y="264"/>
                    </a:lnTo>
                    <a:lnTo>
                      <a:pt x="230" y="264"/>
                    </a:lnTo>
                    <a:lnTo>
                      <a:pt x="234" y="264"/>
                    </a:lnTo>
                    <a:lnTo>
                      <a:pt x="238" y="260"/>
                    </a:lnTo>
                    <a:lnTo>
                      <a:pt x="234" y="260"/>
                    </a:lnTo>
                    <a:lnTo>
                      <a:pt x="230" y="260"/>
                    </a:lnTo>
                    <a:lnTo>
                      <a:pt x="230" y="256"/>
                    </a:lnTo>
                    <a:lnTo>
                      <a:pt x="226" y="256"/>
                    </a:lnTo>
                    <a:lnTo>
                      <a:pt x="222" y="256"/>
                    </a:lnTo>
                    <a:lnTo>
                      <a:pt x="222" y="254"/>
                    </a:lnTo>
                    <a:lnTo>
                      <a:pt x="226" y="254"/>
                    </a:lnTo>
                    <a:lnTo>
                      <a:pt x="226" y="250"/>
                    </a:lnTo>
                    <a:lnTo>
                      <a:pt x="222" y="250"/>
                    </a:lnTo>
                    <a:lnTo>
                      <a:pt x="220" y="250"/>
                    </a:lnTo>
                    <a:lnTo>
                      <a:pt x="216" y="250"/>
                    </a:lnTo>
                    <a:lnTo>
                      <a:pt x="212" y="250"/>
                    </a:lnTo>
                    <a:lnTo>
                      <a:pt x="212" y="246"/>
                    </a:lnTo>
                    <a:lnTo>
                      <a:pt x="208" y="246"/>
                    </a:lnTo>
                    <a:lnTo>
                      <a:pt x="212" y="246"/>
                    </a:lnTo>
                    <a:lnTo>
                      <a:pt x="212" y="242"/>
                    </a:lnTo>
                    <a:lnTo>
                      <a:pt x="208" y="242"/>
                    </a:lnTo>
                    <a:lnTo>
                      <a:pt x="208" y="238"/>
                    </a:lnTo>
                    <a:lnTo>
                      <a:pt x="204" y="238"/>
                    </a:lnTo>
                    <a:lnTo>
                      <a:pt x="200" y="238"/>
                    </a:lnTo>
                    <a:lnTo>
                      <a:pt x="204" y="238"/>
                    </a:lnTo>
                    <a:lnTo>
                      <a:pt x="208" y="238"/>
                    </a:lnTo>
                    <a:lnTo>
                      <a:pt x="208" y="234"/>
                    </a:lnTo>
                    <a:lnTo>
                      <a:pt x="204" y="234"/>
                    </a:lnTo>
                    <a:lnTo>
                      <a:pt x="204" y="230"/>
                    </a:lnTo>
                    <a:lnTo>
                      <a:pt x="208" y="230"/>
                    </a:lnTo>
                    <a:lnTo>
                      <a:pt x="204" y="230"/>
                    </a:lnTo>
                    <a:lnTo>
                      <a:pt x="204" y="228"/>
                    </a:lnTo>
                    <a:lnTo>
                      <a:pt x="200" y="228"/>
                    </a:lnTo>
                    <a:lnTo>
                      <a:pt x="200" y="230"/>
                    </a:lnTo>
                    <a:lnTo>
                      <a:pt x="196" y="230"/>
                    </a:lnTo>
                    <a:lnTo>
                      <a:pt x="194" y="228"/>
                    </a:lnTo>
                    <a:lnTo>
                      <a:pt x="196" y="228"/>
                    </a:lnTo>
                    <a:lnTo>
                      <a:pt x="196" y="224"/>
                    </a:lnTo>
                    <a:lnTo>
                      <a:pt x="194" y="224"/>
                    </a:lnTo>
                    <a:lnTo>
                      <a:pt x="190" y="224"/>
                    </a:lnTo>
                    <a:lnTo>
                      <a:pt x="190" y="228"/>
                    </a:lnTo>
                    <a:lnTo>
                      <a:pt x="186" y="228"/>
                    </a:lnTo>
                    <a:lnTo>
                      <a:pt x="186" y="224"/>
                    </a:lnTo>
                    <a:lnTo>
                      <a:pt x="190" y="224"/>
                    </a:lnTo>
                    <a:lnTo>
                      <a:pt x="186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78" y="220"/>
                    </a:lnTo>
                    <a:lnTo>
                      <a:pt x="174" y="220"/>
                    </a:lnTo>
                    <a:lnTo>
                      <a:pt x="170" y="220"/>
                    </a:lnTo>
                    <a:lnTo>
                      <a:pt x="170" y="216"/>
                    </a:lnTo>
                    <a:lnTo>
                      <a:pt x="164" y="216"/>
                    </a:lnTo>
                    <a:lnTo>
                      <a:pt x="160" y="216"/>
                    </a:lnTo>
                    <a:lnTo>
                      <a:pt x="156" y="216"/>
                    </a:lnTo>
                    <a:lnTo>
                      <a:pt x="152" y="216"/>
                    </a:lnTo>
                    <a:lnTo>
                      <a:pt x="152" y="212"/>
                    </a:lnTo>
                    <a:lnTo>
                      <a:pt x="148" y="212"/>
                    </a:lnTo>
                    <a:lnTo>
                      <a:pt x="148" y="216"/>
                    </a:lnTo>
                    <a:lnTo>
                      <a:pt x="148" y="212"/>
                    </a:lnTo>
                    <a:lnTo>
                      <a:pt x="144" y="212"/>
                    </a:lnTo>
                    <a:lnTo>
                      <a:pt x="144" y="216"/>
                    </a:lnTo>
                    <a:lnTo>
                      <a:pt x="140" y="216"/>
                    </a:lnTo>
                    <a:lnTo>
                      <a:pt x="144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4" y="212"/>
                    </a:lnTo>
                    <a:lnTo>
                      <a:pt x="130" y="216"/>
                    </a:lnTo>
                    <a:lnTo>
                      <a:pt x="126" y="216"/>
                    </a:lnTo>
                    <a:lnTo>
                      <a:pt x="122" y="216"/>
                    </a:lnTo>
                    <a:lnTo>
                      <a:pt x="122" y="212"/>
                    </a:lnTo>
                    <a:lnTo>
                      <a:pt x="118" y="216"/>
                    </a:lnTo>
                    <a:lnTo>
                      <a:pt x="118" y="212"/>
                    </a:lnTo>
                    <a:lnTo>
                      <a:pt x="118" y="216"/>
                    </a:lnTo>
                    <a:lnTo>
                      <a:pt x="114" y="216"/>
                    </a:lnTo>
                    <a:lnTo>
                      <a:pt x="118" y="216"/>
                    </a:lnTo>
                    <a:lnTo>
                      <a:pt x="118" y="220"/>
                    </a:lnTo>
                    <a:lnTo>
                      <a:pt x="114" y="220"/>
                    </a:lnTo>
                    <a:lnTo>
                      <a:pt x="114" y="216"/>
                    </a:lnTo>
                    <a:lnTo>
                      <a:pt x="110" y="216"/>
                    </a:lnTo>
                    <a:lnTo>
                      <a:pt x="110" y="220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10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0" y="220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0" y="216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4" y="216"/>
                    </a:lnTo>
                    <a:lnTo>
                      <a:pt x="94" y="220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6" y="212"/>
                    </a:lnTo>
                    <a:lnTo>
                      <a:pt x="82" y="216"/>
                    </a:lnTo>
                    <a:lnTo>
                      <a:pt x="86" y="216"/>
                    </a:lnTo>
                    <a:lnTo>
                      <a:pt x="86" y="220"/>
                    </a:lnTo>
                    <a:lnTo>
                      <a:pt x="90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0"/>
                    </a:lnTo>
                    <a:lnTo>
                      <a:pt x="78" y="220"/>
                    </a:lnTo>
                    <a:lnTo>
                      <a:pt x="74" y="220"/>
                    </a:lnTo>
                    <a:lnTo>
                      <a:pt x="70" y="220"/>
                    </a:lnTo>
                    <a:lnTo>
                      <a:pt x="66" y="220"/>
                    </a:lnTo>
                    <a:lnTo>
                      <a:pt x="64" y="220"/>
                    </a:lnTo>
                    <a:lnTo>
                      <a:pt x="64" y="216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52" y="212"/>
                    </a:lnTo>
                    <a:lnTo>
                      <a:pt x="48" y="212"/>
                    </a:lnTo>
                    <a:lnTo>
                      <a:pt x="48" y="208"/>
                    </a:lnTo>
                    <a:lnTo>
                      <a:pt x="52" y="208"/>
                    </a:lnTo>
                    <a:lnTo>
                      <a:pt x="56" y="208"/>
                    </a:lnTo>
                    <a:lnTo>
                      <a:pt x="60" y="204"/>
                    </a:lnTo>
                    <a:lnTo>
                      <a:pt x="64" y="204"/>
                    </a:lnTo>
                    <a:lnTo>
                      <a:pt x="70" y="204"/>
                    </a:lnTo>
                    <a:lnTo>
                      <a:pt x="70" y="200"/>
                    </a:lnTo>
                    <a:lnTo>
                      <a:pt x="66" y="200"/>
                    </a:lnTo>
                    <a:lnTo>
                      <a:pt x="64" y="200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0" y="200"/>
                    </a:lnTo>
                    <a:lnTo>
                      <a:pt x="40" y="198"/>
                    </a:lnTo>
                    <a:lnTo>
                      <a:pt x="44" y="198"/>
                    </a:lnTo>
                    <a:lnTo>
                      <a:pt x="44" y="194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0" y="198"/>
                    </a:lnTo>
                    <a:lnTo>
                      <a:pt x="38" y="198"/>
                    </a:lnTo>
                    <a:lnTo>
                      <a:pt x="38" y="200"/>
                    </a:lnTo>
                    <a:lnTo>
                      <a:pt x="34" y="200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4" y="194"/>
                    </a:lnTo>
                    <a:lnTo>
                      <a:pt x="30" y="198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30" y="190"/>
                    </a:lnTo>
                    <a:lnTo>
                      <a:pt x="34" y="186"/>
                    </a:lnTo>
                    <a:lnTo>
                      <a:pt x="38" y="186"/>
                    </a:lnTo>
                    <a:lnTo>
                      <a:pt x="40" y="186"/>
                    </a:lnTo>
                    <a:lnTo>
                      <a:pt x="44" y="186"/>
                    </a:lnTo>
                    <a:lnTo>
                      <a:pt x="48" y="186"/>
                    </a:lnTo>
                    <a:lnTo>
                      <a:pt x="52" y="186"/>
                    </a:lnTo>
                    <a:lnTo>
                      <a:pt x="56" y="186"/>
                    </a:lnTo>
                    <a:lnTo>
                      <a:pt x="56" y="190"/>
                    </a:lnTo>
                    <a:lnTo>
                      <a:pt x="60" y="190"/>
                    </a:lnTo>
                    <a:lnTo>
                      <a:pt x="64" y="190"/>
                    </a:lnTo>
                    <a:lnTo>
                      <a:pt x="66" y="190"/>
                    </a:lnTo>
                    <a:lnTo>
                      <a:pt x="70" y="190"/>
                    </a:lnTo>
                    <a:lnTo>
                      <a:pt x="70" y="186"/>
                    </a:lnTo>
                    <a:lnTo>
                      <a:pt x="74" y="186"/>
                    </a:lnTo>
                    <a:lnTo>
                      <a:pt x="74" y="190"/>
                    </a:lnTo>
                    <a:lnTo>
                      <a:pt x="78" y="190"/>
                    </a:lnTo>
                    <a:lnTo>
                      <a:pt x="82" y="190"/>
                    </a:lnTo>
                    <a:lnTo>
                      <a:pt x="86" y="190"/>
                    </a:lnTo>
                    <a:lnTo>
                      <a:pt x="90" y="190"/>
                    </a:lnTo>
                    <a:lnTo>
                      <a:pt x="94" y="190"/>
                    </a:lnTo>
                    <a:lnTo>
                      <a:pt x="96" y="190"/>
                    </a:lnTo>
                    <a:lnTo>
                      <a:pt x="96" y="186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2" y="190"/>
                    </a:lnTo>
                    <a:lnTo>
                      <a:pt x="78" y="190"/>
                    </a:lnTo>
                    <a:lnTo>
                      <a:pt x="78" y="186"/>
                    </a:lnTo>
                    <a:lnTo>
                      <a:pt x="74" y="186"/>
                    </a:lnTo>
                    <a:lnTo>
                      <a:pt x="70" y="186"/>
                    </a:lnTo>
                    <a:lnTo>
                      <a:pt x="66" y="186"/>
                    </a:lnTo>
                    <a:lnTo>
                      <a:pt x="64" y="186"/>
                    </a:lnTo>
                    <a:lnTo>
                      <a:pt x="60" y="186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4" y="182"/>
                    </a:lnTo>
                    <a:lnTo>
                      <a:pt x="66" y="182"/>
                    </a:lnTo>
                    <a:lnTo>
                      <a:pt x="70" y="182"/>
                    </a:lnTo>
                    <a:lnTo>
                      <a:pt x="74" y="182"/>
                    </a:lnTo>
                    <a:lnTo>
                      <a:pt x="78" y="182"/>
                    </a:lnTo>
                    <a:lnTo>
                      <a:pt x="82" y="182"/>
                    </a:lnTo>
                    <a:lnTo>
                      <a:pt x="86" y="182"/>
                    </a:lnTo>
                    <a:lnTo>
                      <a:pt x="90" y="182"/>
                    </a:lnTo>
                    <a:lnTo>
                      <a:pt x="90" y="186"/>
                    </a:lnTo>
                    <a:lnTo>
                      <a:pt x="94" y="186"/>
                    </a:lnTo>
                    <a:lnTo>
                      <a:pt x="96" y="186"/>
                    </a:lnTo>
                    <a:lnTo>
                      <a:pt x="94" y="186"/>
                    </a:lnTo>
                    <a:lnTo>
                      <a:pt x="90" y="182"/>
                    </a:lnTo>
                    <a:lnTo>
                      <a:pt x="94" y="182"/>
                    </a:lnTo>
                    <a:lnTo>
                      <a:pt x="96" y="182"/>
                    </a:lnTo>
                    <a:lnTo>
                      <a:pt x="96" y="178"/>
                    </a:lnTo>
                    <a:lnTo>
                      <a:pt x="96" y="174"/>
                    </a:lnTo>
                    <a:lnTo>
                      <a:pt x="94" y="174"/>
                    </a:lnTo>
                    <a:lnTo>
                      <a:pt x="90" y="174"/>
                    </a:lnTo>
                    <a:lnTo>
                      <a:pt x="86" y="174"/>
                    </a:lnTo>
                    <a:lnTo>
                      <a:pt x="82" y="174"/>
                    </a:lnTo>
                    <a:lnTo>
                      <a:pt x="82" y="178"/>
                    </a:lnTo>
                    <a:lnTo>
                      <a:pt x="78" y="178"/>
                    </a:lnTo>
                    <a:lnTo>
                      <a:pt x="74" y="178"/>
                    </a:lnTo>
                    <a:lnTo>
                      <a:pt x="70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6" y="178"/>
                    </a:lnTo>
                    <a:lnTo>
                      <a:pt x="64" y="178"/>
                    </a:lnTo>
                    <a:lnTo>
                      <a:pt x="64" y="174"/>
                    </a:lnTo>
                    <a:lnTo>
                      <a:pt x="60" y="174"/>
                    </a:lnTo>
                    <a:lnTo>
                      <a:pt x="60" y="178"/>
                    </a:lnTo>
                    <a:lnTo>
                      <a:pt x="64" y="178"/>
                    </a:lnTo>
                    <a:lnTo>
                      <a:pt x="60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2" y="182"/>
                    </a:lnTo>
                    <a:lnTo>
                      <a:pt x="52" y="178"/>
                    </a:lnTo>
                    <a:lnTo>
                      <a:pt x="48" y="178"/>
                    </a:lnTo>
                    <a:lnTo>
                      <a:pt x="44" y="178"/>
                    </a:lnTo>
                    <a:lnTo>
                      <a:pt x="40" y="178"/>
                    </a:lnTo>
                    <a:lnTo>
                      <a:pt x="38" y="178"/>
                    </a:lnTo>
                    <a:lnTo>
                      <a:pt x="40" y="174"/>
                    </a:lnTo>
                    <a:lnTo>
                      <a:pt x="44" y="174"/>
                    </a:lnTo>
                    <a:lnTo>
                      <a:pt x="48" y="174"/>
                    </a:lnTo>
                    <a:lnTo>
                      <a:pt x="48" y="172"/>
                    </a:lnTo>
                    <a:lnTo>
                      <a:pt x="48" y="174"/>
                    </a:lnTo>
                    <a:lnTo>
                      <a:pt x="44" y="174"/>
                    </a:lnTo>
                    <a:lnTo>
                      <a:pt x="40" y="174"/>
                    </a:lnTo>
                    <a:lnTo>
                      <a:pt x="38" y="174"/>
                    </a:lnTo>
                    <a:lnTo>
                      <a:pt x="34" y="174"/>
                    </a:lnTo>
                    <a:lnTo>
                      <a:pt x="34" y="172"/>
                    </a:lnTo>
                    <a:lnTo>
                      <a:pt x="38" y="172"/>
                    </a:lnTo>
                    <a:lnTo>
                      <a:pt x="40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26" y="168"/>
                    </a:lnTo>
                    <a:lnTo>
                      <a:pt x="22" y="168"/>
                    </a:lnTo>
                    <a:lnTo>
                      <a:pt x="22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4" y="168"/>
                    </a:lnTo>
                    <a:lnTo>
                      <a:pt x="10" y="168"/>
                    </a:lnTo>
                    <a:lnTo>
                      <a:pt x="8" y="164"/>
                    </a:lnTo>
                    <a:lnTo>
                      <a:pt x="10" y="164"/>
                    </a:lnTo>
                    <a:lnTo>
                      <a:pt x="8" y="164"/>
                    </a:lnTo>
                    <a:lnTo>
                      <a:pt x="4" y="164"/>
                    </a:lnTo>
                    <a:lnTo>
                      <a:pt x="0" y="160"/>
                    </a:lnTo>
                    <a:lnTo>
                      <a:pt x="4" y="160"/>
                    </a:lnTo>
                    <a:lnTo>
                      <a:pt x="4" y="158"/>
                    </a:lnTo>
                    <a:lnTo>
                      <a:pt x="8" y="158"/>
                    </a:lnTo>
                    <a:lnTo>
                      <a:pt x="4" y="158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4" y="154"/>
                    </a:lnTo>
                    <a:lnTo>
                      <a:pt x="8" y="150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8" y="150"/>
                    </a:lnTo>
                    <a:lnTo>
                      <a:pt x="22" y="150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30" y="146"/>
                    </a:lnTo>
                    <a:lnTo>
                      <a:pt x="34" y="146"/>
                    </a:lnTo>
                    <a:lnTo>
                      <a:pt x="38" y="146"/>
                    </a:lnTo>
                    <a:lnTo>
                      <a:pt x="40" y="146"/>
                    </a:lnTo>
                    <a:lnTo>
                      <a:pt x="44" y="146"/>
                    </a:lnTo>
                    <a:lnTo>
                      <a:pt x="40" y="146"/>
                    </a:lnTo>
                    <a:lnTo>
                      <a:pt x="40" y="142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52" y="142"/>
                    </a:lnTo>
                    <a:lnTo>
                      <a:pt x="56" y="142"/>
                    </a:lnTo>
                    <a:lnTo>
                      <a:pt x="60" y="142"/>
                    </a:lnTo>
                    <a:lnTo>
                      <a:pt x="56" y="142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6" y="134"/>
                    </a:lnTo>
                    <a:lnTo>
                      <a:pt x="70" y="134"/>
                    </a:lnTo>
                    <a:lnTo>
                      <a:pt x="74" y="138"/>
                    </a:lnTo>
                    <a:lnTo>
                      <a:pt x="74" y="134"/>
                    </a:lnTo>
                    <a:lnTo>
                      <a:pt x="78" y="134"/>
                    </a:lnTo>
                    <a:lnTo>
                      <a:pt x="82" y="134"/>
                    </a:lnTo>
                    <a:lnTo>
                      <a:pt x="86" y="134"/>
                    </a:lnTo>
                    <a:lnTo>
                      <a:pt x="90" y="134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100" y="134"/>
                    </a:lnTo>
                    <a:lnTo>
                      <a:pt x="104" y="130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0" y="124"/>
                    </a:lnTo>
                    <a:lnTo>
                      <a:pt x="114" y="124"/>
                    </a:lnTo>
                    <a:lnTo>
                      <a:pt x="114" y="120"/>
                    </a:lnTo>
                    <a:lnTo>
                      <a:pt x="110" y="120"/>
                    </a:lnTo>
                    <a:lnTo>
                      <a:pt x="110" y="116"/>
                    </a:lnTo>
                    <a:lnTo>
                      <a:pt x="110" y="112"/>
                    </a:lnTo>
                    <a:lnTo>
                      <a:pt x="110" y="108"/>
                    </a:lnTo>
                    <a:lnTo>
                      <a:pt x="114" y="108"/>
                    </a:lnTo>
                    <a:lnTo>
                      <a:pt x="122" y="108"/>
                    </a:lnTo>
                    <a:lnTo>
                      <a:pt x="122" y="104"/>
                    </a:lnTo>
                    <a:lnTo>
                      <a:pt x="126" y="104"/>
                    </a:lnTo>
                    <a:lnTo>
                      <a:pt x="130" y="104"/>
                    </a:lnTo>
                    <a:lnTo>
                      <a:pt x="126" y="104"/>
                    </a:lnTo>
                    <a:lnTo>
                      <a:pt x="122" y="104"/>
                    </a:lnTo>
                    <a:lnTo>
                      <a:pt x="122" y="100"/>
                    </a:lnTo>
                    <a:lnTo>
                      <a:pt x="122" y="104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4" y="108"/>
                    </a:lnTo>
                    <a:lnTo>
                      <a:pt x="110" y="108"/>
                    </a:lnTo>
                    <a:lnTo>
                      <a:pt x="110" y="104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4" y="104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98"/>
                    </a:lnTo>
                    <a:lnTo>
                      <a:pt x="82" y="98"/>
                    </a:lnTo>
                    <a:lnTo>
                      <a:pt x="86" y="98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6" y="90"/>
                    </a:lnTo>
                    <a:lnTo>
                      <a:pt x="100" y="90"/>
                    </a:lnTo>
                    <a:lnTo>
                      <a:pt x="104" y="90"/>
                    </a:lnTo>
                    <a:lnTo>
                      <a:pt x="104" y="86"/>
                    </a:lnTo>
                    <a:lnTo>
                      <a:pt x="108" y="86"/>
                    </a:lnTo>
                    <a:lnTo>
                      <a:pt x="110" y="86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78"/>
                    </a:lnTo>
                    <a:lnTo>
                      <a:pt x="118" y="78"/>
                    </a:lnTo>
                    <a:lnTo>
                      <a:pt x="122" y="78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74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6" y="82"/>
                    </a:lnTo>
                    <a:lnTo>
                      <a:pt x="140" y="86"/>
                    </a:lnTo>
                    <a:lnTo>
                      <a:pt x="144" y="86"/>
                    </a:lnTo>
                    <a:lnTo>
                      <a:pt x="140" y="86"/>
                    </a:lnTo>
                    <a:lnTo>
                      <a:pt x="140" y="82"/>
                    </a:lnTo>
                    <a:lnTo>
                      <a:pt x="136" y="82"/>
                    </a:lnTo>
                    <a:lnTo>
                      <a:pt x="136" y="78"/>
                    </a:lnTo>
                    <a:lnTo>
                      <a:pt x="136" y="74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4" y="74"/>
                    </a:lnTo>
                    <a:lnTo>
                      <a:pt x="148" y="74"/>
                    </a:lnTo>
                    <a:lnTo>
                      <a:pt x="152" y="74"/>
                    </a:lnTo>
                    <a:lnTo>
                      <a:pt x="156" y="74"/>
                    </a:lnTo>
                    <a:lnTo>
                      <a:pt x="160" y="78"/>
                    </a:lnTo>
                    <a:lnTo>
                      <a:pt x="164" y="78"/>
                    </a:lnTo>
                    <a:lnTo>
                      <a:pt x="164" y="74"/>
                    </a:lnTo>
                    <a:lnTo>
                      <a:pt x="166" y="74"/>
                    </a:lnTo>
                    <a:lnTo>
                      <a:pt x="170" y="74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4" y="68"/>
                    </a:lnTo>
                    <a:lnTo>
                      <a:pt x="166" y="68"/>
                    </a:lnTo>
                    <a:lnTo>
                      <a:pt x="170" y="68"/>
                    </a:lnTo>
                    <a:lnTo>
                      <a:pt x="170" y="64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4" y="60"/>
                    </a:lnTo>
                    <a:lnTo>
                      <a:pt x="164" y="56"/>
                    </a:lnTo>
                    <a:lnTo>
                      <a:pt x="166" y="56"/>
                    </a:lnTo>
                    <a:lnTo>
                      <a:pt x="170" y="52"/>
                    </a:lnTo>
                    <a:lnTo>
                      <a:pt x="174" y="52"/>
                    </a:lnTo>
                    <a:lnTo>
                      <a:pt x="178" y="52"/>
                    </a:lnTo>
                    <a:lnTo>
                      <a:pt x="182" y="52"/>
                    </a:lnTo>
                    <a:lnTo>
                      <a:pt x="186" y="52"/>
                    </a:lnTo>
                    <a:lnTo>
                      <a:pt x="190" y="52"/>
                    </a:lnTo>
                    <a:lnTo>
                      <a:pt x="194" y="52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12" y="60"/>
                    </a:lnTo>
                    <a:lnTo>
                      <a:pt x="212" y="64"/>
                    </a:lnTo>
                    <a:lnTo>
                      <a:pt x="216" y="64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20" y="64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30" y="68"/>
                    </a:lnTo>
                    <a:lnTo>
                      <a:pt x="230" y="72"/>
                    </a:lnTo>
                    <a:lnTo>
                      <a:pt x="234" y="72"/>
                    </a:lnTo>
                    <a:lnTo>
                      <a:pt x="234" y="68"/>
                    </a:lnTo>
                    <a:lnTo>
                      <a:pt x="230" y="68"/>
                    </a:lnTo>
                    <a:lnTo>
                      <a:pt x="226" y="68"/>
                    </a:lnTo>
                    <a:lnTo>
                      <a:pt x="222" y="68"/>
                    </a:lnTo>
                    <a:lnTo>
                      <a:pt x="222" y="64"/>
                    </a:lnTo>
                    <a:lnTo>
                      <a:pt x="220" y="64"/>
                    </a:lnTo>
                    <a:lnTo>
                      <a:pt x="216" y="60"/>
                    </a:lnTo>
                    <a:lnTo>
                      <a:pt x="212" y="60"/>
                    </a:lnTo>
                    <a:lnTo>
                      <a:pt x="208" y="60"/>
                    </a:lnTo>
                    <a:lnTo>
                      <a:pt x="208" y="56"/>
                    </a:lnTo>
                    <a:lnTo>
                      <a:pt x="204" y="52"/>
                    </a:lnTo>
                    <a:lnTo>
                      <a:pt x="200" y="52"/>
                    </a:lnTo>
                    <a:lnTo>
                      <a:pt x="196" y="52"/>
                    </a:lnTo>
                    <a:lnTo>
                      <a:pt x="194" y="52"/>
                    </a:lnTo>
                    <a:lnTo>
                      <a:pt x="194" y="48"/>
                    </a:lnTo>
                    <a:lnTo>
                      <a:pt x="190" y="48"/>
                    </a:lnTo>
                    <a:lnTo>
                      <a:pt x="194" y="48"/>
                    </a:lnTo>
                    <a:lnTo>
                      <a:pt x="196" y="48"/>
                    </a:lnTo>
                    <a:lnTo>
                      <a:pt x="200" y="44"/>
                    </a:lnTo>
                    <a:lnTo>
                      <a:pt x="204" y="44"/>
                    </a:lnTo>
                    <a:lnTo>
                      <a:pt x="208" y="44"/>
                    </a:lnTo>
                    <a:lnTo>
                      <a:pt x="212" y="44"/>
                    </a:lnTo>
                    <a:lnTo>
                      <a:pt x="216" y="44"/>
                    </a:lnTo>
                    <a:lnTo>
                      <a:pt x="220" y="44"/>
                    </a:lnTo>
                    <a:lnTo>
                      <a:pt x="222" y="44"/>
                    </a:lnTo>
                    <a:lnTo>
                      <a:pt x="226" y="44"/>
                    </a:lnTo>
                    <a:lnTo>
                      <a:pt x="230" y="42"/>
                    </a:lnTo>
                    <a:lnTo>
                      <a:pt x="234" y="42"/>
                    </a:lnTo>
                    <a:lnTo>
                      <a:pt x="234" y="44"/>
                    </a:lnTo>
                    <a:lnTo>
                      <a:pt x="238" y="44"/>
                    </a:lnTo>
                    <a:lnTo>
                      <a:pt x="238" y="42"/>
                    </a:lnTo>
                    <a:lnTo>
                      <a:pt x="242" y="42"/>
                    </a:lnTo>
                    <a:lnTo>
                      <a:pt x="246" y="42"/>
                    </a:lnTo>
                    <a:lnTo>
                      <a:pt x="250" y="42"/>
                    </a:lnTo>
                    <a:lnTo>
                      <a:pt x="250" y="44"/>
                    </a:lnTo>
                    <a:lnTo>
                      <a:pt x="252" y="44"/>
                    </a:lnTo>
                    <a:lnTo>
                      <a:pt x="252" y="42"/>
                    </a:lnTo>
                    <a:lnTo>
                      <a:pt x="250" y="42"/>
                    </a:lnTo>
                    <a:lnTo>
                      <a:pt x="246" y="42"/>
                    </a:lnTo>
                    <a:lnTo>
                      <a:pt x="252" y="42"/>
                    </a:lnTo>
                    <a:lnTo>
                      <a:pt x="256" y="38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42"/>
                    </a:lnTo>
                    <a:lnTo>
                      <a:pt x="272" y="42"/>
                    </a:lnTo>
                    <a:lnTo>
                      <a:pt x="276" y="44"/>
                    </a:lnTo>
                    <a:lnTo>
                      <a:pt x="276" y="52"/>
                    </a:lnTo>
                    <a:lnTo>
                      <a:pt x="276" y="56"/>
                    </a:lnTo>
                    <a:lnTo>
                      <a:pt x="272" y="56"/>
                    </a:lnTo>
                    <a:lnTo>
                      <a:pt x="272" y="60"/>
                    </a:lnTo>
                    <a:lnTo>
                      <a:pt x="272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2"/>
                    </a:lnTo>
                    <a:lnTo>
                      <a:pt x="282" y="48"/>
                    </a:lnTo>
                    <a:lnTo>
                      <a:pt x="286" y="48"/>
                    </a:lnTo>
                    <a:lnTo>
                      <a:pt x="290" y="48"/>
                    </a:lnTo>
                    <a:lnTo>
                      <a:pt x="298" y="52"/>
                    </a:lnTo>
                    <a:lnTo>
                      <a:pt x="302" y="52"/>
                    </a:lnTo>
                    <a:lnTo>
                      <a:pt x="306" y="52"/>
                    </a:lnTo>
                    <a:lnTo>
                      <a:pt x="308" y="52"/>
                    </a:lnTo>
                    <a:lnTo>
                      <a:pt x="312" y="56"/>
                    </a:lnTo>
                    <a:lnTo>
                      <a:pt x="316" y="56"/>
                    </a:lnTo>
                    <a:lnTo>
                      <a:pt x="320" y="56"/>
                    </a:lnTo>
                    <a:lnTo>
                      <a:pt x="320" y="60"/>
                    </a:lnTo>
                    <a:lnTo>
                      <a:pt x="324" y="60"/>
                    </a:lnTo>
                    <a:lnTo>
                      <a:pt x="328" y="60"/>
                    </a:lnTo>
                    <a:lnTo>
                      <a:pt x="332" y="60"/>
                    </a:lnTo>
                    <a:lnTo>
                      <a:pt x="328" y="60"/>
                    </a:lnTo>
                    <a:lnTo>
                      <a:pt x="324" y="56"/>
                    </a:lnTo>
                    <a:lnTo>
                      <a:pt x="320" y="56"/>
                    </a:lnTo>
                    <a:lnTo>
                      <a:pt x="316" y="56"/>
                    </a:lnTo>
                    <a:lnTo>
                      <a:pt x="316" y="52"/>
                    </a:lnTo>
                    <a:lnTo>
                      <a:pt x="312" y="52"/>
                    </a:lnTo>
                    <a:lnTo>
                      <a:pt x="308" y="52"/>
                    </a:lnTo>
                    <a:lnTo>
                      <a:pt x="312" y="52"/>
                    </a:lnTo>
                    <a:lnTo>
                      <a:pt x="316" y="52"/>
                    </a:lnTo>
                    <a:lnTo>
                      <a:pt x="320" y="52"/>
                    </a:lnTo>
                    <a:lnTo>
                      <a:pt x="324" y="52"/>
                    </a:lnTo>
                    <a:lnTo>
                      <a:pt x="328" y="52"/>
                    </a:lnTo>
                    <a:lnTo>
                      <a:pt x="332" y="52"/>
                    </a:lnTo>
                    <a:lnTo>
                      <a:pt x="328" y="48"/>
                    </a:lnTo>
                    <a:lnTo>
                      <a:pt x="324" y="48"/>
                    </a:lnTo>
                    <a:lnTo>
                      <a:pt x="320" y="48"/>
                    </a:lnTo>
                    <a:lnTo>
                      <a:pt x="320" y="44"/>
                    </a:lnTo>
                    <a:lnTo>
                      <a:pt x="316" y="44"/>
                    </a:lnTo>
                    <a:lnTo>
                      <a:pt x="312" y="44"/>
                    </a:lnTo>
                    <a:lnTo>
                      <a:pt x="312" y="42"/>
                    </a:lnTo>
                    <a:lnTo>
                      <a:pt x="312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4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8" y="34"/>
                    </a:lnTo>
                    <a:lnTo>
                      <a:pt x="332" y="34"/>
                    </a:lnTo>
                    <a:lnTo>
                      <a:pt x="334" y="34"/>
                    </a:lnTo>
                    <a:lnTo>
                      <a:pt x="338" y="34"/>
                    </a:lnTo>
                    <a:lnTo>
                      <a:pt x="338" y="38"/>
                    </a:lnTo>
                    <a:lnTo>
                      <a:pt x="342" y="38"/>
                    </a:lnTo>
                    <a:lnTo>
                      <a:pt x="346" y="38"/>
                    </a:lnTo>
                    <a:lnTo>
                      <a:pt x="346" y="42"/>
                    </a:lnTo>
                    <a:lnTo>
                      <a:pt x="350" y="42"/>
                    </a:lnTo>
                    <a:lnTo>
                      <a:pt x="354" y="42"/>
                    </a:lnTo>
                    <a:lnTo>
                      <a:pt x="358" y="42"/>
                    </a:lnTo>
                    <a:lnTo>
                      <a:pt x="362" y="42"/>
                    </a:lnTo>
                    <a:lnTo>
                      <a:pt x="362" y="44"/>
                    </a:lnTo>
                    <a:lnTo>
                      <a:pt x="364" y="44"/>
                    </a:lnTo>
                    <a:lnTo>
                      <a:pt x="368" y="44"/>
                    </a:lnTo>
                    <a:lnTo>
                      <a:pt x="372" y="44"/>
                    </a:lnTo>
                    <a:lnTo>
                      <a:pt x="376" y="44"/>
                    </a:lnTo>
                    <a:lnTo>
                      <a:pt x="376" y="48"/>
                    </a:lnTo>
                    <a:lnTo>
                      <a:pt x="380" y="48"/>
                    </a:lnTo>
                    <a:lnTo>
                      <a:pt x="384" y="48"/>
                    </a:lnTo>
                    <a:lnTo>
                      <a:pt x="384" y="52"/>
                    </a:lnTo>
                    <a:lnTo>
                      <a:pt x="380" y="52"/>
                    </a:lnTo>
                    <a:lnTo>
                      <a:pt x="384" y="52"/>
                    </a:lnTo>
                    <a:lnTo>
                      <a:pt x="388" y="52"/>
                    </a:lnTo>
                    <a:lnTo>
                      <a:pt x="392" y="52"/>
                    </a:lnTo>
                    <a:lnTo>
                      <a:pt x="392" y="56"/>
                    </a:lnTo>
                    <a:lnTo>
                      <a:pt x="394" y="56"/>
                    </a:lnTo>
                    <a:lnTo>
                      <a:pt x="398" y="56"/>
                    </a:lnTo>
                    <a:lnTo>
                      <a:pt x="402" y="56"/>
                    </a:lnTo>
                    <a:lnTo>
                      <a:pt x="406" y="56"/>
                    </a:lnTo>
                    <a:lnTo>
                      <a:pt x="406" y="52"/>
                    </a:lnTo>
                    <a:lnTo>
                      <a:pt x="402" y="52"/>
                    </a:lnTo>
                    <a:lnTo>
                      <a:pt x="398" y="52"/>
                    </a:lnTo>
                    <a:lnTo>
                      <a:pt x="402" y="52"/>
                    </a:lnTo>
                    <a:lnTo>
                      <a:pt x="402" y="48"/>
                    </a:lnTo>
                    <a:lnTo>
                      <a:pt x="398" y="48"/>
                    </a:lnTo>
                    <a:lnTo>
                      <a:pt x="394" y="48"/>
                    </a:lnTo>
                    <a:lnTo>
                      <a:pt x="398" y="48"/>
                    </a:lnTo>
                    <a:lnTo>
                      <a:pt x="402" y="48"/>
                    </a:lnTo>
                    <a:lnTo>
                      <a:pt x="402" y="44"/>
                    </a:lnTo>
                    <a:lnTo>
                      <a:pt x="398" y="44"/>
                    </a:lnTo>
                    <a:lnTo>
                      <a:pt x="398" y="42"/>
                    </a:lnTo>
                    <a:lnTo>
                      <a:pt x="402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4" y="42"/>
                    </a:lnTo>
                    <a:lnTo>
                      <a:pt x="418" y="42"/>
                    </a:lnTo>
                    <a:lnTo>
                      <a:pt x="420" y="42"/>
                    </a:lnTo>
                    <a:lnTo>
                      <a:pt x="424" y="42"/>
                    </a:lnTo>
                    <a:lnTo>
                      <a:pt x="428" y="42"/>
                    </a:lnTo>
                    <a:lnTo>
                      <a:pt x="432" y="42"/>
                    </a:lnTo>
                    <a:lnTo>
                      <a:pt x="428" y="42"/>
                    </a:lnTo>
                    <a:lnTo>
                      <a:pt x="424" y="42"/>
                    </a:lnTo>
                    <a:lnTo>
                      <a:pt x="420" y="42"/>
                    </a:lnTo>
                    <a:lnTo>
                      <a:pt x="418" y="42"/>
                    </a:lnTo>
                    <a:lnTo>
                      <a:pt x="414" y="42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14" y="38"/>
                    </a:lnTo>
                    <a:lnTo>
                      <a:pt x="410" y="38"/>
                    </a:lnTo>
                    <a:lnTo>
                      <a:pt x="406" y="34"/>
                    </a:lnTo>
                    <a:lnTo>
                      <a:pt x="402" y="34"/>
                    </a:lnTo>
                    <a:lnTo>
                      <a:pt x="398" y="34"/>
                    </a:lnTo>
                    <a:lnTo>
                      <a:pt x="398" y="30"/>
                    </a:lnTo>
                    <a:lnTo>
                      <a:pt x="394" y="30"/>
                    </a:lnTo>
                    <a:lnTo>
                      <a:pt x="392" y="30"/>
                    </a:lnTo>
                    <a:lnTo>
                      <a:pt x="388" y="26"/>
                    </a:lnTo>
                    <a:lnTo>
                      <a:pt x="384" y="26"/>
                    </a:lnTo>
                    <a:lnTo>
                      <a:pt x="388" y="26"/>
                    </a:lnTo>
                    <a:lnTo>
                      <a:pt x="392" y="26"/>
                    </a:lnTo>
                    <a:lnTo>
                      <a:pt x="394" y="26"/>
                    </a:lnTo>
                    <a:lnTo>
                      <a:pt x="398" y="26"/>
                    </a:lnTo>
                    <a:lnTo>
                      <a:pt x="402" y="26"/>
                    </a:lnTo>
                    <a:lnTo>
                      <a:pt x="406" y="26"/>
                    </a:lnTo>
                    <a:lnTo>
                      <a:pt x="410" y="26"/>
                    </a:lnTo>
                    <a:lnTo>
                      <a:pt x="414" y="26"/>
                    </a:lnTo>
                    <a:lnTo>
                      <a:pt x="418" y="26"/>
                    </a:lnTo>
                    <a:lnTo>
                      <a:pt x="420" y="26"/>
                    </a:lnTo>
                    <a:lnTo>
                      <a:pt x="424" y="26"/>
                    </a:lnTo>
                    <a:lnTo>
                      <a:pt x="428" y="26"/>
                    </a:lnTo>
                    <a:lnTo>
                      <a:pt x="432" y="26"/>
                    </a:lnTo>
                    <a:lnTo>
                      <a:pt x="436" y="26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0" y="34"/>
                    </a:lnTo>
                    <a:lnTo>
                      <a:pt x="442" y="34"/>
                    </a:lnTo>
                    <a:lnTo>
                      <a:pt x="442" y="30"/>
                    </a:lnTo>
                    <a:lnTo>
                      <a:pt x="440" y="26"/>
                    </a:lnTo>
                    <a:lnTo>
                      <a:pt x="442" y="26"/>
                    </a:lnTo>
                    <a:lnTo>
                      <a:pt x="446" y="26"/>
                    </a:lnTo>
                    <a:lnTo>
                      <a:pt x="446" y="30"/>
                    </a:lnTo>
                    <a:lnTo>
                      <a:pt x="454" y="30"/>
                    </a:lnTo>
                    <a:lnTo>
                      <a:pt x="458" y="30"/>
                    </a:lnTo>
                    <a:lnTo>
                      <a:pt x="458" y="34"/>
                    </a:lnTo>
                    <a:lnTo>
                      <a:pt x="462" y="34"/>
                    </a:lnTo>
                    <a:lnTo>
                      <a:pt x="464" y="34"/>
                    </a:lnTo>
                    <a:lnTo>
                      <a:pt x="464" y="38"/>
                    </a:lnTo>
                    <a:lnTo>
                      <a:pt x="468" y="38"/>
                    </a:lnTo>
                    <a:lnTo>
                      <a:pt x="468" y="34"/>
                    </a:lnTo>
                    <a:lnTo>
                      <a:pt x="464" y="34"/>
                    </a:lnTo>
                    <a:lnTo>
                      <a:pt x="464" y="30"/>
                    </a:lnTo>
                    <a:lnTo>
                      <a:pt x="468" y="30"/>
                    </a:lnTo>
                    <a:lnTo>
                      <a:pt x="464" y="30"/>
                    </a:lnTo>
                    <a:lnTo>
                      <a:pt x="464" y="26"/>
                    </a:lnTo>
                    <a:lnTo>
                      <a:pt x="462" y="26"/>
                    </a:lnTo>
                    <a:lnTo>
                      <a:pt x="458" y="26"/>
                    </a:lnTo>
                    <a:lnTo>
                      <a:pt x="454" y="26"/>
                    </a:lnTo>
                    <a:lnTo>
                      <a:pt x="450" y="26"/>
                    </a:lnTo>
                    <a:lnTo>
                      <a:pt x="446" y="26"/>
                    </a:lnTo>
                    <a:lnTo>
                      <a:pt x="442" y="26"/>
                    </a:lnTo>
                    <a:lnTo>
                      <a:pt x="442" y="22"/>
                    </a:lnTo>
                    <a:lnTo>
                      <a:pt x="436" y="22"/>
                    </a:lnTo>
                    <a:lnTo>
                      <a:pt x="432" y="22"/>
                    </a:lnTo>
                    <a:lnTo>
                      <a:pt x="428" y="22"/>
                    </a:lnTo>
                    <a:lnTo>
                      <a:pt x="42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2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4" y="22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2"/>
                    </a:lnTo>
                    <a:lnTo>
                      <a:pt x="380" y="22"/>
                    </a:lnTo>
                    <a:lnTo>
                      <a:pt x="376" y="22"/>
                    </a:lnTo>
                    <a:lnTo>
                      <a:pt x="372" y="22"/>
                    </a:lnTo>
                    <a:lnTo>
                      <a:pt x="368" y="18"/>
                    </a:lnTo>
                    <a:lnTo>
                      <a:pt x="376" y="18"/>
                    </a:lnTo>
                    <a:lnTo>
                      <a:pt x="380" y="22"/>
                    </a:lnTo>
                    <a:lnTo>
                      <a:pt x="380" y="18"/>
                    </a:lnTo>
                    <a:lnTo>
                      <a:pt x="376" y="18"/>
                    </a:lnTo>
                    <a:lnTo>
                      <a:pt x="372" y="18"/>
                    </a:lnTo>
                    <a:lnTo>
                      <a:pt x="376" y="18"/>
                    </a:lnTo>
                    <a:lnTo>
                      <a:pt x="380" y="18"/>
                    </a:lnTo>
                    <a:lnTo>
                      <a:pt x="380" y="16"/>
                    </a:lnTo>
                    <a:lnTo>
                      <a:pt x="384" y="16"/>
                    </a:lnTo>
                    <a:lnTo>
                      <a:pt x="384" y="18"/>
                    </a:lnTo>
                    <a:lnTo>
                      <a:pt x="388" y="18"/>
                    </a:lnTo>
                    <a:lnTo>
                      <a:pt x="392" y="18"/>
                    </a:lnTo>
                    <a:lnTo>
                      <a:pt x="394" y="18"/>
                    </a:lnTo>
                    <a:lnTo>
                      <a:pt x="394" y="22"/>
                    </a:lnTo>
                    <a:lnTo>
                      <a:pt x="398" y="22"/>
                    </a:lnTo>
                    <a:lnTo>
                      <a:pt x="398" y="18"/>
                    </a:lnTo>
                    <a:lnTo>
                      <a:pt x="402" y="18"/>
                    </a:lnTo>
                    <a:lnTo>
                      <a:pt x="402" y="22"/>
                    </a:lnTo>
                    <a:lnTo>
                      <a:pt x="410" y="22"/>
                    </a:lnTo>
                    <a:lnTo>
                      <a:pt x="414" y="22"/>
                    </a:lnTo>
                    <a:lnTo>
                      <a:pt x="418" y="22"/>
                    </a:lnTo>
                    <a:lnTo>
                      <a:pt x="414" y="22"/>
                    </a:lnTo>
                    <a:lnTo>
                      <a:pt x="410" y="22"/>
                    </a:lnTo>
                    <a:lnTo>
                      <a:pt x="406" y="22"/>
                    </a:lnTo>
                    <a:lnTo>
                      <a:pt x="406" y="18"/>
                    </a:lnTo>
                    <a:lnTo>
                      <a:pt x="402" y="18"/>
                    </a:lnTo>
                    <a:lnTo>
                      <a:pt x="398" y="18"/>
                    </a:lnTo>
                    <a:lnTo>
                      <a:pt x="394" y="18"/>
                    </a:lnTo>
                    <a:lnTo>
                      <a:pt x="392" y="18"/>
                    </a:lnTo>
                    <a:lnTo>
                      <a:pt x="388" y="16"/>
                    </a:lnTo>
                    <a:lnTo>
                      <a:pt x="392" y="16"/>
                    </a:lnTo>
                    <a:lnTo>
                      <a:pt x="394" y="16"/>
                    </a:lnTo>
                    <a:lnTo>
                      <a:pt x="398" y="16"/>
                    </a:lnTo>
                    <a:lnTo>
                      <a:pt x="402" y="16"/>
                    </a:lnTo>
                    <a:lnTo>
                      <a:pt x="406" y="16"/>
                    </a:lnTo>
                    <a:lnTo>
                      <a:pt x="410" y="16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20" y="16"/>
                    </a:lnTo>
                    <a:lnTo>
                      <a:pt x="424" y="16"/>
                    </a:lnTo>
                    <a:lnTo>
                      <a:pt x="420" y="16"/>
                    </a:lnTo>
                    <a:lnTo>
                      <a:pt x="418" y="16"/>
                    </a:lnTo>
                    <a:lnTo>
                      <a:pt x="414" y="16"/>
                    </a:lnTo>
                    <a:lnTo>
                      <a:pt x="410" y="16"/>
                    </a:lnTo>
                    <a:lnTo>
                      <a:pt x="410" y="12"/>
                    </a:lnTo>
                    <a:lnTo>
                      <a:pt x="414" y="12"/>
                    </a:lnTo>
                    <a:lnTo>
                      <a:pt x="418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0" y="12"/>
                    </a:lnTo>
                    <a:lnTo>
                      <a:pt x="424" y="12"/>
                    </a:lnTo>
                    <a:lnTo>
                      <a:pt x="428" y="12"/>
                    </a:lnTo>
                    <a:lnTo>
                      <a:pt x="432" y="12"/>
                    </a:lnTo>
                    <a:lnTo>
                      <a:pt x="436" y="12"/>
                    </a:lnTo>
                    <a:lnTo>
                      <a:pt x="440" y="12"/>
                    </a:lnTo>
                    <a:lnTo>
                      <a:pt x="442" y="16"/>
                    </a:lnTo>
                    <a:lnTo>
                      <a:pt x="440" y="16"/>
                    </a:lnTo>
                    <a:lnTo>
                      <a:pt x="442" y="16"/>
                    </a:lnTo>
                    <a:lnTo>
                      <a:pt x="446" y="16"/>
                    </a:lnTo>
                    <a:lnTo>
                      <a:pt x="450" y="16"/>
                    </a:lnTo>
                    <a:lnTo>
                      <a:pt x="450" y="18"/>
                    </a:lnTo>
                    <a:lnTo>
                      <a:pt x="454" y="18"/>
                    </a:lnTo>
                    <a:lnTo>
                      <a:pt x="458" y="18"/>
                    </a:lnTo>
                    <a:lnTo>
                      <a:pt x="464" y="18"/>
                    </a:lnTo>
                    <a:lnTo>
                      <a:pt x="468" y="18"/>
                    </a:lnTo>
                    <a:lnTo>
                      <a:pt x="472" y="18"/>
                    </a:lnTo>
                    <a:lnTo>
                      <a:pt x="480" y="22"/>
                    </a:lnTo>
                    <a:lnTo>
                      <a:pt x="480" y="26"/>
                    </a:lnTo>
                    <a:lnTo>
                      <a:pt x="484" y="26"/>
                    </a:lnTo>
                    <a:lnTo>
                      <a:pt x="488" y="26"/>
                    </a:lnTo>
                    <a:lnTo>
                      <a:pt x="484" y="26"/>
                    </a:lnTo>
                    <a:lnTo>
                      <a:pt x="484" y="22"/>
                    </a:lnTo>
                    <a:lnTo>
                      <a:pt x="480" y="22"/>
                    </a:lnTo>
                    <a:lnTo>
                      <a:pt x="476" y="18"/>
                    </a:lnTo>
                    <a:lnTo>
                      <a:pt x="480" y="18"/>
                    </a:lnTo>
                    <a:lnTo>
                      <a:pt x="484" y="18"/>
                    </a:lnTo>
                    <a:lnTo>
                      <a:pt x="488" y="18"/>
                    </a:lnTo>
                    <a:lnTo>
                      <a:pt x="490" y="18"/>
                    </a:lnTo>
                    <a:lnTo>
                      <a:pt x="498" y="18"/>
                    </a:lnTo>
                    <a:lnTo>
                      <a:pt x="502" y="18"/>
                    </a:lnTo>
                    <a:lnTo>
                      <a:pt x="506" y="18"/>
                    </a:lnTo>
                    <a:lnTo>
                      <a:pt x="502" y="18"/>
                    </a:lnTo>
                    <a:lnTo>
                      <a:pt x="498" y="18"/>
                    </a:lnTo>
                    <a:lnTo>
                      <a:pt x="490" y="18"/>
                    </a:lnTo>
                    <a:lnTo>
                      <a:pt x="488" y="18"/>
                    </a:lnTo>
                    <a:lnTo>
                      <a:pt x="484" y="18"/>
                    </a:lnTo>
                    <a:lnTo>
                      <a:pt x="484" y="16"/>
                    </a:lnTo>
                    <a:lnTo>
                      <a:pt x="488" y="16"/>
                    </a:lnTo>
                    <a:lnTo>
                      <a:pt x="490" y="16"/>
                    </a:lnTo>
                    <a:lnTo>
                      <a:pt x="494" y="16"/>
                    </a:lnTo>
                    <a:lnTo>
                      <a:pt x="498" y="16"/>
                    </a:lnTo>
                    <a:lnTo>
                      <a:pt x="502" y="16"/>
                    </a:lnTo>
                    <a:lnTo>
                      <a:pt x="506" y="16"/>
                    </a:lnTo>
                    <a:lnTo>
                      <a:pt x="510" y="16"/>
                    </a:lnTo>
                    <a:lnTo>
                      <a:pt x="506" y="16"/>
                    </a:lnTo>
                    <a:lnTo>
                      <a:pt x="502" y="16"/>
                    </a:lnTo>
                    <a:lnTo>
                      <a:pt x="498" y="16"/>
                    </a:lnTo>
                    <a:lnTo>
                      <a:pt x="494" y="12"/>
                    </a:lnTo>
                    <a:lnTo>
                      <a:pt x="490" y="12"/>
                    </a:lnTo>
                    <a:lnTo>
                      <a:pt x="488" y="12"/>
                    </a:lnTo>
                    <a:lnTo>
                      <a:pt x="484" y="12"/>
                    </a:lnTo>
                    <a:lnTo>
                      <a:pt x="484" y="8"/>
                    </a:lnTo>
                    <a:lnTo>
                      <a:pt x="488" y="8"/>
                    </a:lnTo>
                    <a:lnTo>
                      <a:pt x="490" y="8"/>
                    </a:lnTo>
                    <a:lnTo>
                      <a:pt x="494" y="8"/>
                    </a:lnTo>
                    <a:lnTo>
                      <a:pt x="498" y="8"/>
                    </a:lnTo>
                    <a:lnTo>
                      <a:pt x="494" y="8"/>
                    </a:lnTo>
                    <a:lnTo>
                      <a:pt x="494" y="4"/>
                    </a:lnTo>
                    <a:lnTo>
                      <a:pt x="498" y="4"/>
                    </a:lnTo>
                    <a:lnTo>
                      <a:pt x="502" y="4"/>
                    </a:lnTo>
                    <a:lnTo>
                      <a:pt x="506" y="4"/>
                    </a:lnTo>
                    <a:lnTo>
                      <a:pt x="510" y="8"/>
                    </a:lnTo>
                    <a:lnTo>
                      <a:pt x="514" y="8"/>
                    </a:lnTo>
                    <a:lnTo>
                      <a:pt x="518" y="8"/>
                    </a:lnTo>
                    <a:lnTo>
                      <a:pt x="514" y="8"/>
                    </a:lnTo>
                    <a:lnTo>
                      <a:pt x="514" y="4"/>
                    </a:lnTo>
                    <a:lnTo>
                      <a:pt x="510" y="4"/>
                    </a:lnTo>
                    <a:lnTo>
                      <a:pt x="514" y="4"/>
                    </a:lnTo>
                    <a:lnTo>
                      <a:pt x="518" y="4"/>
                    </a:lnTo>
                    <a:lnTo>
                      <a:pt x="520" y="4"/>
                    </a:lnTo>
                    <a:lnTo>
                      <a:pt x="524" y="4"/>
                    </a:lnTo>
                    <a:lnTo>
                      <a:pt x="528" y="4"/>
                    </a:lnTo>
                    <a:lnTo>
                      <a:pt x="532" y="4"/>
                    </a:lnTo>
                    <a:lnTo>
                      <a:pt x="536" y="0"/>
                    </a:lnTo>
                    <a:lnTo>
                      <a:pt x="540" y="0"/>
                    </a:lnTo>
                    <a:lnTo>
                      <a:pt x="544" y="0"/>
                    </a:lnTo>
                    <a:lnTo>
                      <a:pt x="544" y="4"/>
                    </a:lnTo>
                    <a:lnTo>
                      <a:pt x="544" y="0"/>
                    </a:lnTo>
                    <a:lnTo>
                      <a:pt x="546" y="0"/>
                    </a:lnTo>
                    <a:lnTo>
                      <a:pt x="546" y="4"/>
                    </a:lnTo>
                    <a:lnTo>
                      <a:pt x="550" y="4"/>
                    </a:lnTo>
                    <a:lnTo>
                      <a:pt x="554" y="4"/>
                    </a:lnTo>
                    <a:lnTo>
                      <a:pt x="550" y="4"/>
                    </a:lnTo>
                    <a:lnTo>
                      <a:pt x="550" y="0"/>
                    </a:lnTo>
                    <a:lnTo>
                      <a:pt x="554" y="0"/>
                    </a:lnTo>
                    <a:lnTo>
                      <a:pt x="558" y="0"/>
                    </a:lnTo>
                    <a:lnTo>
                      <a:pt x="562" y="0"/>
                    </a:lnTo>
                    <a:lnTo>
                      <a:pt x="566" y="0"/>
                    </a:lnTo>
                    <a:lnTo>
                      <a:pt x="570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74" y="0"/>
                    </a:lnTo>
                    <a:lnTo>
                      <a:pt x="576" y="0"/>
                    </a:lnTo>
                    <a:lnTo>
                      <a:pt x="580" y="0"/>
                    </a:lnTo>
                    <a:lnTo>
                      <a:pt x="584" y="0"/>
                    </a:lnTo>
                    <a:lnTo>
                      <a:pt x="588" y="0"/>
                    </a:lnTo>
                    <a:lnTo>
                      <a:pt x="592" y="0"/>
                    </a:lnTo>
                    <a:lnTo>
                      <a:pt x="596" y="0"/>
                    </a:lnTo>
                    <a:lnTo>
                      <a:pt x="600" y="0"/>
                    </a:lnTo>
                    <a:lnTo>
                      <a:pt x="604" y="0"/>
                    </a:lnTo>
                    <a:lnTo>
                      <a:pt x="610" y="0"/>
                    </a:lnTo>
                    <a:lnTo>
                      <a:pt x="614" y="4"/>
                    </a:lnTo>
                    <a:lnTo>
                      <a:pt x="618" y="4"/>
                    </a:lnTo>
                    <a:lnTo>
                      <a:pt x="622" y="4"/>
                    </a:lnTo>
                    <a:lnTo>
                      <a:pt x="626" y="4"/>
                    </a:lnTo>
                    <a:lnTo>
                      <a:pt x="630" y="4"/>
                    </a:lnTo>
                    <a:lnTo>
                      <a:pt x="626" y="4"/>
                    </a:lnTo>
                    <a:lnTo>
                      <a:pt x="622" y="4"/>
                    </a:lnTo>
                    <a:lnTo>
                      <a:pt x="626" y="8"/>
                    </a:lnTo>
                    <a:lnTo>
                      <a:pt x="630" y="8"/>
                    </a:lnTo>
                    <a:lnTo>
                      <a:pt x="632" y="8"/>
                    </a:lnTo>
                    <a:lnTo>
                      <a:pt x="630" y="4"/>
                    </a:lnTo>
                    <a:lnTo>
                      <a:pt x="632" y="4"/>
                    </a:lnTo>
                    <a:lnTo>
                      <a:pt x="636" y="4"/>
                    </a:lnTo>
                    <a:lnTo>
                      <a:pt x="640" y="4"/>
                    </a:lnTo>
                    <a:lnTo>
                      <a:pt x="644" y="4"/>
                    </a:lnTo>
                    <a:lnTo>
                      <a:pt x="648" y="4"/>
                    </a:lnTo>
                    <a:lnTo>
                      <a:pt x="652" y="8"/>
                    </a:lnTo>
                    <a:lnTo>
                      <a:pt x="660" y="8"/>
                    </a:lnTo>
                    <a:lnTo>
                      <a:pt x="662" y="8"/>
                    </a:lnTo>
                    <a:lnTo>
                      <a:pt x="666" y="8"/>
                    </a:lnTo>
                    <a:lnTo>
                      <a:pt x="670" y="12"/>
                    </a:lnTo>
                    <a:lnTo>
                      <a:pt x="666" y="12"/>
                    </a:lnTo>
                    <a:lnTo>
                      <a:pt x="662" y="12"/>
                    </a:lnTo>
                    <a:lnTo>
                      <a:pt x="660" y="12"/>
                    </a:lnTo>
                    <a:lnTo>
                      <a:pt x="656" y="16"/>
                    </a:lnTo>
                    <a:lnTo>
                      <a:pt x="652" y="16"/>
                    </a:lnTo>
                    <a:lnTo>
                      <a:pt x="648" y="16"/>
                    </a:lnTo>
                    <a:lnTo>
                      <a:pt x="644" y="16"/>
                    </a:lnTo>
                    <a:lnTo>
                      <a:pt x="640" y="16"/>
                    </a:lnTo>
                    <a:lnTo>
                      <a:pt x="636" y="16"/>
                    </a:lnTo>
                    <a:lnTo>
                      <a:pt x="632" y="16"/>
                    </a:lnTo>
                    <a:lnTo>
                      <a:pt x="630" y="16"/>
                    </a:lnTo>
                    <a:lnTo>
                      <a:pt x="626" y="16"/>
                    </a:lnTo>
                    <a:lnTo>
                      <a:pt x="618" y="16"/>
                    </a:lnTo>
                    <a:lnTo>
                      <a:pt x="614" y="16"/>
                    </a:lnTo>
                    <a:lnTo>
                      <a:pt x="610" y="16"/>
                    </a:lnTo>
                    <a:lnTo>
                      <a:pt x="606" y="16"/>
                    </a:lnTo>
                    <a:lnTo>
                      <a:pt x="604" y="16"/>
                    </a:lnTo>
                    <a:lnTo>
                      <a:pt x="600" y="16"/>
                    </a:lnTo>
                    <a:lnTo>
                      <a:pt x="596" y="16"/>
                    </a:lnTo>
                    <a:lnTo>
                      <a:pt x="592" y="16"/>
                    </a:lnTo>
                    <a:lnTo>
                      <a:pt x="588" y="16"/>
                    </a:lnTo>
                    <a:lnTo>
                      <a:pt x="584" y="16"/>
                    </a:lnTo>
                    <a:lnTo>
                      <a:pt x="584" y="18"/>
                    </a:lnTo>
                    <a:lnTo>
                      <a:pt x="580" y="18"/>
                    </a:lnTo>
                    <a:lnTo>
                      <a:pt x="576" y="18"/>
                    </a:lnTo>
                    <a:lnTo>
                      <a:pt x="574" y="16"/>
                    </a:lnTo>
                    <a:lnTo>
                      <a:pt x="570" y="16"/>
                    </a:lnTo>
                    <a:lnTo>
                      <a:pt x="562" y="16"/>
                    </a:lnTo>
                    <a:lnTo>
                      <a:pt x="558" y="16"/>
                    </a:lnTo>
                    <a:lnTo>
                      <a:pt x="562" y="16"/>
                    </a:lnTo>
                    <a:lnTo>
                      <a:pt x="566" y="16"/>
                    </a:lnTo>
                    <a:lnTo>
                      <a:pt x="570" y="16"/>
                    </a:lnTo>
                    <a:lnTo>
                      <a:pt x="574" y="18"/>
                    </a:lnTo>
                    <a:lnTo>
                      <a:pt x="570" y="18"/>
                    </a:lnTo>
                    <a:lnTo>
                      <a:pt x="566" y="18"/>
                    </a:lnTo>
                    <a:lnTo>
                      <a:pt x="562" y="18"/>
                    </a:lnTo>
                    <a:lnTo>
                      <a:pt x="558" y="18"/>
                    </a:lnTo>
                    <a:lnTo>
                      <a:pt x="554" y="18"/>
                    </a:lnTo>
                    <a:lnTo>
                      <a:pt x="550" y="22"/>
                    </a:lnTo>
                    <a:lnTo>
                      <a:pt x="546" y="22"/>
                    </a:lnTo>
                    <a:lnTo>
                      <a:pt x="544" y="22"/>
                    </a:lnTo>
                    <a:lnTo>
                      <a:pt x="540" y="22"/>
                    </a:lnTo>
                    <a:lnTo>
                      <a:pt x="536" y="22"/>
                    </a:lnTo>
                    <a:lnTo>
                      <a:pt x="532" y="22"/>
                    </a:lnTo>
                    <a:lnTo>
                      <a:pt x="528" y="22"/>
                    </a:lnTo>
                    <a:lnTo>
                      <a:pt x="532" y="22"/>
                    </a:lnTo>
                    <a:lnTo>
                      <a:pt x="528" y="26"/>
                    </a:lnTo>
                    <a:lnTo>
                      <a:pt x="532" y="26"/>
                    </a:lnTo>
                    <a:lnTo>
                      <a:pt x="532" y="22"/>
                    </a:lnTo>
                    <a:lnTo>
                      <a:pt x="536" y="22"/>
                    </a:lnTo>
                    <a:lnTo>
                      <a:pt x="540" y="22"/>
                    </a:lnTo>
                    <a:lnTo>
                      <a:pt x="544" y="22"/>
                    </a:lnTo>
                    <a:lnTo>
                      <a:pt x="546" y="22"/>
                    </a:lnTo>
                    <a:lnTo>
                      <a:pt x="550" y="22"/>
                    </a:lnTo>
                    <a:lnTo>
                      <a:pt x="554" y="22"/>
                    </a:lnTo>
                    <a:lnTo>
                      <a:pt x="554" y="26"/>
                    </a:lnTo>
                    <a:lnTo>
                      <a:pt x="550" y="26"/>
                    </a:lnTo>
                    <a:lnTo>
                      <a:pt x="554" y="26"/>
                    </a:lnTo>
                    <a:lnTo>
                      <a:pt x="554" y="22"/>
                    </a:lnTo>
                    <a:lnTo>
                      <a:pt x="558" y="22"/>
                    </a:lnTo>
                    <a:lnTo>
                      <a:pt x="558" y="18"/>
                    </a:lnTo>
                    <a:lnTo>
                      <a:pt x="562" y="18"/>
                    </a:lnTo>
                    <a:lnTo>
                      <a:pt x="566" y="18"/>
                    </a:lnTo>
                    <a:lnTo>
                      <a:pt x="574" y="18"/>
                    </a:lnTo>
                    <a:lnTo>
                      <a:pt x="576" y="18"/>
                    </a:lnTo>
                    <a:lnTo>
                      <a:pt x="580" y="18"/>
                    </a:lnTo>
                    <a:lnTo>
                      <a:pt x="584" y="18"/>
                    </a:lnTo>
                    <a:lnTo>
                      <a:pt x="584" y="22"/>
                    </a:lnTo>
                    <a:lnTo>
                      <a:pt x="584" y="18"/>
                    </a:lnTo>
                    <a:lnTo>
                      <a:pt x="588" y="18"/>
                    </a:lnTo>
                    <a:lnTo>
                      <a:pt x="592" y="18"/>
                    </a:lnTo>
                    <a:lnTo>
                      <a:pt x="596" y="18"/>
                    </a:lnTo>
                    <a:lnTo>
                      <a:pt x="596" y="16"/>
                    </a:lnTo>
                    <a:lnTo>
                      <a:pt x="600" y="16"/>
                    </a:lnTo>
                    <a:lnTo>
                      <a:pt x="604" y="16"/>
                    </a:lnTo>
                    <a:lnTo>
                      <a:pt x="606" y="16"/>
                    </a:lnTo>
                    <a:lnTo>
                      <a:pt x="610" y="16"/>
                    </a:lnTo>
                    <a:lnTo>
                      <a:pt x="614" y="16"/>
                    </a:lnTo>
                    <a:lnTo>
                      <a:pt x="618" y="16"/>
                    </a:lnTo>
                    <a:lnTo>
                      <a:pt x="622" y="16"/>
                    </a:lnTo>
                    <a:lnTo>
                      <a:pt x="626" y="16"/>
                    </a:lnTo>
                    <a:lnTo>
                      <a:pt x="630" y="16"/>
                    </a:lnTo>
                    <a:lnTo>
                      <a:pt x="632" y="18"/>
                    </a:lnTo>
                    <a:lnTo>
                      <a:pt x="636" y="18"/>
                    </a:lnTo>
                    <a:lnTo>
                      <a:pt x="636" y="16"/>
                    </a:lnTo>
                    <a:lnTo>
                      <a:pt x="640" y="18"/>
                    </a:lnTo>
                    <a:lnTo>
                      <a:pt x="648" y="18"/>
                    </a:lnTo>
                    <a:lnTo>
                      <a:pt x="656" y="18"/>
                    </a:lnTo>
                    <a:lnTo>
                      <a:pt x="656" y="16"/>
                    </a:lnTo>
                    <a:lnTo>
                      <a:pt x="660" y="16"/>
                    </a:lnTo>
                    <a:lnTo>
                      <a:pt x="662" y="16"/>
                    </a:lnTo>
                    <a:lnTo>
                      <a:pt x="666" y="16"/>
                    </a:lnTo>
                    <a:lnTo>
                      <a:pt x="670" y="16"/>
                    </a:lnTo>
                    <a:lnTo>
                      <a:pt x="674" y="16"/>
                    </a:lnTo>
                    <a:lnTo>
                      <a:pt x="678" y="16"/>
                    </a:lnTo>
                    <a:lnTo>
                      <a:pt x="682" y="16"/>
                    </a:lnTo>
                    <a:lnTo>
                      <a:pt x="678" y="16"/>
                    </a:lnTo>
                    <a:lnTo>
                      <a:pt x="678" y="18"/>
                    </a:lnTo>
                    <a:lnTo>
                      <a:pt x="682" y="18"/>
                    </a:lnTo>
                    <a:lnTo>
                      <a:pt x="678" y="22"/>
                    </a:lnTo>
                    <a:lnTo>
                      <a:pt x="674" y="22"/>
                    </a:lnTo>
                    <a:lnTo>
                      <a:pt x="670" y="26"/>
                    </a:lnTo>
                    <a:lnTo>
                      <a:pt x="666" y="26"/>
                    </a:lnTo>
                    <a:lnTo>
                      <a:pt x="670" y="26"/>
                    </a:lnTo>
                    <a:lnTo>
                      <a:pt x="674" y="26"/>
                    </a:lnTo>
                    <a:lnTo>
                      <a:pt x="678" y="26"/>
                    </a:lnTo>
                    <a:lnTo>
                      <a:pt x="678" y="22"/>
                    </a:lnTo>
                    <a:lnTo>
                      <a:pt x="682" y="22"/>
                    </a:lnTo>
                    <a:lnTo>
                      <a:pt x="686" y="22"/>
                    </a:lnTo>
                    <a:lnTo>
                      <a:pt x="688" y="22"/>
                    </a:lnTo>
                    <a:lnTo>
                      <a:pt x="692" y="22"/>
                    </a:lnTo>
                    <a:lnTo>
                      <a:pt x="696" y="22"/>
                    </a:lnTo>
                    <a:lnTo>
                      <a:pt x="692" y="22"/>
                    </a:lnTo>
                    <a:lnTo>
                      <a:pt x="692" y="26"/>
                    </a:lnTo>
                    <a:lnTo>
                      <a:pt x="696" y="26"/>
                    </a:lnTo>
                    <a:lnTo>
                      <a:pt x="696" y="22"/>
                    </a:lnTo>
                    <a:lnTo>
                      <a:pt x="700" y="22"/>
                    </a:lnTo>
                    <a:lnTo>
                      <a:pt x="704" y="22"/>
                    </a:lnTo>
                    <a:lnTo>
                      <a:pt x="704" y="26"/>
                    </a:lnTo>
                    <a:lnTo>
                      <a:pt x="708" y="26"/>
                    </a:lnTo>
                    <a:lnTo>
                      <a:pt x="712" y="26"/>
                    </a:lnTo>
                    <a:lnTo>
                      <a:pt x="716" y="26"/>
                    </a:lnTo>
                    <a:lnTo>
                      <a:pt x="718" y="26"/>
                    </a:lnTo>
                    <a:lnTo>
                      <a:pt x="722" y="30"/>
                    </a:lnTo>
                    <a:lnTo>
                      <a:pt x="726" y="30"/>
                    </a:lnTo>
                    <a:lnTo>
                      <a:pt x="730" y="30"/>
                    </a:lnTo>
                    <a:lnTo>
                      <a:pt x="730" y="34"/>
                    </a:lnTo>
                    <a:lnTo>
                      <a:pt x="722" y="34"/>
                    </a:lnTo>
                    <a:lnTo>
                      <a:pt x="718" y="34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8" y="38"/>
                    </a:lnTo>
                    <a:lnTo>
                      <a:pt x="716" y="38"/>
                    </a:lnTo>
                    <a:lnTo>
                      <a:pt x="716" y="42"/>
                    </a:lnTo>
                    <a:lnTo>
                      <a:pt x="712" y="42"/>
                    </a:lnTo>
                    <a:lnTo>
                      <a:pt x="708" y="42"/>
                    </a:lnTo>
                    <a:lnTo>
                      <a:pt x="704" y="42"/>
                    </a:lnTo>
                    <a:lnTo>
                      <a:pt x="700" y="42"/>
                    </a:lnTo>
                    <a:lnTo>
                      <a:pt x="696" y="42"/>
                    </a:lnTo>
                    <a:lnTo>
                      <a:pt x="688" y="42"/>
                    </a:lnTo>
                    <a:lnTo>
                      <a:pt x="686" y="42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78" y="44"/>
                    </a:lnTo>
                    <a:lnTo>
                      <a:pt x="674" y="44"/>
                    </a:lnTo>
                    <a:lnTo>
                      <a:pt x="666" y="44"/>
                    </a:lnTo>
                    <a:lnTo>
                      <a:pt x="662" y="44"/>
                    </a:lnTo>
                    <a:lnTo>
                      <a:pt x="656" y="44"/>
                    </a:lnTo>
                    <a:lnTo>
                      <a:pt x="652" y="44"/>
                    </a:lnTo>
                    <a:lnTo>
                      <a:pt x="648" y="44"/>
                    </a:lnTo>
                    <a:lnTo>
                      <a:pt x="644" y="44"/>
                    </a:lnTo>
                    <a:lnTo>
                      <a:pt x="640" y="44"/>
                    </a:lnTo>
                    <a:lnTo>
                      <a:pt x="636" y="44"/>
                    </a:lnTo>
                    <a:lnTo>
                      <a:pt x="632" y="44"/>
                    </a:lnTo>
                    <a:lnTo>
                      <a:pt x="630" y="44"/>
                    </a:lnTo>
                    <a:lnTo>
                      <a:pt x="626" y="44"/>
                    </a:lnTo>
                    <a:lnTo>
                      <a:pt x="622" y="44"/>
                    </a:lnTo>
                    <a:lnTo>
                      <a:pt x="618" y="44"/>
                    </a:lnTo>
                    <a:lnTo>
                      <a:pt x="614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4"/>
                    </a:lnTo>
                    <a:lnTo>
                      <a:pt x="600" y="44"/>
                    </a:lnTo>
                    <a:lnTo>
                      <a:pt x="596" y="44"/>
                    </a:lnTo>
                    <a:lnTo>
                      <a:pt x="592" y="44"/>
                    </a:lnTo>
                    <a:lnTo>
                      <a:pt x="588" y="44"/>
                    </a:lnTo>
                    <a:lnTo>
                      <a:pt x="584" y="44"/>
                    </a:lnTo>
                    <a:lnTo>
                      <a:pt x="588" y="44"/>
                    </a:lnTo>
                    <a:lnTo>
                      <a:pt x="592" y="44"/>
                    </a:lnTo>
                    <a:lnTo>
                      <a:pt x="600" y="44"/>
                    </a:lnTo>
                    <a:lnTo>
                      <a:pt x="606" y="44"/>
                    </a:lnTo>
                    <a:lnTo>
                      <a:pt x="610" y="44"/>
                    </a:lnTo>
                    <a:lnTo>
                      <a:pt x="606" y="44"/>
                    </a:lnTo>
                    <a:lnTo>
                      <a:pt x="604" y="48"/>
                    </a:lnTo>
                    <a:lnTo>
                      <a:pt x="600" y="48"/>
                    </a:lnTo>
                    <a:lnTo>
                      <a:pt x="596" y="48"/>
                    </a:lnTo>
                    <a:lnTo>
                      <a:pt x="592" y="48"/>
                    </a:lnTo>
                    <a:lnTo>
                      <a:pt x="588" y="48"/>
                    </a:lnTo>
                    <a:lnTo>
                      <a:pt x="584" y="52"/>
                    </a:lnTo>
                    <a:lnTo>
                      <a:pt x="580" y="52"/>
                    </a:lnTo>
                    <a:lnTo>
                      <a:pt x="576" y="52"/>
                    </a:lnTo>
                    <a:lnTo>
                      <a:pt x="574" y="52"/>
                    </a:lnTo>
                    <a:lnTo>
                      <a:pt x="570" y="52"/>
                    </a:lnTo>
                    <a:lnTo>
                      <a:pt x="566" y="52"/>
                    </a:lnTo>
                    <a:lnTo>
                      <a:pt x="566" y="56"/>
                    </a:lnTo>
                    <a:lnTo>
                      <a:pt x="562" y="56"/>
                    </a:lnTo>
                    <a:lnTo>
                      <a:pt x="566" y="60"/>
                    </a:lnTo>
                    <a:lnTo>
                      <a:pt x="570" y="60"/>
                    </a:lnTo>
                    <a:lnTo>
                      <a:pt x="574" y="60"/>
                    </a:lnTo>
                    <a:lnTo>
                      <a:pt x="574" y="56"/>
                    </a:lnTo>
                    <a:lnTo>
                      <a:pt x="580" y="56"/>
                    </a:lnTo>
                    <a:lnTo>
                      <a:pt x="584" y="56"/>
                    </a:lnTo>
                    <a:lnTo>
                      <a:pt x="588" y="52"/>
                    </a:lnTo>
                    <a:lnTo>
                      <a:pt x="592" y="52"/>
                    </a:lnTo>
                    <a:lnTo>
                      <a:pt x="596" y="52"/>
                    </a:lnTo>
                    <a:lnTo>
                      <a:pt x="600" y="52"/>
                    </a:lnTo>
                    <a:lnTo>
                      <a:pt x="604" y="52"/>
                    </a:lnTo>
                    <a:lnTo>
                      <a:pt x="610" y="52"/>
                    </a:lnTo>
                    <a:lnTo>
                      <a:pt x="614" y="52"/>
                    </a:lnTo>
                    <a:lnTo>
                      <a:pt x="622" y="48"/>
                    </a:lnTo>
                    <a:lnTo>
                      <a:pt x="626" y="48"/>
                    </a:lnTo>
                    <a:lnTo>
                      <a:pt x="630" y="48"/>
                    </a:lnTo>
                    <a:lnTo>
                      <a:pt x="636" y="48"/>
                    </a:lnTo>
                    <a:lnTo>
                      <a:pt x="640" y="48"/>
                    </a:lnTo>
                    <a:lnTo>
                      <a:pt x="644" y="48"/>
                    </a:lnTo>
                    <a:lnTo>
                      <a:pt x="648" y="48"/>
                    </a:lnTo>
                    <a:lnTo>
                      <a:pt x="652" y="48"/>
                    </a:lnTo>
                    <a:lnTo>
                      <a:pt x="656" y="48"/>
                    </a:lnTo>
                    <a:lnTo>
                      <a:pt x="660" y="48"/>
                    </a:lnTo>
                    <a:lnTo>
                      <a:pt x="662" y="48"/>
                    </a:lnTo>
                    <a:lnTo>
                      <a:pt x="670" y="48"/>
                    </a:lnTo>
                    <a:lnTo>
                      <a:pt x="674" y="48"/>
                    </a:lnTo>
                    <a:lnTo>
                      <a:pt x="674" y="56"/>
                    </a:lnTo>
                    <a:lnTo>
                      <a:pt x="670" y="56"/>
                    </a:lnTo>
                    <a:lnTo>
                      <a:pt x="666" y="60"/>
                    </a:lnTo>
                    <a:lnTo>
                      <a:pt x="662" y="60"/>
                    </a:lnTo>
                    <a:lnTo>
                      <a:pt x="660" y="60"/>
                    </a:lnTo>
                    <a:lnTo>
                      <a:pt x="656" y="60"/>
                    </a:lnTo>
                    <a:lnTo>
                      <a:pt x="656" y="64"/>
                    </a:lnTo>
                    <a:lnTo>
                      <a:pt x="652" y="64"/>
                    </a:lnTo>
                    <a:lnTo>
                      <a:pt x="648" y="64"/>
                    </a:lnTo>
                    <a:lnTo>
                      <a:pt x="644" y="64"/>
                    </a:lnTo>
                    <a:lnTo>
                      <a:pt x="640" y="64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44" y="68"/>
                    </a:lnTo>
                    <a:lnTo>
                      <a:pt x="640" y="68"/>
                    </a:lnTo>
                    <a:lnTo>
                      <a:pt x="644" y="68"/>
                    </a:lnTo>
                    <a:lnTo>
                      <a:pt x="648" y="68"/>
                    </a:lnTo>
                    <a:lnTo>
                      <a:pt x="652" y="68"/>
                    </a:lnTo>
                    <a:lnTo>
                      <a:pt x="656" y="68"/>
                    </a:lnTo>
                    <a:lnTo>
                      <a:pt x="656" y="64"/>
                    </a:lnTo>
                    <a:lnTo>
                      <a:pt x="660" y="64"/>
                    </a:lnTo>
                    <a:lnTo>
                      <a:pt x="662" y="64"/>
                    </a:lnTo>
                    <a:lnTo>
                      <a:pt x="670" y="60"/>
                    </a:lnTo>
                    <a:lnTo>
                      <a:pt x="674" y="60"/>
                    </a:lnTo>
                    <a:lnTo>
                      <a:pt x="678" y="60"/>
                    </a:lnTo>
                    <a:lnTo>
                      <a:pt x="682" y="60"/>
                    </a:lnTo>
                    <a:lnTo>
                      <a:pt x="686" y="56"/>
                    </a:lnTo>
                    <a:lnTo>
                      <a:pt x="688" y="60"/>
                    </a:lnTo>
                    <a:lnTo>
                      <a:pt x="688" y="56"/>
                    </a:lnTo>
                    <a:lnTo>
                      <a:pt x="692" y="56"/>
                    </a:lnTo>
                    <a:lnTo>
                      <a:pt x="688" y="56"/>
                    </a:lnTo>
                    <a:lnTo>
                      <a:pt x="688" y="52"/>
                    </a:lnTo>
                    <a:lnTo>
                      <a:pt x="692" y="48"/>
                    </a:lnTo>
                    <a:lnTo>
                      <a:pt x="696" y="48"/>
                    </a:lnTo>
                    <a:lnTo>
                      <a:pt x="700" y="48"/>
                    </a:lnTo>
                    <a:lnTo>
                      <a:pt x="704" y="48"/>
                    </a:lnTo>
                    <a:lnTo>
                      <a:pt x="708" y="48"/>
                    </a:lnTo>
                    <a:lnTo>
                      <a:pt x="712" y="48"/>
                    </a:lnTo>
                    <a:lnTo>
                      <a:pt x="716" y="48"/>
                    </a:lnTo>
                    <a:lnTo>
                      <a:pt x="718" y="48"/>
                    </a:lnTo>
                    <a:lnTo>
                      <a:pt x="718" y="52"/>
                    </a:lnTo>
                    <a:lnTo>
                      <a:pt x="722" y="56"/>
                    </a:lnTo>
                    <a:lnTo>
                      <a:pt x="718" y="64"/>
                    </a:lnTo>
                    <a:lnTo>
                      <a:pt x="716" y="68"/>
                    </a:lnTo>
                    <a:lnTo>
                      <a:pt x="716" y="72"/>
                    </a:lnTo>
                    <a:lnTo>
                      <a:pt x="712" y="72"/>
                    </a:lnTo>
                    <a:lnTo>
                      <a:pt x="708" y="72"/>
                    </a:lnTo>
                    <a:lnTo>
                      <a:pt x="712" y="72"/>
                    </a:lnTo>
                    <a:lnTo>
                      <a:pt x="708" y="74"/>
                    </a:lnTo>
                    <a:lnTo>
                      <a:pt x="704" y="74"/>
                    </a:lnTo>
                    <a:lnTo>
                      <a:pt x="700" y="78"/>
                    </a:lnTo>
                    <a:lnTo>
                      <a:pt x="696" y="78"/>
                    </a:lnTo>
                    <a:lnTo>
                      <a:pt x="692" y="82"/>
                    </a:lnTo>
                    <a:lnTo>
                      <a:pt x="696" y="82"/>
                    </a:lnTo>
                    <a:lnTo>
                      <a:pt x="696" y="86"/>
                    </a:lnTo>
                    <a:lnTo>
                      <a:pt x="692" y="86"/>
                    </a:lnTo>
                    <a:lnTo>
                      <a:pt x="688" y="86"/>
                    </a:lnTo>
                    <a:lnTo>
                      <a:pt x="686" y="90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88" y="90"/>
                    </a:lnTo>
                    <a:lnTo>
                      <a:pt x="686" y="94"/>
                    </a:lnTo>
                    <a:lnTo>
                      <a:pt x="688" y="94"/>
                    </a:lnTo>
                    <a:lnTo>
                      <a:pt x="688" y="90"/>
                    </a:lnTo>
                    <a:lnTo>
                      <a:pt x="692" y="90"/>
                    </a:lnTo>
                    <a:lnTo>
                      <a:pt x="696" y="90"/>
                    </a:lnTo>
                    <a:lnTo>
                      <a:pt x="696" y="86"/>
                    </a:lnTo>
                    <a:lnTo>
                      <a:pt x="700" y="86"/>
                    </a:lnTo>
                    <a:lnTo>
                      <a:pt x="700" y="82"/>
                    </a:lnTo>
                    <a:lnTo>
                      <a:pt x="704" y="82"/>
                    </a:lnTo>
                    <a:lnTo>
                      <a:pt x="708" y="82"/>
                    </a:lnTo>
                    <a:lnTo>
                      <a:pt x="712" y="78"/>
                    </a:lnTo>
                    <a:lnTo>
                      <a:pt x="716" y="74"/>
                    </a:lnTo>
                    <a:lnTo>
                      <a:pt x="718" y="74"/>
                    </a:lnTo>
                    <a:lnTo>
                      <a:pt x="718" y="72"/>
                    </a:lnTo>
                    <a:lnTo>
                      <a:pt x="722" y="72"/>
                    </a:lnTo>
                    <a:lnTo>
                      <a:pt x="726" y="72"/>
                    </a:lnTo>
                    <a:lnTo>
                      <a:pt x="730" y="68"/>
                    </a:lnTo>
                    <a:lnTo>
                      <a:pt x="734" y="64"/>
                    </a:lnTo>
                    <a:lnTo>
                      <a:pt x="738" y="64"/>
                    </a:lnTo>
                    <a:lnTo>
                      <a:pt x="742" y="60"/>
                    </a:lnTo>
                    <a:lnTo>
                      <a:pt x="744" y="60"/>
                    </a:lnTo>
                    <a:lnTo>
                      <a:pt x="748" y="60"/>
                    </a:lnTo>
                    <a:lnTo>
                      <a:pt x="744" y="60"/>
                    </a:lnTo>
                    <a:lnTo>
                      <a:pt x="744" y="64"/>
                    </a:lnTo>
                    <a:lnTo>
                      <a:pt x="744" y="68"/>
                    </a:lnTo>
                    <a:lnTo>
                      <a:pt x="748" y="68"/>
                    </a:lnTo>
                    <a:lnTo>
                      <a:pt x="748" y="64"/>
                    </a:lnTo>
                    <a:lnTo>
                      <a:pt x="756" y="64"/>
                    </a:lnTo>
                    <a:lnTo>
                      <a:pt x="760" y="64"/>
                    </a:lnTo>
                    <a:lnTo>
                      <a:pt x="764" y="64"/>
                    </a:lnTo>
                    <a:lnTo>
                      <a:pt x="768" y="64"/>
                    </a:lnTo>
                    <a:lnTo>
                      <a:pt x="770" y="64"/>
                    </a:lnTo>
                    <a:lnTo>
                      <a:pt x="770" y="68"/>
                    </a:lnTo>
                    <a:lnTo>
                      <a:pt x="774" y="68"/>
                    </a:lnTo>
                    <a:lnTo>
                      <a:pt x="778" y="64"/>
                    </a:lnTo>
                    <a:lnTo>
                      <a:pt x="782" y="64"/>
                    </a:lnTo>
                    <a:lnTo>
                      <a:pt x="782" y="60"/>
                    </a:lnTo>
                    <a:lnTo>
                      <a:pt x="778" y="60"/>
                    </a:lnTo>
                    <a:lnTo>
                      <a:pt x="778" y="56"/>
                    </a:lnTo>
                    <a:lnTo>
                      <a:pt x="782" y="56"/>
                    </a:lnTo>
                    <a:lnTo>
                      <a:pt x="782" y="60"/>
                    </a:lnTo>
                    <a:lnTo>
                      <a:pt x="786" y="60"/>
                    </a:lnTo>
                    <a:lnTo>
                      <a:pt x="786" y="56"/>
                    </a:lnTo>
                    <a:lnTo>
                      <a:pt x="782" y="56"/>
                    </a:lnTo>
                    <a:lnTo>
                      <a:pt x="782" y="52"/>
                    </a:lnTo>
                    <a:lnTo>
                      <a:pt x="786" y="52"/>
                    </a:lnTo>
                    <a:lnTo>
                      <a:pt x="786" y="56"/>
                    </a:lnTo>
                    <a:lnTo>
                      <a:pt x="786" y="52"/>
                    </a:lnTo>
                    <a:lnTo>
                      <a:pt x="788" y="52"/>
                    </a:lnTo>
                    <a:lnTo>
                      <a:pt x="792" y="52"/>
                    </a:lnTo>
                    <a:lnTo>
                      <a:pt x="796" y="52"/>
                    </a:lnTo>
                    <a:lnTo>
                      <a:pt x="800" y="52"/>
                    </a:lnTo>
                    <a:lnTo>
                      <a:pt x="804" y="52"/>
                    </a:lnTo>
                    <a:lnTo>
                      <a:pt x="808" y="52"/>
                    </a:lnTo>
                    <a:lnTo>
                      <a:pt x="812" y="52"/>
                    </a:lnTo>
                    <a:lnTo>
                      <a:pt x="816" y="52"/>
                    </a:lnTo>
                    <a:lnTo>
                      <a:pt x="818" y="52"/>
                    </a:lnTo>
                    <a:lnTo>
                      <a:pt x="822" y="52"/>
                    </a:lnTo>
                    <a:lnTo>
                      <a:pt x="826" y="52"/>
                    </a:lnTo>
                    <a:lnTo>
                      <a:pt x="830" y="52"/>
                    </a:lnTo>
                    <a:lnTo>
                      <a:pt x="834" y="52"/>
                    </a:lnTo>
                    <a:lnTo>
                      <a:pt x="834" y="56"/>
                    </a:lnTo>
                    <a:lnTo>
                      <a:pt x="838" y="56"/>
                    </a:lnTo>
                    <a:lnTo>
                      <a:pt x="842" y="56"/>
                    </a:lnTo>
                    <a:lnTo>
                      <a:pt x="844" y="56"/>
                    </a:lnTo>
                    <a:lnTo>
                      <a:pt x="848" y="56"/>
                    </a:lnTo>
                    <a:lnTo>
                      <a:pt x="852" y="56"/>
                    </a:lnTo>
                    <a:lnTo>
                      <a:pt x="852" y="60"/>
                    </a:lnTo>
                    <a:lnTo>
                      <a:pt x="856" y="60"/>
                    </a:lnTo>
                    <a:lnTo>
                      <a:pt x="860" y="60"/>
                    </a:lnTo>
                    <a:lnTo>
                      <a:pt x="856" y="64"/>
                    </a:lnTo>
                    <a:lnTo>
                      <a:pt x="852" y="64"/>
                    </a:lnTo>
                    <a:lnTo>
                      <a:pt x="852" y="68"/>
                    </a:lnTo>
                    <a:lnTo>
                      <a:pt x="848" y="68"/>
                    </a:lnTo>
                    <a:lnTo>
                      <a:pt x="844" y="68"/>
                    </a:lnTo>
                    <a:lnTo>
                      <a:pt x="844" y="72"/>
                    </a:lnTo>
                    <a:lnTo>
                      <a:pt x="842" y="72"/>
                    </a:lnTo>
                    <a:lnTo>
                      <a:pt x="838" y="72"/>
                    </a:lnTo>
                    <a:lnTo>
                      <a:pt x="834" y="74"/>
                    </a:lnTo>
                    <a:lnTo>
                      <a:pt x="830" y="74"/>
                    </a:lnTo>
                    <a:lnTo>
                      <a:pt x="826" y="74"/>
                    </a:lnTo>
                    <a:lnTo>
                      <a:pt x="822" y="74"/>
                    </a:lnTo>
                    <a:lnTo>
                      <a:pt x="818" y="74"/>
                    </a:lnTo>
                    <a:lnTo>
                      <a:pt x="818" y="78"/>
                    </a:lnTo>
                    <a:lnTo>
                      <a:pt x="822" y="78"/>
                    </a:lnTo>
                    <a:lnTo>
                      <a:pt x="822" y="82"/>
                    </a:lnTo>
                    <a:lnTo>
                      <a:pt x="818" y="82"/>
                    </a:lnTo>
                    <a:lnTo>
                      <a:pt x="816" y="82"/>
                    </a:lnTo>
                    <a:lnTo>
                      <a:pt x="812" y="82"/>
                    </a:lnTo>
                    <a:lnTo>
                      <a:pt x="808" y="86"/>
                    </a:lnTo>
                    <a:lnTo>
                      <a:pt x="804" y="86"/>
                    </a:lnTo>
                    <a:lnTo>
                      <a:pt x="800" y="86"/>
                    </a:lnTo>
                    <a:lnTo>
                      <a:pt x="796" y="86"/>
                    </a:lnTo>
                    <a:lnTo>
                      <a:pt x="792" y="86"/>
                    </a:lnTo>
                    <a:lnTo>
                      <a:pt x="788" y="86"/>
                    </a:lnTo>
                    <a:lnTo>
                      <a:pt x="786" y="86"/>
                    </a:lnTo>
                    <a:lnTo>
                      <a:pt x="782" y="86"/>
                    </a:lnTo>
                    <a:lnTo>
                      <a:pt x="778" y="86"/>
                    </a:lnTo>
                    <a:lnTo>
                      <a:pt x="774" y="86"/>
                    </a:lnTo>
                    <a:lnTo>
                      <a:pt x="774" y="90"/>
                    </a:lnTo>
                    <a:lnTo>
                      <a:pt x="770" y="90"/>
                    </a:lnTo>
                    <a:lnTo>
                      <a:pt x="768" y="90"/>
                    </a:lnTo>
                    <a:lnTo>
                      <a:pt x="764" y="90"/>
                    </a:lnTo>
                    <a:lnTo>
                      <a:pt x="760" y="90"/>
                    </a:lnTo>
                    <a:lnTo>
                      <a:pt x="756" y="90"/>
                    </a:lnTo>
                    <a:lnTo>
                      <a:pt x="752" y="90"/>
                    </a:lnTo>
                    <a:lnTo>
                      <a:pt x="748" y="90"/>
                    </a:lnTo>
                    <a:lnTo>
                      <a:pt x="744" y="90"/>
                    </a:lnTo>
                    <a:lnTo>
                      <a:pt x="742" y="90"/>
                    </a:lnTo>
                    <a:lnTo>
                      <a:pt x="738" y="94"/>
                    </a:lnTo>
                    <a:lnTo>
                      <a:pt x="734" y="94"/>
                    </a:lnTo>
                    <a:lnTo>
                      <a:pt x="734" y="90"/>
                    </a:lnTo>
                    <a:lnTo>
                      <a:pt x="730" y="90"/>
                    </a:lnTo>
                    <a:lnTo>
                      <a:pt x="730" y="94"/>
                    </a:lnTo>
                    <a:lnTo>
                      <a:pt x="734" y="94"/>
                    </a:lnTo>
                    <a:lnTo>
                      <a:pt x="738" y="94"/>
                    </a:lnTo>
                    <a:lnTo>
                      <a:pt x="742" y="94"/>
                    </a:lnTo>
                    <a:lnTo>
                      <a:pt x="744" y="94"/>
                    </a:lnTo>
                    <a:lnTo>
                      <a:pt x="744" y="90"/>
                    </a:lnTo>
                    <a:lnTo>
                      <a:pt x="748" y="90"/>
                    </a:lnTo>
                    <a:lnTo>
                      <a:pt x="752" y="90"/>
                    </a:lnTo>
                    <a:lnTo>
                      <a:pt x="756" y="90"/>
                    </a:lnTo>
                    <a:lnTo>
                      <a:pt x="760" y="90"/>
                    </a:lnTo>
                    <a:lnTo>
                      <a:pt x="764" y="90"/>
                    </a:lnTo>
                    <a:lnTo>
                      <a:pt x="768" y="94"/>
                    </a:lnTo>
                    <a:lnTo>
                      <a:pt x="770" y="94"/>
                    </a:lnTo>
                    <a:lnTo>
                      <a:pt x="774" y="94"/>
                    </a:lnTo>
                    <a:lnTo>
                      <a:pt x="778" y="94"/>
                    </a:lnTo>
                    <a:lnTo>
                      <a:pt x="782" y="90"/>
                    </a:lnTo>
                    <a:lnTo>
                      <a:pt x="786" y="90"/>
                    </a:lnTo>
                    <a:lnTo>
                      <a:pt x="788" y="90"/>
                    </a:lnTo>
                    <a:lnTo>
                      <a:pt x="788" y="94"/>
                    </a:lnTo>
                    <a:lnTo>
                      <a:pt x="792" y="94"/>
                    </a:lnTo>
                    <a:lnTo>
                      <a:pt x="796" y="94"/>
                    </a:lnTo>
                    <a:lnTo>
                      <a:pt x="800" y="94"/>
                    </a:lnTo>
                    <a:lnTo>
                      <a:pt x="804" y="94"/>
                    </a:lnTo>
                    <a:lnTo>
                      <a:pt x="800" y="94"/>
                    </a:lnTo>
                    <a:lnTo>
                      <a:pt x="800" y="98"/>
                    </a:lnTo>
                    <a:lnTo>
                      <a:pt x="796" y="98"/>
                    </a:lnTo>
                    <a:lnTo>
                      <a:pt x="792" y="98"/>
                    </a:lnTo>
                    <a:lnTo>
                      <a:pt x="796" y="98"/>
                    </a:lnTo>
                    <a:lnTo>
                      <a:pt x="792" y="100"/>
                    </a:lnTo>
                    <a:lnTo>
                      <a:pt x="788" y="100"/>
                    </a:lnTo>
                    <a:lnTo>
                      <a:pt x="786" y="100"/>
                    </a:lnTo>
                    <a:lnTo>
                      <a:pt x="782" y="100"/>
                    </a:lnTo>
                    <a:lnTo>
                      <a:pt x="778" y="100"/>
                    </a:lnTo>
                    <a:lnTo>
                      <a:pt x="774" y="100"/>
                    </a:lnTo>
                    <a:lnTo>
                      <a:pt x="770" y="100"/>
                    </a:lnTo>
                    <a:lnTo>
                      <a:pt x="768" y="100"/>
                    </a:lnTo>
                    <a:lnTo>
                      <a:pt x="764" y="100"/>
                    </a:lnTo>
                    <a:lnTo>
                      <a:pt x="760" y="100"/>
                    </a:lnTo>
                    <a:lnTo>
                      <a:pt x="756" y="100"/>
                    </a:lnTo>
                    <a:lnTo>
                      <a:pt x="752" y="100"/>
                    </a:lnTo>
                    <a:lnTo>
                      <a:pt x="748" y="100"/>
                    </a:lnTo>
                    <a:lnTo>
                      <a:pt x="748" y="104"/>
                    </a:lnTo>
                    <a:lnTo>
                      <a:pt x="744" y="104"/>
                    </a:lnTo>
                    <a:lnTo>
                      <a:pt x="742" y="104"/>
                    </a:lnTo>
                    <a:lnTo>
                      <a:pt x="744" y="104"/>
                    </a:lnTo>
                    <a:lnTo>
                      <a:pt x="742" y="108"/>
                    </a:lnTo>
                    <a:lnTo>
                      <a:pt x="738" y="112"/>
                    </a:lnTo>
                    <a:lnTo>
                      <a:pt x="742" y="112"/>
                    </a:lnTo>
                    <a:lnTo>
                      <a:pt x="744" y="112"/>
                    </a:lnTo>
                    <a:lnTo>
                      <a:pt x="744" y="116"/>
                    </a:lnTo>
                    <a:lnTo>
                      <a:pt x="748" y="116"/>
                    </a:lnTo>
                    <a:lnTo>
                      <a:pt x="748" y="112"/>
                    </a:lnTo>
                    <a:lnTo>
                      <a:pt x="752" y="112"/>
                    </a:lnTo>
                    <a:lnTo>
                      <a:pt x="748" y="112"/>
                    </a:lnTo>
                    <a:lnTo>
                      <a:pt x="744" y="112"/>
                    </a:lnTo>
                    <a:lnTo>
                      <a:pt x="748" y="108"/>
                    </a:lnTo>
                    <a:lnTo>
                      <a:pt x="752" y="108"/>
                    </a:lnTo>
                    <a:lnTo>
                      <a:pt x="756" y="108"/>
                    </a:lnTo>
                    <a:lnTo>
                      <a:pt x="756" y="104"/>
                    </a:lnTo>
                    <a:lnTo>
                      <a:pt x="760" y="104"/>
                    </a:lnTo>
                    <a:lnTo>
                      <a:pt x="764" y="104"/>
                    </a:lnTo>
                    <a:lnTo>
                      <a:pt x="768" y="104"/>
                    </a:lnTo>
                    <a:lnTo>
                      <a:pt x="770" y="104"/>
                    </a:lnTo>
                    <a:lnTo>
                      <a:pt x="774" y="104"/>
                    </a:lnTo>
                    <a:lnTo>
                      <a:pt x="778" y="104"/>
                    </a:lnTo>
                    <a:lnTo>
                      <a:pt x="782" y="104"/>
                    </a:lnTo>
                    <a:lnTo>
                      <a:pt x="786" y="104"/>
                    </a:lnTo>
                    <a:lnTo>
                      <a:pt x="786" y="108"/>
                    </a:lnTo>
                    <a:lnTo>
                      <a:pt x="782" y="108"/>
                    </a:lnTo>
                    <a:lnTo>
                      <a:pt x="778" y="112"/>
                    </a:lnTo>
                    <a:lnTo>
                      <a:pt x="778" y="116"/>
                    </a:lnTo>
                    <a:lnTo>
                      <a:pt x="774" y="116"/>
                    </a:lnTo>
                    <a:lnTo>
                      <a:pt x="770" y="116"/>
                    </a:lnTo>
                    <a:lnTo>
                      <a:pt x="768" y="116"/>
                    </a:lnTo>
                    <a:lnTo>
                      <a:pt x="764" y="116"/>
                    </a:lnTo>
                    <a:lnTo>
                      <a:pt x="760" y="116"/>
                    </a:lnTo>
                    <a:lnTo>
                      <a:pt x="756" y="116"/>
                    </a:lnTo>
                    <a:lnTo>
                      <a:pt x="756" y="120"/>
                    </a:lnTo>
                    <a:lnTo>
                      <a:pt x="752" y="120"/>
                    </a:lnTo>
                    <a:lnTo>
                      <a:pt x="756" y="120"/>
                    </a:lnTo>
                    <a:lnTo>
                      <a:pt x="756" y="124"/>
                    </a:lnTo>
                    <a:lnTo>
                      <a:pt x="752" y="124"/>
                    </a:lnTo>
                    <a:lnTo>
                      <a:pt x="752" y="128"/>
                    </a:lnTo>
                    <a:lnTo>
                      <a:pt x="752" y="130"/>
                    </a:lnTo>
                    <a:lnTo>
                      <a:pt x="752" y="134"/>
                    </a:lnTo>
                    <a:lnTo>
                      <a:pt x="752" y="130"/>
                    </a:lnTo>
                    <a:lnTo>
                      <a:pt x="756" y="128"/>
                    </a:lnTo>
                    <a:lnTo>
                      <a:pt x="760" y="128"/>
                    </a:lnTo>
                    <a:lnTo>
                      <a:pt x="764" y="128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64" y="130"/>
                    </a:lnTo>
                    <a:lnTo>
                      <a:pt x="760" y="130"/>
                    </a:lnTo>
                    <a:lnTo>
                      <a:pt x="756" y="130"/>
                    </a:lnTo>
                    <a:lnTo>
                      <a:pt x="756" y="134"/>
                    </a:lnTo>
                    <a:lnTo>
                      <a:pt x="752" y="134"/>
                    </a:lnTo>
                    <a:lnTo>
                      <a:pt x="748" y="134"/>
                    </a:lnTo>
                    <a:lnTo>
                      <a:pt x="748" y="138"/>
                    </a:lnTo>
                    <a:lnTo>
                      <a:pt x="748" y="142"/>
                    </a:lnTo>
                    <a:lnTo>
                      <a:pt x="744" y="142"/>
                    </a:lnTo>
                    <a:lnTo>
                      <a:pt x="742" y="142"/>
                    </a:lnTo>
                    <a:lnTo>
                      <a:pt x="738" y="142"/>
                    </a:lnTo>
                    <a:lnTo>
                      <a:pt x="734" y="142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4" y="146"/>
                    </a:lnTo>
                    <a:lnTo>
                      <a:pt x="730" y="146"/>
                    </a:lnTo>
                    <a:lnTo>
                      <a:pt x="730" y="150"/>
                    </a:lnTo>
                    <a:lnTo>
                      <a:pt x="734" y="150"/>
                    </a:lnTo>
                    <a:lnTo>
                      <a:pt x="734" y="146"/>
                    </a:lnTo>
                    <a:lnTo>
                      <a:pt x="738" y="146"/>
                    </a:lnTo>
                    <a:lnTo>
                      <a:pt x="738" y="150"/>
                    </a:lnTo>
                    <a:lnTo>
                      <a:pt x="734" y="150"/>
                    </a:lnTo>
                    <a:lnTo>
                      <a:pt x="734" y="154"/>
                    </a:lnTo>
                    <a:lnTo>
                      <a:pt x="730" y="158"/>
                    </a:lnTo>
                    <a:lnTo>
                      <a:pt x="730" y="160"/>
                    </a:lnTo>
                    <a:lnTo>
                      <a:pt x="726" y="160"/>
                    </a:lnTo>
                    <a:lnTo>
                      <a:pt x="722" y="160"/>
                    </a:lnTo>
                    <a:lnTo>
                      <a:pt x="726" y="164"/>
                    </a:lnTo>
                    <a:lnTo>
                      <a:pt x="730" y="164"/>
                    </a:lnTo>
                    <a:lnTo>
                      <a:pt x="726" y="164"/>
                    </a:lnTo>
                    <a:lnTo>
                      <a:pt x="722" y="168"/>
                    </a:lnTo>
                    <a:lnTo>
                      <a:pt x="726" y="168"/>
                    </a:lnTo>
                    <a:lnTo>
                      <a:pt x="722" y="172"/>
                    </a:lnTo>
                    <a:lnTo>
                      <a:pt x="718" y="174"/>
                    </a:lnTo>
                    <a:lnTo>
                      <a:pt x="722" y="174"/>
                    </a:lnTo>
                    <a:lnTo>
                      <a:pt x="726" y="174"/>
                    </a:lnTo>
                    <a:lnTo>
                      <a:pt x="730" y="174"/>
                    </a:lnTo>
                    <a:lnTo>
                      <a:pt x="726" y="174"/>
                    </a:lnTo>
                    <a:lnTo>
                      <a:pt x="726" y="178"/>
                    </a:lnTo>
                    <a:lnTo>
                      <a:pt x="730" y="174"/>
                    </a:lnTo>
                    <a:lnTo>
                      <a:pt x="730" y="172"/>
                    </a:lnTo>
                    <a:lnTo>
                      <a:pt x="734" y="168"/>
                    </a:lnTo>
                    <a:lnTo>
                      <a:pt x="738" y="164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72"/>
                    </a:lnTo>
                    <a:lnTo>
                      <a:pt x="752" y="172"/>
                    </a:lnTo>
                    <a:lnTo>
                      <a:pt x="756" y="172"/>
                    </a:lnTo>
                    <a:lnTo>
                      <a:pt x="760" y="172"/>
                    </a:lnTo>
                    <a:lnTo>
                      <a:pt x="764" y="174"/>
                    </a:lnTo>
                    <a:lnTo>
                      <a:pt x="760" y="174"/>
                    </a:lnTo>
                    <a:lnTo>
                      <a:pt x="760" y="178"/>
                    </a:lnTo>
                    <a:lnTo>
                      <a:pt x="756" y="174"/>
                    </a:lnTo>
                    <a:lnTo>
                      <a:pt x="748" y="174"/>
                    </a:lnTo>
                    <a:lnTo>
                      <a:pt x="748" y="172"/>
                    </a:lnTo>
                    <a:lnTo>
                      <a:pt x="744" y="172"/>
                    </a:lnTo>
                    <a:lnTo>
                      <a:pt x="744" y="174"/>
                    </a:lnTo>
                    <a:lnTo>
                      <a:pt x="742" y="174"/>
                    </a:lnTo>
                    <a:lnTo>
                      <a:pt x="738" y="174"/>
                    </a:lnTo>
                    <a:lnTo>
                      <a:pt x="742" y="174"/>
                    </a:lnTo>
                    <a:lnTo>
                      <a:pt x="744" y="174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2" y="178"/>
                    </a:lnTo>
                    <a:lnTo>
                      <a:pt x="738" y="178"/>
                    </a:lnTo>
                    <a:lnTo>
                      <a:pt x="734" y="178"/>
                    </a:lnTo>
                    <a:lnTo>
                      <a:pt x="738" y="178"/>
                    </a:lnTo>
                    <a:lnTo>
                      <a:pt x="742" y="178"/>
                    </a:lnTo>
                    <a:lnTo>
                      <a:pt x="744" y="178"/>
                    </a:lnTo>
                    <a:lnTo>
                      <a:pt x="748" y="182"/>
                    </a:lnTo>
                    <a:lnTo>
                      <a:pt x="744" y="182"/>
                    </a:lnTo>
                    <a:lnTo>
                      <a:pt x="742" y="182"/>
                    </a:lnTo>
                    <a:lnTo>
                      <a:pt x="738" y="182"/>
                    </a:lnTo>
                    <a:lnTo>
                      <a:pt x="742" y="182"/>
                    </a:lnTo>
                    <a:lnTo>
                      <a:pt x="744" y="182"/>
                    </a:lnTo>
                    <a:lnTo>
                      <a:pt x="748" y="182"/>
                    </a:lnTo>
                    <a:lnTo>
                      <a:pt x="752" y="182"/>
                    </a:lnTo>
                    <a:lnTo>
                      <a:pt x="756" y="182"/>
                    </a:lnTo>
                    <a:lnTo>
                      <a:pt x="756" y="186"/>
                    </a:lnTo>
                    <a:lnTo>
                      <a:pt x="760" y="186"/>
                    </a:lnTo>
                    <a:lnTo>
                      <a:pt x="764" y="186"/>
                    </a:lnTo>
                    <a:lnTo>
                      <a:pt x="764" y="182"/>
                    </a:lnTo>
                    <a:lnTo>
                      <a:pt x="768" y="182"/>
                    </a:lnTo>
                    <a:lnTo>
                      <a:pt x="770" y="182"/>
                    </a:lnTo>
                    <a:lnTo>
                      <a:pt x="774" y="186"/>
                    </a:lnTo>
                    <a:lnTo>
                      <a:pt x="774" y="190"/>
                    </a:lnTo>
                    <a:lnTo>
                      <a:pt x="774" y="194"/>
                    </a:lnTo>
                    <a:lnTo>
                      <a:pt x="774" y="198"/>
                    </a:lnTo>
                    <a:lnTo>
                      <a:pt x="770" y="198"/>
                    </a:lnTo>
                    <a:lnTo>
                      <a:pt x="770" y="200"/>
                    </a:lnTo>
                    <a:lnTo>
                      <a:pt x="768" y="198"/>
                    </a:lnTo>
                    <a:lnTo>
                      <a:pt x="764" y="198"/>
                    </a:lnTo>
                    <a:lnTo>
                      <a:pt x="760" y="198"/>
                    </a:lnTo>
                    <a:lnTo>
                      <a:pt x="756" y="198"/>
                    </a:lnTo>
                    <a:lnTo>
                      <a:pt x="752" y="194"/>
                    </a:lnTo>
                    <a:lnTo>
                      <a:pt x="748" y="194"/>
                    </a:lnTo>
                    <a:lnTo>
                      <a:pt x="744" y="194"/>
                    </a:lnTo>
                    <a:lnTo>
                      <a:pt x="738" y="194"/>
                    </a:lnTo>
                    <a:lnTo>
                      <a:pt x="734" y="194"/>
                    </a:lnTo>
                    <a:lnTo>
                      <a:pt x="738" y="194"/>
                    </a:lnTo>
                    <a:lnTo>
                      <a:pt x="742" y="194"/>
                    </a:lnTo>
                    <a:lnTo>
                      <a:pt x="742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26" y="198"/>
                    </a:lnTo>
                    <a:lnTo>
                      <a:pt x="730" y="198"/>
                    </a:lnTo>
                    <a:lnTo>
                      <a:pt x="734" y="198"/>
                    </a:lnTo>
                    <a:lnTo>
                      <a:pt x="738" y="198"/>
                    </a:lnTo>
                    <a:lnTo>
                      <a:pt x="734" y="198"/>
                    </a:lnTo>
                    <a:lnTo>
                      <a:pt x="734" y="200"/>
                    </a:lnTo>
                    <a:lnTo>
                      <a:pt x="734" y="198"/>
                    </a:lnTo>
                    <a:lnTo>
                      <a:pt x="730" y="198"/>
                    </a:lnTo>
                    <a:lnTo>
                      <a:pt x="730" y="200"/>
                    </a:lnTo>
                    <a:lnTo>
                      <a:pt x="726" y="204"/>
                    </a:lnTo>
                    <a:lnTo>
                      <a:pt x="722" y="204"/>
                    </a:lnTo>
                    <a:lnTo>
                      <a:pt x="722" y="200"/>
                    </a:lnTo>
                    <a:lnTo>
                      <a:pt x="718" y="198"/>
                    </a:lnTo>
                    <a:lnTo>
                      <a:pt x="716" y="198"/>
                    </a:lnTo>
                    <a:lnTo>
                      <a:pt x="716" y="200"/>
                    </a:lnTo>
                    <a:lnTo>
                      <a:pt x="712" y="200"/>
                    </a:lnTo>
                    <a:lnTo>
                      <a:pt x="716" y="204"/>
                    </a:lnTo>
                    <a:lnTo>
                      <a:pt x="716" y="208"/>
                    </a:lnTo>
                    <a:lnTo>
                      <a:pt x="716" y="204"/>
                    </a:lnTo>
                    <a:lnTo>
                      <a:pt x="718" y="204"/>
                    </a:lnTo>
                    <a:lnTo>
                      <a:pt x="722" y="204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2" y="208"/>
                    </a:lnTo>
                    <a:lnTo>
                      <a:pt x="718" y="208"/>
                    </a:lnTo>
                    <a:lnTo>
                      <a:pt x="716" y="208"/>
                    </a:lnTo>
                    <a:lnTo>
                      <a:pt x="718" y="208"/>
                    </a:lnTo>
                    <a:lnTo>
                      <a:pt x="722" y="208"/>
                    </a:lnTo>
                    <a:lnTo>
                      <a:pt x="726" y="208"/>
                    </a:lnTo>
                    <a:lnTo>
                      <a:pt x="726" y="212"/>
                    </a:lnTo>
                    <a:lnTo>
                      <a:pt x="726" y="216"/>
                    </a:lnTo>
                    <a:lnTo>
                      <a:pt x="730" y="212"/>
                    </a:lnTo>
                    <a:lnTo>
                      <a:pt x="734" y="212"/>
                    </a:lnTo>
                    <a:lnTo>
                      <a:pt x="734" y="216"/>
                    </a:lnTo>
                    <a:lnTo>
                      <a:pt x="738" y="216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2" y="216"/>
                    </a:lnTo>
                    <a:lnTo>
                      <a:pt x="738" y="216"/>
                    </a:lnTo>
                    <a:lnTo>
                      <a:pt x="734" y="212"/>
                    </a:lnTo>
                    <a:lnTo>
                      <a:pt x="738" y="212"/>
                    </a:lnTo>
                    <a:lnTo>
                      <a:pt x="742" y="212"/>
                    </a:lnTo>
                    <a:lnTo>
                      <a:pt x="742" y="216"/>
                    </a:lnTo>
                    <a:lnTo>
                      <a:pt x="744" y="216"/>
                    </a:lnTo>
                    <a:lnTo>
                      <a:pt x="748" y="216"/>
                    </a:lnTo>
                    <a:lnTo>
                      <a:pt x="748" y="212"/>
                    </a:lnTo>
                    <a:lnTo>
                      <a:pt x="752" y="216"/>
                    </a:lnTo>
                    <a:lnTo>
                      <a:pt x="752" y="220"/>
                    </a:lnTo>
                    <a:lnTo>
                      <a:pt x="748" y="220"/>
                    </a:lnTo>
                    <a:lnTo>
                      <a:pt x="744" y="220"/>
                    </a:lnTo>
                    <a:lnTo>
                      <a:pt x="744" y="224"/>
                    </a:lnTo>
                    <a:lnTo>
                      <a:pt x="742" y="224"/>
                    </a:lnTo>
                    <a:lnTo>
                      <a:pt x="738" y="220"/>
                    </a:lnTo>
                    <a:lnTo>
                      <a:pt x="730" y="220"/>
                    </a:lnTo>
                    <a:lnTo>
                      <a:pt x="730" y="224"/>
                    </a:lnTo>
                    <a:lnTo>
                      <a:pt x="726" y="224"/>
                    </a:lnTo>
                    <a:lnTo>
                      <a:pt x="722" y="224"/>
                    </a:lnTo>
                    <a:lnTo>
                      <a:pt x="722" y="220"/>
                    </a:lnTo>
                    <a:lnTo>
                      <a:pt x="722" y="224"/>
                    </a:lnTo>
                    <a:lnTo>
                      <a:pt x="726" y="224"/>
                    </a:lnTo>
                    <a:lnTo>
                      <a:pt x="730" y="224"/>
                    </a:lnTo>
                    <a:lnTo>
                      <a:pt x="734" y="224"/>
                    </a:lnTo>
                    <a:lnTo>
                      <a:pt x="738" y="224"/>
                    </a:lnTo>
                    <a:lnTo>
                      <a:pt x="742" y="224"/>
                    </a:lnTo>
                    <a:lnTo>
                      <a:pt x="744" y="224"/>
                    </a:lnTo>
                    <a:lnTo>
                      <a:pt x="748" y="224"/>
                    </a:lnTo>
                    <a:lnTo>
                      <a:pt x="752" y="224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4"/>
                    </a:lnTo>
                    <a:lnTo>
                      <a:pt x="760" y="238"/>
                    </a:lnTo>
                    <a:lnTo>
                      <a:pt x="756" y="238"/>
                    </a:lnTo>
                    <a:lnTo>
                      <a:pt x="756" y="242"/>
                    </a:lnTo>
                    <a:lnTo>
                      <a:pt x="756" y="246"/>
                    </a:lnTo>
                    <a:lnTo>
                      <a:pt x="752" y="246"/>
                    </a:lnTo>
                    <a:lnTo>
                      <a:pt x="748" y="246"/>
                    </a:lnTo>
                    <a:lnTo>
                      <a:pt x="748" y="242"/>
                    </a:lnTo>
                    <a:lnTo>
                      <a:pt x="748" y="238"/>
                    </a:lnTo>
                    <a:lnTo>
                      <a:pt x="744" y="238"/>
                    </a:lnTo>
                    <a:lnTo>
                      <a:pt x="742" y="238"/>
                    </a:lnTo>
                    <a:lnTo>
                      <a:pt x="742" y="242"/>
                    </a:lnTo>
                    <a:lnTo>
                      <a:pt x="738" y="242"/>
                    </a:lnTo>
                    <a:lnTo>
                      <a:pt x="734" y="238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6" y="230"/>
                    </a:lnTo>
                    <a:lnTo>
                      <a:pt x="722" y="230"/>
                    </a:lnTo>
                    <a:lnTo>
                      <a:pt x="718" y="230"/>
                    </a:lnTo>
                    <a:lnTo>
                      <a:pt x="716" y="230"/>
                    </a:lnTo>
                    <a:lnTo>
                      <a:pt x="718" y="230"/>
                    </a:lnTo>
                    <a:lnTo>
                      <a:pt x="722" y="230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4"/>
                    </a:lnTo>
                    <a:lnTo>
                      <a:pt x="726" y="234"/>
                    </a:lnTo>
                    <a:lnTo>
                      <a:pt x="722" y="234"/>
                    </a:lnTo>
                    <a:lnTo>
                      <a:pt x="718" y="234"/>
                    </a:lnTo>
                    <a:lnTo>
                      <a:pt x="716" y="234"/>
                    </a:lnTo>
                    <a:lnTo>
                      <a:pt x="718" y="234"/>
                    </a:lnTo>
                    <a:lnTo>
                      <a:pt x="722" y="234"/>
                    </a:lnTo>
                    <a:lnTo>
                      <a:pt x="726" y="234"/>
                    </a:lnTo>
                    <a:lnTo>
                      <a:pt x="730" y="238"/>
                    </a:lnTo>
                    <a:lnTo>
                      <a:pt x="734" y="238"/>
                    </a:lnTo>
                    <a:lnTo>
                      <a:pt x="738" y="242"/>
                    </a:lnTo>
                    <a:lnTo>
                      <a:pt x="742" y="242"/>
                    </a:lnTo>
                    <a:lnTo>
                      <a:pt x="742" y="246"/>
                    </a:lnTo>
                    <a:lnTo>
                      <a:pt x="738" y="246"/>
                    </a:lnTo>
                    <a:lnTo>
                      <a:pt x="734" y="246"/>
                    </a:lnTo>
                    <a:lnTo>
                      <a:pt x="730" y="246"/>
                    </a:lnTo>
                    <a:lnTo>
                      <a:pt x="730" y="250"/>
                    </a:lnTo>
                    <a:lnTo>
                      <a:pt x="726" y="250"/>
                    </a:lnTo>
                    <a:lnTo>
                      <a:pt x="722" y="250"/>
                    </a:lnTo>
                    <a:lnTo>
                      <a:pt x="722" y="246"/>
                    </a:lnTo>
                    <a:lnTo>
                      <a:pt x="718" y="246"/>
                    </a:lnTo>
                    <a:lnTo>
                      <a:pt x="716" y="246"/>
                    </a:lnTo>
                    <a:lnTo>
                      <a:pt x="716" y="242"/>
                    </a:lnTo>
                    <a:lnTo>
                      <a:pt x="716" y="246"/>
                    </a:lnTo>
                    <a:lnTo>
                      <a:pt x="718" y="246"/>
                    </a:lnTo>
                    <a:lnTo>
                      <a:pt x="722" y="246"/>
                    </a:lnTo>
                    <a:lnTo>
                      <a:pt x="722" y="250"/>
                    </a:lnTo>
                    <a:lnTo>
                      <a:pt x="726" y="250"/>
                    </a:lnTo>
                    <a:lnTo>
                      <a:pt x="730" y="250"/>
                    </a:lnTo>
                    <a:lnTo>
                      <a:pt x="730" y="246"/>
                    </a:lnTo>
                    <a:lnTo>
                      <a:pt x="734" y="246"/>
                    </a:lnTo>
                    <a:lnTo>
                      <a:pt x="738" y="246"/>
                    </a:lnTo>
                    <a:lnTo>
                      <a:pt x="742" y="246"/>
                    </a:lnTo>
                    <a:lnTo>
                      <a:pt x="742" y="250"/>
                    </a:lnTo>
                    <a:lnTo>
                      <a:pt x="738" y="254"/>
                    </a:lnTo>
                    <a:lnTo>
                      <a:pt x="742" y="254"/>
                    </a:lnTo>
                    <a:lnTo>
                      <a:pt x="742" y="256"/>
                    </a:lnTo>
                    <a:lnTo>
                      <a:pt x="738" y="256"/>
                    </a:lnTo>
                    <a:lnTo>
                      <a:pt x="734" y="256"/>
                    </a:lnTo>
                    <a:lnTo>
                      <a:pt x="738" y="256"/>
                    </a:lnTo>
                    <a:lnTo>
                      <a:pt x="742" y="256"/>
                    </a:lnTo>
                    <a:lnTo>
                      <a:pt x="744" y="256"/>
                    </a:lnTo>
                    <a:lnTo>
                      <a:pt x="748" y="256"/>
                    </a:lnTo>
                    <a:lnTo>
                      <a:pt x="752" y="260"/>
                    </a:lnTo>
                    <a:lnTo>
                      <a:pt x="756" y="256"/>
                    </a:lnTo>
                    <a:lnTo>
                      <a:pt x="760" y="256"/>
                    </a:lnTo>
                    <a:lnTo>
                      <a:pt x="760" y="260"/>
                    </a:lnTo>
                    <a:lnTo>
                      <a:pt x="764" y="260"/>
                    </a:lnTo>
                    <a:lnTo>
                      <a:pt x="764" y="264"/>
                    </a:lnTo>
                    <a:lnTo>
                      <a:pt x="760" y="264"/>
                    </a:lnTo>
                    <a:lnTo>
                      <a:pt x="760" y="268"/>
                    </a:lnTo>
                    <a:lnTo>
                      <a:pt x="756" y="268"/>
                    </a:lnTo>
                    <a:lnTo>
                      <a:pt x="752" y="268"/>
                    </a:lnTo>
                    <a:lnTo>
                      <a:pt x="748" y="268"/>
                    </a:lnTo>
                    <a:lnTo>
                      <a:pt x="744" y="268"/>
                    </a:lnTo>
                    <a:lnTo>
                      <a:pt x="744" y="264"/>
                    </a:lnTo>
                    <a:lnTo>
                      <a:pt x="742" y="264"/>
                    </a:lnTo>
                    <a:lnTo>
                      <a:pt x="738" y="264"/>
                    </a:lnTo>
                    <a:lnTo>
                      <a:pt x="734" y="264"/>
                    </a:lnTo>
                    <a:lnTo>
                      <a:pt x="730" y="264"/>
                    </a:lnTo>
                    <a:lnTo>
                      <a:pt x="726" y="264"/>
                    </a:lnTo>
                    <a:lnTo>
                      <a:pt x="722" y="264"/>
                    </a:lnTo>
                    <a:lnTo>
                      <a:pt x="722" y="260"/>
                    </a:lnTo>
                    <a:lnTo>
                      <a:pt x="718" y="260"/>
                    </a:lnTo>
                    <a:lnTo>
                      <a:pt x="722" y="260"/>
                    </a:lnTo>
                    <a:lnTo>
                      <a:pt x="722" y="264"/>
                    </a:lnTo>
                    <a:lnTo>
                      <a:pt x="722" y="268"/>
                    </a:lnTo>
                    <a:lnTo>
                      <a:pt x="718" y="268"/>
                    </a:lnTo>
                    <a:lnTo>
                      <a:pt x="716" y="268"/>
                    </a:lnTo>
                    <a:lnTo>
                      <a:pt x="718" y="268"/>
                    </a:lnTo>
                    <a:lnTo>
                      <a:pt x="718" y="272"/>
                    </a:lnTo>
                    <a:lnTo>
                      <a:pt x="716" y="272"/>
                    </a:lnTo>
                    <a:lnTo>
                      <a:pt x="718" y="276"/>
                    </a:lnTo>
                    <a:lnTo>
                      <a:pt x="722" y="276"/>
                    </a:lnTo>
                    <a:lnTo>
                      <a:pt x="722" y="280"/>
                    </a:lnTo>
                    <a:lnTo>
                      <a:pt x="722" y="284"/>
                    </a:lnTo>
                    <a:lnTo>
                      <a:pt x="726" y="284"/>
                    </a:lnTo>
                    <a:lnTo>
                      <a:pt x="722" y="280"/>
                    </a:lnTo>
                    <a:lnTo>
                      <a:pt x="722" y="276"/>
                    </a:lnTo>
                    <a:lnTo>
                      <a:pt x="726" y="272"/>
                    </a:lnTo>
                    <a:lnTo>
                      <a:pt x="726" y="276"/>
                    </a:lnTo>
                    <a:lnTo>
                      <a:pt x="730" y="276"/>
                    </a:lnTo>
                    <a:lnTo>
                      <a:pt x="734" y="276"/>
                    </a:lnTo>
                    <a:lnTo>
                      <a:pt x="738" y="280"/>
                    </a:lnTo>
                    <a:lnTo>
                      <a:pt x="742" y="280"/>
                    </a:lnTo>
                    <a:lnTo>
                      <a:pt x="744" y="280"/>
                    </a:lnTo>
                    <a:lnTo>
                      <a:pt x="744" y="284"/>
                    </a:lnTo>
                    <a:lnTo>
                      <a:pt x="742" y="284"/>
                    </a:lnTo>
                    <a:lnTo>
                      <a:pt x="742" y="286"/>
                    </a:lnTo>
                    <a:lnTo>
                      <a:pt x="744" y="286"/>
                    </a:lnTo>
                    <a:lnTo>
                      <a:pt x="742" y="290"/>
                    </a:lnTo>
                    <a:lnTo>
                      <a:pt x="738" y="290"/>
                    </a:lnTo>
                    <a:lnTo>
                      <a:pt x="734" y="290"/>
                    </a:lnTo>
                    <a:lnTo>
                      <a:pt x="730" y="290"/>
                    </a:lnTo>
                    <a:lnTo>
                      <a:pt x="726" y="290"/>
                    </a:lnTo>
                    <a:lnTo>
                      <a:pt x="722" y="290"/>
                    </a:lnTo>
                    <a:lnTo>
                      <a:pt x="722" y="294"/>
                    </a:lnTo>
                    <a:lnTo>
                      <a:pt x="718" y="294"/>
                    </a:lnTo>
                    <a:lnTo>
                      <a:pt x="716" y="294"/>
                    </a:lnTo>
                    <a:lnTo>
                      <a:pt x="712" y="294"/>
                    </a:lnTo>
                    <a:lnTo>
                      <a:pt x="708" y="294"/>
                    </a:lnTo>
                    <a:lnTo>
                      <a:pt x="704" y="294"/>
                    </a:lnTo>
                    <a:lnTo>
                      <a:pt x="704" y="290"/>
                    </a:lnTo>
                    <a:lnTo>
                      <a:pt x="700" y="290"/>
                    </a:lnTo>
                    <a:lnTo>
                      <a:pt x="696" y="290"/>
                    </a:lnTo>
                    <a:lnTo>
                      <a:pt x="696" y="286"/>
                    </a:lnTo>
                    <a:lnTo>
                      <a:pt x="692" y="286"/>
                    </a:lnTo>
                    <a:lnTo>
                      <a:pt x="692" y="284"/>
                    </a:lnTo>
                    <a:lnTo>
                      <a:pt x="696" y="284"/>
                    </a:lnTo>
                    <a:lnTo>
                      <a:pt x="700" y="284"/>
                    </a:lnTo>
                    <a:lnTo>
                      <a:pt x="704" y="286"/>
                    </a:lnTo>
                    <a:lnTo>
                      <a:pt x="708" y="286"/>
                    </a:lnTo>
                    <a:lnTo>
                      <a:pt x="712" y="286"/>
                    </a:lnTo>
                    <a:lnTo>
                      <a:pt x="716" y="286"/>
                    </a:lnTo>
                    <a:lnTo>
                      <a:pt x="718" y="286"/>
                    </a:lnTo>
                    <a:lnTo>
                      <a:pt x="716" y="286"/>
                    </a:lnTo>
                    <a:lnTo>
                      <a:pt x="712" y="286"/>
                    </a:lnTo>
                    <a:lnTo>
                      <a:pt x="708" y="286"/>
                    </a:lnTo>
                    <a:lnTo>
                      <a:pt x="704" y="284"/>
                    </a:lnTo>
                    <a:lnTo>
                      <a:pt x="700" y="284"/>
                    </a:lnTo>
                    <a:lnTo>
                      <a:pt x="696" y="284"/>
                    </a:lnTo>
                    <a:lnTo>
                      <a:pt x="692" y="284"/>
                    </a:lnTo>
                    <a:lnTo>
                      <a:pt x="692" y="280"/>
                    </a:lnTo>
                    <a:lnTo>
                      <a:pt x="688" y="280"/>
                    </a:lnTo>
                    <a:lnTo>
                      <a:pt x="688" y="284"/>
                    </a:lnTo>
                    <a:lnTo>
                      <a:pt x="686" y="284"/>
                    </a:lnTo>
                    <a:lnTo>
                      <a:pt x="686" y="286"/>
                    </a:lnTo>
                    <a:lnTo>
                      <a:pt x="682" y="286"/>
                    </a:lnTo>
                    <a:lnTo>
                      <a:pt x="678" y="286"/>
                    </a:lnTo>
                    <a:lnTo>
                      <a:pt x="678" y="284"/>
                    </a:lnTo>
                    <a:lnTo>
                      <a:pt x="674" y="284"/>
                    </a:lnTo>
                    <a:lnTo>
                      <a:pt x="674" y="280"/>
                    </a:lnTo>
                    <a:lnTo>
                      <a:pt x="670" y="280"/>
                    </a:lnTo>
                    <a:lnTo>
                      <a:pt x="670" y="276"/>
                    </a:lnTo>
                    <a:lnTo>
                      <a:pt x="666" y="276"/>
                    </a:lnTo>
                    <a:lnTo>
                      <a:pt x="666" y="280"/>
                    </a:lnTo>
                    <a:lnTo>
                      <a:pt x="670" y="280"/>
                    </a:lnTo>
                    <a:lnTo>
                      <a:pt x="674" y="284"/>
                    </a:lnTo>
                    <a:lnTo>
                      <a:pt x="678" y="284"/>
                    </a:lnTo>
                    <a:lnTo>
                      <a:pt x="678" y="286"/>
                    </a:lnTo>
                    <a:lnTo>
                      <a:pt x="682" y="286"/>
                    </a:lnTo>
                    <a:lnTo>
                      <a:pt x="682" y="290"/>
                    </a:lnTo>
                    <a:lnTo>
                      <a:pt x="678" y="290"/>
                    </a:lnTo>
                    <a:lnTo>
                      <a:pt x="674" y="290"/>
                    </a:lnTo>
                    <a:lnTo>
                      <a:pt x="670" y="290"/>
                    </a:lnTo>
                    <a:lnTo>
                      <a:pt x="670" y="294"/>
                    </a:lnTo>
                    <a:lnTo>
                      <a:pt x="666" y="294"/>
                    </a:lnTo>
                    <a:lnTo>
                      <a:pt x="662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2" y="294"/>
                    </a:lnTo>
                    <a:lnTo>
                      <a:pt x="652" y="290"/>
                    </a:lnTo>
                    <a:lnTo>
                      <a:pt x="648" y="290"/>
                    </a:lnTo>
                    <a:lnTo>
                      <a:pt x="644" y="290"/>
                    </a:lnTo>
                    <a:lnTo>
                      <a:pt x="648" y="294"/>
                    </a:lnTo>
                    <a:lnTo>
                      <a:pt x="652" y="294"/>
                    </a:lnTo>
                    <a:lnTo>
                      <a:pt x="656" y="294"/>
                    </a:lnTo>
                    <a:lnTo>
                      <a:pt x="660" y="294"/>
                    </a:lnTo>
                    <a:lnTo>
                      <a:pt x="656" y="294"/>
                    </a:lnTo>
                    <a:lnTo>
                      <a:pt x="656" y="298"/>
                    </a:lnTo>
                    <a:lnTo>
                      <a:pt x="652" y="298"/>
                    </a:lnTo>
                    <a:lnTo>
                      <a:pt x="648" y="298"/>
                    </a:lnTo>
                    <a:lnTo>
                      <a:pt x="644" y="298"/>
                    </a:lnTo>
                    <a:lnTo>
                      <a:pt x="640" y="298"/>
                    </a:lnTo>
                    <a:lnTo>
                      <a:pt x="644" y="298"/>
                    </a:lnTo>
                    <a:lnTo>
                      <a:pt x="644" y="302"/>
                    </a:lnTo>
                    <a:lnTo>
                      <a:pt x="644" y="306"/>
                    </a:lnTo>
                    <a:lnTo>
                      <a:pt x="644" y="302"/>
                    </a:lnTo>
                    <a:lnTo>
                      <a:pt x="644" y="298"/>
                    </a:lnTo>
                    <a:lnTo>
                      <a:pt x="648" y="298"/>
                    </a:lnTo>
                    <a:lnTo>
                      <a:pt x="652" y="298"/>
                    </a:lnTo>
                    <a:lnTo>
                      <a:pt x="656" y="298"/>
                    </a:lnTo>
                    <a:lnTo>
                      <a:pt x="660" y="298"/>
                    </a:lnTo>
                    <a:lnTo>
                      <a:pt x="662" y="298"/>
                    </a:lnTo>
                    <a:lnTo>
                      <a:pt x="666" y="298"/>
                    </a:lnTo>
                    <a:lnTo>
                      <a:pt x="670" y="298"/>
                    </a:lnTo>
                    <a:lnTo>
                      <a:pt x="674" y="298"/>
                    </a:lnTo>
                    <a:lnTo>
                      <a:pt x="674" y="302"/>
                    </a:lnTo>
                    <a:lnTo>
                      <a:pt x="678" y="298"/>
                    </a:lnTo>
                    <a:lnTo>
                      <a:pt x="678" y="302"/>
                    </a:lnTo>
                    <a:lnTo>
                      <a:pt x="678" y="306"/>
                    </a:lnTo>
                    <a:lnTo>
                      <a:pt x="674" y="306"/>
                    </a:lnTo>
                    <a:lnTo>
                      <a:pt x="670" y="306"/>
                    </a:lnTo>
                    <a:lnTo>
                      <a:pt x="666" y="306"/>
                    </a:lnTo>
                    <a:lnTo>
                      <a:pt x="662" y="310"/>
                    </a:lnTo>
                    <a:lnTo>
                      <a:pt x="660" y="310"/>
                    </a:lnTo>
                    <a:lnTo>
                      <a:pt x="656" y="306"/>
                    </a:lnTo>
                    <a:lnTo>
                      <a:pt x="652" y="306"/>
                    </a:lnTo>
                    <a:lnTo>
                      <a:pt x="648" y="306"/>
                    </a:lnTo>
                    <a:lnTo>
                      <a:pt x="644" y="306"/>
                    </a:lnTo>
                    <a:lnTo>
                      <a:pt x="648" y="306"/>
                    </a:lnTo>
                    <a:lnTo>
                      <a:pt x="652" y="306"/>
                    </a:lnTo>
                    <a:lnTo>
                      <a:pt x="656" y="306"/>
                    </a:lnTo>
                    <a:lnTo>
                      <a:pt x="660" y="310"/>
                    </a:lnTo>
                    <a:lnTo>
                      <a:pt x="656" y="310"/>
                    </a:lnTo>
                    <a:lnTo>
                      <a:pt x="652" y="310"/>
                    </a:lnTo>
                    <a:lnTo>
                      <a:pt x="656" y="310"/>
                    </a:lnTo>
                    <a:lnTo>
                      <a:pt x="660" y="310"/>
                    </a:lnTo>
                    <a:lnTo>
                      <a:pt x="660" y="314"/>
                    </a:lnTo>
                    <a:lnTo>
                      <a:pt x="660" y="310"/>
                    </a:lnTo>
                    <a:lnTo>
                      <a:pt x="662" y="310"/>
                    </a:lnTo>
                    <a:lnTo>
                      <a:pt x="666" y="310"/>
                    </a:lnTo>
                    <a:lnTo>
                      <a:pt x="670" y="306"/>
                    </a:lnTo>
                    <a:lnTo>
                      <a:pt x="674" y="310"/>
                    </a:lnTo>
                    <a:lnTo>
                      <a:pt x="678" y="310"/>
                    </a:lnTo>
                    <a:lnTo>
                      <a:pt x="682" y="310"/>
                    </a:lnTo>
                    <a:lnTo>
                      <a:pt x="682" y="314"/>
                    </a:lnTo>
                    <a:lnTo>
                      <a:pt x="686" y="314"/>
                    </a:lnTo>
                    <a:lnTo>
                      <a:pt x="682" y="316"/>
                    </a:lnTo>
                    <a:lnTo>
                      <a:pt x="678" y="316"/>
                    </a:lnTo>
                    <a:lnTo>
                      <a:pt x="674" y="316"/>
                    </a:lnTo>
                    <a:lnTo>
                      <a:pt x="670" y="316"/>
                    </a:lnTo>
                    <a:lnTo>
                      <a:pt x="666" y="316"/>
                    </a:lnTo>
                    <a:lnTo>
                      <a:pt x="670" y="316"/>
                    </a:lnTo>
                    <a:lnTo>
                      <a:pt x="674" y="316"/>
                    </a:lnTo>
                    <a:lnTo>
                      <a:pt x="674" y="320"/>
                    </a:lnTo>
                    <a:lnTo>
                      <a:pt x="670" y="320"/>
                    </a:lnTo>
                    <a:lnTo>
                      <a:pt x="670" y="324"/>
                    </a:lnTo>
                    <a:lnTo>
                      <a:pt x="674" y="324"/>
                    </a:lnTo>
                    <a:lnTo>
                      <a:pt x="674" y="320"/>
                    </a:lnTo>
                    <a:lnTo>
                      <a:pt x="678" y="320"/>
                    </a:lnTo>
                    <a:lnTo>
                      <a:pt x="678" y="316"/>
                    </a:lnTo>
                    <a:lnTo>
                      <a:pt x="682" y="316"/>
                    </a:lnTo>
                    <a:lnTo>
                      <a:pt x="686" y="316"/>
                    </a:lnTo>
                    <a:lnTo>
                      <a:pt x="686" y="320"/>
                    </a:lnTo>
                    <a:lnTo>
                      <a:pt x="688" y="320"/>
                    </a:lnTo>
                    <a:lnTo>
                      <a:pt x="692" y="320"/>
                    </a:lnTo>
                    <a:lnTo>
                      <a:pt x="696" y="320"/>
                    </a:lnTo>
                    <a:lnTo>
                      <a:pt x="696" y="324"/>
                    </a:lnTo>
                    <a:lnTo>
                      <a:pt x="700" y="324"/>
                    </a:lnTo>
                    <a:lnTo>
                      <a:pt x="704" y="324"/>
                    </a:lnTo>
                    <a:lnTo>
                      <a:pt x="704" y="328"/>
                    </a:lnTo>
                    <a:lnTo>
                      <a:pt x="708" y="328"/>
                    </a:lnTo>
                    <a:lnTo>
                      <a:pt x="712" y="328"/>
                    </a:lnTo>
                    <a:lnTo>
                      <a:pt x="712" y="332"/>
                    </a:lnTo>
                    <a:lnTo>
                      <a:pt x="716" y="332"/>
                    </a:lnTo>
                    <a:lnTo>
                      <a:pt x="712" y="332"/>
                    </a:lnTo>
                    <a:lnTo>
                      <a:pt x="712" y="336"/>
                    </a:lnTo>
                    <a:lnTo>
                      <a:pt x="708" y="336"/>
                    </a:lnTo>
                    <a:lnTo>
                      <a:pt x="704" y="336"/>
                    </a:lnTo>
                    <a:lnTo>
                      <a:pt x="704" y="340"/>
                    </a:lnTo>
                    <a:lnTo>
                      <a:pt x="708" y="340"/>
                    </a:lnTo>
                    <a:lnTo>
                      <a:pt x="708" y="336"/>
                    </a:lnTo>
                    <a:lnTo>
                      <a:pt x="712" y="336"/>
                    </a:lnTo>
                    <a:lnTo>
                      <a:pt x="716" y="336"/>
                    </a:lnTo>
                    <a:lnTo>
                      <a:pt x="712" y="336"/>
                    </a:lnTo>
                    <a:lnTo>
                      <a:pt x="712" y="340"/>
                    </a:lnTo>
                    <a:lnTo>
                      <a:pt x="716" y="340"/>
                    </a:lnTo>
                    <a:lnTo>
                      <a:pt x="716" y="336"/>
                    </a:lnTo>
                    <a:lnTo>
                      <a:pt x="718" y="336"/>
                    </a:lnTo>
                    <a:lnTo>
                      <a:pt x="722" y="336"/>
                    </a:lnTo>
                    <a:lnTo>
                      <a:pt x="718" y="336"/>
                    </a:lnTo>
                    <a:lnTo>
                      <a:pt x="718" y="340"/>
                    </a:lnTo>
                    <a:lnTo>
                      <a:pt x="716" y="340"/>
                    </a:lnTo>
                    <a:lnTo>
                      <a:pt x="712" y="342"/>
                    </a:lnTo>
                    <a:lnTo>
                      <a:pt x="716" y="342"/>
                    </a:lnTo>
                    <a:lnTo>
                      <a:pt x="716" y="346"/>
                    </a:lnTo>
                    <a:lnTo>
                      <a:pt x="716" y="342"/>
                    </a:lnTo>
                    <a:lnTo>
                      <a:pt x="718" y="342"/>
                    </a:lnTo>
                    <a:lnTo>
                      <a:pt x="722" y="342"/>
                    </a:lnTo>
                    <a:lnTo>
                      <a:pt x="726" y="342"/>
                    </a:lnTo>
                    <a:lnTo>
                      <a:pt x="722" y="342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2" y="346"/>
                    </a:lnTo>
                    <a:lnTo>
                      <a:pt x="726" y="346"/>
                    </a:lnTo>
                    <a:lnTo>
                      <a:pt x="726" y="350"/>
                    </a:lnTo>
                    <a:lnTo>
                      <a:pt x="722" y="350"/>
                    </a:lnTo>
                    <a:lnTo>
                      <a:pt x="722" y="354"/>
                    </a:lnTo>
                    <a:lnTo>
                      <a:pt x="718" y="354"/>
                    </a:lnTo>
                    <a:lnTo>
                      <a:pt x="716" y="354"/>
                    </a:lnTo>
                    <a:lnTo>
                      <a:pt x="718" y="354"/>
                    </a:lnTo>
                    <a:lnTo>
                      <a:pt x="722" y="354"/>
                    </a:lnTo>
                    <a:lnTo>
                      <a:pt x="726" y="354"/>
                    </a:lnTo>
                    <a:lnTo>
                      <a:pt x="726" y="358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2" y="358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6" y="358"/>
                    </a:lnTo>
                    <a:lnTo>
                      <a:pt x="726" y="362"/>
                    </a:lnTo>
                    <a:lnTo>
                      <a:pt x="722" y="362"/>
                    </a:lnTo>
                    <a:lnTo>
                      <a:pt x="726" y="362"/>
                    </a:lnTo>
                    <a:lnTo>
                      <a:pt x="722" y="366"/>
                    </a:lnTo>
                    <a:lnTo>
                      <a:pt x="726" y="366"/>
                    </a:lnTo>
                    <a:lnTo>
                      <a:pt x="730" y="366"/>
                    </a:lnTo>
                    <a:lnTo>
                      <a:pt x="726" y="370"/>
                    </a:lnTo>
                    <a:lnTo>
                      <a:pt x="722" y="370"/>
                    </a:lnTo>
                    <a:lnTo>
                      <a:pt x="718" y="370"/>
                    </a:lnTo>
                    <a:lnTo>
                      <a:pt x="716" y="370"/>
                    </a:lnTo>
                    <a:lnTo>
                      <a:pt x="716" y="366"/>
                    </a:lnTo>
                    <a:lnTo>
                      <a:pt x="716" y="362"/>
                    </a:lnTo>
                    <a:lnTo>
                      <a:pt x="716" y="358"/>
                    </a:lnTo>
                    <a:lnTo>
                      <a:pt x="712" y="358"/>
                    </a:lnTo>
                    <a:lnTo>
                      <a:pt x="712" y="362"/>
                    </a:lnTo>
                    <a:lnTo>
                      <a:pt x="712" y="366"/>
                    </a:lnTo>
                    <a:lnTo>
                      <a:pt x="712" y="370"/>
                    </a:lnTo>
                    <a:lnTo>
                      <a:pt x="708" y="370"/>
                    </a:lnTo>
                    <a:lnTo>
                      <a:pt x="704" y="370"/>
                    </a:lnTo>
                    <a:lnTo>
                      <a:pt x="700" y="370"/>
                    </a:lnTo>
                    <a:lnTo>
                      <a:pt x="696" y="366"/>
                    </a:lnTo>
                    <a:lnTo>
                      <a:pt x="692" y="366"/>
                    </a:lnTo>
                    <a:lnTo>
                      <a:pt x="692" y="362"/>
                    </a:lnTo>
                    <a:lnTo>
                      <a:pt x="688" y="362"/>
                    </a:lnTo>
                    <a:lnTo>
                      <a:pt x="688" y="358"/>
                    </a:lnTo>
                    <a:lnTo>
                      <a:pt x="688" y="354"/>
                    </a:lnTo>
                    <a:lnTo>
                      <a:pt x="688" y="350"/>
                    </a:lnTo>
                    <a:lnTo>
                      <a:pt x="686" y="350"/>
                    </a:lnTo>
                    <a:lnTo>
                      <a:pt x="682" y="346"/>
                    </a:lnTo>
                    <a:lnTo>
                      <a:pt x="678" y="346"/>
                    </a:lnTo>
                    <a:lnTo>
                      <a:pt x="674" y="346"/>
                    </a:lnTo>
                    <a:lnTo>
                      <a:pt x="674" y="342"/>
                    </a:lnTo>
                    <a:lnTo>
                      <a:pt x="670" y="342"/>
                    </a:lnTo>
                    <a:lnTo>
                      <a:pt x="670" y="340"/>
                    </a:lnTo>
                    <a:lnTo>
                      <a:pt x="666" y="340"/>
                    </a:lnTo>
                    <a:lnTo>
                      <a:pt x="660" y="340"/>
                    </a:lnTo>
                    <a:lnTo>
                      <a:pt x="656" y="340"/>
                    </a:lnTo>
                    <a:lnTo>
                      <a:pt x="652" y="340"/>
                    </a:lnTo>
                    <a:lnTo>
                      <a:pt x="648" y="336"/>
                    </a:lnTo>
                    <a:lnTo>
                      <a:pt x="644" y="336"/>
                    </a:lnTo>
                    <a:lnTo>
                      <a:pt x="644" y="332"/>
                    </a:lnTo>
                    <a:lnTo>
                      <a:pt x="640" y="332"/>
                    </a:lnTo>
                    <a:lnTo>
                      <a:pt x="640" y="328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4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30" y="328"/>
                    </a:lnTo>
                    <a:lnTo>
                      <a:pt x="630" y="332"/>
                    </a:lnTo>
                    <a:lnTo>
                      <a:pt x="632" y="332"/>
                    </a:lnTo>
                    <a:lnTo>
                      <a:pt x="636" y="332"/>
                    </a:lnTo>
                    <a:lnTo>
                      <a:pt x="640" y="336"/>
                    </a:lnTo>
                    <a:lnTo>
                      <a:pt x="644" y="336"/>
                    </a:lnTo>
                    <a:lnTo>
                      <a:pt x="644" y="340"/>
                    </a:lnTo>
                    <a:lnTo>
                      <a:pt x="640" y="340"/>
                    </a:lnTo>
                    <a:lnTo>
                      <a:pt x="636" y="340"/>
                    </a:lnTo>
                    <a:lnTo>
                      <a:pt x="632" y="340"/>
                    </a:lnTo>
                    <a:lnTo>
                      <a:pt x="630" y="340"/>
                    </a:lnTo>
                    <a:lnTo>
                      <a:pt x="632" y="340"/>
                    </a:lnTo>
                    <a:lnTo>
                      <a:pt x="636" y="340"/>
                    </a:lnTo>
                    <a:lnTo>
                      <a:pt x="640" y="340"/>
                    </a:lnTo>
                    <a:lnTo>
                      <a:pt x="644" y="340"/>
                    </a:lnTo>
                    <a:lnTo>
                      <a:pt x="648" y="340"/>
                    </a:lnTo>
                    <a:lnTo>
                      <a:pt x="644" y="340"/>
                    </a:lnTo>
                    <a:lnTo>
                      <a:pt x="644" y="342"/>
                    </a:lnTo>
                    <a:lnTo>
                      <a:pt x="648" y="342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2"/>
                    </a:lnTo>
                    <a:lnTo>
                      <a:pt x="656" y="342"/>
                    </a:lnTo>
                    <a:lnTo>
                      <a:pt x="660" y="342"/>
                    </a:lnTo>
                    <a:lnTo>
                      <a:pt x="662" y="342"/>
                    </a:lnTo>
                    <a:lnTo>
                      <a:pt x="666" y="342"/>
                    </a:lnTo>
                    <a:lnTo>
                      <a:pt x="670" y="342"/>
                    </a:lnTo>
                    <a:lnTo>
                      <a:pt x="674" y="346"/>
                    </a:lnTo>
                    <a:lnTo>
                      <a:pt x="670" y="350"/>
                    </a:lnTo>
                    <a:lnTo>
                      <a:pt x="670" y="346"/>
                    </a:lnTo>
                    <a:lnTo>
                      <a:pt x="666" y="346"/>
                    </a:lnTo>
                    <a:lnTo>
                      <a:pt x="670" y="350"/>
                    </a:lnTo>
                    <a:lnTo>
                      <a:pt x="662" y="354"/>
                    </a:lnTo>
                    <a:lnTo>
                      <a:pt x="660" y="354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8"/>
                    </a:lnTo>
                    <a:lnTo>
                      <a:pt x="644" y="358"/>
                    </a:lnTo>
                    <a:lnTo>
                      <a:pt x="644" y="354"/>
                    </a:lnTo>
                    <a:lnTo>
                      <a:pt x="640" y="354"/>
                    </a:lnTo>
                    <a:lnTo>
                      <a:pt x="640" y="350"/>
                    </a:lnTo>
                    <a:lnTo>
                      <a:pt x="636" y="350"/>
                    </a:lnTo>
                    <a:lnTo>
                      <a:pt x="636" y="354"/>
                    </a:lnTo>
                    <a:lnTo>
                      <a:pt x="640" y="354"/>
                    </a:lnTo>
                    <a:lnTo>
                      <a:pt x="640" y="358"/>
                    </a:lnTo>
                    <a:lnTo>
                      <a:pt x="640" y="354"/>
                    </a:lnTo>
                    <a:lnTo>
                      <a:pt x="636" y="354"/>
                    </a:lnTo>
                    <a:lnTo>
                      <a:pt x="632" y="354"/>
                    </a:lnTo>
                    <a:lnTo>
                      <a:pt x="630" y="354"/>
                    </a:lnTo>
                    <a:lnTo>
                      <a:pt x="632" y="354"/>
                    </a:lnTo>
                    <a:lnTo>
                      <a:pt x="632" y="358"/>
                    </a:lnTo>
                    <a:lnTo>
                      <a:pt x="636" y="358"/>
                    </a:lnTo>
                    <a:lnTo>
                      <a:pt x="636" y="362"/>
                    </a:lnTo>
                    <a:lnTo>
                      <a:pt x="632" y="366"/>
                    </a:lnTo>
                    <a:lnTo>
                      <a:pt x="630" y="366"/>
                    </a:lnTo>
                    <a:lnTo>
                      <a:pt x="626" y="366"/>
                    </a:lnTo>
                    <a:lnTo>
                      <a:pt x="622" y="370"/>
                    </a:lnTo>
                    <a:lnTo>
                      <a:pt x="618" y="370"/>
                    </a:lnTo>
                    <a:lnTo>
                      <a:pt x="622" y="370"/>
                    </a:lnTo>
                    <a:lnTo>
                      <a:pt x="626" y="370"/>
                    </a:lnTo>
                    <a:lnTo>
                      <a:pt x="630" y="370"/>
                    </a:lnTo>
                    <a:lnTo>
                      <a:pt x="632" y="366"/>
                    </a:lnTo>
                    <a:lnTo>
                      <a:pt x="632" y="370"/>
                    </a:lnTo>
                    <a:lnTo>
                      <a:pt x="630" y="370"/>
                    </a:lnTo>
                    <a:lnTo>
                      <a:pt x="632" y="370"/>
                    </a:lnTo>
                    <a:lnTo>
                      <a:pt x="636" y="370"/>
                    </a:lnTo>
                    <a:lnTo>
                      <a:pt x="640" y="370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60" y="372"/>
                    </a:lnTo>
                    <a:lnTo>
                      <a:pt x="656" y="372"/>
                    </a:lnTo>
                    <a:lnTo>
                      <a:pt x="652" y="372"/>
                    </a:lnTo>
                    <a:lnTo>
                      <a:pt x="648" y="372"/>
                    </a:lnTo>
                    <a:lnTo>
                      <a:pt x="644" y="372"/>
                    </a:lnTo>
                    <a:lnTo>
                      <a:pt x="644" y="376"/>
                    </a:lnTo>
                    <a:lnTo>
                      <a:pt x="640" y="376"/>
                    </a:lnTo>
                    <a:lnTo>
                      <a:pt x="636" y="376"/>
                    </a:lnTo>
                    <a:lnTo>
                      <a:pt x="632" y="376"/>
                    </a:lnTo>
                    <a:lnTo>
                      <a:pt x="630" y="376"/>
                    </a:lnTo>
                    <a:lnTo>
                      <a:pt x="630" y="380"/>
                    </a:lnTo>
                    <a:lnTo>
                      <a:pt x="632" y="376"/>
                    </a:lnTo>
                    <a:lnTo>
                      <a:pt x="632" y="380"/>
                    </a:lnTo>
                    <a:lnTo>
                      <a:pt x="636" y="380"/>
                    </a:lnTo>
                    <a:lnTo>
                      <a:pt x="640" y="380"/>
                    </a:lnTo>
                    <a:lnTo>
                      <a:pt x="644" y="380"/>
                    </a:lnTo>
                    <a:lnTo>
                      <a:pt x="648" y="376"/>
                    </a:lnTo>
                    <a:lnTo>
                      <a:pt x="652" y="372"/>
                    </a:lnTo>
                    <a:lnTo>
                      <a:pt x="656" y="372"/>
                    </a:lnTo>
                    <a:lnTo>
                      <a:pt x="656" y="376"/>
                    </a:lnTo>
                    <a:lnTo>
                      <a:pt x="660" y="376"/>
                    </a:lnTo>
                    <a:lnTo>
                      <a:pt x="662" y="372"/>
                    </a:lnTo>
                    <a:lnTo>
                      <a:pt x="666" y="372"/>
                    </a:lnTo>
                    <a:lnTo>
                      <a:pt x="670" y="372"/>
                    </a:lnTo>
                    <a:lnTo>
                      <a:pt x="674" y="370"/>
                    </a:lnTo>
                    <a:lnTo>
                      <a:pt x="674" y="372"/>
                    </a:lnTo>
                    <a:lnTo>
                      <a:pt x="678" y="372"/>
                    </a:lnTo>
                    <a:lnTo>
                      <a:pt x="678" y="370"/>
                    </a:lnTo>
                    <a:lnTo>
                      <a:pt x="678" y="372"/>
                    </a:lnTo>
                    <a:lnTo>
                      <a:pt x="682" y="372"/>
                    </a:lnTo>
                    <a:lnTo>
                      <a:pt x="686" y="372"/>
                    </a:lnTo>
                    <a:lnTo>
                      <a:pt x="692" y="376"/>
                    </a:lnTo>
                    <a:lnTo>
                      <a:pt x="696" y="376"/>
                    </a:lnTo>
                    <a:lnTo>
                      <a:pt x="700" y="376"/>
                    </a:lnTo>
                    <a:lnTo>
                      <a:pt x="704" y="376"/>
                    </a:lnTo>
                    <a:lnTo>
                      <a:pt x="708" y="376"/>
                    </a:lnTo>
                    <a:lnTo>
                      <a:pt x="712" y="376"/>
                    </a:lnTo>
                    <a:lnTo>
                      <a:pt x="716" y="376"/>
                    </a:lnTo>
                    <a:lnTo>
                      <a:pt x="718" y="376"/>
                    </a:lnTo>
                    <a:lnTo>
                      <a:pt x="718" y="380"/>
                    </a:lnTo>
                    <a:lnTo>
                      <a:pt x="716" y="380"/>
                    </a:lnTo>
                    <a:lnTo>
                      <a:pt x="712" y="380"/>
                    </a:lnTo>
                    <a:lnTo>
                      <a:pt x="708" y="380"/>
                    </a:lnTo>
                    <a:lnTo>
                      <a:pt x="708" y="384"/>
                    </a:lnTo>
                    <a:lnTo>
                      <a:pt x="712" y="384"/>
                    </a:lnTo>
                    <a:lnTo>
                      <a:pt x="708" y="384"/>
                    </a:lnTo>
                    <a:lnTo>
                      <a:pt x="708" y="380"/>
                    </a:lnTo>
                    <a:lnTo>
                      <a:pt x="704" y="380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4" y="384"/>
                    </a:lnTo>
                    <a:lnTo>
                      <a:pt x="708" y="384"/>
                    </a:lnTo>
                    <a:lnTo>
                      <a:pt x="708" y="388"/>
                    </a:lnTo>
                    <a:lnTo>
                      <a:pt x="704" y="388"/>
                    </a:lnTo>
                    <a:lnTo>
                      <a:pt x="704" y="384"/>
                    </a:lnTo>
                    <a:lnTo>
                      <a:pt x="700" y="384"/>
                    </a:lnTo>
                    <a:lnTo>
                      <a:pt x="704" y="384"/>
                    </a:lnTo>
                    <a:lnTo>
                      <a:pt x="704" y="388"/>
                    </a:lnTo>
                    <a:lnTo>
                      <a:pt x="700" y="388"/>
                    </a:lnTo>
                    <a:lnTo>
                      <a:pt x="696" y="388"/>
                    </a:lnTo>
                    <a:lnTo>
                      <a:pt x="692" y="388"/>
                    </a:lnTo>
                    <a:lnTo>
                      <a:pt x="696" y="388"/>
                    </a:lnTo>
                    <a:lnTo>
                      <a:pt x="700" y="388"/>
                    </a:lnTo>
                    <a:lnTo>
                      <a:pt x="696" y="392"/>
                    </a:lnTo>
                    <a:lnTo>
                      <a:pt x="692" y="392"/>
                    </a:lnTo>
                    <a:lnTo>
                      <a:pt x="688" y="392"/>
                    </a:lnTo>
                    <a:lnTo>
                      <a:pt x="692" y="392"/>
                    </a:lnTo>
                    <a:lnTo>
                      <a:pt x="688" y="396"/>
                    </a:lnTo>
                    <a:lnTo>
                      <a:pt x="686" y="396"/>
                    </a:lnTo>
                    <a:lnTo>
                      <a:pt x="682" y="396"/>
                    </a:lnTo>
                    <a:lnTo>
                      <a:pt x="686" y="398"/>
                    </a:lnTo>
                    <a:lnTo>
                      <a:pt x="682" y="398"/>
                    </a:lnTo>
                    <a:lnTo>
                      <a:pt x="678" y="398"/>
                    </a:lnTo>
                    <a:lnTo>
                      <a:pt x="674" y="398"/>
                    </a:lnTo>
                    <a:lnTo>
                      <a:pt x="678" y="398"/>
                    </a:lnTo>
                    <a:lnTo>
                      <a:pt x="678" y="402"/>
                    </a:lnTo>
                    <a:lnTo>
                      <a:pt x="674" y="402"/>
                    </a:lnTo>
                    <a:lnTo>
                      <a:pt x="674" y="406"/>
                    </a:lnTo>
                    <a:lnTo>
                      <a:pt x="670" y="402"/>
                    </a:lnTo>
                    <a:lnTo>
                      <a:pt x="670" y="406"/>
                    </a:lnTo>
                    <a:lnTo>
                      <a:pt x="666" y="406"/>
                    </a:lnTo>
                    <a:lnTo>
                      <a:pt x="670" y="406"/>
                    </a:lnTo>
                    <a:lnTo>
                      <a:pt x="670" y="410"/>
                    </a:lnTo>
                    <a:lnTo>
                      <a:pt x="666" y="410"/>
                    </a:lnTo>
                    <a:lnTo>
                      <a:pt x="662" y="410"/>
                    </a:lnTo>
                    <a:lnTo>
                      <a:pt x="660" y="414"/>
                    </a:lnTo>
                    <a:lnTo>
                      <a:pt x="656" y="414"/>
                    </a:lnTo>
                    <a:lnTo>
                      <a:pt x="652" y="414"/>
                    </a:lnTo>
                    <a:lnTo>
                      <a:pt x="648" y="418"/>
                    </a:lnTo>
                    <a:lnTo>
                      <a:pt x="648" y="414"/>
                    </a:lnTo>
                    <a:lnTo>
                      <a:pt x="644" y="414"/>
                    </a:lnTo>
                    <a:lnTo>
                      <a:pt x="644" y="418"/>
                    </a:lnTo>
                    <a:lnTo>
                      <a:pt x="648" y="418"/>
                    </a:lnTo>
                    <a:lnTo>
                      <a:pt x="644" y="418"/>
                    </a:lnTo>
                    <a:lnTo>
                      <a:pt x="640" y="418"/>
                    </a:lnTo>
                    <a:lnTo>
                      <a:pt x="636" y="418"/>
                    </a:lnTo>
                    <a:lnTo>
                      <a:pt x="632" y="422"/>
                    </a:lnTo>
                    <a:lnTo>
                      <a:pt x="630" y="418"/>
                    </a:lnTo>
                    <a:lnTo>
                      <a:pt x="626" y="422"/>
                    </a:lnTo>
                    <a:lnTo>
                      <a:pt x="622" y="422"/>
                    </a:lnTo>
                    <a:lnTo>
                      <a:pt x="618" y="422"/>
                    </a:lnTo>
                    <a:lnTo>
                      <a:pt x="622" y="422"/>
                    </a:lnTo>
                    <a:lnTo>
                      <a:pt x="622" y="426"/>
                    </a:lnTo>
                    <a:lnTo>
                      <a:pt x="618" y="426"/>
                    </a:lnTo>
                    <a:lnTo>
                      <a:pt x="618" y="422"/>
                    </a:lnTo>
                    <a:lnTo>
                      <a:pt x="618" y="426"/>
                    </a:lnTo>
                    <a:lnTo>
                      <a:pt x="614" y="426"/>
                    </a:lnTo>
                    <a:lnTo>
                      <a:pt x="610" y="422"/>
                    </a:lnTo>
                    <a:lnTo>
                      <a:pt x="606" y="422"/>
                    </a:lnTo>
                    <a:lnTo>
                      <a:pt x="604" y="426"/>
                    </a:lnTo>
                    <a:lnTo>
                      <a:pt x="606" y="426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6"/>
                    </a:lnTo>
                    <a:lnTo>
                      <a:pt x="600" y="426"/>
                    </a:lnTo>
                    <a:lnTo>
                      <a:pt x="596" y="426"/>
                    </a:lnTo>
                    <a:lnTo>
                      <a:pt x="600" y="426"/>
                    </a:lnTo>
                    <a:lnTo>
                      <a:pt x="604" y="428"/>
                    </a:lnTo>
                    <a:lnTo>
                      <a:pt x="600" y="428"/>
                    </a:lnTo>
                    <a:lnTo>
                      <a:pt x="596" y="428"/>
                    </a:lnTo>
                    <a:lnTo>
                      <a:pt x="592" y="428"/>
                    </a:lnTo>
                    <a:lnTo>
                      <a:pt x="588" y="428"/>
                    </a:lnTo>
                    <a:lnTo>
                      <a:pt x="588" y="426"/>
                    </a:lnTo>
                    <a:lnTo>
                      <a:pt x="584" y="428"/>
                    </a:lnTo>
                    <a:lnTo>
                      <a:pt x="588" y="428"/>
                    </a:lnTo>
                    <a:lnTo>
                      <a:pt x="584" y="428"/>
                    </a:lnTo>
                    <a:lnTo>
                      <a:pt x="584" y="426"/>
                    </a:lnTo>
                    <a:lnTo>
                      <a:pt x="580" y="426"/>
                    </a:lnTo>
                    <a:lnTo>
                      <a:pt x="576" y="426"/>
                    </a:lnTo>
                    <a:lnTo>
                      <a:pt x="576" y="422"/>
                    </a:lnTo>
                    <a:lnTo>
                      <a:pt x="574" y="422"/>
                    </a:lnTo>
                    <a:lnTo>
                      <a:pt x="574" y="418"/>
                    </a:lnTo>
                    <a:lnTo>
                      <a:pt x="574" y="414"/>
                    </a:lnTo>
                    <a:lnTo>
                      <a:pt x="574" y="418"/>
                    </a:lnTo>
                    <a:lnTo>
                      <a:pt x="570" y="418"/>
                    </a:lnTo>
                    <a:lnTo>
                      <a:pt x="574" y="418"/>
                    </a:lnTo>
                    <a:lnTo>
                      <a:pt x="574" y="422"/>
                    </a:lnTo>
                    <a:lnTo>
                      <a:pt x="576" y="422"/>
                    </a:lnTo>
                    <a:lnTo>
                      <a:pt x="576" y="426"/>
                    </a:lnTo>
                    <a:lnTo>
                      <a:pt x="574" y="426"/>
                    </a:lnTo>
                    <a:lnTo>
                      <a:pt x="576" y="426"/>
                    </a:lnTo>
                    <a:lnTo>
                      <a:pt x="580" y="428"/>
                    </a:lnTo>
                    <a:lnTo>
                      <a:pt x="576" y="428"/>
                    </a:lnTo>
                    <a:lnTo>
                      <a:pt x="576" y="432"/>
                    </a:lnTo>
                    <a:lnTo>
                      <a:pt x="574" y="432"/>
                    </a:lnTo>
                    <a:lnTo>
                      <a:pt x="570" y="432"/>
                    </a:lnTo>
                    <a:lnTo>
                      <a:pt x="574" y="432"/>
                    </a:lnTo>
                    <a:lnTo>
                      <a:pt x="574" y="436"/>
                    </a:lnTo>
                    <a:lnTo>
                      <a:pt x="570" y="436"/>
                    </a:lnTo>
                    <a:lnTo>
                      <a:pt x="566" y="436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36"/>
                    </a:lnTo>
                    <a:lnTo>
                      <a:pt x="562" y="440"/>
                    </a:lnTo>
                    <a:lnTo>
                      <a:pt x="566" y="440"/>
                    </a:lnTo>
                    <a:lnTo>
                      <a:pt x="562" y="440"/>
                    </a:lnTo>
                    <a:lnTo>
                      <a:pt x="562" y="444"/>
                    </a:lnTo>
                    <a:lnTo>
                      <a:pt x="562" y="448"/>
                    </a:lnTo>
                    <a:lnTo>
                      <a:pt x="558" y="448"/>
                    </a:lnTo>
                    <a:lnTo>
                      <a:pt x="558" y="452"/>
                    </a:lnTo>
                    <a:lnTo>
                      <a:pt x="554" y="452"/>
                    </a:lnTo>
                    <a:lnTo>
                      <a:pt x="554" y="456"/>
                    </a:lnTo>
                    <a:lnTo>
                      <a:pt x="550" y="456"/>
                    </a:lnTo>
                    <a:lnTo>
                      <a:pt x="550" y="458"/>
                    </a:lnTo>
                    <a:lnTo>
                      <a:pt x="550" y="462"/>
                    </a:lnTo>
                    <a:lnTo>
                      <a:pt x="546" y="466"/>
                    </a:lnTo>
                    <a:lnTo>
                      <a:pt x="546" y="462"/>
                    </a:lnTo>
                    <a:lnTo>
                      <a:pt x="546" y="466"/>
                    </a:lnTo>
                    <a:lnTo>
                      <a:pt x="544" y="466"/>
                    </a:lnTo>
                    <a:lnTo>
                      <a:pt x="544" y="462"/>
                    </a:lnTo>
                    <a:lnTo>
                      <a:pt x="546" y="462"/>
                    </a:lnTo>
                    <a:lnTo>
                      <a:pt x="544" y="462"/>
                    </a:lnTo>
                    <a:lnTo>
                      <a:pt x="544" y="466"/>
                    </a:lnTo>
                    <a:lnTo>
                      <a:pt x="544" y="470"/>
                    </a:lnTo>
                    <a:lnTo>
                      <a:pt x="540" y="470"/>
                    </a:lnTo>
                    <a:lnTo>
                      <a:pt x="540" y="474"/>
                    </a:lnTo>
                    <a:lnTo>
                      <a:pt x="536" y="474"/>
                    </a:lnTo>
                    <a:lnTo>
                      <a:pt x="536" y="470"/>
                    </a:lnTo>
                    <a:lnTo>
                      <a:pt x="532" y="470"/>
                    </a:lnTo>
                    <a:lnTo>
                      <a:pt x="532" y="474"/>
                    </a:lnTo>
                    <a:lnTo>
                      <a:pt x="536" y="474"/>
                    </a:lnTo>
                    <a:lnTo>
                      <a:pt x="532" y="474"/>
                    </a:lnTo>
                    <a:lnTo>
                      <a:pt x="528" y="474"/>
                    </a:lnTo>
                    <a:lnTo>
                      <a:pt x="524" y="470"/>
                    </a:lnTo>
                    <a:lnTo>
                      <a:pt x="528" y="474"/>
                    </a:lnTo>
                    <a:lnTo>
                      <a:pt x="528" y="478"/>
                    </a:lnTo>
                    <a:lnTo>
                      <a:pt x="524" y="478"/>
                    </a:lnTo>
                    <a:lnTo>
                      <a:pt x="524" y="482"/>
                    </a:lnTo>
                    <a:lnTo>
                      <a:pt x="520" y="482"/>
                    </a:lnTo>
                    <a:lnTo>
                      <a:pt x="518" y="482"/>
                    </a:lnTo>
                    <a:lnTo>
                      <a:pt x="518" y="478"/>
                    </a:lnTo>
                    <a:lnTo>
                      <a:pt x="514" y="478"/>
                    </a:lnTo>
                    <a:lnTo>
                      <a:pt x="518" y="478"/>
                    </a:lnTo>
                    <a:lnTo>
                      <a:pt x="514" y="482"/>
                    </a:lnTo>
                    <a:lnTo>
                      <a:pt x="510" y="482"/>
                    </a:lnTo>
                    <a:lnTo>
                      <a:pt x="510" y="484"/>
                    </a:lnTo>
                    <a:lnTo>
                      <a:pt x="506" y="484"/>
                    </a:lnTo>
                    <a:lnTo>
                      <a:pt x="506" y="482"/>
                    </a:lnTo>
                    <a:lnTo>
                      <a:pt x="506" y="478"/>
                    </a:lnTo>
                    <a:lnTo>
                      <a:pt x="506" y="482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2"/>
                    </a:lnTo>
                    <a:lnTo>
                      <a:pt x="498" y="482"/>
                    </a:lnTo>
                    <a:lnTo>
                      <a:pt x="498" y="478"/>
                    </a:lnTo>
                    <a:lnTo>
                      <a:pt x="502" y="474"/>
                    </a:lnTo>
                    <a:lnTo>
                      <a:pt x="506" y="474"/>
                    </a:lnTo>
                    <a:lnTo>
                      <a:pt x="506" y="470"/>
                    </a:lnTo>
                    <a:lnTo>
                      <a:pt x="502" y="470"/>
                    </a:lnTo>
                    <a:lnTo>
                      <a:pt x="502" y="474"/>
                    </a:lnTo>
                    <a:lnTo>
                      <a:pt x="498" y="474"/>
                    </a:lnTo>
                    <a:lnTo>
                      <a:pt x="498" y="470"/>
                    </a:lnTo>
                    <a:lnTo>
                      <a:pt x="494" y="470"/>
                    </a:lnTo>
                    <a:lnTo>
                      <a:pt x="490" y="470"/>
                    </a:lnTo>
                    <a:lnTo>
                      <a:pt x="494" y="470"/>
                    </a:lnTo>
                    <a:lnTo>
                      <a:pt x="494" y="474"/>
                    </a:lnTo>
                    <a:lnTo>
                      <a:pt x="498" y="474"/>
                    </a:lnTo>
                    <a:lnTo>
                      <a:pt x="494" y="474"/>
                    </a:lnTo>
                    <a:lnTo>
                      <a:pt x="494" y="478"/>
                    </a:lnTo>
                    <a:lnTo>
                      <a:pt x="494" y="482"/>
                    </a:lnTo>
                    <a:lnTo>
                      <a:pt x="490" y="482"/>
                    </a:lnTo>
                    <a:lnTo>
                      <a:pt x="488" y="482"/>
                    </a:lnTo>
                    <a:lnTo>
                      <a:pt x="488" y="478"/>
                    </a:lnTo>
                    <a:lnTo>
                      <a:pt x="488" y="482"/>
                    </a:lnTo>
                    <a:lnTo>
                      <a:pt x="490" y="484"/>
                    </a:lnTo>
                    <a:lnTo>
                      <a:pt x="490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8" y="488"/>
                    </a:lnTo>
                    <a:lnTo>
                      <a:pt x="484" y="488"/>
                    </a:lnTo>
                    <a:lnTo>
                      <a:pt x="480" y="488"/>
                    </a:lnTo>
                    <a:lnTo>
                      <a:pt x="476" y="488"/>
                    </a:lnTo>
                    <a:lnTo>
                      <a:pt x="476" y="484"/>
                    </a:lnTo>
                    <a:lnTo>
                      <a:pt x="476" y="488"/>
                    </a:lnTo>
                    <a:lnTo>
                      <a:pt x="476" y="492"/>
                    </a:lnTo>
                    <a:lnTo>
                      <a:pt x="472" y="492"/>
                    </a:lnTo>
                    <a:lnTo>
                      <a:pt x="472" y="488"/>
                    </a:lnTo>
                    <a:lnTo>
                      <a:pt x="468" y="488"/>
                    </a:lnTo>
                    <a:lnTo>
                      <a:pt x="468" y="492"/>
                    </a:lnTo>
                    <a:lnTo>
                      <a:pt x="464" y="492"/>
                    </a:lnTo>
                    <a:lnTo>
                      <a:pt x="464" y="488"/>
                    </a:lnTo>
                    <a:lnTo>
                      <a:pt x="462" y="492"/>
                    </a:lnTo>
                    <a:lnTo>
                      <a:pt x="464" y="492"/>
                    </a:lnTo>
                    <a:lnTo>
                      <a:pt x="468" y="492"/>
                    </a:lnTo>
                    <a:lnTo>
                      <a:pt x="468" y="496"/>
                    </a:lnTo>
                    <a:lnTo>
                      <a:pt x="468" y="492"/>
                    </a:lnTo>
                    <a:lnTo>
                      <a:pt x="464" y="496"/>
                    </a:lnTo>
                    <a:lnTo>
                      <a:pt x="468" y="496"/>
                    </a:lnTo>
                    <a:lnTo>
                      <a:pt x="468" y="500"/>
                    </a:lnTo>
                    <a:lnTo>
                      <a:pt x="464" y="500"/>
                    </a:lnTo>
                    <a:lnTo>
                      <a:pt x="464" y="504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8" y="504"/>
                    </a:lnTo>
                    <a:lnTo>
                      <a:pt x="450" y="504"/>
                    </a:lnTo>
                    <a:lnTo>
                      <a:pt x="450" y="508"/>
                    </a:lnTo>
                    <a:lnTo>
                      <a:pt x="454" y="508"/>
                    </a:lnTo>
                    <a:lnTo>
                      <a:pt x="454" y="512"/>
                    </a:lnTo>
                    <a:lnTo>
                      <a:pt x="458" y="512"/>
                    </a:lnTo>
                    <a:lnTo>
                      <a:pt x="458" y="514"/>
                    </a:lnTo>
                    <a:lnTo>
                      <a:pt x="458" y="518"/>
                    </a:lnTo>
                    <a:lnTo>
                      <a:pt x="462" y="518"/>
                    </a:lnTo>
                    <a:lnTo>
                      <a:pt x="458" y="518"/>
                    </a:lnTo>
                    <a:lnTo>
                      <a:pt x="454" y="518"/>
                    </a:lnTo>
                    <a:lnTo>
                      <a:pt x="450" y="522"/>
                    </a:lnTo>
                    <a:lnTo>
                      <a:pt x="446" y="518"/>
                    </a:lnTo>
                    <a:lnTo>
                      <a:pt x="442" y="518"/>
                    </a:lnTo>
                    <a:lnTo>
                      <a:pt x="442" y="522"/>
                    </a:lnTo>
                    <a:lnTo>
                      <a:pt x="446" y="522"/>
                    </a:lnTo>
                    <a:lnTo>
                      <a:pt x="450" y="526"/>
                    </a:lnTo>
                    <a:lnTo>
                      <a:pt x="454" y="526"/>
                    </a:lnTo>
                    <a:lnTo>
                      <a:pt x="454" y="522"/>
                    </a:lnTo>
                    <a:lnTo>
                      <a:pt x="458" y="526"/>
                    </a:lnTo>
                    <a:lnTo>
                      <a:pt x="454" y="530"/>
                    </a:lnTo>
                    <a:lnTo>
                      <a:pt x="458" y="530"/>
                    </a:lnTo>
                    <a:lnTo>
                      <a:pt x="458" y="534"/>
                    </a:lnTo>
                    <a:lnTo>
                      <a:pt x="458" y="538"/>
                    </a:lnTo>
                    <a:lnTo>
                      <a:pt x="454" y="538"/>
                    </a:lnTo>
                    <a:lnTo>
                      <a:pt x="454" y="534"/>
                    </a:lnTo>
                    <a:lnTo>
                      <a:pt x="450" y="534"/>
                    </a:lnTo>
                    <a:lnTo>
                      <a:pt x="446" y="534"/>
                    </a:lnTo>
                    <a:lnTo>
                      <a:pt x="442" y="534"/>
                    </a:lnTo>
                    <a:lnTo>
                      <a:pt x="446" y="534"/>
                    </a:lnTo>
                    <a:lnTo>
                      <a:pt x="450" y="534"/>
                    </a:lnTo>
                    <a:lnTo>
                      <a:pt x="450" y="538"/>
                    </a:lnTo>
                    <a:lnTo>
                      <a:pt x="454" y="538"/>
                    </a:lnTo>
                    <a:lnTo>
                      <a:pt x="454" y="540"/>
                    </a:lnTo>
                    <a:lnTo>
                      <a:pt x="454" y="538"/>
                    </a:lnTo>
                    <a:lnTo>
                      <a:pt x="450" y="538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6" y="538"/>
                    </a:lnTo>
                    <a:lnTo>
                      <a:pt x="446" y="540"/>
                    </a:lnTo>
                    <a:lnTo>
                      <a:pt x="450" y="540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6" y="540"/>
                    </a:lnTo>
                    <a:lnTo>
                      <a:pt x="450" y="544"/>
                    </a:lnTo>
                    <a:lnTo>
                      <a:pt x="446" y="544"/>
                    </a:lnTo>
                    <a:lnTo>
                      <a:pt x="446" y="540"/>
                    </a:lnTo>
                    <a:lnTo>
                      <a:pt x="442" y="540"/>
                    </a:lnTo>
                    <a:lnTo>
                      <a:pt x="440" y="540"/>
                    </a:lnTo>
                    <a:lnTo>
                      <a:pt x="442" y="544"/>
                    </a:lnTo>
                    <a:lnTo>
                      <a:pt x="446" y="544"/>
                    </a:lnTo>
                    <a:lnTo>
                      <a:pt x="446" y="548"/>
                    </a:lnTo>
                    <a:lnTo>
                      <a:pt x="442" y="548"/>
                    </a:lnTo>
                    <a:lnTo>
                      <a:pt x="440" y="548"/>
                    </a:lnTo>
                    <a:lnTo>
                      <a:pt x="440" y="544"/>
                    </a:lnTo>
                    <a:lnTo>
                      <a:pt x="440" y="548"/>
                    </a:lnTo>
                    <a:lnTo>
                      <a:pt x="442" y="548"/>
                    </a:lnTo>
                    <a:lnTo>
                      <a:pt x="442" y="552"/>
                    </a:lnTo>
                    <a:lnTo>
                      <a:pt x="440" y="552"/>
                    </a:lnTo>
                    <a:lnTo>
                      <a:pt x="440" y="548"/>
                    </a:lnTo>
                    <a:lnTo>
                      <a:pt x="436" y="548"/>
                    </a:lnTo>
                    <a:lnTo>
                      <a:pt x="440" y="552"/>
                    </a:lnTo>
                    <a:lnTo>
                      <a:pt x="442" y="552"/>
                    </a:lnTo>
                    <a:lnTo>
                      <a:pt x="442" y="556"/>
                    </a:lnTo>
                    <a:lnTo>
                      <a:pt x="440" y="556"/>
                    </a:lnTo>
                    <a:lnTo>
                      <a:pt x="436" y="556"/>
                    </a:lnTo>
                    <a:lnTo>
                      <a:pt x="432" y="556"/>
                    </a:lnTo>
                    <a:lnTo>
                      <a:pt x="432" y="552"/>
                    </a:lnTo>
                    <a:lnTo>
                      <a:pt x="436" y="552"/>
                    </a:lnTo>
                    <a:lnTo>
                      <a:pt x="432" y="552"/>
                    </a:lnTo>
                    <a:lnTo>
                      <a:pt x="432" y="556"/>
                    </a:lnTo>
                    <a:lnTo>
                      <a:pt x="432" y="560"/>
                    </a:lnTo>
                    <a:lnTo>
                      <a:pt x="428" y="556"/>
                    </a:lnTo>
                    <a:lnTo>
                      <a:pt x="428" y="560"/>
                    </a:lnTo>
                    <a:lnTo>
                      <a:pt x="424" y="560"/>
                    </a:lnTo>
                    <a:lnTo>
                      <a:pt x="420" y="556"/>
                    </a:lnTo>
                    <a:lnTo>
                      <a:pt x="420" y="560"/>
                    </a:lnTo>
                    <a:lnTo>
                      <a:pt x="424" y="560"/>
                    </a:lnTo>
                    <a:lnTo>
                      <a:pt x="428" y="560"/>
                    </a:lnTo>
                    <a:lnTo>
                      <a:pt x="432" y="564"/>
                    </a:lnTo>
                    <a:lnTo>
                      <a:pt x="436" y="564"/>
                    </a:lnTo>
                    <a:lnTo>
                      <a:pt x="436" y="568"/>
                    </a:lnTo>
                    <a:lnTo>
                      <a:pt x="432" y="568"/>
                    </a:lnTo>
                    <a:lnTo>
                      <a:pt x="432" y="564"/>
                    </a:lnTo>
                    <a:lnTo>
                      <a:pt x="428" y="564"/>
                    </a:lnTo>
                    <a:lnTo>
                      <a:pt x="424" y="564"/>
                    </a:lnTo>
                    <a:lnTo>
                      <a:pt x="428" y="564"/>
                    </a:lnTo>
                    <a:lnTo>
                      <a:pt x="428" y="568"/>
                    </a:lnTo>
                    <a:lnTo>
                      <a:pt x="432" y="568"/>
                    </a:lnTo>
                    <a:lnTo>
                      <a:pt x="436" y="570"/>
                    </a:lnTo>
                    <a:lnTo>
                      <a:pt x="432" y="570"/>
                    </a:lnTo>
                    <a:lnTo>
                      <a:pt x="432" y="574"/>
                    </a:lnTo>
                    <a:lnTo>
                      <a:pt x="436" y="574"/>
                    </a:lnTo>
                    <a:lnTo>
                      <a:pt x="436" y="578"/>
                    </a:lnTo>
                    <a:lnTo>
                      <a:pt x="432" y="578"/>
                    </a:lnTo>
                    <a:lnTo>
                      <a:pt x="436" y="578"/>
                    </a:lnTo>
                    <a:lnTo>
                      <a:pt x="432" y="582"/>
                    </a:lnTo>
                    <a:lnTo>
                      <a:pt x="428" y="582"/>
                    </a:lnTo>
                    <a:lnTo>
                      <a:pt x="428" y="578"/>
                    </a:lnTo>
                    <a:lnTo>
                      <a:pt x="424" y="578"/>
                    </a:lnTo>
                    <a:lnTo>
                      <a:pt x="424" y="582"/>
                    </a:lnTo>
                    <a:lnTo>
                      <a:pt x="428" y="578"/>
                    </a:lnTo>
                    <a:lnTo>
                      <a:pt x="428" y="582"/>
                    </a:lnTo>
                    <a:lnTo>
                      <a:pt x="432" y="582"/>
                    </a:lnTo>
                    <a:lnTo>
                      <a:pt x="432" y="584"/>
                    </a:lnTo>
                    <a:lnTo>
                      <a:pt x="428" y="584"/>
                    </a:lnTo>
                    <a:lnTo>
                      <a:pt x="424" y="584"/>
                    </a:lnTo>
                    <a:lnTo>
                      <a:pt x="428" y="584"/>
                    </a:lnTo>
                    <a:lnTo>
                      <a:pt x="432" y="584"/>
                    </a:lnTo>
                    <a:lnTo>
                      <a:pt x="432" y="588"/>
                    </a:lnTo>
                    <a:lnTo>
                      <a:pt x="428" y="588"/>
                    </a:lnTo>
                    <a:lnTo>
                      <a:pt x="428" y="592"/>
                    </a:lnTo>
                    <a:lnTo>
                      <a:pt x="428" y="588"/>
                    </a:lnTo>
                    <a:lnTo>
                      <a:pt x="424" y="588"/>
                    </a:lnTo>
                    <a:lnTo>
                      <a:pt x="420" y="588"/>
                    </a:lnTo>
                    <a:lnTo>
                      <a:pt x="424" y="588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4" y="592"/>
                    </a:lnTo>
                    <a:lnTo>
                      <a:pt x="420" y="592"/>
                    </a:lnTo>
                    <a:lnTo>
                      <a:pt x="424" y="592"/>
                    </a:lnTo>
                    <a:lnTo>
                      <a:pt x="428" y="592"/>
                    </a:lnTo>
                    <a:lnTo>
                      <a:pt x="428" y="596"/>
                    </a:lnTo>
                    <a:lnTo>
                      <a:pt x="424" y="596"/>
                    </a:lnTo>
                    <a:lnTo>
                      <a:pt x="420" y="596"/>
                    </a:lnTo>
                    <a:lnTo>
                      <a:pt x="418" y="592"/>
                    </a:lnTo>
                    <a:lnTo>
                      <a:pt x="418" y="596"/>
                    </a:lnTo>
                    <a:lnTo>
                      <a:pt x="420" y="596"/>
                    </a:lnTo>
                    <a:lnTo>
                      <a:pt x="424" y="596"/>
                    </a:lnTo>
                    <a:lnTo>
                      <a:pt x="428" y="596"/>
                    </a:lnTo>
                    <a:lnTo>
                      <a:pt x="428" y="600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0"/>
                    </a:lnTo>
                    <a:lnTo>
                      <a:pt x="424" y="600"/>
                    </a:lnTo>
                    <a:lnTo>
                      <a:pt x="428" y="600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4" y="600"/>
                    </a:lnTo>
                    <a:lnTo>
                      <a:pt x="420" y="600"/>
                    </a:lnTo>
                    <a:lnTo>
                      <a:pt x="418" y="600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4"/>
                    </a:lnTo>
                    <a:lnTo>
                      <a:pt x="420" y="604"/>
                    </a:lnTo>
                    <a:lnTo>
                      <a:pt x="424" y="604"/>
                    </a:lnTo>
                    <a:lnTo>
                      <a:pt x="424" y="608"/>
                    </a:lnTo>
                    <a:lnTo>
                      <a:pt x="424" y="604"/>
                    </a:lnTo>
                    <a:lnTo>
                      <a:pt x="428" y="604"/>
                    </a:lnTo>
                    <a:lnTo>
                      <a:pt x="424" y="608"/>
                    </a:lnTo>
                    <a:lnTo>
                      <a:pt x="420" y="608"/>
                    </a:lnTo>
                    <a:lnTo>
                      <a:pt x="420" y="612"/>
                    </a:lnTo>
                    <a:lnTo>
                      <a:pt x="418" y="608"/>
                    </a:lnTo>
                    <a:lnTo>
                      <a:pt x="414" y="608"/>
                    </a:lnTo>
                    <a:lnTo>
                      <a:pt x="414" y="604"/>
                    </a:lnTo>
                    <a:lnTo>
                      <a:pt x="414" y="608"/>
                    </a:lnTo>
                    <a:lnTo>
                      <a:pt x="410" y="608"/>
                    </a:lnTo>
                    <a:lnTo>
                      <a:pt x="406" y="608"/>
                    </a:lnTo>
                    <a:lnTo>
                      <a:pt x="410" y="608"/>
                    </a:lnTo>
                    <a:lnTo>
                      <a:pt x="418" y="608"/>
                    </a:lnTo>
                    <a:lnTo>
                      <a:pt x="420" y="612"/>
                    </a:lnTo>
                    <a:lnTo>
                      <a:pt x="418" y="612"/>
                    </a:lnTo>
                    <a:lnTo>
                      <a:pt x="418" y="614"/>
                    </a:lnTo>
                    <a:lnTo>
                      <a:pt x="418" y="612"/>
                    </a:lnTo>
                    <a:lnTo>
                      <a:pt x="420" y="612"/>
                    </a:lnTo>
                    <a:lnTo>
                      <a:pt x="420" y="614"/>
                    </a:lnTo>
                    <a:lnTo>
                      <a:pt x="420" y="618"/>
                    </a:lnTo>
                    <a:lnTo>
                      <a:pt x="418" y="618"/>
                    </a:lnTo>
                    <a:lnTo>
                      <a:pt x="414" y="618"/>
                    </a:lnTo>
                    <a:lnTo>
                      <a:pt x="414" y="614"/>
                    </a:lnTo>
                    <a:lnTo>
                      <a:pt x="410" y="614"/>
                    </a:lnTo>
                    <a:lnTo>
                      <a:pt x="410" y="612"/>
                    </a:lnTo>
                    <a:lnTo>
                      <a:pt x="410" y="614"/>
                    </a:lnTo>
                    <a:lnTo>
                      <a:pt x="406" y="614"/>
                    </a:lnTo>
                    <a:lnTo>
                      <a:pt x="406" y="618"/>
                    </a:lnTo>
                    <a:lnTo>
                      <a:pt x="402" y="614"/>
                    </a:lnTo>
                    <a:lnTo>
                      <a:pt x="402" y="618"/>
                    </a:lnTo>
                    <a:lnTo>
                      <a:pt x="402" y="622"/>
                    </a:lnTo>
                    <a:lnTo>
                      <a:pt x="398" y="618"/>
                    </a:lnTo>
                    <a:lnTo>
                      <a:pt x="394" y="618"/>
                    </a:lnTo>
                    <a:lnTo>
                      <a:pt x="394" y="614"/>
                    </a:lnTo>
                    <a:lnTo>
                      <a:pt x="398" y="614"/>
                    </a:lnTo>
                    <a:lnTo>
                      <a:pt x="398" y="612"/>
                    </a:lnTo>
                    <a:lnTo>
                      <a:pt x="402" y="612"/>
                    </a:lnTo>
                    <a:lnTo>
                      <a:pt x="402" y="608"/>
                    </a:lnTo>
                    <a:lnTo>
                      <a:pt x="398" y="614"/>
                    </a:lnTo>
                    <a:lnTo>
                      <a:pt x="394" y="614"/>
                    </a:lnTo>
                    <a:lnTo>
                      <a:pt x="394" y="618"/>
                    </a:lnTo>
                    <a:lnTo>
                      <a:pt x="392" y="618"/>
                    </a:lnTo>
                    <a:lnTo>
                      <a:pt x="394" y="614"/>
                    </a:lnTo>
                    <a:lnTo>
                      <a:pt x="392" y="614"/>
                    </a:lnTo>
                    <a:lnTo>
                      <a:pt x="394" y="614"/>
                    </a:lnTo>
                    <a:lnTo>
                      <a:pt x="394" y="612"/>
                    </a:lnTo>
                    <a:lnTo>
                      <a:pt x="398" y="612"/>
                    </a:lnTo>
                    <a:lnTo>
                      <a:pt x="398" y="604"/>
                    </a:lnTo>
                    <a:lnTo>
                      <a:pt x="402" y="604"/>
                    </a:lnTo>
                    <a:lnTo>
                      <a:pt x="398" y="604"/>
                    </a:lnTo>
                    <a:lnTo>
                      <a:pt x="398" y="608"/>
                    </a:lnTo>
                    <a:lnTo>
                      <a:pt x="394" y="608"/>
                    </a:lnTo>
                    <a:lnTo>
                      <a:pt x="394" y="612"/>
                    </a:lnTo>
                    <a:lnTo>
                      <a:pt x="392" y="612"/>
                    </a:lnTo>
                    <a:lnTo>
                      <a:pt x="392" y="608"/>
                    </a:lnTo>
                    <a:lnTo>
                      <a:pt x="394" y="608"/>
                    </a:lnTo>
                    <a:lnTo>
                      <a:pt x="394" y="604"/>
                    </a:lnTo>
                    <a:lnTo>
                      <a:pt x="394" y="608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92" y="608"/>
                    </a:lnTo>
                    <a:lnTo>
                      <a:pt x="392" y="604"/>
                    </a:lnTo>
                    <a:lnTo>
                      <a:pt x="392" y="608"/>
                    </a:lnTo>
                    <a:lnTo>
                      <a:pt x="388" y="608"/>
                    </a:lnTo>
                    <a:lnTo>
                      <a:pt x="388" y="612"/>
                    </a:lnTo>
                    <a:lnTo>
                      <a:pt x="384" y="608"/>
                    </a:lnTo>
                    <a:lnTo>
                      <a:pt x="388" y="608"/>
                    </a:lnTo>
                    <a:lnTo>
                      <a:pt x="384" y="608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8" y="604"/>
                    </a:lnTo>
                    <a:lnTo>
                      <a:pt x="392" y="600"/>
                    </a:lnTo>
                    <a:lnTo>
                      <a:pt x="392" y="596"/>
                    </a:lnTo>
                    <a:lnTo>
                      <a:pt x="392" y="600"/>
                    </a:lnTo>
                    <a:lnTo>
                      <a:pt x="388" y="600"/>
                    </a:lnTo>
                    <a:lnTo>
                      <a:pt x="388" y="604"/>
                    </a:lnTo>
                    <a:lnTo>
                      <a:pt x="384" y="604"/>
                    </a:lnTo>
                    <a:lnTo>
                      <a:pt x="384" y="600"/>
                    </a:lnTo>
                    <a:lnTo>
                      <a:pt x="384" y="604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604"/>
                    </a:lnTo>
                    <a:lnTo>
                      <a:pt x="380" y="600"/>
                    </a:lnTo>
                    <a:lnTo>
                      <a:pt x="384" y="600"/>
                    </a:lnTo>
                    <a:lnTo>
                      <a:pt x="388" y="600"/>
                    </a:lnTo>
                    <a:lnTo>
                      <a:pt x="388" y="596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92" y="596"/>
                    </a:lnTo>
                    <a:lnTo>
                      <a:pt x="392" y="592"/>
                    </a:lnTo>
                    <a:lnTo>
                      <a:pt x="388" y="592"/>
                    </a:lnTo>
                    <a:lnTo>
                      <a:pt x="388" y="596"/>
                    </a:lnTo>
                    <a:lnTo>
                      <a:pt x="384" y="600"/>
                    </a:lnTo>
                    <a:lnTo>
                      <a:pt x="384" y="596"/>
                    </a:lnTo>
                    <a:lnTo>
                      <a:pt x="384" y="600"/>
                    </a:lnTo>
                    <a:lnTo>
                      <a:pt x="380" y="600"/>
                    </a:lnTo>
                    <a:lnTo>
                      <a:pt x="380" y="596"/>
                    </a:lnTo>
                    <a:lnTo>
                      <a:pt x="384" y="596"/>
                    </a:lnTo>
                    <a:lnTo>
                      <a:pt x="388" y="592"/>
                    </a:lnTo>
                    <a:lnTo>
                      <a:pt x="384" y="592"/>
                    </a:lnTo>
                    <a:lnTo>
                      <a:pt x="384" y="588"/>
                    </a:lnTo>
                    <a:lnTo>
                      <a:pt x="388" y="588"/>
                    </a:lnTo>
                    <a:lnTo>
                      <a:pt x="384" y="588"/>
                    </a:lnTo>
                    <a:lnTo>
                      <a:pt x="380" y="592"/>
                    </a:lnTo>
                    <a:lnTo>
                      <a:pt x="384" y="592"/>
                    </a:lnTo>
                    <a:lnTo>
                      <a:pt x="384" y="596"/>
                    </a:lnTo>
                    <a:lnTo>
                      <a:pt x="380" y="596"/>
                    </a:lnTo>
                    <a:lnTo>
                      <a:pt x="376" y="596"/>
                    </a:lnTo>
                    <a:lnTo>
                      <a:pt x="372" y="596"/>
                    </a:lnTo>
                    <a:lnTo>
                      <a:pt x="372" y="600"/>
                    </a:lnTo>
                    <a:lnTo>
                      <a:pt x="368" y="600"/>
                    </a:lnTo>
                    <a:lnTo>
                      <a:pt x="372" y="600"/>
                    </a:lnTo>
                    <a:lnTo>
                      <a:pt x="368" y="604"/>
                    </a:lnTo>
                    <a:lnTo>
                      <a:pt x="368" y="600"/>
                    </a:lnTo>
                    <a:lnTo>
                      <a:pt x="368" y="596"/>
                    </a:lnTo>
                    <a:lnTo>
                      <a:pt x="364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62" y="600"/>
                    </a:lnTo>
                    <a:lnTo>
                      <a:pt x="358" y="600"/>
                    </a:lnTo>
                    <a:lnTo>
                      <a:pt x="354" y="600"/>
                    </a:lnTo>
                    <a:lnTo>
                      <a:pt x="350" y="600"/>
                    </a:lnTo>
                    <a:lnTo>
                      <a:pt x="354" y="600"/>
                    </a:lnTo>
                    <a:lnTo>
                      <a:pt x="358" y="596"/>
                    </a:lnTo>
                    <a:lnTo>
                      <a:pt x="354" y="596"/>
                    </a:lnTo>
                    <a:lnTo>
                      <a:pt x="350" y="600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50" y="596"/>
                    </a:lnTo>
                    <a:lnTo>
                      <a:pt x="354" y="596"/>
                    </a:lnTo>
                    <a:lnTo>
                      <a:pt x="350" y="596"/>
                    </a:lnTo>
                    <a:lnTo>
                      <a:pt x="350" y="592"/>
                    </a:lnTo>
                    <a:lnTo>
                      <a:pt x="354" y="588"/>
                    </a:lnTo>
                    <a:lnTo>
                      <a:pt x="350" y="588"/>
                    </a:lnTo>
                    <a:lnTo>
                      <a:pt x="350" y="592"/>
                    </a:lnTo>
                    <a:lnTo>
                      <a:pt x="350" y="596"/>
                    </a:lnTo>
                    <a:lnTo>
                      <a:pt x="346" y="592"/>
                    </a:lnTo>
                    <a:lnTo>
                      <a:pt x="350" y="592"/>
                    </a:lnTo>
                    <a:lnTo>
                      <a:pt x="346" y="592"/>
                    </a:lnTo>
                    <a:lnTo>
                      <a:pt x="342" y="592"/>
                    </a:lnTo>
                    <a:lnTo>
                      <a:pt x="346" y="592"/>
                    </a:lnTo>
                    <a:lnTo>
                      <a:pt x="346" y="588"/>
                    </a:lnTo>
                    <a:lnTo>
                      <a:pt x="342" y="588"/>
                    </a:lnTo>
                    <a:lnTo>
                      <a:pt x="338" y="588"/>
                    </a:lnTo>
                    <a:lnTo>
                      <a:pt x="342" y="584"/>
                    </a:lnTo>
                    <a:lnTo>
                      <a:pt x="346" y="584"/>
                    </a:lnTo>
                    <a:lnTo>
                      <a:pt x="350" y="584"/>
                    </a:lnTo>
                    <a:lnTo>
                      <a:pt x="346" y="584"/>
                    </a:lnTo>
                    <a:lnTo>
                      <a:pt x="342" y="584"/>
                    </a:lnTo>
                    <a:lnTo>
                      <a:pt x="338" y="584"/>
                    </a:lnTo>
                    <a:lnTo>
                      <a:pt x="334" y="584"/>
                    </a:lnTo>
                    <a:lnTo>
                      <a:pt x="338" y="584"/>
                    </a:lnTo>
                    <a:lnTo>
                      <a:pt x="342" y="584"/>
                    </a:lnTo>
                    <a:lnTo>
                      <a:pt x="346" y="582"/>
                    </a:lnTo>
                    <a:lnTo>
                      <a:pt x="342" y="582"/>
                    </a:lnTo>
                    <a:lnTo>
                      <a:pt x="338" y="584"/>
                    </a:lnTo>
                    <a:lnTo>
                      <a:pt x="338" y="582"/>
                    </a:lnTo>
                    <a:lnTo>
                      <a:pt x="334" y="582"/>
                    </a:lnTo>
                    <a:lnTo>
                      <a:pt x="338" y="578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4" y="578"/>
                    </a:lnTo>
                    <a:lnTo>
                      <a:pt x="334" y="582"/>
                    </a:lnTo>
                    <a:lnTo>
                      <a:pt x="334" y="578"/>
                    </a:lnTo>
                    <a:lnTo>
                      <a:pt x="332" y="578"/>
                    </a:lnTo>
                    <a:lnTo>
                      <a:pt x="334" y="574"/>
                    </a:lnTo>
                    <a:lnTo>
                      <a:pt x="338" y="574"/>
                    </a:lnTo>
                    <a:lnTo>
                      <a:pt x="342" y="574"/>
                    </a:lnTo>
                    <a:lnTo>
                      <a:pt x="338" y="574"/>
                    </a:lnTo>
                    <a:lnTo>
                      <a:pt x="338" y="570"/>
                    </a:lnTo>
                    <a:lnTo>
                      <a:pt x="334" y="570"/>
                    </a:lnTo>
                    <a:lnTo>
                      <a:pt x="334" y="574"/>
                    </a:lnTo>
                    <a:lnTo>
                      <a:pt x="332" y="574"/>
                    </a:lnTo>
                    <a:lnTo>
                      <a:pt x="328" y="574"/>
                    </a:lnTo>
                    <a:lnTo>
                      <a:pt x="328" y="570"/>
                    </a:lnTo>
                    <a:lnTo>
                      <a:pt x="332" y="570"/>
                    </a:lnTo>
                    <a:lnTo>
                      <a:pt x="332" y="574"/>
                    </a:lnTo>
                    <a:lnTo>
                      <a:pt x="334" y="570"/>
                    </a:lnTo>
                    <a:lnTo>
                      <a:pt x="332" y="570"/>
                    </a:lnTo>
                    <a:lnTo>
                      <a:pt x="334" y="570"/>
                    </a:lnTo>
                    <a:lnTo>
                      <a:pt x="334" y="568"/>
                    </a:lnTo>
                    <a:lnTo>
                      <a:pt x="332" y="570"/>
                    </a:lnTo>
                    <a:lnTo>
                      <a:pt x="328" y="568"/>
                    </a:lnTo>
                    <a:lnTo>
                      <a:pt x="328" y="570"/>
                    </a:lnTo>
                    <a:lnTo>
                      <a:pt x="328" y="568"/>
                    </a:lnTo>
                    <a:lnTo>
                      <a:pt x="324" y="568"/>
                    </a:lnTo>
                    <a:lnTo>
                      <a:pt x="320" y="564"/>
                    </a:lnTo>
                    <a:lnTo>
                      <a:pt x="320" y="560"/>
                    </a:lnTo>
                    <a:lnTo>
                      <a:pt x="324" y="556"/>
                    </a:lnTo>
                    <a:lnTo>
                      <a:pt x="320" y="560"/>
                    </a:lnTo>
                    <a:lnTo>
                      <a:pt x="320" y="556"/>
                    </a:lnTo>
                    <a:lnTo>
                      <a:pt x="324" y="552"/>
                    </a:lnTo>
                    <a:lnTo>
                      <a:pt x="328" y="552"/>
                    </a:lnTo>
                    <a:lnTo>
                      <a:pt x="328" y="548"/>
                    </a:lnTo>
                    <a:lnTo>
                      <a:pt x="328" y="552"/>
                    </a:lnTo>
                    <a:lnTo>
                      <a:pt x="324" y="552"/>
                    </a:lnTo>
                    <a:lnTo>
                      <a:pt x="320" y="556"/>
                    </a:lnTo>
                    <a:lnTo>
                      <a:pt x="320" y="552"/>
                    </a:lnTo>
                    <a:lnTo>
                      <a:pt x="324" y="552"/>
                    </a:lnTo>
                    <a:lnTo>
                      <a:pt x="320" y="552"/>
                    </a:lnTo>
                    <a:lnTo>
                      <a:pt x="316" y="552"/>
                    </a:lnTo>
                    <a:lnTo>
                      <a:pt x="316" y="548"/>
                    </a:lnTo>
                    <a:lnTo>
                      <a:pt x="320" y="548"/>
                    </a:lnTo>
                    <a:lnTo>
                      <a:pt x="324" y="544"/>
                    </a:lnTo>
                    <a:lnTo>
                      <a:pt x="320" y="544"/>
                    </a:lnTo>
                    <a:lnTo>
                      <a:pt x="320" y="548"/>
                    </a:lnTo>
                    <a:lnTo>
                      <a:pt x="316" y="548"/>
                    </a:lnTo>
                    <a:lnTo>
                      <a:pt x="316" y="544"/>
                    </a:lnTo>
                    <a:lnTo>
                      <a:pt x="312" y="548"/>
                    </a:lnTo>
                    <a:lnTo>
                      <a:pt x="312" y="544"/>
                    </a:lnTo>
                    <a:lnTo>
                      <a:pt x="312" y="548"/>
                    </a:lnTo>
                    <a:lnTo>
                      <a:pt x="308" y="548"/>
                    </a:lnTo>
                    <a:lnTo>
                      <a:pt x="308" y="544"/>
                    </a:lnTo>
                    <a:lnTo>
                      <a:pt x="312" y="544"/>
                    </a:lnTo>
                    <a:lnTo>
                      <a:pt x="316" y="544"/>
                    </a:lnTo>
                    <a:lnTo>
                      <a:pt x="320" y="540"/>
                    </a:lnTo>
                    <a:lnTo>
                      <a:pt x="316" y="540"/>
                    </a:lnTo>
                    <a:lnTo>
                      <a:pt x="312" y="540"/>
                    </a:lnTo>
                    <a:lnTo>
                      <a:pt x="308" y="540"/>
                    </a:lnTo>
                    <a:lnTo>
                      <a:pt x="312" y="540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8" y="538"/>
                    </a:lnTo>
                    <a:lnTo>
                      <a:pt x="312" y="538"/>
                    </a:lnTo>
                    <a:lnTo>
                      <a:pt x="316" y="538"/>
                    </a:lnTo>
                    <a:lnTo>
                      <a:pt x="312" y="538"/>
                    </a:lnTo>
                    <a:lnTo>
                      <a:pt x="308" y="538"/>
                    </a:lnTo>
                    <a:lnTo>
                      <a:pt x="308" y="540"/>
                    </a:lnTo>
                    <a:lnTo>
                      <a:pt x="306" y="538"/>
                    </a:lnTo>
                    <a:lnTo>
                      <a:pt x="302" y="538"/>
                    </a:lnTo>
                    <a:lnTo>
                      <a:pt x="302" y="534"/>
                    </a:lnTo>
                    <a:lnTo>
                      <a:pt x="306" y="534"/>
                    </a:lnTo>
                    <a:lnTo>
                      <a:pt x="308" y="534"/>
                    </a:lnTo>
                    <a:lnTo>
                      <a:pt x="308" y="530"/>
                    </a:lnTo>
                    <a:lnTo>
                      <a:pt x="312" y="530"/>
                    </a:lnTo>
                    <a:lnTo>
                      <a:pt x="308" y="530"/>
                    </a:lnTo>
                    <a:lnTo>
                      <a:pt x="306" y="530"/>
                    </a:lnTo>
                    <a:lnTo>
                      <a:pt x="306" y="534"/>
                    </a:lnTo>
                    <a:lnTo>
                      <a:pt x="306" y="530"/>
                    </a:lnTo>
                    <a:lnTo>
                      <a:pt x="302" y="530"/>
                    </a:lnTo>
                    <a:lnTo>
                      <a:pt x="302" y="526"/>
                    </a:lnTo>
                    <a:lnTo>
                      <a:pt x="306" y="526"/>
                    </a:lnTo>
                    <a:lnTo>
                      <a:pt x="312" y="526"/>
                    </a:lnTo>
                    <a:lnTo>
                      <a:pt x="316" y="526"/>
                    </a:lnTo>
                    <a:lnTo>
                      <a:pt x="316" y="522"/>
                    </a:lnTo>
                    <a:lnTo>
                      <a:pt x="316" y="526"/>
                    </a:lnTo>
                    <a:lnTo>
                      <a:pt x="320" y="522"/>
                    </a:lnTo>
                    <a:lnTo>
                      <a:pt x="324" y="522"/>
                    </a:lnTo>
                    <a:lnTo>
                      <a:pt x="320" y="522"/>
                    </a:lnTo>
                    <a:lnTo>
                      <a:pt x="316" y="522"/>
                    </a:lnTo>
                    <a:lnTo>
                      <a:pt x="312" y="522"/>
                    </a:lnTo>
                    <a:lnTo>
                      <a:pt x="312" y="526"/>
                    </a:lnTo>
                    <a:lnTo>
                      <a:pt x="308" y="526"/>
                    </a:lnTo>
                    <a:lnTo>
                      <a:pt x="306" y="526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6" y="526"/>
                    </a:lnTo>
                    <a:lnTo>
                      <a:pt x="306" y="522"/>
                    </a:lnTo>
                    <a:lnTo>
                      <a:pt x="302" y="522"/>
                    </a:lnTo>
                    <a:lnTo>
                      <a:pt x="302" y="526"/>
                    </a:lnTo>
                    <a:lnTo>
                      <a:pt x="302" y="522"/>
                    </a:lnTo>
                    <a:lnTo>
                      <a:pt x="306" y="522"/>
                    </a:lnTo>
                    <a:lnTo>
                      <a:pt x="308" y="522"/>
                    </a:lnTo>
                    <a:lnTo>
                      <a:pt x="312" y="522"/>
                    </a:lnTo>
                    <a:lnTo>
                      <a:pt x="308" y="522"/>
                    </a:lnTo>
                    <a:lnTo>
                      <a:pt x="312" y="518"/>
                    </a:lnTo>
                    <a:lnTo>
                      <a:pt x="316" y="518"/>
                    </a:lnTo>
                    <a:lnTo>
                      <a:pt x="320" y="518"/>
                    </a:lnTo>
                    <a:lnTo>
                      <a:pt x="324" y="518"/>
                    </a:lnTo>
                    <a:lnTo>
                      <a:pt x="324" y="514"/>
                    </a:lnTo>
                    <a:lnTo>
                      <a:pt x="320" y="514"/>
                    </a:lnTo>
                    <a:lnTo>
                      <a:pt x="320" y="518"/>
                    </a:lnTo>
                    <a:lnTo>
                      <a:pt x="316" y="518"/>
                    </a:lnTo>
                    <a:lnTo>
                      <a:pt x="316" y="514"/>
                    </a:lnTo>
                    <a:lnTo>
                      <a:pt x="320" y="514"/>
                    </a:lnTo>
                    <a:lnTo>
                      <a:pt x="316" y="514"/>
                    </a:lnTo>
                    <a:lnTo>
                      <a:pt x="312" y="514"/>
                    </a:lnTo>
                    <a:lnTo>
                      <a:pt x="312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20" y="512"/>
                    </a:lnTo>
                    <a:lnTo>
                      <a:pt x="320" y="514"/>
                    </a:lnTo>
                    <a:lnTo>
                      <a:pt x="324" y="514"/>
                    </a:lnTo>
                    <a:lnTo>
                      <a:pt x="324" y="518"/>
                    </a:lnTo>
                    <a:lnTo>
                      <a:pt x="328" y="518"/>
                    </a:lnTo>
                    <a:lnTo>
                      <a:pt x="332" y="518"/>
                    </a:lnTo>
                    <a:lnTo>
                      <a:pt x="328" y="518"/>
                    </a:lnTo>
                    <a:lnTo>
                      <a:pt x="324" y="514"/>
                    </a:lnTo>
                    <a:lnTo>
                      <a:pt x="324" y="512"/>
                    </a:lnTo>
                    <a:lnTo>
                      <a:pt x="320" y="512"/>
                    </a:lnTo>
                    <a:lnTo>
                      <a:pt x="324" y="508"/>
                    </a:lnTo>
                    <a:lnTo>
                      <a:pt x="320" y="508"/>
                    </a:lnTo>
                    <a:lnTo>
                      <a:pt x="320" y="512"/>
                    </a:lnTo>
                    <a:lnTo>
                      <a:pt x="316" y="512"/>
                    </a:lnTo>
                    <a:lnTo>
                      <a:pt x="316" y="508"/>
                    </a:lnTo>
                    <a:lnTo>
                      <a:pt x="316" y="504"/>
                    </a:lnTo>
                    <a:lnTo>
                      <a:pt x="312" y="504"/>
                    </a:lnTo>
                    <a:lnTo>
                      <a:pt x="312" y="500"/>
                    </a:lnTo>
                    <a:lnTo>
                      <a:pt x="312" y="504"/>
                    </a:lnTo>
                    <a:lnTo>
                      <a:pt x="316" y="508"/>
                    </a:lnTo>
                    <a:lnTo>
                      <a:pt x="316" y="512"/>
                    </a:lnTo>
                    <a:lnTo>
                      <a:pt x="312" y="512"/>
                    </a:lnTo>
                    <a:lnTo>
                      <a:pt x="308" y="512"/>
                    </a:lnTo>
                    <a:lnTo>
                      <a:pt x="308" y="514"/>
                    </a:lnTo>
                    <a:lnTo>
                      <a:pt x="308" y="512"/>
                    </a:lnTo>
                    <a:lnTo>
                      <a:pt x="308" y="508"/>
                    </a:lnTo>
                    <a:lnTo>
                      <a:pt x="308" y="512"/>
                    </a:lnTo>
                    <a:lnTo>
                      <a:pt x="306" y="512"/>
                    </a:lnTo>
                    <a:lnTo>
                      <a:pt x="306" y="514"/>
                    </a:lnTo>
                    <a:lnTo>
                      <a:pt x="302" y="518"/>
                    </a:lnTo>
                    <a:lnTo>
                      <a:pt x="302" y="522"/>
                    </a:lnTo>
                    <a:lnTo>
                      <a:pt x="298" y="522"/>
                    </a:lnTo>
                    <a:lnTo>
                      <a:pt x="298" y="518"/>
                    </a:lnTo>
                    <a:lnTo>
                      <a:pt x="294" y="518"/>
                    </a:lnTo>
                    <a:lnTo>
                      <a:pt x="294" y="514"/>
                    </a:lnTo>
                    <a:lnTo>
                      <a:pt x="294" y="512"/>
                    </a:lnTo>
                    <a:lnTo>
                      <a:pt x="298" y="508"/>
                    </a:lnTo>
                    <a:lnTo>
                      <a:pt x="302" y="508"/>
                    </a:lnTo>
                    <a:lnTo>
                      <a:pt x="306" y="508"/>
                    </a:lnTo>
                    <a:lnTo>
                      <a:pt x="306" y="504"/>
                    </a:lnTo>
                    <a:lnTo>
                      <a:pt x="308" y="504"/>
                    </a:lnTo>
                    <a:lnTo>
                      <a:pt x="306" y="504"/>
                    </a:lnTo>
                    <a:lnTo>
                      <a:pt x="302" y="508"/>
                    </a:lnTo>
                    <a:lnTo>
                      <a:pt x="302" y="504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8" y="508"/>
                    </a:lnTo>
                    <a:lnTo>
                      <a:pt x="294" y="508"/>
                    </a:lnTo>
                    <a:lnTo>
                      <a:pt x="294" y="504"/>
                    </a:lnTo>
                    <a:lnTo>
                      <a:pt x="298" y="504"/>
                    </a:lnTo>
                    <a:lnTo>
                      <a:pt x="294" y="504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4" y="500"/>
                    </a:lnTo>
                    <a:lnTo>
                      <a:pt x="290" y="500"/>
                    </a:lnTo>
                    <a:lnTo>
                      <a:pt x="294" y="500"/>
                    </a:lnTo>
                    <a:lnTo>
                      <a:pt x="294" y="496"/>
                    </a:lnTo>
                    <a:lnTo>
                      <a:pt x="290" y="496"/>
                    </a:lnTo>
                    <a:lnTo>
                      <a:pt x="290" y="500"/>
                    </a:lnTo>
                    <a:lnTo>
                      <a:pt x="290" y="496"/>
                    </a:lnTo>
                    <a:lnTo>
                      <a:pt x="294" y="492"/>
                    </a:lnTo>
                    <a:lnTo>
                      <a:pt x="298" y="492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298" y="488"/>
                    </a:lnTo>
                    <a:lnTo>
                      <a:pt x="302" y="488"/>
                    </a:lnTo>
                    <a:lnTo>
                      <a:pt x="302" y="484"/>
                    </a:lnTo>
                    <a:lnTo>
                      <a:pt x="306" y="484"/>
                    </a:lnTo>
                    <a:lnTo>
                      <a:pt x="308" y="484"/>
                    </a:lnTo>
                    <a:lnTo>
                      <a:pt x="312" y="484"/>
                    </a:lnTo>
                    <a:lnTo>
                      <a:pt x="312" y="488"/>
                    </a:lnTo>
                    <a:lnTo>
                      <a:pt x="316" y="488"/>
                    </a:lnTo>
                    <a:lnTo>
                      <a:pt x="316" y="484"/>
                    </a:lnTo>
                    <a:lnTo>
                      <a:pt x="312" y="484"/>
                    </a:lnTo>
                    <a:lnTo>
                      <a:pt x="308" y="484"/>
                    </a:lnTo>
                    <a:lnTo>
                      <a:pt x="306" y="484"/>
                    </a:lnTo>
                    <a:lnTo>
                      <a:pt x="302" y="484"/>
                    </a:lnTo>
                    <a:lnTo>
                      <a:pt x="298" y="488"/>
                    </a:lnTo>
                    <a:lnTo>
                      <a:pt x="298" y="492"/>
                    </a:lnTo>
                    <a:lnTo>
                      <a:pt x="294" y="492"/>
                    </a:lnTo>
                    <a:lnTo>
                      <a:pt x="290" y="492"/>
                    </a:lnTo>
                    <a:lnTo>
                      <a:pt x="290" y="496"/>
                    </a:lnTo>
                    <a:lnTo>
                      <a:pt x="286" y="492"/>
                    </a:lnTo>
                    <a:lnTo>
                      <a:pt x="290" y="488"/>
                    </a:lnTo>
                    <a:lnTo>
                      <a:pt x="286" y="488"/>
                    </a:lnTo>
                    <a:lnTo>
                      <a:pt x="286" y="492"/>
                    </a:lnTo>
                    <a:lnTo>
                      <a:pt x="286" y="488"/>
                    </a:lnTo>
                    <a:lnTo>
                      <a:pt x="286" y="484"/>
                    </a:lnTo>
                    <a:lnTo>
                      <a:pt x="286" y="488"/>
                    </a:lnTo>
                    <a:lnTo>
                      <a:pt x="282" y="488"/>
                    </a:lnTo>
                    <a:lnTo>
                      <a:pt x="278" y="488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78" y="484"/>
                    </a:lnTo>
                    <a:lnTo>
                      <a:pt x="282" y="484"/>
                    </a:lnTo>
                    <a:lnTo>
                      <a:pt x="282" y="482"/>
                    </a:lnTo>
                    <a:lnTo>
                      <a:pt x="286" y="482"/>
                    </a:lnTo>
                    <a:lnTo>
                      <a:pt x="290" y="482"/>
                    </a:lnTo>
                    <a:lnTo>
                      <a:pt x="294" y="482"/>
                    </a:lnTo>
                    <a:lnTo>
                      <a:pt x="298" y="482"/>
                    </a:lnTo>
                    <a:lnTo>
                      <a:pt x="298" y="478"/>
                    </a:lnTo>
                    <a:lnTo>
                      <a:pt x="294" y="482"/>
                    </a:lnTo>
                    <a:lnTo>
                      <a:pt x="290" y="482"/>
                    </a:lnTo>
                    <a:lnTo>
                      <a:pt x="286" y="482"/>
                    </a:lnTo>
                    <a:lnTo>
                      <a:pt x="282" y="482"/>
                    </a:lnTo>
                    <a:lnTo>
                      <a:pt x="278" y="484"/>
                    </a:lnTo>
                    <a:lnTo>
                      <a:pt x="278" y="482"/>
                    </a:lnTo>
                    <a:lnTo>
                      <a:pt x="282" y="482"/>
                    </a:lnTo>
                    <a:lnTo>
                      <a:pt x="282" y="478"/>
                    </a:lnTo>
                    <a:lnTo>
                      <a:pt x="282" y="482"/>
                    </a:lnTo>
                    <a:lnTo>
                      <a:pt x="278" y="482"/>
                    </a:lnTo>
                    <a:lnTo>
                      <a:pt x="276" y="482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8" y="482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8" y="478"/>
                    </a:lnTo>
                    <a:lnTo>
                      <a:pt x="282" y="478"/>
                    </a:lnTo>
                    <a:lnTo>
                      <a:pt x="282" y="474"/>
                    </a:lnTo>
                    <a:lnTo>
                      <a:pt x="286" y="474"/>
                    </a:lnTo>
                    <a:lnTo>
                      <a:pt x="286" y="470"/>
                    </a:lnTo>
                    <a:lnTo>
                      <a:pt x="290" y="470"/>
                    </a:lnTo>
                    <a:lnTo>
                      <a:pt x="294" y="470"/>
                    </a:lnTo>
                    <a:lnTo>
                      <a:pt x="294" y="466"/>
                    </a:lnTo>
                    <a:lnTo>
                      <a:pt x="298" y="466"/>
                    </a:lnTo>
                    <a:lnTo>
                      <a:pt x="298" y="462"/>
                    </a:lnTo>
                    <a:lnTo>
                      <a:pt x="302" y="462"/>
                    </a:lnTo>
                    <a:lnTo>
                      <a:pt x="306" y="462"/>
                    </a:lnTo>
                    <a:lnTo>
                      <a:pt x="306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6" y="458"/>
                    </a:lnTo>
                    <a:lnTo>
                      <a:pt x="320" y="458"/>
                    </a:lnTo>
                    <a:lnTo>
                      <a:pt x="316" y="458"/>
                    </a:lnTo>
                    <a:lnTo>
                      <a:pt x="312" y="458"/>
                    </a:lnTo>
                    <a:lnTo>
                      <a:pt x="308" y="458"/>
                    </a:lnTo>
                    <a:lnTo>
                      <a:pt x="312" y="458"/>
                    </a:lnTo>
                    <a:lnTo>
                      <a:pt x="312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24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20" y="456"/>
                    </a:lnTo>
                    <a:lnTo>
                      <a:pt x="316" y="456"/>
                    </a:lnTo>
                    <a:lnTo>
                      <a:pt x="312" y="456"/>
                    </a:lnTo>
                    <a:lnTo>
                      <a:pt x="308" y="456"/>
                    </a:lnTo>
                    <a:lnTo>
                      <a:pt x="308" y="458"/>
                    </a:lnTo>
                    <a:lnTo>
                      <a:pt x="306" y="458"/>
                    </a:lnTo>
                    <a:lnTo>
                      <a:pt x="302" y="458"/>
                    </a:lnTo>
                    <a:lnTo>
                      <a:pt x="302" y="462"/>
                    </a:lnTo>
                    <a:lnTo>
                      <a:pt x="298" y="462"/>
                    </a:lnTo>
                    <a:lnTo>
                      <a:pt x="298" y="466"/>
                    </a:lnTo>
                    <a:lnTo>
                      <a:pt x="294" y="466"/>
                    </a:lnTo>
                    <a:lnTo>
                      <a:pt x="290" y="470"/>
                    </a:lnTo>
                    <a:lnTo>
                      <a:pt x="286" y="470"/>
                    </a:lnTo>
                    <a:lnTo>
                      <a:pt x="286" y="474"/>
                    </a:lnTo>
                    <a:lnTo>
                      <a:pt x="282" y="474"/>
                    </a:lnTo>
                    <a:lnTo>
                      <a:pt x="278" y="478"/>
                    </a:lnTo>
                    <a:lnTo>
                      <a:pt x="276" y="478"/>
                    </a:lnTo>
                    <a:lnTo>
                      <a:pt x="276" y="474"/>
                    </a:lnTo>
                    <a:lnTo>
                      <a:pt x="278" y="474"/>
                    </a:lnTo>
                    <a:lnTo>
                      <a:pt x="276" y="474"/>
                    </a:lnTo>
                    <a:lnTo>
                      <a:pt x="272" y="474"/>
                    </a:lnTo>
                    <a:lnTo>
                      <a:pt x="272" y="470"/>
                    </a:lnTo>
                    <a:lnTo>
                      <a:pt x="272" y="466"/>
                    </a:lnTo>
                    <a:lnTo>
                      <a:pt x="276" y="466"/>
                    </a:lnTo>
                    <a:lnTo>
                      <a:pt x="278" y="466"/>
                    </a:lnTo>
                    <a:lnTo>
                      <a:pt x="282" y="466"/>
                    </a:lnTo>
                    <a:lnTo>
                      <a:pt x="286" y="466"/>
                    </a:lnTo>
                    <a:lnTo>
                      <a:pt x="290" y="466"/>
                    </a:lnTo>
                    <a:lnTo>
                      <a:pt x="286" y="466"/>
                    </a:lnTo>
                    <a:lnTo>
                      <a:pt x="282" y="466"/>
                    </a:lnTo>
                    <a:lnTo>
                      <a:pt x="278" y="466"/>
                    </a:lnTo>
                    <a:lnTo>
                      <a:pt x="276" y="466"/>
                    </a:lnTo>
                    <a:lnTo>
                      <a:pt x="276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6" y="462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2" y="462"/>
                    </a:lnTo>
                    <a:lnTo>
                      <a:pt x="278" y="462"/>
                    </a:lnTo>
                    <a:lnTo>
                      <a:pt x="282" y="462"/>
                    </a:lnTo>
                    <a:lnTo>
                      <a:pt x="282" y="458"/>
                    </a:lnTo>
                    <a:lnTo>
                      <a:pt x="286" y="458"/>
                    </a:lnTo>
                    <a:lnTo>
                      <a:pt x="290" y="458"/>
                    </a:lnTo>
                    <a:lnTo>
                      <a:pt x="294" y="458"/>
                    </a:lnTo>
                    <a:lnTo>
                      <a:pt x="290" y="458"/>
                    </a:lnTo>
                    <a:lnTo>
                      <a:pt x="286" y="458"/>
                    </a:lnTo>
                    <a:lnTo>
                      <a:pt x="282" y="458"/>
                    </a:lnTo>
                    <a:lnTo>
                      <a:pt x="278" y="458"/>
                    </a:lnTo>
                    <a:lnTo>
                      <a:pt x="276" y="458"/>
                    </a:lnTo>
                    <a:lnTo>
                      <a:pt x="272" y="458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8" y="456"/>
                    </a:lnTo>
                    <a:lnTo>
                      <a:pt x="276" y="456"/>
                    </a:lnTo>
                    <a:lnTo>
                      <a:pt x="272" y="456"/>
                    </a:lnTo>
                    <a:lnTo>
                      <a:pt x="276" y="456"/>
                    </a:lnTo>
                    <a:lnTo>
                      <a:pt x="276" y="452"/>
                    </a:lnTo>
                    <a:lnTo>
                      <a:pt x="272" y="456"/>
                    </a:lnTo>
                    <a:lnTo>
                      <a:pt x="268" y="456"/>
                    </a:lnTo>
                    <a:lnTo>
                      <a:pt x="268" y="452"/>
                    </a:lnTo>
                    <a:lnTo>
                      <a:pt x="272" y="452"/>
                    </a:lnTo>
                    <a:lnTo>
                      <a:pt x="276" y="452"/>
                    </a:lnTo>
                    <a:lnTo>
                      <a:pt x="276" y="448"/>
                    </a:lnTo>
                    <a:lnTo>
                      <a:pt x="278" y="448"/>
                    </a:lnTo>
                    <a:lnTo>
                      <a:pt x="282" y="448"/>
                    </a:lnTo>
                    <a:lnTo>
                      <a:pt x="286" y="448"/>
                    </a:lnTo>
                    <a:lnTo>
                      <a:pt x="290" y="448"/>
                    </a:lnTo>
                    <a:lnTo>
                      <a:pt x="294" y="448"/>
                    </a:lnTo>
                    <a:lnTo>
                      <a:pt x="298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6" y="452"/>
                    </a:lnTo>
                    <a:lnTo>
                      <a:pt x="308" y="452"/>
                    </a:lnTo>
                    <a:lnTo>
                      <a:pt x="312" y="452"/>
                    </a:lnTo>
                    <a:lnTo>
                      <a:pt x="316" y="452"/>
                    </a:lnTo>
                    <a:lnTo>
                      <a:pt x="320" y="452"/>
                    </a:lnTo>
                    <a:lnTo>
                      <a:pt x="316" y="452"/>
                    </a:lnTo>
                    <a:lnTo>
                      <a:pt x="312" y="452"/>
                    </a:lnTo>
                    <a:lnTo>
                      <a:pt x="308" y="452"/>
                    </a:lnTo>
                    <a:lnTo>
                      <a:pt x="306" y="448"/>
                    </a:lnTo>
                    <a:lnTo>
                      <a:pt x="302" y="448"/>
                    </a:lnTo>
                    <a:lnTo>
                      <a:pt x="306" y="448"/>
                    </a:lnTo>
                    <a:lnTo>
                      <a:pt x="308" y="444"/>
                    </a:lnTo>
                    <a:lnTo>
                      <a:pt x="306" y="444"/>
                    </a:lnTo>
                    <a:lnTo>
                      <a:pt x="302" y="448"/>
                    </a:lnTo>
                    <a:lnTo>
                      <a:pt x="298" y="448"/>
                    </a:lnTo>
                    <a:lnTo>
                      <a:pt x="294" y="448"/>
                    </a:lnTo>
                    <a:lnTo>
                      <a:pt x="294" y="444"/>
                    </a:lnTo>
                    <a:lnTo>
                      <a:pt x="286" y="448"/>
                    </a:lnTo>
                    <a:lnTo>
                      <a:pt x="282" y="448"/>
                    </a:lnTo>
                    <a:lnTo>
                      <a:pt x="278" y="448"/>
                    </a:lnTo>
                    <a:lnTo>
                      <a:pt x="276" y="448"/>
                    </a:lnTo>
                    <a:lnTo>
                      <a:pt x="272" y="452"/>
                    </a:lnTo>
                    <a:lnTo>
                      <a:pt x="272" y="448"/>
                    </a:lnTo>
                    <a:lnTo>
                      <a:pt x="272" y="444"/>
                    </a:lnTo>
                    <a:lnTo>
                      <a:pt x="276" y="444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78" y="440"/>
                    </a:lnTo>
                    <a:lnTo>
                      <a:pt x="282" y="440"/>
                    </a:lnTo>
                    <a:lnTo>
                      <a:pt x="282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90" y="436"/>
                    </a:lnTo>
                    <a:lnTo>
                      <a:pt x="294" y="436"/>
                    </a:lnTo>
                    <a:lnTo>
                      <a:pt x="298" y="436"/>
                    </a:lnTo>
                    <a:lnTo>
                      <a:pt x="298" y="440"/>
                    </a:lnTo>
                    <a:lnTo>
                      <a:pt x="302" y="440"/>
                    </a:lnTo>
                    <a:lnTo>
                      <a:pt x="306" y="440"/>
                    </a:lnTo>
                    <a:lnTo>
                      <a:pt x="308" y="440"/>
                    </a:lnTo>
                    <a:lnTo>
                      <a:pt x="312" y="440"/>
                    </a:lnTo>
                    <a:lnTo>
                      <a:pt x="312" y="444"/>
                    </a:lnTo>
                    <a:lnTo>
                      <a:pt x="316" y="444"/>
                    </a:lnTo>
                    <a:lnTo>
                      <a:pt x="320" y="444"/>
                    </a:lnTo>
                    <a:lnTo>
                      <a:pt x="324" y="444"/>
                    </a:lnTo>
                    <a:lnTo>
                      <a:pt x="320" y="444"/>
                    </a:lnTo>
                    <a:lnTo>
                      <a:pt x="316" y="444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16" y="440"/>
                    </a:lnTo>
                    <a:lnTo>
                      <a:pt x="320" y="440"/>
                    </a:lnTo>
                    <a:lnTo>
                      <a:pt x="320" y="436"/>
                    </a:lnTo>
                    <a:lnTo>
                      <a:pt x="324" y="436"/>
                    </a:lnTo>
                    <a:lnTo>
                      <a:pt x="324" y="440"/>
                    </a:lnTo>
                    <a:lnTo>
                      <a:pt x="324" y="436"/>
                    </a:lnTo>
                    <a:lnTo>
                      <a:pt x="320" y="436"/>
                    </a:lnTo>
                    <a:lnTo>
                      <a:pt x="316" y="436"/>
                    </a:lnTo>
                    <a:lnTo>
                      <a:pt x="316" y="440"/>
                    </a:lnTo>
                    <a:lnTo>
                      <a:pt x="312" y="440"/>
                    </a:lnTo>
                    <a:lnTo>
                      <a:pt x="308" y="440"/>
                    </a:lnTo>
                    <a:lnTo>
                      <a:pt x="308" y="436"/>
                    </a:lnTo>
                    <a:lnTo>
                      <a:pt x="312" y="436"/>
                    </a:lnTo>
                    <a:lnTo>
                      <a:pt x="316" y="436"/>
                    </a:lnTo>
                    <a:lnTo>
                      <a:pt x="320" y="436"/>
                    </a:lnTo>
                    <a:lnTo>
                      <a:pt x="320" y="432"/>
                    </a:lnTo>
                    <a:lnTo>
                      <a:pt x="312" y="432"/>
                    </a:lnTo>
                    <a:lnTo>
                      <a:pt x="316" y="432"/>
                    </a:lnTo>
                    <a:lnTo>
                      <a:pt x="316" y="436"/>
                    </a:lnTo>
                    <a:lnTo>
                      <a:pt x="312" y="436"/>
                    </a:lnTo>
                    <a:lnTo>
                      <a:pt x="308" y="436"/>
                    </a:lnTo>
                    <a:lnTo>
                      <a:pt x="306" y="432"/>
                    </a:lnTo>
                    <a:lnTo>
                      <a:pt x="308" y="432"/>
                    </a:lnTo>
                    <a:lnTo>
                      <a:pt x="312" y="432"/>
                    </a:lnTo>
                    <a:lnTo>
                      <a:pt x="308" y="432"/>
                    </a:lnTo>
                    <a:lnTo>
                      <a:pt x="306" y="432"/>
                    </a:lnTo>
                    <a:lnTo>
                      <a:pt x="302" y="432"/>
                    </a:lnTo>
                    <a:lnTo>
                      <a:pt x="306" y="432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306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302" y="436"/>
                    </a:lnTo>
                    <a:lnTo>
                      <a:pt x="298" y="436"/>
                    </a:lnTo>
                    <a:lnTo>
                      <a:pt x="294" y="436"/>
                    </a:lnTo>
                    <a:lnTo>
                      <a:pt x="290" y="436"/>
                    </a:lnTo>
                    <a:lnTo>
                      <a:pt x="294" y="432"/>
                    </a:lnTo>
                    <a:lnTo>
                      <a:pt x="298" y="432"/>
                    </a:lnTo>
                    <a:lnTo>
                      <a:pt x="302" y="432"/>
                    </a:lnTo>
                    <a:lnTo>
                      <a:pt x="298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90" y="436"/>
                    </a:lnTo>
                    <a:lnTo>
                      <a:pt x="286" y="436"/>
                    </a:lnTo>
                    <a:lnTo>
                      <a:pt x="282" y="436"/>
                    </a:lnTo>
                    <a:lnTo>
                      <a:pt x="278" y="440"/>
                    </a:lnTo>
                    <a:lnTo>
                      <a:pt x="276" y="444"/>
                    </a:lnTo>
                    <a:lnTo>
                      <a:pt x="272" y="444"/>
                    </a:lnTo>
                    <a:lnTo>
                      <a:pt x="272" y="440"/>
                    </a:lnTo>
                    <a:lnTo>
                      <a:pt x="276" y="440"/>
                    </a:lnTo>
                    <a:lnTo>
                      <a:pt x="276" y="436"/>
                    </a:lnTo>
                    <a:lnTo>
                      <a:pt x="272" y="436"/>
                    </a:lnTo>
                    <a:lnTo>
                      <a:pt x="276" y="432"/>
                    </a:lnTo>
                    <a:lnTo>
                      <a:pt x="276" y="436"/>
                    </a:lnTo>
                    <a:lnTo>
                      <a:pt x="278" y="436"/>
                    </a:lnTo>
                    <a:lnTo>
                      <a:pt x="276" y="436"/>
                    </a:lnTo>
                    <a:lnTo>
                      <a:pt x="276" y="432"/>
                    </a:lnTo>
                    <a:lnTo>
                      <a:pt x="278" y="432"/>
                    </a:lnTo>
                    <a:lnTo>
                      <a:pt x="278" y="436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78" y="432"/>
                    </a:lnTo>
                    <a:lnTo>
                      <a:pt x="282" y="432"/>
                    </a:lnTo>
                    <a:lnTo>
                      <a:pt x="282" y="428"/>
                    </a:lnTo>
                    <a:lnTo>
                      <a:pt x="278" y="432"/>
                    </a:lnTo>
                    <a:lnTo>
                      <a:pt x="278" y="428"/>
                    </a:lnTo>
                    <a:lnTo>
                      <a:pt x="282" y="428"/>
                    </a:lnTo>
                    <a:lnTo>
                      <a:pt x="286" y="432"/>
                    </a:lnTo>
                    <a:lnTo>
                      <a:pt x="290" y="432"/>
                    </a:lnTo>
                    <a:lnTo>
                      <a:pt x="294" y="432"/>
                    </a:lnTo>
                    <a:lnTo>
                      <a:pt x="290" y="432"/>
                    </a:lnTo>
                    <a:lnTo>
                      <a:pt x="286" y="432"/>
                    </a:lnTo>
                    <a:lnTo>
                      <a:pt x="286" y="428"/>
                    </a:lnTo>
                    <a:lnTo>
                      <a:pt x="282" y="428"/>
                    </a:lnTo>
                    <a:lnTo>
                      <a:pt x="278" y="428"/>
                    </a:lnTo>
                    <a:lnTo>
                      <a:pt x="276" y="426"/>
                    </a:lnTo>
                    <a:lnTo>
                      <a:pt x="278" y="426"/>
                    </a:lnTo>
                    <a:lnTo>
                      <a:pt x="282" y="426"/>
                    </a:lnTo>
                    <a:lnTo>
                      <a:pt x="286" y="428"/>
                    </a:lnTo>
                    <a:lnTo>
                      <a:pt x="290" y="428"/>
                    </a:lnTo>
                    <a:lnTo>
                      <a:pt x="286" y="428"/>
                    </a:lnTo>
                    <a:lnTo>
                      <a:pt x="286" y="426"/>
                    </a:lnTo>
                    <a:lnTo>
                      <a:pt x="290" y="426"/>
                    </a:lnTo>
                    <a:lnTo>
                      <a:pt x="290" y="428"/>
                    </a:lnTo>
                    <a:lnTo>
                      <a:pt x="294" y="428"/>
                    </a:lnTo>
                    <a:lnTo>
                      <a:pt x="298" y="428"/>
                    </a:lnTo>
                    <a:lnTo>
                      <a:pt x="302" y="428"/>
                    </a:lnTo>
                    <a:lnTo>
                      <a:pt x="306" y="428"/>
                    </a:lnTo>
                    <a:lnTo>
                      <a:pt x="308" y="428"/>
                    </a:lnTo>
                    <a:lnTo>
                      <a:pt x="316" y="432"/>
                    </a:lnTo>
                    <a:lnTo>
                      <a:pt x="320" y="432"/>
                    </a:lnTo>
                    <a:lnTo>
                      <a:pt x="324" y="432"/>
                    </a:lnTo>
                    <a:lnTo>
                      <a:pt x="320" y="432"/>
                    </a:lnTo>
                    <a:lnTo>
                      <a:pt x="316" y="432"/>
                    </a:lnTo>
                    <a:lnTo>
                      <a:pt x="316" y="428"/>
                    </a:lnTo>
                    <a:lnTo>
                      <a:pt x="312" y="428"/>
                    </a:lnTo>
                    <a:lnTo>
                      <a:pt x="308" y="428"/>
                    </a:lnTo>
                    <a:lnTo>
                      <a:pt x="306" y="426"/>
                    </a:lnTo>
                    <a:lnTo>
                      <a:pt x="308" y="426"/>
                    </a:lnTo>
                    <a:lnTo>
                      <a:pt x="312" y="426"/>
                    </a:lnTo>
                    <a:lnTo>
                      <a:pt x="308" y="426"/>
                    </a:lnTo>
                    <a:lnTo>
                      <a:pt x="308" y="422"/>
                    </a:lnTo>
                    <a:lnTo>
                      <a:pt x="312" y="418"/>
                    </a:lnTo>
                    <a:lnTo>
                      <a:pt x="308" y="422"/>
                    </a:lnTo>
                    <a:lnTo>
                      <a:pt x="306" y="422"/>
                    </a:lnTo>
                    <a:lnTo>
                      <a:pt x="302" y="422"/>
                    </a:lnTo>
                    <a:lnTo>
                      <a:pt x="306" y="422"/>
                    </a:lnTo>
                    <a:lnTo>
                      <a:pt x="308" y="422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4" y="426"/>
                    </a:lnTo>
                    <a:lnTo>
                      <a:pt x="290" y="426"/>
                    </a:lnTo>
                    <a:lnTo>
                      <a:pt x="286" y="426"/>
                    </a:lnTo>
                    <a:lnTo>
                      <a:pt x="282" y="426"/>
                    </a:lnTo>
                    <a:lnTo>
                      <a:pt x="282" y="422"/>
                    </a:lnTo>
                    <a:lnTo>
                      <a:pt x="286" y="422"/>
                    </a:lnTo>
                    <a:lnTo>
                      <a:pt x="282" y="422"/>
                    </a:lnTo>
                    <a:lnTo>
                      <a:pt x="282" y="426"/>
                    </a:lnTo>
                    <a:lnTo>
                      <a:pt x="278" y="426"/>
                    </a:lnTo>
                    <a:lnTo>
                      <a:pt x="278" y="422"/>
                    </a:lnTo>
                    <a:lnTo>
                      <a:pt x="278" y="426"/>
                    </a:lnTo>
                    <a:lnTo>
                      <a:pt x="276" y="426"/>
                    </a:lnTo>
                    <a:lnTo>
                      <a:pt x="276" y="422"/>
                    </a:lnTo>
                    <a:lnTo>
                      <a:pt x="278" y="422"/>
                    </a:lnTo>
                    <a:lnTo>
                      <a:pt x="282" y="422"/>
                    </a:lnTo>
                    <a:lnTo>
                      <a:pt x="286" y="418"/>
                    </a:lnTo>
                    <a:lnTo>
                      <a:pt x="290" y="418"/>
                    </a:lnTo>
                    <a:lnTo>
                      <a:pt x="294" y="418"/>
                    </a:lnTo>
                    <a:lnTo>
                      <a:pt x="298" y="418"/>
                    </a:lnTo>
                    <a:lnTo>
                      <a:pt x="302" y="418"/>
                    </a:lnTo>
                    <a:lnTo>
                      <a:pt x="306" y="418"/>
                    </a:lnTo>
                    <a:lnTo>
                      <a:pt x="308" y="418"/>
                    </a:lnTo>
                    <a:lnTo>
                      <a:pt x="308" y="414"/>
                    </a:lnTo>
                    <a:lnTo>
                      <a:pt x="312" y="414"/>
                    </a:lnTo>
                    <a:lnTo>
                      <a:pt x="312" y="414"/>
                    </a:lnTo>
                    <a:lnTo>
                      <a:pt x="312" y="414"/>
                    </a:lnTo>
                    <a:close/>
                    <a:moveTo>
                      <a:pt x="764" y="104"/>
                    </a:moveTo>
                    <a:lnTo>
                      <a:pt x="760" y="104"/>
                    </a:lnTo>
                    <a:lnTo>
                      <a:pt x="756" y="104"/>
                    </a:lnTo>
                    <a:lnTo>
                      <a:pt x="752" y="104"/>
                    </a:lnTo>
                    <a:lnTo>
                      <a:pt x="748" y="108"/>
                    </a:lnTo>
                    <a:lnTo>
                      <a:pt x="748" y="104"/>
                    </a:lnTo>
                    <a:lnTo>
                      <a:pt x="752" y="100"/>
                    </a:lnTo>
                    <a:lnTo>
                      <a:pt x="756" y="100"/>
                    </a:lnTo>
                    <a:lnTo>
                      <a:pt x="764" y="104"/>
                    </a:lnTo>
                    <a:lnTo>
                      <a:pt x="764" y="104"/>
                    </a:lnTo>
                    <a:lnTo>
                      <a:pt x="764" y="104"/>
                    </a:lnTo>
                    <a:close/>
                    <a:moveTo>
                      <a:pt x="756" y="146"/>
                    </a:moveTo>
                    <a:lnTo>
                      <a:pt x="752" y="146"/>
                    </a:lnTo>
                    <a:lnTo>
                      <a:pt x="752" y="142"/>
                    </a:lnTo>
                    <a:lnTo>
                      <a:pt x="756" y="138"/>
                    </a:lnTo>
                    <a:lnTo>
                      <a:pt x="760" y="138"/>
                    </a:lnTo>
                    <a:lnTo>
                      <a:pt x="760" y="142"/>
                    </a:lnTo>
                    <a:lnTo>
                      <a:pt x="756" y="142"/>
                    </a:lnTo>
                    <a:lnTo>
                      <a:pt x="760" y="142"/>
                    </a:lnTo>
                    <a:lnTo>
                      <a:pt x="760" y="146"/>
                    </a:lnTo>
                    <a:lnTo>
                      <a:pt x="756" y="146"/>
                    </a:lnTo>
                    <a:lnTo>
                      <a:pt x="756" y="146"/>
                    </a:lnTo>
                    <a:lnTo>
                      <a:pt x="756" y="146"/>
                    </a:lnTo>
                    <a:close/>
                    <a:moveTo>
                      <a:pt x="752" y="168"/>
                    </a:moveTo>
                    <a:lnTo>
                      <a:pt x="756" y="168"/>
                    </a:lnTo>
                    <a:lnTo>
                      <a:pt x="760" y="168"/>
                    </a:lnTo>
                    <a:lnTo>
                      <a:pt x="760" y="172"/>
                    </a:lnTo>
                    <a:lnTo>
                      <a:pt x="756" y="172"/>
                    </a:lnTo>
                    <a:lnTo>
                      <a:pt x="752" y="172"/>
                    </a:lnTo>
                    <a:lnTo>
                      <a:pt x="748" y="168"/>
                    </a:lnTo>
                    <a:lnTo>
                      <a:pt x="744" y="168"/>
                    </a:lnTo>
                    <a:lnTo>
                      <a:pt x="742" y="168"/>
                    </a:lnTo>
                    <a:lnTo>
                      <a:pt x="744" y="168"/>
                    </a:lnTo>
                    <a:lnTo>
                      <a:pt x="748" y="168"/>
                    </a:lnTo>
                    <a:lnTo>
                      <a:pt x="752" y="168"/>
                    </a:lnTo>
                    <a:lnTo>
                      <a:pt x="752" y="168"/>
                    </a:lnTo>
                    <a:lnTo>
                      <a:pt x="752" y="168"/>
                    </a:lnTo>
                    <a:close/>
                    <a:moveTo>
                      <a:pt x="782" y="168"/>
                    </a:moveTo>
                    <a:lnTo>
                      <a:pt x="782" y="172"/>
                    </a:lnTo>
                    <a:lnTo>
                      <a:pt x="782" y="174"/>
                    </a:lnTo>
                    <a:lnTo>
                      <a:pt x="778" y="174"/>
                    </a:lnTo>
                    <a:lnTo>
                      <a:pt x="774" y="174"/>
                    </a:lnTo>
                    <a:lnTo>
                      <a:pt x="774" y="172"/>
                    </a:lnTo>
                    <a:lnTo>
                      <a:pt x="778" y="172"/>
                    </a:lnTo>
                    <a:lnTo>
                      <a:pt x="778" y="168"/>
                    </a:lnTo>
                    <a:lnTo>
                      <a:pt x="782" y="168"/>
                    </a:lnTo>
                    <a:lnTo>
                      <a:pt x="782" y="168"/>
                    </a:lnTo>
                    <a:lnTo>
                      <a:pt x="782" y="168"/>
                    </a:lnTo>
                    <a:close/>
                    <a:moveTo>
                      <a:pt x="768" y="216"/>
                    </a:moveTo>
                    <a:lnTo>
                      <a:pt x="770" y="220"/>
                    </a:lnTo>
                    <a:lnTo>
                      <a:pt x="770" y="224"/>
                    </a:lnTo>
                    <a:lnTo>
                      <a:pt x="768" y="224"/>
                    </a:lnTo>
                    <a:lnTo>
                      <a:pt x="768" y="220"/>
                    </a:lnTo>
                    <a:lnTo>
                      <a:pt x="768" y="216"/>
                    </a:lnTo>
                    <a:lnTo>
                      <a:pt x="764" y="216"/>
                    </a:lnTo>
                    <a:lnTo>
                      <a:pt x="764" y="212"/>
                    </a:lnTo>
                    <a:lnTo>
                      <a:pt x="764" y="208"/>
                    </a:lnTo>
                    <a:lnTo>
                      <a:pt x="760" y="208"/>
                    </a:lnTo>
                    <a:lnTo>
                      <a:pt x="760" y="204"/>
                    </a:lnTo>
                    <a:lnTo>
                      <a:pt x="764" y="204"/>
                    </a:lnTo>
                    <a:lnTo>
                      <a:pt x="768" y="204"/>
                    </a:lnTo>
                    <a:lnTo>
                      <a:pt x="764" y="204"/>
                    </a:lnTo>
                    <a:lnTo>
                      <a:pt x="764" y="200"/>
                    </a:lnTo>
                    <a:lnTo>
                      <a:pt x="768" y="200"/>
                    </a:lnTo>
                    <a:lnTo>
                      <a:pt x="768" y="204"/>
                    </a:lnTo>
                    <a:lnTo>
                      <a:pt x="768" y="208"/>
                    </a:lnTo>
                    <a:lnTo>
                      <a:pt x="768" y="212"/>
                    </a:lnTo>
                    <a:lnTo>
                      <a:pt x="768" y="216"/>
                    </a:lnTo>
                    <a:lnTo>
                      <a:pt x="768" y="216"/>
                    </a:lnTo>
                    <a:lnTo>
                      <a:pt x="768" y="216"/>
                    </a:lnTo>
                    <a:close/>
                    <a:moveTo>
                      <a:pt x="778" y="238"/>
                    </a:moveTo>
                    <a:lnTo>
                      <a:pt x="778" y="242"/>
                    </a:lnTo>
                    <a:lnTo>
                      <a:pt x="774" y="242"/>
                    </a:lnTo>
                    <a:lnTo>
                      <a:pt x="778" y="246"/>
                    </a:lnTo>
                    <a:lnTo>
                      <a:pt x="782" y="246"/>
                    </a:lnTo>
                    <a:lnTo>
                      <a:pt x="786" y="246"/>
                    </a:lnTo>
                    <a:lnTo>
                      <a:pt x="786" y="250"/>
                    </a:lnTo>
                    <a:lnTo>
                      <a:pt x="782" y="250"/>
                    </a:lnTo>
                    <a:lnTo>
                      <a:pt x="778" y="250"/>
                    </a:lnTo>
                    <a:lnTo>
                      <a:pt x="778" y="246"/>
                    </a:lnTo>
                    <a:lnTo>
                      <a:pt x="774" y="246"/>
                    </a:lnTo>
                    <a:lnTo>
                      <a:pt x="774" y="250"/>
                    </a:lnTo>
                    <a:lnTo>
                      <a:pt x="770" y="250"/>
                    </a:lnTo>
                    <a:lnTo>
                      <a:pt x="768" y="250"/>
                    </a:lnTo>
                    <a:lnTo>
                      <a:pt x="764" y="250"/>
                    </a:lnTo>
                    <a:lnTo>
                      <a:pt x="764" y="246"/>
                    </a:lnTo>
                    <a:lnTo>
                      <a:pt x="768" y="246"/>
                    </a:lnTo>
                    <a:lnTo>
                      <a:pt x="768" y="242"/>
                    </a:lnTo>
                    <a:lnTo>
                      <a:pt x="764" y="242"/>
                    </a:lnTo>
                    <a:lnTo>
                      <a:pt x="768" y="238"/>
                    </a:lnTo>
                    <a:lnTo>
                      <a:pt x="770" y="238"/>
                    </a:lnTo>
                    <a:lnTo>
                      <a:pt x="770" y="242"/>
                    </a:lnTo>
                    <a:lnTo>
                      <a:pt x="774" y="242"/>
                    </a:lnTo>
                    <a:lnTo>
                      <a:pt x="774" y="238"/>
                    </a:lnTo>
                    <a:lnTo>
                      <a:pt x="778" y="238"/>
                    </a:lnTo>
                    <a:lnTo>
                      <a:pt x="778" y="238"/>
                    </a:lnTo>
                    <a:lnTo>
                      <a:pt x="778" y="238"/>
                    </a:lnTo>
                    <a:close/>
                    <a:moveTo>
                      <a:pt x="722" y="310"/>
                    </a:moveTo>
                    <a:lnTo>
                      <a:pt x="718" y="310"/>
                    </a:lnTo>
                    <a:lnTo>
                      <a:pt x="716" y="310"/>
                    </a:lnTo>
                    <a:lnTo>
                      <a:pt x="712" y="310"/>
                    </a:lnTo>
                    <a:lnTo>
                      <a:pt x="712" y="306"/>
                    </a:lnTo>
                    <a:lnTo>
                      <a:pt x="708" y="306"/>
                    </a:lnTo>
                    <a:lnTo>
                      <a:pt x="704" y="306"/>
                    </a:lnTo>
                    <a:lnTo>
                      <a:pt x="700" y="306"/>
                    </a:lnTo>
                    <a:lnTo>
                      <a:pt x="696" y="306"/>
                    </a:lnTo>
                    <a:lnTo>
                      <a:pt x="692" y="306"/>
                    </a:lnTo>
                    <a:lnTo>
                      <a:pt x="688" y="306"/>
                    </a:lnTo>
                    <a:lnTo>
                      <a:pt x="686" y="306"/>
                    </a:lnTo>
                    <a:lnTo>
                      <a:pt x="686" y="302"/>
                    </a:lnTo>
                    <a:lnTo>
                      <a:pt x="688" y="302"/>
                    </a:lnTo>
                    <a:lnTo>
                      <a:pt x="692" y="302"/>
                    </a:lnTo>
                    <a:lnTo>
                      <a:pt x="696" y="302"/>
                    </a:lnTo>
                    <a:lnTo>
                      <a:pt x="700" y="302"/>
                    </a:lnTo>
                    <a:lnTo>
                      <a:pt x="704" y="302"/>
                    </a:lnTo>
                    <a:lnTo>
                      <a:pt x="708" y="302"/>
                    </a:lnTo>
                    <a:lnTo>
                      <a:pt x="712" y="302"/>
                    </a:lnTo>
                    <a:lnTo>
                      <a:pt x="716" y="302"/>
                    </a:lnTo>
                    <a:lnTo>
                      <a:pt x="718" y="302"/>
                    </a:lnTo>
                    <a:lnTo>
                      <a:pt x="718" y="306"/>
                    </a:lnTo>
                    <a:lnTo>
                      <a:pt x="722" y="306"/>
                    </a:lnTo>
                    <a:lnTo>
                      <a:pt x="718" y="306"/>
                    </a:lnTo>
                    <a:lnTo>
                      <a:pt x="718" y="310"/>
                    </a:lnTo>
                    <a:lnTo>
                      <a:pt x="722" y="310"/>
                    </a:lnTo>
                    <a:lnTo>
                      <a:pt x="722" y="310"/>
                    </a:lnTo>
                    <a:lnTo>
                      <a:pt x="722" y="310"/>
                    </a:lnTo>
                    <a:close/>
                    <a:moveTo>
                      <a:pt x="716" y="324"/>
                    </a:moveTo>
                    <a:lnTo>
                      <a:pt x="712" y="324"/>
                    </a:lnTo>
                    <a:lnTo>
                      <a:pt x="708" y="320"/>
                    </a:lnTo>
                    <a:lnTo>
                      <a:pt x="704" y="320"/>
                    </a:lnTo>
                    <a:lnTo>
                      <a:pt x="700" y="316"/>
                    </a:lnTo>
                    <a:lnTo>
                      <a:pt x="692" y="316"/>
                    </a:lnTo>
                    <a:lnTo>
                      <a:pt x="692" y="314"/>
                    </a:lnTo>
                    <a:lnTo>
                      <a:pt x="688" y="314"/>
                    </a:lnTo>
                    <a:lnTo>
                      <a:pt x="686" y="306"/>
                    </a:lnTo>
                    <a:lnTo>
                      <a:pt x="688" y="306"/>
                    </a:lnTo>
                    <a:lnTo>
                      <a:pt x="692" y="306"/>
                    </a:lnTo>
                    <a:lnTo>
                      <a:pt x="696" y="306"/>
                    </a:lnTo>
                    <a:lnTo>
                      <a:pt x="700" y="306"/>
                    </a:lnTo>
                    <a:lnTo>
                      <a:pt x="704" y="306"/>
                    </a:lnTo>
                    <a:lnTo>
                      <a:pt x="704" y="310"/>
                    </a:lnTo>
                    <a:lnTo>
                      <a:pt x="708" y="310"/>
                    </a:lnTo>
                    <a:lnTo>
                      <a:pt x="712" y="310"/>
                    </a:lnTo>
                    <a:lnTo>
                      <a:pt x="712" y="314"/>
                    </a:lnTo>
                    <a:lnTo>
                      <a:pt x="716" y="314"/>
                    </a:lnTo>
                    <a:lnTo>
                      <a:pt x="718" y="314"/>
                    </a:lnTo>
                    <a:lnTo>
                      <a:pt x="722" y="316"/>
                    </a:lnTo>
                    <a:lnTo>
                      <a:pt x="718" y="316"/>
                    </a:lnTo>
                    <a:lnTo>
                      <a:pt x="716" y="316"/>
                    </a:lnTo>
                    <a:lnTo>
                      <a:pt x="712" y="316"/>
                    </a:lnTo>
                    <a:lnTo>
                      <a:pt x="712" y="320"/>
                    </a:lnTo>
                    <a:lnTo>
                      <a:pt x="716" y="320"/>
                    </a:lnTo>
                    <a:lnTo>
                      <a:pt x="718" y="320"/>
                    </a:lnTo>
                    <a:lnTo>
                      <a:pt x="718" y="324"/>
                    </a:lnTo>
                    <a:lnTo>
                      <a:pt x="716" y="324"/>
                    </a:lnTo>
                    <a:lnTo>
                      <a:pt x="716" y="324"/>
                    </a:lnTo>
                    <a:lnTo>
                      <a:pt x="716" y="324"/>
                    </a:lnTo>
                    <a:close/>
                    <a:moveTo>
                      <a:pt x="246" y="332"/>
                    </a:moveTo>
                    <a:lnTo>
                      <a:pt x="250" y="332"/>
                    </a:lnTo>
                    <a:lnTo>
                      <a:pt x="246" y="332"/>
                    </a:lnTo>
                    <a:lnTo>
                      <a:pt x="242" y="332"/>
                    </a:lnTo>
                    <a:lnTo>
                      <a:pt x="246" y="332"/>
                    </a:lnTo>
                    <a:lnTo>
                      <a:pt x="246" y="332"/>
                    </a:lnTo>
                    <a:lnTo>
                      <a:pt x="246" y="332"/>
                    </a:lnTo>
                    <a:close/>
                    <a:moveTo>
                      <a:pt x="278" y="340"/>
                    </a:moveTo>
                    <a:lnTo>
                      <a:pt x="276" y="340"/>
                    </a:lnTo>
                    <a:lnTo>
                      <a:pt x="276" y="336"/>
                    </a:lnTo>
                    <a:lnTo>
                      <a:pt x="278" y="336"/>
                    </a:lnTo>
                    <a:lnTo>
                      <a:pt x="282" y="340"/>
                    </a:lnTo>
                    <a:lnTo>
                      <a:pt x="286" y="340"/>
                    </a:lnTo>
                    <a:lnTo>
                      <a:pt x="286" y="336"/>
                    </a:lnTo>
                    <a:lnTo>
                      <a:pt x="286" y="340"/>
                    </a:lnTo>
                    <a:lnTo>
                      <a:pt x="282" y="340"/>
                    </a:lnTo>
                    <a:lnTo>
                      <a:pt x="278" y="340"/>
                    </a:lnTo>
                    <a:lnTo>
                      <a:pt x="278" y="340"/>
                    </a:lnTo>
                    <a:lnTo>
                      <a:pt x="278" y="340"/>
                    </a:lnTo>
                    <a:close/>
                    <a:moveTo>
                      <a:pt x="278" y="346"/>
                    </a:moveTo>
                    <a:lnTo>
                      <a:pt x="282" y="346"/>
                    </a:lnTo>
                    <a:lnTo>
                      <a:pt x="282" y="342"/>
                    </a:lnTo>
                    <a:lnTo>
                      <a:pt x="286" y="346"/>
                    </a:lnTo>
                    <a:lnTo>
                      <a:pt x="290" y="346"/>
                    </a:lnTo>
                    <a:lnTo>
                      <a:pt x="286" y="346"/>
                    </a:lnTo>
                    <a:lnTo>
                      <a:pt x="286" y="350"/>
                    </a:lnTo>
                    <a:lnTo>
                      <a:pt x="282" y="350"/>
                    </a:lnTo>
                    <a:lnTo>
                      <a:pt x="278" y="350"/>
                    </a:lnTo>
                    <a:lnTo>
                      <a:pt x="278" y="346"/>
                    </a:lnTo>
                    <a:lnTo>
                      <a:pt x="278" y="346"/>
                    </a:lnTo>
                    <a:lnTo>
                      <a:pt x="278" y="346"/>
                    </a:lnTo>
                    <a:close/>
                    <a:moveTo>
                      <a:pt x="276" y="346"/>
                    </a:moveTo>
                    <a:lnTo>
                      <a:pt x="276" y="350"/>
                    </a:lnTo>
                    <a:lnTo>
                      <a:pt x="276" y="354"/>
                    </a:lnTo>
                    <a:lnTo>
                      <a:pt x="272" y="354"/>
                    </a:lnTo>
                    <a:lnTo>
                      <a:pt x="268" y="350"/>
                    </a:lnTo>
                    <a:lnTo>
                      <a:pt x="272" y="350"/>
                    </a:lnTo>
                    <a:lnTo>
                      <a:pt x="272" y="346"/>
                    </a:lnTo>
                    <a:lnTo>
                      <a:pt x="276" y="346"/>
                    </a:lnTo>
                    <a:lnTo>
                      <a:pt x="276" y="346"/>
                    </a:lnTo>
                    <a:lnTo>
                      <a:pt x="276" y="346"/>
                    </a:lnTo>
                    <a:close/>
                    <a:moveTo>
                      <a:pt x="670" y="354"/>
                    </a:moveTo>
                    <a:lnTo>
                      <a:pt x="674" y="358"/>
                    </a:lnTo>
                    <a:lnTo>
                      <a:pt x="674" y="362"/>
                    </a:lnTo>
                    <a:lnTo>
                      <a:pt x="670" y="366"/>
                    </a:lnTo>
                    <a:lnTo>
                      <a:pt x="666" y="366"/>
                    </a:lnTo>
                    <a:lnTo>
                      <a:pt x="662" y="366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48" y="370"/>
                    </a:lnTo>
                    <a:lnTo>
                      <a:pt x="640" y="370"/>
                    </a:lnTo>
                    <a:lnTo>
                      <a:pt x="636" y="370"/>
                    </a:lnTo>
                    <a:lnTo>
                      <a:pt x="632" y="370"/>
                    </a:lnTo>
                    <a:lnTo>
                      <a:pt x="632" y="366"/>
                    </a:lnTo>
                    <a:lnTo>
                      <a:pt x="636" y="366"/>
                    </a:lnTo>
                    <a:lnTo>
                      <a:pt x="640" y="366"/>
                    </a:lnTo>
                    <a:lnTo>
                      <a:pt x="640" y="362"/>
                    </a:lnTo>
                    <a:lnTo>
                      <a:pt x="644" y="362"/>
                    </a:lnTo>
                    <a:lnTo>
                      <a:pt x="648" y="358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60" y="358"/>
                    </a:lnTo>
                    <a:lnTo>
                      <a:pt x="660" y="354"/>
                    </a:lnTo>
                    <a:lnTo>
                      <a:pt x="662" y="354"/>
                    </a:lnTo>
                    <a:lnTo>
                      <a:pt x="666" y="354"/>
                    </a:lnTo>
                    <a:lnTo>
                      <a:pt x="670" y="354"/>
                    </a:lnTo>
                    <a:lnTo>
                      <a:pt x="670" y="354"/>
                    </a:lnTo>
                    <a:lnTo>
                      <a:pt x="670" y="354"/>
                    </a:lnTo>
                    <a:close/>
                    <a:moveTo>
                      <a:pt x="298" y="354"/>
                    </a:moveTo>
                    <a:lnTo>
                      <a:pt x="302" y="358"/>
                    </a:lnTo>
                    <a:lnTo>
                      <a:pt x="298" y="358"/>
                    </a:lnTo>
                    <a:lnTo>
                      <a:pt x="294" y="358"/>
                    </a:lnTo>
                    <a:lnTo>
                      <a:pt x="294" y="354"/>
                    </a:lnTo>
                    <a:lnTo>
                      <a:pt x="298" y="354"/>
                    </a:lnTo>
                    <a:lnTo>
                      <a:pt x="298" y="354"/>
                    </a:lnTo>
                    <a:lnTo>
                      <a:pt x="298" y="354"/>
                    </a:lnTo>
                    <a:close/>
                    <a:moveTo>
                      <a:pt x="648" y="358"/>
                    </a:moveTo>
                    <a:lnTo>
                      <a:pt x="644" y="358"/>
                    </a:lnTo>
                    <a:lnTo>
                      <a:pt x="640" y="362"/>
                    </a:lnTo>
                    <a:lnTo>
                      <a:pt x="640" y="358"/>
                    </a:lnTo>
                    <a:lnTo>
                      <a:pt x="644" y="358"/>
                    </a:lnTo>
                    <a:lnTo>
                      <a:pt x="648" y="358"/>
                    </a:lnTo>
                    <a:lnTo>
                      <a:pt x="648" y="358"/>
                    </a:lnTo>
                    <a:lnTo>
                      <a:pt x="648" y="358"/>
                    </a:lnTo>
                    <a:close/>
                    <a:moveTo>
                      <a:pt x="302" y="366"/>
                    </a:moveTo>
                    <a:lnTo>
                      <a:pt x="302" y="362"/>
                    </a:lnTo>
                    <a:lnTo>
                      <a:pt x="298" y="362"/>
                    </a:lnTo>
                    <a:lnTo>
                      <a:pt x="302" y="362"/>
                    </a:lnTo>
                    <a:lnTo>
                      <a:pt x="306" y="362"/>
                    </a:lnTo>
                    <a:lnTo>
                      <a:pt x="302" y="366"/>
                    </a:lnTo>
                    <a:lnTo>
                      <a:pt x="302" y="366"/>
                    </a:lnTo>
                    <a:lnTo>
                      <a:pt x="302" y="366"/>
                    </a:lnTo>
                    <a:close/>
                    <a:moveTo>
                      <a:pt x="662" y="366"/>
                    </a:moveTo>
                    <a:lnTo>
                      <a:pt x="662" y="370"/>
                    </a:lnTo>
                    <a:lnTo>
                      <a:pt x="660" y="370"/>
                    </a:lnTo>
                    <a:lnTo>
                      <a:pt x="660" y="366"/>
                    </a:lnTo>
                    <a:lnTo>
                      <a:pt x="662" y="366"/>
                    </a:lnTo>
                    <a:lnTo>
                      <a:pt x="662" y="366"/>
                    </a:lnTo>
                    <a:lnTo>
                      <a:pt x="662" y="366"/>
                    </a:lnTo>
                    <a:close/>
                    <a:moveTo>
                      <a:pt x="252" y="370"/>
                    </a:moveTo>
                    <a:lnTo>
                      <a:pt x="256" y="370"/>
                    </a:lnTo>
                    <a:lnTo>
                      <a:pt x="260" y="370"/>
                    </a:lnTo>
                    <a:lnTo>
                      <a:pt x="256" y="370"/>
                    </a:lnTo>
                    <a:lnTo>
                      <a:pt x="252" y="370"/>
                    </a:lnTo>
                    <a:lnTo>
                      <a:pt x="252" y="370"/>
                    </a:lnTo>
                    <a:lnTo>
                      <a:pt x="252" y="370"/>
                    </a:lnTo>
                    <a:close/>
                    <a:moveTo>
                      <a:pt x="264" y="396"/>
                    </a:moveTo>
                    <a:lnTo>
                      <a:pt x="268" y="396"/>
                    </a:lnTo>
                    <a:lnTo>
                      <a:pt x="272" y="396"/>
                    </a:lnTo>
                    <a:lnTo>
                      <a:pt x="276" y="396"/>
                    </a:lnTo>
                    <a:lnTo>
                      <a:pt x="276" y="392"/>
                    </a:lnTo>
                    <a:lnTo>
                      <a:pt x="278" y="392"/>
                    </a:lnTo>
                    <a:lnTo>
                      <a:pt x="276" y="392"/>
                    </a:lnTo>
                    <a:lnTo>
                      <a:pt x="272" y="392"/>
                    </a:lnTo>
                    <a:lnTo>
                      <a:pt x="272" y="396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72" y="392"/>
                    </a:lnTo>
                    <a:lnTo>
                      <a:pt x="268" y="392"/>
                    </a:lnTo>
                    <a:lnTo>
                      <a:pt x="260" y="392"/>
                    </a:lnTo>
                    <a:lnTo>
                      <a:pt x="256" y="392"/>
                    </a:lnTo>
                    <a:lnTo>
                      <a:pt x="252" y="388"/>
                    </a:lnTo>
                    <a:lnTo>
                      <a:pt x="256" y="388"/>
                    </a:lnTo>
                    <a:lnTo>
                      <a:pt x="260" y="388"/>
                    </a:lnTo>
                    <a:lnTo>
                      <a:pt x="264" y="388"/>
                    </a:lnTo>
                    <a:lnTo>
                      <a:pt x="260" y="388"/>
                    </a:lnTo>
                    <a:lnTo>
                      <a:pt x="260" y="384"/>
                    </a:lnTo>
                    <a:lnTo>
                      <a:pt x="256" y="384"/>
                    </a:lnTo>
                    <a:lnTo>
                      <a:pt x="256" y="380"/>
                    </a:lnTo>
                    <a:lnTo>
                      <a:pt x="260" y="380"/>
                    </a:lnTo>
                    <a:lnTo>
                      <a:pt x="264" y="380"/>
                    </a:lnTo>
                    <a:lnTo>
                      <a:pt x="264" y="384"/>
                    </a:lnTo>
                    <a:lnTo>
                      <a:pt x="264" y="380"/>
                    </a:lnTo>
                    <a:lnTo>
                      <a:pt x="260" y="380"/>
                    </a:lnTo>
                    <a:lnTo>
                      <a:pt x="256" y="380"/>
                    </a:lnTo>
                    <a:lnTo>
                      <a:pt x="256" y="376"/>
                    </a:lnTo>
                    <a:lnTo>
                      <a:pt x="256" y="372"/>
                    </a:lnTo>
                    <a:lnTo>
                      <a:pt x="260" y="372"/>
                    </a:lnTo>
                    <a:lnTo>
                      <a:pt x="264" y="372"/>
                    </a:lnTo>
                    <a:lnTo>
                      <a:pt x="268" y="372"/>
                    </a:lnTo>
                    <a:lnTo>
                      <a:pt x="272" y="372"/>
                    </a:lnTo>
                    <a:lnTo>
                      <a:pt x="276" y="372"/>
                    </a:lnTo>
                    <a:lnTo>
                      <a:pt x="278" y="376"/>
                    </a:lnTo>
                    <a:lnTo>
                      <a:pt x="282" y="376"/>
                    </a:lnTo>
                    <a:lnTo>
                      <a:pt x="282" y="380"/>
                    </a:lnTo>
                    <a:lnTo>
                      <a:pt x="286" y="380"/>
                    </a:lnTo>
                    <a:lnTo>
                      <a:pt x="286" y="384"/>
                    </a:lnTo>
                    <a:lnTo>
                      <a:pt x="290" y="384"/>
                    </a:lnTo>
                    <a:lnTo>
                      <a:pt x="294" y="384"/>
                    </a:lnTo>
                    <a:lnTo>
                      <a:pt x="298" y="384"/>
                    </a:lnTo>
                    <a:lnTo>
                      <a:pt x="298" y="388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4" y="396"/>
                    </a:lnTo>
                    <a:lnTo>
                      <a:pt x="290" y="396"/>
                    </a:lnTo>
                    <a:lnTo>
                      <a:pt x="286" y="396"/>
                    </a:lnTo>
                    <a:lnTo>
                      <a:pt x="282" y="396"/>
                    </a:lnTo>
                    <a:lnTo>
                      <a:pt x="278" y="398"/>
                    </a:lnTo>
                    <a:lnTo>
                      <a:pt x="276" y="398"/>
                    </a:lnTo>
                    <a:lnTo>
                      <a:pt x="272" y="398"/>
                    </a:lnTo>
                    <a:lnTo>
                      <a:pt x="268" y="398"/>
                    </a:lnTo>
                    <a:lnTo>
                      <a:pt x="268" y="396"/>
                    </a:lnTo>
                    <a:lnTo>
                      <a:pt x="264" y="396"/>
                    </a:lnTo>
                    <a:lnTo>
                      <a:pt x="264" y="396"/>
                    </a:lnTo>
                    <a:lnTo>
                      <a:pt x="264" y="396"/>
                    </a:lnTo>
                    <a:close/>
                    <a:moveTo>
                      <a:pt x="308" y="384"/>
                    </a:moveTo>
                    <a:lnTo>
                      <a:pt x="312" y="384"/>
                    </a:lnTo>
                    <a:lnTo>
                      <a:pt x="316" y="384"/>
                    </a:lnTo>
                    <a:lnTo>
                      <a:pt x="312" y="388"/>
                    </a:lnTo>
                    <a:lnTo>
                      <a:pt x="312" y="392"/>
                    </a:lnTo>
                    <a:lnTo>
                      <a:pt x="308" y="392"/>
                    </a:lnTo>
                    <a:lnTo>
                      <a:pt x="306" y="388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6" y="384"/>
                    </a:lnTo>
                    <a:lnTo>
                      <a:pt x="308" y="384"/>
                    </a:lnTo>
                    <a:lnTo>
                      <a:pt x="308" y="380"/>
                    </a:lnTo>
                    <a:lnTo>
                      <a:pt x="308" y="384"/>
                    </a:lnTo>
                    <a:lnTo>
                      <a:pt x="308" y="384"/>
                    </a:lnTo>
                    <a:lnTo>
                      <a:pt x="308" y="384"/>
                    </a:lnTo>
                    <a:close/>
                    <a:moveTo>
                      <a:pt x="294" y="414"/>
                    </a:moveTo>
                    <a:lnTo>
                      <a:pt x="290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2" y="418"/>
                    </a:lnTo>
                    <a:lnTo>
                      <a:pt x="278" y="418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82" y="414"/>
                    </a:lnTo>
                    <a:lnTo>
                      <a:pt x="286" y="414"/>
                    </a:lnTo>
                    <a:lnTo>
                      <a:pt x="290" y="414"/>
                    </a:lnTo>
                    <a:lnTo>
                      <a:pt x="294" y="414"/>
                    </a:lnTo>
                    <a:lnTo>
                      <a:pt x="294" y="414"/>
                    </a:lnTo>
                    <a:lnTo>
                      <a:pt x="294" y="414"/>
                    </a:lnTo>
                    <a:close/>
                    <a:moveTo>
                      <a:pt x="294" y="426"/>
                    </a:moveTo>
                    <a:lnTo>
                      <a:pt x="298" y="426"/>
                    </a:lnTo>
                    <a:lnTo>
                      <a:pt x="302" y="426"/>
                    </a:lnTo>
                    <a:lnTo>
                      <a:pt x="306" y="426"/>
                    </a:lnTo>
                    <a:lnTo>
                      <a:pt x="302" y="426"/>
                    </a:lnTo>
                    <a:lnTo>
                      <a:pt x="298" y="426"/>
                    </a:lnTo>
                    <a:lnTo>
                      <a:pt x="298" y="428"/>
                    </a:lnTo>
                    <a:lnTo>
                      <a:pt x="294" y="428"/>
                    </a:lnTo>
                    <a:lnTo>
                      <a:pt x="290" y="426"/>
                    </a:lnTo>
                    <a:lnTo>
                      <a:pt x="294" y="426"/>
                    </a:lnTo>
                    <a:lnTo>
                      <a:pt x="294" y="426"/>
                    </a:lnTo>
                    <a:lnTo>
                      <a:pt x="294" y="426"/>
                    </a:lnTo>
                    <a:close/>
                    <a:moveTo>
                      <a:pt x="610" y="426"/>
                    </a:moveTo>
                    <a:lnTo>
                      <a:pt x="610" y="428"/>
                    </a:lnTo>
                    <a:lnTo>
                      <a:pt x="610" y="426"/>
                    </a:lnTo>
                    <a:lnTo>
                      <a:pt x="606" y="426"/>
                    </a:lnTo>
                    <a:lnTo>
                      <a:pt x="610" y="426"/>
                    </a:lnTo>
                    <a:lnTo>
                      <a:pt x="610" y="426"/>
                    </a:lnTo>
                    <a:lnTo>
                      <a:pt x="610" y="426"/>
                    </a:lnTo>
                    <a:close/>
                    <a:moveTo>
                      <a:pt x="298" y="428"/>
                    </a:moveTo>
                    <a:lnTo>
                      <a:pt x="306" y="426"/>
                    </a:lnTo>
                    <a:lnTo>
                      <a:pt x="308" y="428"/>
                    </a:lnTo>
                    <a:lnTo>
                      <a:pt x="306" y="428"/>
                    </a:lnTo>
                    <a:lnTo>
                      <a:pt x="302" y="428"/>
                    </a:lnTo>
                    <a:lnTo>
                      <a:pt x="298" y="428"/>
                    </a:lnTo>
                    <a:lnTo>
                      <a:pt x="298" y="428"/>
                    </a:lnTo>
                    <a:lnTo>
                      <a:pt x="298" y="428"/>
                    </a:lnTo>
                    <a:close/>
                    <a:moveTo>
                      <a:pt x="276" y="428"/>
                    </a:moveTo>
                    <a:lnTo>
                      <a:pt x="278" y="428"/>
                    </a:lnTo>
                    <a:lnTo>
                      <a:pt x="276" y="428"/>
                    </a:lnTo>
                    <a:lnTo>
                      <a:pt x="276" y="428"/>
                    </a:lnTo>
                    <a:lnTo>
                      <a:pt x="276" y="428"/>
                    </a:lnTo>
                    <a:close/>
                    <a:moveTo>
                      <a:pt x="272" y="440"/>
                    </a:moveTo>
                    <a:lnTo>
                      <a:pt x="272" y="436"/>
                    </a:lnTo>
                    <a:lnTo>
                      <a:pt x="276" y="436"/>
                    </a:lnTo>
                    <a:lnTo>
                      <a:pt x="272" y="440"/>
                    </a:lnTo>
                    <a:lnTo>
                      <a:pt x="272" y="440"/>
                    </a:lnTo>
                    <a:lnTo>
                      <a:pt x="272" y="440"/>
                    </a:lnTo>
                    <a:close/>
                    <a:moveTo>
                      <a:pt x="272" y="478"/>
                    </a:moveTo>
                    <a:lnTo>
                      <a:pt x="276" y="478"/>
                    </a:lnTo>
                    <a:lnTo>
                      <a:pt x="272" y="478"/>
                    </a:lnTo>
                    <a:lnTo>
                      <a:pt x="272" y="478"/>
                    </a:lnTo>
                    <a:lnTo>
                      <a:pt x="272" y="478"/>
                    </a:lnTo>
                    <a:close/>
                    <a:moveTo>
                      <a:pt x="514" y="484"/>
                    </a:moveTo>
                    <a:lnTo>
                      <a:pt x="514" y="482"/>
                    </a:lnTo>
                    <a:lnTo>
                      <a:pt x="514" y="484"/>
                    </a:lnTo>
                    <a:lnTo>
                      <a:pt x="514" y="484"/>
                    </a:lnTo>
                    <a:lnTo>
                      <a:pt x="514" y="484"/>
                    </a:lnTo>
                    <a:close/>
                    <a:moveTo>
                      <a:pt x="518" y="484"/>
                    </a:moveTo>
                    <a:lnTo>
                      <a:pt x="518" y="482"/>
                    </a:lnTo>
                    <a:lnTo>
                      <a:pt x="520" y="482"/>
                    </a:lnTo>
                    <a:lnTo>
                      <a:pt x="520" y="484"/>
                    </a:lnTo>
                    <a:lnTo>
                      <a:pt x="518" y="484"/>
                    </a:lnTo>
                    <a:lnTo>
                      <a:pt x="518" y="484"/>
                    </a:lnTo>
                    <a:lnTo>
                      <a:pt x="518" y="484"/>
                    </a:lnTo>
                    <a:close/>
                    <a:moveTo>
                      <a:pt x="498" y="488"/>
                    </a:moveTo>
                    <a:lnTo>
                      <a:pt x="494" y="488"/>
                    </a:lnTo>
                    <a:lnTo>
                      <a:pt x="494" y="484"/>
                    </a:lnTo>
                    <a:lnTo>
                      <a:pt x="494" y="482"/>
                    </a:lnTo>
                    <a:lnTo>
                      <a:pt x="498" y="482"/>
                    </a:lnTo>
                    <a:lnTo>
                      <a:pt x="502" y="482"/>
                    </a:lnTo>
                    <a:lnTo>
                      <a:pt x="502" y="484"/>
                    </a:lnTo>
                    <a:lnTo>
                      <a:pt x="506" y="484"/>
                    </a:lnTo>
                    <a:lnTo>
                      <a:pt x="502" y="484"/>
                    </a:lnTo>
                    <a:lnTo>
                      <a:pt x="502" y="488"/>
                    </a:lnTo>
                    <a:lnTo>
                      <a:pt x="498" y="488"/>
                    </a:lnTo>
                    <a:lnTo>
                      <a:pt x="498" y="488"/>
                    </a:lnTo>
                    <a:lnTo>
                      <a:pt x="498" y="488"/>
                    </a:lnTo>
                    <a:close/>
                    <a:moveTo>
                      <a:pt x="472" y="496"/>
                    </a:moveTo>
                    <a:lnTo>
                      <a:pt x="468" y="496"/>
                    </a:lnTo>
                    <a:lnTo>
                      <a:pt x="472" y="496"/>
                    </a:lnTo>
                    <a:lnTo>
                      <a:pt x="472" y="496"/>
                    </a:lnTo>
                    <a:lnTo>
                      <a:pt x="472" y="496"/>
                    </a:lnTo>
                    <a:close/>
                    <a:moveTo>
                      <a:pt x="462" y="518"/>
                    </a:moveTo>
                    <a:lnTo>
                      <a:pt x="462" y="514"/>
                    </a:lnTo>
                    <a:lnTo>
                      <a:pt x="458" y="514"/>
                    </a:lnTo>
                    <a:lnTo>
                      <a:pt x="458" y="512"/>
                    </a:lnTo>
                    <a:lnTo>
                      <a:pt x="454" y="508"/>
                    </a:lnTo>
                    <a:lnTo>
                      <a:pt x="458" y="508"/>
                    </a:lnTo>
                    <a:lnTo>
                      <a:pt x="462" y="512"/>
                    </a:lnTo>
                    <a:lnTo>
                      <a:pt x="458" y="512"/>
                    </a:lnTo>
                    <a:lnTo>
                      <a:pt x="462" y="514"/>
                    </a:lnTo>
                    <a:lnTo>
                      <a:pt x="464" y="514"/>
                    </a:lnTo>
                    <a:lnTo>
                      <a:pt x="464" y="518"/>
                    </a:lnTo>
                    <a:lnTo>
                      <a:pt x="462" y="518"/>
                    </a:lnTo>
                    <a:lnTo>
                      <a:pt x="462" y="518"/>
                    </a:lnTo>
                    <a:lnTo>
                      <a:pt x="462" y="518"/>
                    </a:lnTo>
                    <a:close/>
                    <a:moveTo>
                      <a:pt x="308" y="514"/>
                    </a:moveTo>
                    <a:lnTo>
                      <a:pt x="308" y="518"/>
                    </a:lnTo>
                    <a:lnTo>
                      <a:pt x="306" y="518"/>
                    </a:lnTo>
                    <a:lnTo>
                      <a:pt x="306" y="514"/>
                    </a:lnTo>
                    <a:lnTo>
                      <a:pt x="308" y="514"/>
                    </a:lnTo>
                    <a:lnTo>
                      <a:pt x="308" y="514"/>
                    </a:lnTo>
                    <a:lnTo>
                      <a:pt x="308" y="514"/>
                    </a:lnTo>
                    <a:close/>
                    <a:moveTo>
                      <a:pt x="312" y="514"/>
                    </a:moveTo>
                    <a:lnTo>
                      <a:pt x="312" y="518"/>
                    </a:lnTo>
                    <a:lnTo>
                      <a:pt x="308" y="518"/>
                    </a:lnTo>
                    <a:lnTo>
                      <a:pt x="308" y="522"/>
                    </a:lnTo>
                    <a:lnTo>
                      <a:pt x="306" y="522"/>
                    </a:lnTo>
                    <a:lnTo>
                      <a:pt x="308" y="518"/>
                    </a:lnTo>
                    <a:lnTo>
                      <a:pt x="308" y="514"/>
                    </a:lnTo>
                    <a:lnTo>
                      <a:pt x="312" y="514"/>
                    </a:lnTo>
                    <a:lnTo>
                      <a:pt x="312" y="514"/>
                    </a:lnTo>
                    <a:lnTo>
                      <a:pt x="312" y="514"/>
                    </a:lnTo>
                    <a:close/>
                    <a:moveTo>
                      <a:pt x="306" y="518"/>
                    </a:moveTo>
                    <a:lnTo>
                      <a:pt x="306" y="522"/>
                    </a:lnTo>
                    <a:lnTo>
                      <a:pt x="302" y="522"/>
                    </a:lnTo>
                    <a:lnTo>
                      <a:pt x="306" y="518"/>
                    </a:lnTo>
                    <a:lnTo>
                      <a:pt x="306" y="518"/>
                    </a:lnTo>
                    <a:lnTo>
                      <a:pt x="306" y="518"/>
                    </a:lnTo>
                    <a:close/>
                    <a:moveTo>
                      <a:pt x="450" y="522"/>
                    </a:moveTo>
                    <a:lnTo>
                      <a:pt x="446" y="522"/>
                    </a:lnTo>
                    <a:lnTo>
                      <a:pt x="446" y="518"/>
                    </a:lnTo>
                    <a:lnTo>
                      <a:pt x="450" y="522"/>
                    </a:lnTo>
                    <a:lnTo>
                      <a:pt x="450" y="522"/>
                    </a:lnTo>
                    <a:lnTo>
                      <a:pt x="450" y="5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5" name="Freeform 74">
                <a:extLst>
                  <a:ext uri="{FF2B5EF4-FFF2-40B4-BE49-F238E27FC236}">
                    <a16:creationId xmlns:a16="http://schemas.microsoft.com/office/drawing/2014/main" id="{D96893AF-86D0-41C2-88B4-94A92549D18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24100" y="4070418"/>
                <a:ext cx="88900" cy="114300"/>
              </a:xfrm>
              <a:custGeom>
                <a:avLst/>
                <a:gdLst>
                  <a:gd name="T0" fmla="*/ 38 w 56"/>
                  <a:gd name="T1" fmla="*/ 60 h 72"/>
                  <a:gd name="T2" fmla="*/ 38 w 56"/>
                  <a:gd name="T3" fmla="*/ 64 h 72"/>
                  <a:gd name="T4" fmla="*/ 38 w 56"/>
                  <a:gd name="T5" fmla="*/ 64 h 72"/>
                  <a:gd name="T6" fmla="*/ 38 w 56"/>
                  <a:gd name="T7" fmla="*/ 64 h 72"/>
                  <a:gd name="T8" fmla="*/ 34 w 56"/>
                  <a:gd name="T9" fmla="*/ 68 h 72"/>
                  <a:gd name="T10" fmla="*/ 30 w 56"/>
                  <a:gd name="T11" fmla="*/ 72 h 72"/>
                  <a:gd name="T12" fmla="*/ 30 w 56"/>
                  <a:gd name="T13" fmla="*/ 72 h 72"/>
                  <a:gd name="T14" fmla="*/ 26 w 56"/>
                  <a:gd name="T15" fmla="*/ 72 h 72"/>
                  <a:gd name="T16" fmla="*/ 22 w 56"/>
                  <a:gd name="T17" fmla="*/ 68 h 72"/>
                  <a:gd name="T18" fmla="*/ 22 w 56"/>
                  <a:gd name="T19" fmla="*/ 68 h 72"/>
                  <a:gd name="T20" fmla="*/ 16 w 56"/>
                  <a:gd name="T21" fmla="*/ 68 h 72"/>
                  <a:gd name="T22" fmla="*/ 12 w 56"/>
                  <a:gd name="T23" fmla="*/ 68 h 72"/>
                  <a:gd name="T24" fmla="*/ 8 w 56"/>
                  <a:gd name="T25" fmla="*/ 68 h 72"/>
                  <a:gd name="T26" fmla="*/ 8 w 56"/>
                  <a:gd name="T27" fmla="*/ 64 h 72"/>
                  <a:gd name="T28" fmla="*/ 4 w 56"/>
                  <a:gd name="T29" fmla="*/ 64 h 72"/>
                  <a:gd name="T30" fmla="*/ 0 w 56"/>
                  <a:gd name="T31" fmla="*/ 60 h 72"/>
                  <a:gd name="T32" fmla="*/ 0 w 56"/>
                  <a:gd name="T33" fmla="*/ 56 h 72"/>
                  <a:gd name="T34" fmla="*/ 0 w 56"/>
                  <a:gd name="T35" fmla="*/ 56 h 72"/>
                  <a:gd name="T36" fmla="*/ 0 w 56"/>
                  <a:gd name="T37" fmla="*/ 52 h 72"/>
                  <a:gd name="T38" fmla="*/ 0 w 56"/>
                  <a:gd name="T39" fmla="*/ 44 h 72"/>
                  <a:gd name="T40" fmla="*/ 8 w 56"/>
                  <a:gd name="T41" fmla="*/ 30 h 72"/>
                  <a:gd name="T42" fmla="*/ 18 w 56"/>
                  <a:gd name="T43" fmla="*/ 30 h 72"/>
                  <a:gd name="T44" fmla="*/ 26 w 56"/>
                  <a:gd name="T45" fmla="*/ 30 h 72"/>
                  <a:gd name="T46" fmla="*/ 26 w 56"/>
                  <a:gd name="T47" fmla="*/ 30 h 72"/>
                  <a:gd name="T48" fmla="*/ 26 w 56"/>
                  <a:gd name="T49" fmla="*/ 26 h 72"/>
                  <a:gd name="T50" fmla="*/ 22 w 56"/>
                  <a:gd name="T51" fmla="*/ 26 h 72"/>
                  <a:gd name="T52" fmla="*/ 22 w 56"/>
                  <a:gd name="T53" fmla="*/ 22 h 72"/>
                  <a:gd name="T54" fmla="*/ 22 w 56"/>
                  <a:gd name="T55" fmla="*/ 18 h 72"/>
                  <a:gd name="T56" fmla="*/ 18 w 56"/>
                  <a:gd name="T57" fmla="*/ 18 h 72"/>
                  <a:gd name="T58" fmla="*/ 16 w 56"/>
                  <a:gd name="T59" fmla="*/ 14 h 72"/>
                  <a:gd name="T60" fmla="*/ 12 w 56"/>
                  <a:gd name="T61" fmla="*/ 12 h 72"/>
                  <a:gd name="T62" fmla="*/ 18 w 56"/>
                  <a:gd name="T63" fmla="*/ 0 h 72"/>
                  <a:gd name="T64" fmla="*/ 22 w 56"/>
                  <a:gd name="T65" fmla="*/ 0 h 72"/>
                  <a:gd name="T66" fmla="*/ 42 w 56"/>
                  <a:gd name="T67" fmla="*/ 0 h 72"/>
                  <a:gd name="T68" fmla="*/ 46 w 56"/>
                  <a:gd name="T69" fmla="*/ 14 h 72"/>
                  <a:gd name="T70" fmla="*/ 42 w 56"/>
                  <a:gd name="T71" fmla="*/ 34 h 72"/>
                  <a:gd name="T72" fmla="*/ 50 w 56"/>
                  <a:gd name="T73" fmla="*/ 34 h 72"/>
                  <a:gd name="T74" fmla="*/ 50 w 56"/>
                  <a:gd name="T75" fmla="*/ 34 h 72"/>
                  <a:gd name="T76" fmla="*/ 52 w 56"/>
                  <a:gd name="T77" fmla="*/ 38 h 72"/>
                  <a:gd name="T78" fmla="*/ 52 w 56"/>
                  <a:gd name="T79" fmla="*/ 34 h 72"/>
                  <a:gd name="T80" fmla="*/ 56 w 56"/>
                  <a:gd name="T81" fmla="*/ 38 h 72"/>
                  <a:gd name="T82" fmla="*/ 56 w 56"/>
                  <a:gd name="T83" fmla="*/ 38 h 72"/>
                  <a:gd name="T84" fmla="*/ 52 w 56"/>
                  <a:gd name="T85" fmla="*/ 44 h 72"/>
                  <a:gd name="T86" fmla="*/ 46 w 56"/>
                  <a:gd name="T87" fmla="*/ 48 h 72"/>
                  <a:gd name="T88" fmla="*/ 46 w 56"/>
                  <a:gd name="T89" fmla="*/ 48 h 72"/>
                  <a:gd name="T90" fmla="*/ 42 w 56"/>
                  <a:gd name="T91" fmla="*/ 52 h 72"/>
                  <a:gd name="T92" fmla="*/ 46 w 56"/>
                  <a:gd name="T93" fmla="*/ 56 h 72"/>
                  <a:gd name="T94" fmla="*/ 42 w 56"/>
                  <a:gd name="T95" fmla="*/ 60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56" h="72">
                    <a:moveTo>
                      <a:pt x="42" y="60"/>
                    </a:move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8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8" y="12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14"/>
                    </a:lnTo>
                    <a:lnTo>
                      <a:pt x="46" y="26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46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4"/>
                    </a:lnTo>
                    <a:lnTo>
                      <a:pt x="50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6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0" y="44"/>
                    </a:lnTo>
                    <a:lnTo>
                      <a:pt x="50" y="44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48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6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6" name="Freeform 75">
                <a:extLst>
                  <a:ext uri="{FF2B5EF4-FFF2-40B4-BE49-F238E27FC236}">
                    <a16:creationId xmlns:a16="http://schemas.microsoft.com/office/drawing/2014/main" id="{5989D86C-6768-45AA-AF0A-EFA67C2EC0D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20975" y="4010093"/>
                <a:ext cx="63500" cy="53975"/>
              </a:xfrm>
              <a:custGeom>
                <a:avLst/>
                <a:gdLst>
                  <a:gd name="T0" fmla="*/ 22 w 40"/>
                  <a:gd name="T1" fmla="*/ 0 h 34"/>
                  <a:gd name="T2" fmla="*/ 26 w 40"/>
                  <a:gd name="T3" fmla="*/ 0 h 34"/>
                  <a:gd name="T4" fmla="*/ 26 w 40"/>
                  <a:gd name="T5" fmla="*/ 0 h 34"/>
                  <a:gd name="T6" fmla="*/ 18 w 40"/>
                  <a:gd name="T7" fmla="*/ 8 h 34"/>
                  <a:gd name="T8" fmla="*/ 14 w 40"/>
                  <a:gd name="T9" fmla="*/ 8 h 34"/>
                  <a:gd name="T10" fmla="*/ 14 w 40"/>
                  <a:gd name="T11" fmla="*/ 4 h 34"/>
                  <a:gd name="T12" fmla="*/ 18 w 40"/>
                  <a:gd name="T13" fmla="*/ 4 h 34"/>
                  <a:gd name="T14" fmla="*/ 22 w 40"/>
                  <a:gd name="T15" fmla="*/ 0 h 34"/>
                  <a:gd name="T16" fmla="*/ 26 w 40"/>
                  <a:gd name="T17" fmla="*/ 0 h 34"/>
                  <a:gd name="T18" fmla="*/ 30 w 40"/>
                  <a:gd name="T19" fmla="*/ 4 h 34"/>
                  <a:gd name="T20" fmla="*/ 34 w 40"/>
                  <a:gd name="T21" fmla="*/ 4 h 34"/>
                  <a:gd name="T22" fmla="*/ 40 w 40"/>
                  <a:gd name="T23" fmla="*/ 4 h 34"/>
                  <a:gd name="T24" fmla="*/ 40 w 40"/>
                  <a:gd name="T25" fmla="*/ 8 h 34"/>
                  <a:gd name="T26" fmla="*/ 40 w 40"/>
                  <a:gd name="T27" fmla="*/ 8 h 34"/>
                  <a:gd name="T28" fmla="*/ 40 w 40"/>
                  <a:gd name="T29" fmla="*/ 12 h 34"/>
                  <a:gd name="T30" fmla="*/ 40 w 40"/>
                  <a:gd name="T31" fmla="*/ 16 h 34"/>
                  <a:gd name="T32" fmla="*/ 40 w 40"/>
                  <a:gd name="T33" fmla="*/ 16 h 34"/>
                  <a:gd name="T34" fmla="*/ 40 w 40"/>
                  <a:gd name="T35" fmla="*/ 22 h 34"/>
                  <a:gd name="T36" fmla="*/ 40 w 40"/>
                  <a:gd name="T37" fmla="*/ 22 h 34"/>
                  <a:gd name="T38" fmla="*/ 38 w 40"/>
                  <a:gd name="T39" fmla="*/ 22 h 34"/>
                  <a:gd name="T40" fmla="*/ 38 w 40"/>
                  <a:gd name="T41" fmla="*/ 22 h 34"/>
                  <a:gd name="T42" fmla="*/ 38 w 40"/>
                  <a:gd name="T43" fmla="*/ 26 h 34"/>
                  <a:gd name="T44" fmla="*/ 38 w 40"/>
                  <a:gd name="T45" fmla="*/ 26 h 34"/>
                  <a:gd name="T46" fmla="*/ 40 w 40"/>
                  <a:gd name="T47" fmla="*/ 30 h 34"/>
                  <a:gd name="T48" fmla="*/ 40 w 40"/>
                  <a:gd name="T49" fmla="*/ 34 h 34"/>
                  <a:gd name="T50" fmla="*/ 38 w 40"/>
                  <a:gd name="T51" fmla="*/ 34 h 34"/>
                  <a:gd name="T52" fmla="*/ 34 w 40"/>
                  <a:gd name="T53" fmla="*/ 30 h 34"/>
                  <a:gd name="T54" fmla="*/ 34 w 40"/>
                  <a:gd name="T55" fmla="*/ 30 h 34"/>
                  <a:gd name="T56" fmla="*/ 30 w 40"/>
                  <a:gd name="T57" fmla="*/ 34 h 34"/>
                  <a:gd name="T58" fmla="*/ 26 w 40"/>
                  <a:gd name="T59" fmla="*/ 34 h 34"/>
                  <a:gd name="T60" fmla="*/ 22 w 40"/>
                  <a:gd name="T61" fmla="*/ 34 h 34"/>
                  <a:gd name="T62" fmla="*/ 18 w 40"/>
                  <a:gd name="T63" fmla="*/ 30 h 34"/>
                  <a:gd name="T64" fmla="*/ 10 w 40"/>
                  <a:gd name="T65" fmla="*/ 34 h 34"/>
                  <a:gd name="T66" fmla="*/ 10 w 40"/>
                  <a:gd name="T67" fmla="*/ 34 h 34"/>
                  <a:gd name="T68" fmla="*/ 10 w 40"/>
                  <a:gd name="T69" fmla="*/ 34 h 34"/>
                  <a:gd name="T70" fmla="*/ 10 w 40"/>
                  <a:gd name="T71" fmla="*/ 34 h 34"/>
                  <a:gd name="T72" fmla="*/ 8 w 40"/>
                  <a:gd name="T73" fmla="*/ 34 h 34"/>
                  <a:gd name="T74" fmla="*/ 4 w 40"/>
                  <a:gd name="T75" fmla="*/ 30 h 34"/>
                  <a:gd name="T76" fmla="*/ 4 w 40"/>
                  <a:gd name="T77" fmla="*/ 30 h 34"/>
                  <a:gd name="T78" fmla="*/ 4 w 40"/>
                  <a:gd name="T79" fmla="*/ 22 h 34"/>
                  <a:gd name="T80" fmla="*/ 8 w 40"/>
                  <a:gd name="T81" fmla="*/ 22 h 34"/>
                  <a:gd name="T82" fmla="*/ 10 w 40"/>
                  <a:gd name="T83" fmla="*/ 26 h 34"/>
                  <a:gd name="T84" fmla="*/ 10 w 40"/>
                  <a:gd name="T85" fmla="*/ 26 h 34"/>
                  <a:gd name="T86" fmla="*/ 14 w 40"/>
                  <a:gd name="T87" fmla="*/ 26 h 34"/>
                  <a:gd name="T88" fmla="*/ 10 w 40"/>
                  <a:gd name="T89" fmla="*/ 26 h 34"/>
                  <a:gd name="T90" fmla="*/ 14 w 40"/>
                  <a:gd name="T91" fmla="*/ 26 h 34"/>
                  <a:gd name="T92" fmla="*/ 22 w 40"/>
                  <a:gd name="T93" fmla="*/ 26 h 34"/>
                  <a:gd name="T94" fmla="*/ 22 w 40"/>
                  <a:gd name="T95" fmla="*/ 26 h 34"/>
                  <a:gd name="T96" fmla="*/ 26 w 40"/>
                  <a:gd name="T97" fmla="*/ 26 h 34"/>
                  <a:gd name="T98" fmla="*/ 26 w 40"/>
                  <a:gd name="T99" fmla="*/ 26 h 34"/>
                  <a:gd name="T100" fmla="*/ 30 w 40"/>
                  <a:gd name="T101" fmla="*/ 26 h 34"/>
                  <a:gd name="T102" fmla="*/ 30 w 40"/>
                  <a:gd name="T103" fmla="*/ 22 h 34"/>
                  <a:gd name="T104" fmla="*/ 30 w 40"/>
                  <a:gd name="T105" fmla="*/ 22 h 34"/>
                  <a:gd name="T106" fmla="*/ 26 w 40"/>
                  <a:gd name="T107" fmla="*/ 20 h 34"/>
                  <a:gd name="T108" fmla="*/ 26 w 40"/>
                  <a:gd name="T109" fmla="*/ 16 h 34"/>
                  <a:gd name="T110" fmla="*/ 22 w 40"/>
                  <a:gd name="T111" fmla="*/ 8 h 34"/>
                  <a:gd name="T112" fmla="*/ 22 w 40"/>
                  <a:gd name="T113" fmla="*/ 8 h 34"/>
                  <a:gd name="T114" fmla="*/ 18 w 40"/>
                  <a:gd name="T115" fmla="*/ 20 h 34"/>
                  <a:gd name="T116" fmla="*/ 18 w 40"/>
                  <a:gd name="T117" fmla="*/ 20 h 34"/>
                  <a:gd name="T118" fmla="*/ 22 w 40"/>
                  <a:gd name="T119" fmla="*/ 20 h 34"/>
                  <a:gd name="T120" fmla="*/ 26 w 40"/>
                  <a:gd name="T121" fmla="*/ 22 h 34"/>
                  <a:gd name="T122" fmla="*/ 26 w 40"/>
                  <a:gd name="T123" fmla="*/ 2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40" h="34">
                    <a:moveTo>
                      <a:pt x="26" y="0"/>
                    </a:moveTo>
                    <a:lnTo>
                      <a:pt x="2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close/>
                    <a:moveTo>
                      <a:pt x="22" y="8"/>
                    </a:move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close/>
                    <a:moveTo>
                      <a:pt x="26" y="22"/>
                    </a:move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7" name="Freeform 76">
                <a:extLst>
                  <a:ext uri="{FF2B5EF4-FFF2-40B4-BE49-F238E27FC236}">
                    <a16:creationId xmlns:a16="http://schemas.microsoft.com/office/drawing/2014/main" id="{0A6465EE-AEDD-44E0-B71F-805010189D4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775" y="4111693"/>
                <a:ext cx="139700" cy="95250"/>
              </a:xfrm>
              <a:custGeom>
                <a:avLst/>
                <a:gdLst>
                  <a:gd name="T0" fmla="*/ 36 w 88"/>
                  <a:gd name="T1" fmla="*/ 52 h 60"/>
                  <a:gd name="T2" fmla="*/ 32 w 88"/>
                  <a:gd name="T3" fmla="*/ 56 h 60"/>
                  <a:gd name="T4" fmla="*/ 32 w 88"/>
                  <a:gd name="T5" fmla="*/ 60 h 60"/>
                  <a:gd name="T6" fmla="*/ 24 w 88"/>
                  <a:gd name="T7" fmla="*/ 56 h 60"/>
                  <a:gd name="T8" fmla="*/ 24 w 88"/>
                  <a:gd name="T9" fmla="*/ 52 h 60"/>
                  <a:gd name="T10" fmla="*/ 24 w 88"/>
                  <a:gd name="T11" fmla="*/ 52 h 60"/>
                  <a:gd name="T12" fmla="*/ 20 w 88"/>
                  <a:gd name="T13" fmla="*/ 52 h 60"/>
                  <a:gd name="T14" fmla="*/ 20 w 88"/>
                  <a:gd name="T15" fmla="*/ 52 h 60"/>
                  <a:gd name="T16" fmla="*/ 20 w 88"/>
                  <a:gd name="T17" fmla="*/ 46 h 60"/>
                  <a:gd name="T18" fmla="*/ 16 w 88"/>
                  <a:gd name="T19" fmla="*/ 46 h 60"/>
                  <a:gd name="T20" fmla="*/ 16 w 88"/>
                  <a:gd name="T21" fmla="*/ 42 h 60"/>
                  <a:gd name="T22" fmla="*/ 14 w 88"/>
                  <a:gd name="T23" fmla="*/ 46 h 60"/>
                  <a:gd name="T24" fmla="*/ 10 w 88"/>
                  <a:gd name="T25" fmla="*/ 46 h 60"/>
                  <a:gd name="T26" fmla="*/ 10 w 88"/>
                  <a:gd name="T27" fmla="*/ 42 h 60"/>
                  <a:gd name="T28" fmla="*/ 6 w 88"/>
                  <a:gd name="T29" fmla="*/ 42 h 60"/>
                  <a:gd name="T30" fmla="*/ 6 w 88"/>
                  <a:gd name="T31" fmla="*/ 38 h 60"/>
                  <a:gd name="T32" fmla="*/ 4 w 88"/>
                  <a:gd name="T33" fmla="*/ 38 h 60"/>
                  <a:gd name="T34" fmla="*/ 0 w 88"/>
                  <a:gd name="T35" fmla="*/ 34 h 60"/>
                  <a:gd name="T36" fmla="*/ 4 w 88"/>
                  <a:gd name="T37" fmla="*/ 30 h 60"/>
                  <a:gd name="T38" fmla="*/ 4 w 88"/>
                  <a:gd name="T39" fmla="*/ 26 h 60"/>
                  <a:gd name="T40" fmla="*/ 4 w 88"/>
                  <a:gd name="T41" fmla="*/ 22 h 60"/>
                  <a:gd name="T42" fmla="*/ 10 w 88"/>
                  <a:gd name="T43" fmla="*/ 16 h 60"/>
                  <a:gd name="T44" fmla="*/ 14 w 88"/>
                  <a:gd name="T45" fmla="*/ 12 h 60"/>
                  <a:gd name="T46" fmla="*/ 16 w 88"/>
                  <a:gd name="T47" fmla="*/ 8 h 60"/>
                  <a:gd name="T48" fmla="*/ 20 w 88"/>
                  <a:gd name="T49" fmla="*/ 8 h 60"/>
                  <a:gd name="T50" fmla="*/ 28 w 88"/>
                  <a:gd name="T51" fmla="*/ 8 h 60"/>
                  <a:gd name="T52" fmla="*/ 36 w 88"/>
                  <a:gd name="T53" fmla="*/ 12 h 60"/>
                  <a:gd name="T54" fmla="*/ 40 w 88"/>
                  <a:gd name="T55" fmla="*/ 12 h 60"/>
                  <a:gd name="T56" fmla="*/ 42 w 88"/>
                  <a:gd name="T57" fmla="*/ 8 h 60"/>
                  <a:gd name="T58" fmla="*/ 46 w 88"/>
                  <a:gd name="T59" fmla="*/ 8 h 60"/>
                  <a:gd name="T60" fmla="*/ 46 w 88"/>
                  <a:gd name="T61" fmla="*/ 8 h 60"/>
                  <a:gd name="T62" fmla="*/ 50 w 88"/>
                  <a:gd name="T63" fmla="*/ 8 h 60"/>
                  <a:gd name="T64" fmla="*/ 58 w 88"/>
                  <a:gd name="T65" fmla="*/ 8 h 60"/>
                  <a:gd name="T66" fmla="*/ 66 w 88"/>
                  <a:gd name="T67" fmla="*/ 8 h 60"/>
                  <a:gd name="T68" fmla="*/ 66 w 88"/>
                  <a:gd name="T69" fmla="*/ 8 h 60"/>
                  <a:gd name="T70" fmla="*/ 76 w 88"/>
                  <a:gd name="T71" fmla="*/ 16 h 60"/>
                  <a:gd name="T72" fmla="*/ 72 w 88"/>
                  <a:gd name="T73" fmla="*/ 18 h 60"/>
                  <a:gd name="T74" fmla="*/ 72 w 88"/>
                  <a:gd name="T75" fmla="*/ 18 h 60"/>
                  <a:gd name="T76" fmla="*/ 76 w 88"/>
                  <a:gd name="T77" fmla="*/ 18 h 60"/>
                  <a:gd name="T78" fmla="*/ 80 w 88"/>
                  <a:gd name="T79" fmla="*/ 18 h 60"/>
                  <a:gd name="T80" fmla="*/ 80 w 88"/>
                  <a:gd name="T81" fmla="*/ 22 h 60"/>
                  <a:gd name="T82" fmla="*/ 80 w 88"/>
                  <a:gd name="T83" fmla="*/ 18 h 60"/>
                  <a:gd name="T84" fmla="*/ 84 w 88"/>
                  <a:gd name="T85" fmla="*/ 18 h 60"/>
                  <a:gd name="T86" fmla="*/ 84 w 88"/>
                  <a:gd name="T87" fmla="*/ 22 h 60"/>
                  <a:gd name="T88" fmla="*/ 84 w 88"/>
                  <a:gd name="T89" fmla="*/ 22 h 60"/>
                  <a:gd name="T90" fmla="*/ 76 w 88"/>
                  <a:gd name="T91" fmla="*/ 26 h 60"/>
                  <a:gd name="T92" fmla="*/ 66 w 88"/>
                  <a:gd name="T93" fmla="*/ 30 h 60"/>
                  <a:gd name="T94" fmla="*/ 58 w 88"/>
                  <a:gd name="T95" fmla="*/ 30 h 60"/>
                  <a:gd name="T96" fmla="*/ 58 w 88"/>
                  <a:gd name="T97" fmla="*/ 34 h 60"/>
                  <a:gd name="T98" fmla="*/ 58 w 88"/>
                  <a:gd name="T99" fmla="*/ 38 h 60"/>
                  <a:gd name="T100" fmla="*/ 54 w 88"/>
                  <a:gd name="T101" fmla="*/ 38 h 60"/>
                  <a:gd name="T102" fmla="*/ 50 w 88"/>
                  <a:gd name="T103" fmla="*/ 46 h 60"/>
                  <a:gd name="T104" fmla="*/ 46 w 88"/>
                  <a:gd name="T105" fmla="*/ 42 h 60"/>
                  <a:gd name="T106" fmla="*/ 42 w 88"/>
                  <a:gd name="T107" fmla="*/ 42 h 60"/>
                  <a:gd name="T108" fmla="*/ 36 w 88"/>
                  <a:gd name="T109" fmla="*/ 46 h 60"/>
                  <a:gd name="T110" fmla="*/ 36 w 88"/>
                  <a:gd name="T111" fmla="*/ 0 h 60"/>
                  <a:gd name="T112" fmla="*/ 40 w 88"/>
                  <a:gd name="T113" fmla="*/ 0 h 60"/>
                  <a:gd name="T114" fmla="*/ 40 w 88"/>
                  <a:gd name="T115" fmla="*/ 0 h 60"/>
                  <a:gd name="T116" fmla="*/ 36 w 88"/>
                  <a:gd name="T117" fmla="*/ 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8" h="60">
                    <a:moveTo>
                      <a:pt x="36" y="46"/>
                    </a:moveTo>
                    <a:lnTo>
                      <a:pt x="36" y="50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2" y="8"/>
                    </a:lnTo>
                    <a:lnTo>
                      <a:pt x="66" y="8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12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0" y="16"/>
                    </a:lnTo>
                    <a:lnTo>
                      <a:pt x="70" y="16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0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30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4"/>
                    </a:lnTo>
                    <a:lnTo>
                      <a:pt x="58" y="38"/>
                    </a:lnTo>
                    <a:lnTo>
                      <a:pt x="58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4" y="38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6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8" name="Freeform 77">
                <a:extLst>
                  <a:ext uri="{FF2B5EF4-FFF2-40B4-BE49-F238E27FC236}">
                    <a16:creationId xmlns:a16="http://schemas.microsoft.com/office/drawing/2014/main" id="{11A37E82-82A9-44ED-AD38-090028012A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35250" y="4054543"/>
                <a:ext cx="50800" cy="22225"/>
              </a:xfrm>
              <a:custGeom>
                <a:avLst/>
                <a:gdLst>
                  <a:gd name="T0" fmla="*/ 24 w 32"/>
                  <a:gd name="T1" fmla="*/ 10 h 14"/>
                  <a:gd name="T2" fmla="*/ 24 w 32"/>
                  <a:gd name="T3" fmla="*/ 10 h 14"/>
                  <a:gd name="T4" fmla="*/ 20 w 32"/>
                  <a:gd name="T5" fmla="*/ 6 h 14"/>
                  <a:gd name="T6" fmla="*/ 20 w 32"/>
                  <a:gd name="T7" fmla="*/ 10 h 14"/>
                  <a:gd name="T8" fmla="*/ 20 w 32"/>
                  <a:gd name="T9" fmla="*/ 10 h 14"/>
                  <a:gd name="T10" fmla="*/ 20 w 32"/>
                  <a:gd name="T11" fmla="*/ 10 h 14"/>
                  <a:gd name="T12" fmla="*/ 16 w 32"/>
                  <a:gd name="T13" fmla="*/ 10 h 14"/>
                  <a:gd name="T14" fmla="*/ 16 w 32"/>
                  <a:gd name="T15" fmla="*/ 10 h 14"/>
                  <a:gd name="T16" fmla="*/ 16 w 32"/>
                  <a:gd name="T17" fmla="*/ 14 h 14"/>
                  <a:gd name="T18" fmla="*/ 16 w 32"/>
                  <a:gd name="T19" fmla="*/ 14 h 14"/>
                  <a:gd name="T20" fmla="*/ 16 w 32"/>
                  <a:gd name="T21" fmla="*/ 14 h 14"/>
                  <a:gd name="T22" fmla="*/ 12 w 32"/>
                  <a:gd name="T23" fmla="*/ 10 h 14"/>
                  <a:gd name="T24" fmla="*/ 12 w 32"/>
                  <a:gd name="T25" fmla="*/ 10 h 14"/>
                  <a:gd name="T26" fmla="*/ 12 w 32"/>
                  <a:gd name="T27" fmla="*/ 10 h 14"/>
                  <a:gd name="T28" fmla="*/ 8 w 32"/>
                  <a:gd name="T29" fmla="*/ 10 h 14"/>
                  <a:gd name="T30" fmla="*/ 8 w 32"/>
                  <a:gd name="T31" fmla="*/ 6 h 14"/>
                  <a:gd name="T32" fmla="*/ 4 w 32"/>
                  <a:gd name="T33" fmla="*/ 6 h 14"/>
                  <a:gd name="T34" fmla="*/ 4 w 32"/>
                  <a:gd name="T35" fmla="*/ 6 h 14"/>
                  <a:gd name="T36" fmla="*/ 4 w 32"/>
                  <a:gd name="T37" fmla="*/ 6 h 14"/>
                  <a:gd name="T38" fmla="*/ 4 w 32"/>
                  <a:gd name="T39" fmla="*/ 4 h 14"/>
                  <a:gd name="T40" fmla="*/ 0 w 32"/>
                  <a:gd name="T41" fmla="*/ 4 h 14"/>
                  <a:gd name="T42" fmla="*/ 0 w 32"/>
                  <a:gd name="T43" fmla="*/ 4 h 14"/>
                  <a:gd name="T44" fmla="*/ 0 w 32"/>
                  <a:gd name="T45" fmla="*/ 4 h 14"/>
                  <a:gd name="T46" fmla="*/ 0 w 32"/>
                  <a:gd name="T47" fmla="*/ 4 h 14"/>
                  <a:gd name="T48" fmla="*/ 0 w 32"/>
                  <a:gd name="T49" fmla="*/ 4 h 14"/>
                  <a:gd name="T50" fmla="*/ 4 w 32"/>
                  <a:gd name="T51" fmla="*/ 0 h 14"/>
                  <a:gd name="T52" fmla="*/ 4 w 32"/>
                  <a:gd name="T53" fmla="*/ 0 h 14"/>
                  <a:gd name="T54" fmla="*/ 8 w 32"/>
                  <a:gd name="T55" fmla="*/ 0 h 14"/>
                  <a:gd name="T56" fmla="*/ 8 w 32"/>
                  <a:gd name="T57" fmla="*/ 0 h 14"/>
                  <a:gd name="T58" fmla="*/ 12 w 32"/>
                  <a:gd name="T59" fmla="*/ 0 h 14"/>
                  <a:gd name="T60" fmla="*/ 12 w 32"/>
                  <a:gd name="T61" fmla="*/ 0 h 14"/>
                  <a:gd name="T62" fmla="*/ 16 w 32"/>
                  <a:gd name="T63" fmla="*/ 0 h 14"/>
                  <a:gd name="T64" fmla="*/ 16 w 32"/>
                  <a:gd name="T65" fmla="*/ 0 h 14"/>
                  <a:gd name="T66" fmla="*/ 20 w 32"/>
                  <a:gd name="T67" fmla="*/ 0 h 14"/>
                  <a:gd name="T68" fmla="*/ 20 w 32"/>
                  <a:gd name="T69" fmla="*/ 4 h 14"/>
                  <a:gd name="T70" fmla="*/ 20 w 32"/>
                  <a:gd name="T71" fmla="*/ 4 h 14"/>
                  <a:gd name="T72" fmla="*/ 24 w 32"/>
                  <a:gd name="T73" fmla="*/ 4 h 14"/>
                  <a:gd name="T74" fmla="*/ 24 w 32"/>
                  <a:gd name="T75" fmla="*/ 4 h 14"/>
                  <a:gd name="T76" fmla="*/ 28 w 32"/>
                  <a:gd name="T77" fmla="*/ 6 h 14"/>
                  <a:gd name="T78" fmla="*/ 28 w 32"/>
                  <a:gd name="T79" fmla="*/ 6 h 14"/>
                  <a:gd name="T80" fmla="*/ 32 w 32"/>
                  <a:gd name="T81" fmla="*/ 6 h 14"/>
                  <a:gd name="T82" fmla="*/ 32 w 32"/>
                  <a:gd name="T83" fmla="*/ 10 h 14"/>
                  <a:gd name="T84" fmla="*/ 28 w 32"/>
                  <a:gd name="T85" fmla="*/ 10 h 14"/>
                  <a:gd name="T86" fmla="*/ 24 w 32"/>
                  <a:gd name="T87" fmla="*/ 10 h 14"/>
                  <a:gd name="T88" fmla="*/ 24 w 32"/>
                  <a:gd name="T8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32" h="14">
                    <a:moveTo>
                      <a:pt x="24" y="10"/>
                    </a:move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6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32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39" name="Freeform 78">
                <a:extLst>
                  <a:ext uri="{FF2B5EF4-FFF2-40B4-BE49-F238E27FC236}">
                    <a16:creationId xmlns:a16="http://schemas.microsoft.com/office/drawing/2014/main" id="{A2AC9170-6AAE-4B86-AEFE-E8E0DA0FBD1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739900" y="3644968"/>
                <a:ext cx="708025" cy="514350"/>
              </a:xfrm>
              <a:custGeom>
                <a:avLst/>
                <a:gdLst>
                  <a:gd name="T0" fmla="*/ 90 w 446"/>
                  <a:gd name="T1" fmla="*/ 134 h 324"/>
                  <a:gd name="T2" fmla="*/ 74 w 446"/>
                  <a:gd name="T3" fmla="*/ 112 h 324"/>
                  <a:gd name="T4" fmla="*/ 60 w 446"/>
                  <a:gd name="T5" fmla="*/ 104 h 324"/>
                  <a:gd name="T6" fmla="*/ 56 w 446"/>
                  <a:gd name="T7" fmla="*/ 90 h 324"/>
                  <a:gd name="T8" fmla="*/ 48 w 446"/>
                  <a:gd name="T9" fmla="*/ 64 h 324"/>
                  <a:gd name="T10" fmla="*/ 32 w 446"/>
                  <a:gd name="T11" fmla="*/ 38 h 324"/>
                  <a:gd name="T12" fmla="*/ 18 w 446"/>
                  <a:gd name="T13" fmla="*/ 4 h 324"/>
                  <a:gd name="T14" fmla="*/ 52 w 446"/>
                  <a:gd name="T15" fmla="*/ 8 h 324"/>
                  <a:gd name="T16" fmla="*/ 104 w 446"/>
                  <a:gd name="T17" fmla="*/ 26 h 324"/>
                  <a:gd name="T18" fmla="*/ 156 w 446"/>
                  <a:gd name="T19" fmla="*/ 18 h 324"/>
                  <a:gd name="T20" fmla="*/ 182 w 446"/>
                  <a:gd name="T21" fmla="*/ 38 h 324"/>
                  <a:gd name="T22" fmla="*/ 208 w 446"/>
                  <a:gd name="T23" fmla="*/ 68 h 324"/>
                  <a:gd name="T24" fmla="*/ 230 w 446"/>
                  <a:gd name="T25" fmla="*/ 56 h 324"/>
                  <a:gd name="T26" fmla="*/ 256 w 446"/>
                  <a:gd name="T27" fmla="*/ 82 h 324"/>
                  <a:gd name="T28" fmla="*/ 274 w 446"/>
                  <a:gd name="T29" fmla="*/ 116 h 324"/>
                  <a:gd name="T30" fmla="*/ 298 w 446"/>
                  <a:gd name="T31" fmla="*/ 132 h 324"/>
                  <a:gd name="T32" fmla="*/ 290 w 446"/>
                  <a:gd name="T33" fmla="*/ 172 h 324"/>
                  <a:gd name="T34" fmla="*/ 294 w 446"/>
                  <a:gd name="T35" fmla="*/ 210 h 324"/>
                  <a:gd name="T36" fmla="*/ 294 w 446"/>
                  <a:gd name="T37" fmla="*/ 214 h 324"/>
                  <a:gd name="T38" fmla="*/ 316 w 446"/>
                  <a:gd name="T39" fmla="*/ 250 h 324"/>
                  <a:gd name="T40" fmla="*/ 350 w 446"/>
                  <a:gd name="T41" fmla="*/ 262 h 324"/>
                  <a:gd name="T42" fmla="*/ 372 w 446"/>
                  <a:gd name="T43" fmla="*/ 258 h 324"/>
                  <a:gd name="T44" fmla="*/ 390 w 446"/>
                  <a:gd name="T45" fmla="*/ 238 h 324"/>
                  <a:gd name="T46" fmla="*/ 402 w 446"/>
                  <a:gd name="T47" fmla="*/ 210 h 324"/>
                  <a:gd name="T48" fmla="*/ 430 w 446"/>
                  <a:gd name="T49" fmla="*/ 206 h 324"/>
                  <a:gd name="T50" fmla="*/ 442 w 446"/>
                  <a:gd name="T51" fmla="*/ 220 h 324"/>
                  <a:gd name="T52" fmla="*/ 430 w 446"/>
                  <a:gd name="T53" fmla="*/ 242 h 324"/>
                  <a:gd name="T54" fmla="*/ 428 w 446"/>
                  <a:gd name="T55" fmla="*/ 250 h 324"/>
                  <a:gd name="T56" fmla="*/ 410 w 446"/>
                  <a:gd name="T57" fmla="*/ 268 h 324"/>
                  <a:gd name="T58" fmla="*/ 390 w 446"/>
                  <a:gd name="T59" fmla="*/ 290 h 324"/>
                  <a:gd name="T60" fmla="*/ 368 w 446"/>
                  <a:gd name="T61" fmla="*/ 320 h 324"/>
                  <a:gd name="T62" fmla="*/ 346 w 446"/>
                  <a:gd name="T63" fmla="*/ 302 h 324"/>
                  <a:gd name="T64" fmla="*/ 330 w 446"/>
                  <a:gd name="T65" fmla="*/ 294 h 324"/>
                  <a:gd name="T66" fmla="*/ 298 w 446"/>
                  <a:gd name="T67" fmla="*/ 302 h 324"/>
                  <a:gd name="T68" fmla="*/ 264 w 446"/>
                  <a:gd name="T69" fmla="*/ 288 h 324"/>
                  <a:gd name="T70" fmla="*/ 230 w 446"/>
                  <a:gd name="T71" fmla="*/ 268 h 324"/>
                  <a:gd name="T72" fmla="*/ 204 w 446"/>
                  <a:gd name="T73" fmla="*/ 250 h 324"/>
                  <a:gd name="T74" fmla="*/ 178 w 446"/>
                  <a:gd name="T75" fmla="*/ 228 h 324"/>
                  <a:gd name="T76" fmla="*/ 182 w 446"/>
                  <a:gd name="T77" fmla="*/ 198 h 324"/>
                  <a:gd name="T78" fmla="*/ 162 w 446"/>
                  <a:gd name="T79" fmla="*/ 164 h 324"/>
                  <a:gd name="T80" fmla="*/ 144 w 446"/>
                  <a:gd name="T81" fmla="*/ 150 h 324"/>
                  <a:gd name="T82" fmla="*/ 130 w 446"/>
                  <a:gd name="T83" fmla="*/ 134 h 324"/>
                  <a:gd name="T84" fmla="*/ 130 w 446"/>
                  <a:gd name="T85" fmla="*/ 120 h 324"/>
                  <a:gd name="T86" fmla="*/ 106 w 446"/>
                  <a:gd name="T87" fmla="*/ 90 h 324"/>
                  <a:gd name="T88" fmla="*/ 86 w 446"/>
                  <a:gd name="T89" fmla="*/ 72 h 324"/>
                  <a:gd name="T90" fmla="*/ 74 w 446"/>
                  <a:gd name="T91" fmla="*/ 34 h 324"/>
                  <a:gd name="T92" fmla="*/ 48 w 446"/>
                  <a:gd name="T93" fmla="*/ 18 h 324"/>
                  <a:gd name="T94" fmla="*/ 52 w 446"/>
                  <a:gd name="T95" fmla="*/ 46 h 324"/>
                  <a:gd name="T96" fmla="*/ 70 w 446"/>
                  <a:gd name="T97" fmla="*/ 72 h 324"/>
                  <a:gd name="T98" fmla="*/ 90 w 446"/>
                  <a:gd name="T99" fmla="*/ 108 h 324"/>
                  <a:gd name="T100" fmla="*/ 100 w 446"/>
                  <a:gd name="T101" fmla="*/ 128 h 324"/>
                  <a:gd name="T102" fmla="*/ 110 w 446"/>
                  <a:gd name="T103" fmla="*/ 158 h 324"/>
                  <a:gd name="T104" fmla="*/ 122 w 446"/>
                  <a:gd name="T105" fmla="*/ 176 h 324"/>
                  <a:gd name="T106" fmla="*/ 96 w 446"/>
                  <a:gd name="T107" fmla="*/ 154 h 324"/>
                  <a:gd name="T108" fmla="*/ 86 w 446"/>
                  <a:gd name="T109" fmla="*/ 146 h 324"/>
                  <a:gd name="T110" fmla="*/ 104 w 446"/>
                  <a:gd name="T111" fmla="*/ 254 h 324"/>
                  <a:gd name="T112" fmla="*/ 74 w 446"/>
                  <a:gd name="T113" fmla="*/ 72 h 324"/>
                  <a:gd name="T114" fmla="*/ 0 w 446"/>
                  <a:gd name="T115" fmla="*/ 72 h 324"/>
                  <a:gd name="T116" fmla="*/ 44 w 446"/>
                  <a:gd name="T117" fmla="*/ 90 h 324"/>
                  <a:gd name="T118" fmla="*/ 92 w 446"/>
                  <a:gd name="T119" fmla="*/ 154 h 324"/>
                  <a:gd name="T120" fmla="*/ 162 w 446"/>
                  <a:gd name="T121" fmla="*/ 206 h 324"/>
                  <a:gd name="T122" fmla="*/ 442 w 446"/>
                  <a:gd name="T123" fmla="*/ 228 h 324"/>
                  <a:gd name="T124" fmla="*/ 380 w 446"/>
                  <a:gd name="T125" fmla="*/ 254 h 3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446" h="324">
                    <a:moveTo>
                      <a:pt x="96" y="154"/>
                    </a:moveTo>
                    <a:lnTo>
                      <a:pt x="92" y="154"/>
                    </a:lnTo>
                    <a:lnTo>
                      <a:pt x="92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90" y="142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90" y="138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24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74" y="108"/>
                    </a:lnTo>
                    <a:lnTo>
                      <a:pt x="70" y="108"/>
                    </a:lnTo>
                    <a:lnTo>
                      <a:pt x="70" y="112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6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4" y="94"/>
                    </a:lnTo>
                    <a:lnTo>
                      <a:pt x="48" y="90"/>
                    </a:lnTo>
                    <a:lnTo>
                      <a:pt x="48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60" y="94"/>
                    </a:lnTo>
                    <a:lnTo>
                      <a:pt x="56" y="90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6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46"/>
                    </a:lnTo>
                    <a:lnTo>
                      <a:pt x="32" y="42"/>
                    </a:lnTo>
                    <a:lnTo>
                      <a:pt x="32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12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22"/>
                    </a:lnTo>
                    <a:lnTo>
                      <a:pt x="96" y="26"/>
                    </a:lnTo>
                    <a:lnTo>
                      <a:pt x="104" y="26"/>
                    </a:lnTo>
                    <a:lnTo>
                      <a:pt x="110" y="26"/>
                    </a:lnTo>
                    <a:lnTo>
                      <a:pt x="114" y="26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30" y="26"/>
                    </a:lnTo>
                    <a:lnTo>
                      <a:pt x="132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40" y="18"/>
                    </a:lnTo>
                    <a:lnTo>
                      <a:pt x="148" y="18"/>
                    </a:lnTo>
                    <a:lnTo>
                      <a:pt x="152" y="18"/>
                    </a:lnTo>
                    <a:lnTo>
                      <a:pt x="156" y="18"/>
                    </a:lnTo>
                    <a:lnTo>
                      <a:pt x="160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70" y="22"/>
                    </a:lnTo>
                    <a:lnTo>
                      <a:pt x="170" y="26"/>
                    </a:lnTo>
                    <a:lnTo>
                      <a:pt x="174" y="26"/>
                    </a:lnTo>
                    <a:lnTo>
                      <a:pt x="174" y="30"/>
                    </a:lnTo>
                    <a:lnTo>
                      <a:pt x="178" y="30"/>
                    </a:lnTo>
                    <a:lnTo>
                      <a:pt x="178" y="34"/>
                    </a:lnTo>
                    <a:lnTo>
                      <a:pt x="182" y="34"/>
                    </a:lnTo>
                    <a:lnTo>
                      <a:pt x="182" y="38"/>
                    </a:lnTo>
                    <a:lnTo>
                      <a:pt x="186" y="38"/>
                    </a:lnTo>
                    <a:lnTo>
                      <a:pt x="188" y="42"/>
                    </a:lnTo>
                    <a:lnTo>
                      <a:pt x="188" y="46"/>
                    </a:lnTo>
                    <a:lnTo>
                      <a:pt x="192" y="48"/>
                    </a:lnTo>
                    <a:lnTo>
                      <a:pt x="192" y="52"/>
                    </a:lnTo>
                    <a:lnTo>
                      <a:pt x="192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0" y="64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8" y="68"/>
                    </a:lnTo>
                    <a:lnTo>
                      <a:pt x="218" y="64"/>
                    </a:lnTo>
                    <a:lnTo>
                      <a:pt x="218" y="60"/>
                    </a:lnTo>
                    <a:lnTo>
                      <a:pt x="218" y="56"/>
                    </a:lnTo>
                    <a:lnTo>
                      <a:pt x="222" y="56"/>
                    </a:lnTo>
                    <a:lnTo>
                      <a:pt x="226" y="56"/>
                    </a:lnTo>
                    <a:lnTo>
                      <a:pt x="226" y="52"/>
                    </a:lnTo>
                    <a:lnTo>
                      <a:pt x="226" y="56"/>
                    </a:lnTo>
                    <a:lnTo>
                      <a:pt x="230" y="56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4" y="64"/>
                    </a:lnTo>
                    <a:lnTo>
                      <a:pt x="248" y="68"/>
                    </a:lnTo>
                    <a:lnTo>
                      <a:pt x="248" y="72"/>
                    </a:lnTo>
                    <a:lnTo>
                      <a:pt x="252" y="74"/>
                    </a:lnTo>
                    <a:lnTo>
                      <a:pt x="252" y="78"/>
                    </a:lnTo>
                    <a:lnTo>
                      <a:pt x="252" y="82"/>
                    </a:lnTo>
                    <a:lnTo>
                      <a:pt x="256" y="82"/>
                    </a:lnTo>
                    <a:lnTo>
                      <a:pt x="256" y="86"/>
                    </a:lnTo>
                    <a:lnTo>
                      <a:pt x="260" y="90"/>
                    </a:lnTo>
                    <a:lnTo>
                      <a:pt x="260" y="94"/>
                    </a:lnTo>
                    <a:lnTo>
                      <a:pt x="264" y="94"/>
                    </a:lnTo>
                    <a:lnTo>
                      <a:pt x="264" y="98"/>
                    </a:lnTo>
                    <a:lnTo>
                      <a:pt x="268" y="98"/>
                    </a:lnTo>
                    <a:lnTo>
                      <a:pt x="268" y="102"/>
                    </a:lnTo>
                    <a:lnTo>
                      <a:pt x="268" y="104"/>
                    </a:lnTo>
                    <a:lnTo>
                      <a:pt x="268" y="108"/>
                    </a:lnTo>
                    <a:lnTo>
                      <a:pt x="272" y="112"/>
                    </a:lnTo>
                    <a:lnTo>
                      <a:pt x="272" y="116"/>
                    </a:lnTo>
                    <a:lnTo>
                      <a:pt x="274" y="116"/>
                    </a:lnTo>
                    <a:lnTo>
                      <a:pt x="274" y="120"/>
                    </a:lnTo>
                    <a:lnTo>
                      <a:pt x="278" y="120"/>
                    </a:lnTo>
                    <a:lnTo>
                      <a:pt x="282" y="120"/>
                    </a:lnTo>
                    <a:lnTo>
                      <a:pt x="282" y="124"/>
                    </a:lnTo>
                    <a:lnTo>
                      <a:pt x="286" y="124"/>
                    </a:lnTo>
                    <a:lnTo>
                      <a:pt x="290" y="124"/>
                    </a:lnTo>
                    <a:lnTo>
                      <a:pt x="294" y="124"/>
                    </a:lnTo>
                    <a:lnTo>
                      <a:pt x="294" y="128"/>
                    </a:lnTo>
                    <a:lnTo>
                      <a:pt x="298" y="128"/>
                    </a:lnTo>
                    <a:lnTo>
                      <a:pt x="298" y="124"/>
                    </a:lnTo>
                    <a:lnTo>
                      <a:pt x="298" y="128"/>
                    </a:lnTo>
                    <a:lnTo>
                      <a:pt x="298" y="132"/>
                    </a:lnTo>
                    <a:lnTo>
                      <a:pt x="298" y="134"/>
                    </a:lnTo>
                    <a:lnTo>
                      <a:pt x="294" y="138"/>
                    </a:lnTo>
                    <a:lnTo>
                      <a:pt x="294" y="142"/>
                    </a:lnTo>
                    <a:lnTo>
                      <a:pt x="294" y="146"/>
                    </a:lnTo>
                    <a:lnTo>
                      <a:pt x="294" y="150"/>
                    </a:lnTo>
                    <a:lnTo>
                      <a:pt x="290" y="150"/>
                    </a:lnTo>
                    <a:lnTo>
                      <a:pt x="290" y="154"/>
                    </a:lnTo>
                    <a:lnTo>
                      <a:pt x="290" y="158"/>
                    </a:lnTo>
                    <a:lnTo>
                      <a:pt x="290" y="160"/>
                    </a:lnTo>
                    <a:lnTo>
                      <a:pt x="290" y="164"/>
                    </a:lnTo>
                    <a:lnTo>
                      <a:pt x="290" y="168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0" y="184"/>
                    </a:lnTo>
                    <a:lnTo>
                      <a:pt x="290" y="188"/>
                    </a:lnTo>
                    <a:lnTo>
                      <a:pt x="290" y="190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4" y="198"/>
                    </a:lnTo>
                    <a:lnTo>
                      <a:pt x="294" y="202"/>
                    </a:lnTo>
                    <a:lnTo>
                      <a:pt x="298" y="202"/>
                    </a:lnTo>
                    <a:lnTo>
                      <a:pt x="298" y="206"/>
                    </a:lnTo>
                    <a:lnTo>
                      <a:pt x="294" y="210"/>
                    </a:lnTo>
                    <a:lnTo>
                      <a:pt x="294" y="206"/>
                    </a:lnTo>
                    <a:lnTo>
                      <a:pt x="298" y="206"/>
                    </a:lnTo>
                    <a:lnTo>
                      <a:pt x="294" y="206"/>
                    </a:lnTo>
                    <a:lnTo>
                      <a:pt x="294" y="202"/>
                    </a:lnTo>
                    <a:lnTo>
                      <a:pt x="294" y="198"/>
                    </a:lnTo>
                    <a:lnTo>
                      <a:pt x="290" y="198"/>
                    </a:lnTo>
                    <a:lnTo>
                      <a:pt x="290" y="194"/>
                    </a:lnTo>
                    <a:lnTo>
                      <a:pt x="290" y="198"/>
                    </a:lnTo>
                    <a:lnTo>
                      <a:pt x="290" y="202"/>
                    </a:lnTo>
                    <a:lnTo>
                      <a:pt x="294" y="206"/>
                    </a:lnTo>
                    <a:lnTo>
                      <a:pt x="294" y="210"/>
                    </a:lnTo>
                    <a:lnTo>
                      <a:pt x="294" y="214"/>
                    </a:lnTo>
                    <a:lnTo>
                      <a:pt x="298" y="214"/>
                    </a:lnTo>
                    <a:lnTo>
                      <a:pt x="298" y="218"/>
                    </a:lnTo>
                    <a:lnTo>
                      <a:pt x="298" y="220"/>
                    </a:lnTo>
                    <a:lnTo>
                      <a:pt x="302" y="220"/>
                    </a:lnTo>
                    <a:lnTo>
                      <a:pt x="304" y="228"/>
                    </a:lnTo>
                    <a:lnTo>
                      <a:pt x="308" y="232"/>
                    </a:lnTo>
                    <a:lnTo>
                      <a:pt x="308" y="234"/>
                    </a:lnTo>
                    <a:lnTo>
                      <a:pt x="308" y="238"/>
                    </a:lnTo>
                    <a:lnTo>
                      <a:pt x="312" y="242"/>
                    </a:lnTo>
                    <a:lnTo>
                      <a:pt x="312" y="246"/>
                    </a:lnTo>
                    <a:lnTo>
                      <a:pt x="316" y="246"/>
                    </a:lnTo>
                    <a:lnTo>
                      <a:pt x="316" y="250"/>
                    </a:lnTo>
                    <a:lnTo>
                      <a:pt x="316" y="254"/>
                    </a:lnTo>
                    <a:lnTo>
                      <a:pt x="320" y="254"/>
                    </a:lnTo>
                    <a:lnTo>
                      <a:pt x="324" y="254"/>
                    </a:lnTo>
                    <a:lnTo>
                      <a:pt x="328" y="254"/>
                    </a:lnTo>
                    <a:lnTo>
                      <a:pt x="328" y="258"/>
                    </a:lnTo>
                    <a:lnTo>
                      <a:pt x="330" y="258"/>
                    </a:lnTo>
                    <a:lnTo>
                      <a:pt x="330" y="262"/>
                    </a:lnTo>
                    <a:lnTo>
                      <a:pt x="334" y="264"/>
                    </a:lnTo>
                    <a:lnTo>
                      <a:pt x="338" y="264"/>
                    </a:lnTo>
                    <a:lnTo>
                      <a:pt x="342" y="262"/>
                    </a:lnTo>
                    <a:lnTo>
                      <a:pt x="346" y="262"/>
                    </a:lnTo>
                    <a:lnTo>
                      <a:pt x="350" y="262"/>
                    </a:lnTo>
                    <a:lnTo>
                      <a:pt x="350" y="258"/>
                    </a:lnTo>
                    <a:lnTo>
                      <a:pt x="346" y="262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8" y="262"/>
                    </a:lnTo>
                    <a:lnTo>
                      <a:pt x="358" y="258"/>
                    </a:lnTo>
                    <a:lnTo>
                      <a:pt x="360" y="258"/>
                    </a:lnTo>
                    <a:lnTo>
                      <a:pt x="364" y="254"/>
                    </a:lnTo>
                    <a:lnTo>
                      <a:pt x="368" y="254"/>
                    </a:lnTo>
                    <a:lnTo>
                      <a:pt x="372" y="254"/>
                    </a:lnTo>
                    <a:lnTo>
                      <a:pt x="372" y="258"/>
                    </a:lnTo>
                    <a:lnTo>
                      <a:pt x="376" y="258"/>
                    </a:lnTo>
                    <a:lnTo>
                      <a:pt x="372" y="258"/>
                    </a:lnTo>
                    <a:lnTo>
                      <a:pt x="376" y="262"/>
                    </a:lnTo>
                    <a:lnTo>
                      <a:pt x="376" y="258"/>
                    </a:lnTo>
                    <a:lnTo>
                      <a:pt x="380" y="258"/>
                    </a:lnTo>
                    <a:lnTo>
                      <a:pt x="384" y="254"/>
                    </a:lnTo>
                    <a:lnTo>
                      <a:pt x="380" y="254"/>
                    </a:lnTo>
                    <a:lnTo>
                      <a:pt x="380" y="250"/>
                    </a:lnTo>
                    <a:lnTo>
                      <a:pt x="384" y="250"/>
                    </a:lnTo>
                    <a:lnTo>
                      <a:pt x="386" y="246"/>
                    </a:lnTo>
                    <a:lnTo>
                      <a:pt x="390" y="242"/>
                    </a:lnTo>
                    <a:lnTo>
                      <a:pt x="390" y="238"/>
                    </a:lnTo>
                    <a:lnTo>
                      <a:pt x="390" y="234"/>
                    </a:lnTo>
                    <a:lnTo>
                      <a:pt x="394" y="232"/>
                    </a:lnTo>
                    <a:lnTo>
                      <a:pt x="394" y="228"/>
                    </a:lnTo>
                    <a:lnTo>
                      <a:pt x="394" y="224"/>
                    </a:lnTo>
                    <a:lnTo>
                      <a:pt x="394" y="220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4" y="218"/>
                    </a:lnTo>
                    <a:lnTo>
                      <a:pt x="394" y="214"/>
                    </a:lnTo>
                    <a:lnTo>
                      <a:pt x="398" y="214"/>
                    </a:lnTo>
                    <a:lnTo>
                      <a:pt x="398" y="210"/>
                    </a:lnTo>
                    <a:lnTo>
                      <a:pt x="402" y="210"/>
                    </a:lnTo>
                    <a:lnTo>
                      <a:pt x="406" y="210"/>
                    </a:lnTo>
                    <a:lnTo>
                      <a:pt x="410" y="210"/>
                    </a:lnTo>
                    <a:lnTo>
                      <a:pt x="414" y="206"/>
                    </a:lnTo>
                    <a:lnTo>
                      <a:pt x="416" y="206"/>
                    </a:lnTo>
                    <a:lnTo>
                      <a:pt x="420" y="206"/>
                    </a:lnTo>
                    <a:lnTo>
                      <a:pt x="424" y="206"/>
                    </a:lnTo>
                    <a:lnTo>
                      <a:pt x="428" y="202"/>
                    </a:lnTo>
                    <a:lnTo>
                      <a:pt x="424" y="202"/>
                    </a:lnTo>
                    <a:lnTo>
                      <a:pt x="424" y="206"/>
                    </a:lnTo>
                    <a:lnTo>
                      <a:pt x="424" y="202"/>
                    </a:lnTo>
                    <a:lnTo>
                      <a:pt x="428" y="202"/>
                    </a:lnTo>
                    <a:lnTo>
                      <a:pt x="430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4" y="206"/>
                    </a:lnTo>
                    <a:lnTo>
                      <a:pt x="438" y="206"/>
                    </a:lnTo>
                    <a:lnTo>
                      <a:pt x="438" y="202"/>
                    </a:lnTo>
                    <a:lnTo>
                      <a:pt x="442" y="202"/>
                    </a:lnTo>
                    <a:lnTo>
                      <a:pt x="442" y="206"/>
                    </a:lnTo>
                    <a:lnTo>
                      <a:pt x="446" y="206"/>
                    </a:lnTo>
                    <a:lnTo>
                      <a:pt x="446" y="210"/>
                    </a:lnTo>
                    <a:lnTo>
                      <a:pt x="446" y="214"/>
                    </a:lnTo>
                    <a:lnTo>
                      <a:pt x="442" y="218"/>
                    </a:lnTo>
                    <a:lnTo>
                      <a:pt x="442" y="220"/>
                    </a:lnTo>
                    <a:lnTo>
                      <a:pt x="438" y="220"/>
                    </a:lnTo>
                    <a:lnTo>
                      <a:pt x="438" y="224"/>
                    </a:lnTo>
                    <a:lnTo>
                      <a:pt x="434" y="228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4" y="232"/>
                    </a:lnTo>
                    <a:lnTo>
                      <a:pt x="434" y="234"/>
                    </a:lnTo>
                    <a:lnTo>
                      <a:pt x="430" y="234"/>
                    </a:lnTo>
                    <a:lnTo>
                      <a:pt x="430" y="238"/>
                    </a:lnTo>
                    <a:lnTo>
                      <a:pt x="434" y="238"/>
                    </a:lnTo>
                    <a:lnTo>
                      <a:pt x="434" y="242"/>
                    </a:lnTo>
                    <a:lnTo>
                      <a:pt x="430" y="242"/>
                    </a:lnTo>
                    <a:lnTo>
                      <a:pt x="430" y="246"/>
                    </a:lnTo>
                    <a:lnTo>
                      <a:pt x="434" y="242"/>
                    </a:lnTo>
                    <a:lnTo>
                      <a:pt x="434" y="246"/>
                    </a:lnTo>
                    <a:lnTo>
                      <a:pt x="434" y="250"/>
                    </a:lnTo>
                    <a:lnTo>
                      <a:pt x="430" y="250"/>
                    </a:lnTo>
                    <a:lnTo>
                      <a:pt x="430" y="254"/>
                    </a:lnTo>
                    <a:lnTo>
                      <a:pt x="430" y="258"/>
                    </a:lnTo>
                    <a:lnTo>
                      <a:pt x="430" y="262"/>
                    </a:lnTo>
                    <a:lnTo>
                      <a:pt x="428" y="262"/>
                    </a:lnTo>
                    <a:lnTo>
                      <a:pt x="428" y="258"/>
                    </a:lnTo>
                    <a:lnTo>
                      <a:pt x="428" y="254"/>
                    </a:lnTo>
                    <a:lnTo>
                      <a:pt x="428" y="250"/>
                    </a:lnTo>
                    <a:lnTo>
                      <a:pt x="428" y="254"/>
                    </a:lnTo>
                    <a:lnTo>
                      <a:pt x="424" y="254"/>
                    </a:lnTo>
                    <a:lnTo>
                      <a:pt x="424" y="258"/>
                    </a:lnTo>
                    <a:lnTo>
                      <a:pt x="420" y="258"/>
                    </a:lnTo>
                    <a:lnTo>
                      <a:pt x="420" y="262"/>
                    </a:lnTo>
                    <a:lnTo>
                      <a:pt x="416" y="262"/>
                    </a:lnTo>
                    <a:lnTo>
                      <a:pt x="416" y="264"/>
                    </a:lnTo>
                    <a:lnTo>
                      <a:pt x="416" y="268"/>
                    </a:lnTo>
                    <a:lnTo>
                      <a:pt x="414" y="268"/>
                    </a:lnTo>
                    <a:lnTo>
                      <a:pt x="414" y="264"/>
                    </a:lnTo>
                    <a:lnTo>
                      <a:pt x="414" y="268"/>
                    </a:lnTo>
                    <a:lnTo>
                      <a:pt x="410" y="268"/>
                    </a:lnTo>
                    <a:lnTo>
                      <a:pt x="402" y="268"/>
                    </a:lnTo>
                    <a:lnTo>
                      <a:pt x="398" y="268"/>
                    </a:lnTo>
                    <a:lnTo>
                      <a:pt x="390" y="268"/>
                    </a:lnTo>
                    <a:lnTo>
                      <a:pt x="386" y="268"/>
                    </a:lnTo>
                    <a:lnTo>
                      <a:pt x="386" y="272"/>
                    </a:lnTo>
                    <a:lnTo>
                      <a:pt x="386" y="280"/>
                    </a:lnTo>
                    <a:lnTo>
                      <a:pt x="380" y="280"/>
                    </a:lnTo>
                    <a:lnTo>
                      <a:pt x="384" y="280"/>
                    </a:lnTo>
                    <a:lnTo>
                      <a:pt x="384" y="284"/>
                    </a:lnTo>
                    <a:lnTo>
                      <a:pt x="386" y="288"/>
                    </a:lnTo>
                    <a:lnTo>
                      <a:pt x="390" y="288"/>
                    </a:lnTo>
                    <a:lnTo>
                      <a:pt x="390" y="290"/>
                    </a:lnTo>
                    <a:lnTo>
                      <a:pt x="390" y="294"/>
                    </a:lnTo>
                    <a:lnTo>
                      <a:pt x="394" y="294"/>
                    </a:lnTo>
                    <a:lnTo>
                      <a:pt x="394" y="298"/>
                    </a:lnTo>
                    <a:lnTo>
                      <a:pt x="390" y="298"/>
                    </a:lnTo>
                    <a:lnTo>
                      <a:pt x="386" y="298"/>
                    </a:lnTo>
                    <a:lnTo>
                      <a:pt x="380" y="298"/>
                    </a:lnTo>
                    <a:lnTo>
                      <a:pt x="376" y="298"/>
                    </a:lnTo>
                    <a:lnTo>
                      <a:pt x="376" y="302"/>
                    </a:lnTo>
                    <a:lnTo>
                      <a:pt x="368" y="310"/>
                    </a:lnTo>
                    <a:lnTo>
                      <a:pt x="368" y="314"/>
                    </a:lnTo>
                    <a:lnTo>
                      <a:pt x="372" y="318"/>
                    </a:lnTo>
                    <a:lnTo>
                      <a:pt x="368" y="320"/>
                    </a:lnTo>
                    <a:lnTo>
                      <a:pt x="368" y="324"/>
                    </a:lnTo>
                    <a:lnTo>
                      <a:pt x="364" y="324"/>
                    </a:lnTo>
                    <a:lnTo>
                      <a:pt x="364" y="320"/>
                    </a:lnTo>
                    <a:lnTo>
                      <a:pt x="360" y="320"/>
                    </a:lnTo>
                    <a:lnTo>
                      <a:pt x="360" y="318"/>
                    </a:lnTo>
                    <a:lnTo>
                      <a:pt x="360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54" y="310"/>
                    </a:lnTo>
                    <a:lnTo>
                      <a:pt x="354" y="306"/>
                    </a:lnTo>
                    <a:lnTo>
                      <a:pt x="350" y="306"/>
                    </a:lnTo>
                    <a:lnTo>
                      <a:pt x="346" y="302"/>
                    </a:lnTo>
                    <a:lnTo>
                      <a:pt x="346" y="298"/>
                    </a:lnTo>
                    <a:lnTo>
                      <a:pt x="342" y="298"/>
                    </a:lnTo>
                    <a:lnTo>
                      <a:pt x="338" y="298"/>
                    </a:lnTo>
                    <a:lnTo>
                      <a:pt x="338" y="294"/>
                    </a:lnTo>
                    <a:lnTo>
                      <a:pt x="338" y="298"/>
                    </a:lnTo>
                    <a:lnTo>
                      <a:pt x="342" y="298"/>
                    </a:lnTo>
                    <a:lnTo>
                      <a:pt x="342" y="302"/>
                    </a:lnTo>
                    <a:lnTo>
                      <a:pt x="338" y="298"/>
                    </a:lnTo>
                    <a:lnTo>
                      <a:pt x="334" y="298"/>
                    </a:lnTo>
                    <a:lnTo>
                      <a:pt x="334" y="294"/>
                    </a:lnTo>
                    <a:lnTo>
                      <a:pt x="330" y="298"/>
                    </a:lnTo>
                    <a:lnTo>
                      <a:pt x="330" y="294"/>
                    </a:lnTo>
                    <a:lnTo>
                      <a:pt x="328" y="294"/>
                    </a:lnTo>
                    <a:lnTo>
                      <a:pt x="328" y="298"/>
                    </a:lnTo>
                    <a:lnTo>
                      <a:pt x="330" y="298"/>
                    </a:lnTo>
                    <a:lnTo>
                      <a:pt x="328" y="298"/>
                    </a:lnTo>
                    <a:lnTo>
                      <a:pt x="324" y="302"/>
                    </a:lnTo>
                    <a:lnTo>
                      <a:pt x="320" y="302"/>
                    </a:lnTo>
                    <a:lnTo>
                      <a:pt x="316" y="306"/>
                    </a:lnTo>
                    <a:lnTo>
                      <a:pt x="312" y="306"/>
                    </a:lnTo>
                    <a:lnTo>
                      <a:pt x="308" y="306"/>
                    </a:lnTo>
                    <a:lnTo>
                      <a:pt x="304" y="306"/>
                    </a:lnTo>
                    <a:lnTo>
                      <a:pt x="302" y="302"/>
                    </a:lnTo>
                    <a:lnTo>
                      <a:pt x="298" y="302"/>
                    </a:lnTo>
                    <a:lnTo>
                      <a:pt x="294" y="302"/>
                    </a:lnTo>
                    <a:lnTo>
                      <a:pt x="290" y="302"/>
                    </a:lnTo>
                    <a:lnTo>
                      <a:pt x="286" y="298"/>
                    </a:lnTo>
                    <a:lnTo>
                      <a:pt x="282" y="298"/>
                    </a:lnTo>
                    <a:lnTo>
                      <a:pt x="282" y="294"/>
                    </a:lnTo>
                    <a:lnTo>
                      <a:pt x="278" y="294"/>
                    </a:lnTo>
                    <a:lnTo>
                      <a:pt x="274" y="294"/>
                    </a:lnTo>
                    <a:lnTo>
                      <a:pt x="274" y="290"/>
                    </a:lnTo>
                    <a:lnTo>
                      <a:pt x="272" y="290"/>
                    </a:lnTo>
                    <a:lnTo>
                      <a:pt x="268" y="290"/>
                    </a:lnTo>
                    <a:lnTo>
                      <a:pt x="264" y="290"/>
                    </a:lnTo>
                    <a:lnTo>
                      <a:pt x="264" y="288"/>
                    </a:lnTo>
                    <a:lnTo>
                      <a:pt x="260" y="288"/>
                    </a:lnTo>
                    <a:lnTo>
                      <a:pt x="256" y="284"/>
                    </a:lnTo>
                    <a:lnTo>
                      <a:pt x="252" y="284"/>
                    </a:lnTo>
                    <a:lnTo>
                      <a:pt x="248" y="280"/>
                    </a:lnTo>
                    <a:lnTo>
                      <a:pt x="244" y="280"/>
                    </a:lnTo>
                    <a:lnTo>
                      <a:pt x="242" y="280"/>
                    </a:lnTo>
                    <a:lnTo>
                      <a:pt x="242" y="276"/>
                    </a:lnTo>
                    <a:lnTo>
                      <a:pt x="238" y="276"/>
                    </a:lnTo>
                    <a:lnTo>
                      <a:pt x="238" y="272"/>
                    </a:lnTo>
                    <a:lnTo>
                      <a:pt x="234" y="272"/>
                    </a:lnTo>
                    <a:lnTo>
                      <a:pt x="234" y="268"/>
                    </a:lnTo>
                    <a:lnTo>
                      <a:pt x="230" y="268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26" y="268"/>
                    </a:lnTo>
                    <a:lnTo>
                      <a:pt x="222" y="264"/>
                    </a:lnTo>
                    <a:lnTo>
                      <a:pt x="218" y="264"/>
                    </a:lnTo>
                    <a:lnTo>
                      <a:pt x="216" y="264"/>
                    </a:lnTo>
                    <a:lnTo>
                      <a:pt x="216" y="262"/>
                    </a:lnTo>
                    <a:lnTo>
                      <a:pt x="212" y="262"/>
                    </a:lnTo>
                    <a:lnTo>
                      <a:pt x="208" y="262"/>
                    </a:lnTo>
                    <a:lnTo>
                      <a:pt x="208" y="258"/>
                    </a:lnTo>
                    <a:lnTo>
                      <a:pt x="204" y="254"/>
                    </a:lnTo>
                    <a:lnTo>
                      <a:pt x="204" y="250"/>
                    </a:lnTo>
                    <a:lnTo>
                      <a:pt x="200" y="250"/>
                    </a:lnTo>
                    <a:lnTo>
                      <a:pt x="196" y="250"/>
                    </a:lnTo>
                    <a:lnTo>
                      <a:pt x="196" y="246"/>
                    </a:lnTo>
                    <a:lnTo>
                      <a:pt x="192" y="246"/>
                    </a:lnTo>
                    <a:lnTo>
                      <a:pt x="188" y="242"/>
                    </a:lnTo>
                    <a:lnTo>
                      <a:pt x="186" y="242"/>
                    </a:lnTo>
                    <a:lnTo>
                      <a:pt x="186" y="238"/>
                    </a:lnTo>
                    <a:lnTo>
                      <a:pt x="186" y="234"/>
                    </a:lnTo>
                    <a:lnTo>
                      <a:pt x="182" y="234"/>
                    </a:lnTo>
                    <a:lnTo>
                      <a:pt x="182" y="232"/>
                    </a:lnTo>
                    <a:lnTo>
                      <a:pt x="178" y="232"/>
                    </a:lnTo>
                    <a:lnTo>
                      <a:pt x="178" y="228"/>
                    </a:lnTo>
                    <a:lnTo>
                      <a:pt x="178" y="224"/>
                    </a:lnTo>
                    <a:lnTo>
                      <a:pt x="182" y="224"/>
                    </a:lnTo>
                    <a:lnTo>
                      <a:pt x="182" y="220"/>
                    </a:lnTo>
                    <a:lnTo>
                      <a:pt x="186" y="220"/>
                    </a:lnTo>
                    <a:lnTo>
                      <a:pt x="182" y="218"/>
                    </a:lnTo>
                    <a:lnTo>
                      <a:pt x="182" y="214"/>
                    </a:lnTo>
                    <a:lnTo>
                      <a:pt x="186" y="214"/>
                    </a:lnTo>
                    <a:lnTo>
                      <a:pt x="186" y="210"/>
                    </a:lnTo>
                    <a:lnTo>
                      <a:pt x="186" y="206"/>
                    </a:lnTo>
                    <a:lnTo>
                      <a:pt x="182" y="206"/>
                    </a:lnTo>
                    <a:lnTo>
                      <a:pt x="182" y="202"/>
                    </a:lnTo>
                    <a:lnTo>
                      <a:pt x="182" y="198"/>
                    </a:lnTo>
                    <a:lnTo>
                      <a:pt x="178" y="198"/>
                    </a:lnTo>
                    <a:lnTo>
                      <a:pt x="178" y="194"/>
                    </a:lnTo>
                    <a:lnTo>
                      <a:pt x="178" y="190"/>
                    </a:lnTo>
                    <a:lnTo>
                      <a:pt x="178" y="188"/>
                    </a:lnTo>
                    <a:lnTo>
                      <a:pt x="178" y="184"/>
                    </a:lnTo>
                    <a:lnTo>
                      <a:pt x="174" y="184"/>
                    </a:lnTo>
                    <a:lnTo>
                      <a:pt x="170" y="180"/>
                    </a:lnTo>
                    <a:lnTo>
                      <a:pt x="170" y="176"/>
                    </a:lnTo>
                    <a:lnTo>
                      <a:pt x="166" y="176"/>
                    </a:lnTo>
                    <a:lnTo>
                      <a:pt x="166" y="172"/>
                    </a:lnTo>
                    <a:lnTo>
                      <a:pt x="162" y="168"/>
                    </a:lnTo>
                    <a:lnTo>
                      <a:pt x="162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52" y="158"/>
                    </a:lnTo>
                    <a:lnTo>
                      <a:pt x="152" y="154"/>
                    </a:lnTo>
                    <a:lnTo>
                      <a:pt x="148" y="154"/>
                    </a:lnTo>
                    <a:lnTo>
                      <a:pt x="152" y="154"/>
                    </a:lnTo>
                    <a:lnTo>
                      <a:pt x="152" y="150"/>
                    </a:lnTo>
                    <a:lnTo>
                      <a:pt x="148" y="154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8" y="150"/>
                    </a:lnTo>
                    <a:lnTo>
                      <a:pt x="144" y="150"/>
                    </a:lnTo>
                    <a:lnTo>
                      <a:pt x="144" y="146"/>
                    </a:lnTo>
                    <a:lnTo>
                      <a:pt x="144" y="142"/>
                    </a:lnTo>
                    <a:lnTo>
                      <a:pt x="144" y="146"/>
                    </a:lnTo>
                    <a:lnTo>
                      <a:pt x="140" y="142"/>
                    </a:lnTo>
                    <a:lnTo>
                      <a:pt x="144" y="142"/>
                    </a:lnTo>
                    <a:lnTo>
                      <a:pt x="140" y="138"/>
                    </a:lnTo>
                    <a:lnTo>
                      <a:pt x="136" y="138"/>
                    </a:lnTo>
                    <a:lnTo>
                      <a:pt x="136" y="134"/>
                    </a:lnTo>
                    <a:lnTo>
                      <a:pt x="132" y="134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30" y="134"/>
                    </a:lnTo>
                    <a:lnTo>
                      <a:pt x="130" y="132"/>
                    </a:lnTo>
                    <a:lnTo>
                      <a:pt x="132" y="132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0" y="132"/>
                    </a:lnTo>
                    <a:lnTo>
                      <a:pt x="126" y="132"/>
                    </a:lnTo>
                    <a:lnTo>
                      <a:pt x="126" y="128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26" y="124"/>
                    </a:lnTo>
                    <a:lnTo>
                      <a:pt x="126" y="120"/>
                    </a:lnTo>
                    <a:lnTo>
                      <a:pt x="130" y="120"/>
                    </a:lnTo>
                    <a:lnTo>
                      <a:pt x="126" y="116"/>
                    </a:lnTo>
                    <a:lnTo>
                      <a:pt x="126" y="112"/>
                    </a:lnTo>
                    <a:lnTo>
                      <a:pt x="122" y="112"/>
                    </a:lnTo>
                    <a:lnTo>
                      <a:pt x="118" y="112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4" y="104"/>
                    </a:lnTo>
                    <a:lnTo>
                      <a:pt x="110" y="104"/>
                    </a:lnTo>
                    <a:lnTo>
                      <a:pt x="110" y="102"/>
                    </a:lnTo>
                    <a:lnTo>
                      <a:pt x="106" y="98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06" y="90"/>
                    </a:lnTo>
                    <a:lnTo>
                      <a:pt x="104" y="90"/>
                    </a:lnTo>
                    <a:lnTo>
                      <a:pt x="100" y="90"/>
                    </a:lnTo>
                    <a:lnTo>
                      <a:pt x="100" y="86"/>
                    </a:lnTo>
                    <a:lnTo>
                      <a:pt x="96" y="86"/>
                    </a:lnTo>
                    <a:lnTo>
                      <a:pt x="96" y="82"/>
                    </a:lnTo>
                    <a:lnTo>
                      <a:pt x="92" y="78"/>
                    </a:lnTo>
                    <a:lnTo>
                      <a:pt x="92" y="74"/>
                    </a:lnTo>
                    <a:lnTo>
                      <a:pt x="90" y="74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78" y="52"/>
                    </a:lnTo>
                    <a:lnTo>
                      <a:pt x="78" y="48"/>
                    </a:lnTo>
                    <a:lnTo>
                      <a:pt x="78" y="46"/>
                    </a:lnTo>
                    <a:lnTo>
                      <a:pt x="74" y="42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66" y="30"/>
                    </a:lnTo>
                    <a:lnTo>
                      <a:pt x="66" y="26"/>
                    </a:lnTo>
                    <a:lnTo>
                      <a:pt x="66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6" y="64"/>
                    </a:lnTo>
                    <a:lnTo>
                      <a:pt x="66" y="68"/>
                    </a:lnTo>
                    <a:lnTo>
                      <a:pt x="66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8" y="82"/>
                    </a:lnTo>
                    <a:lnTo>
                      <a:pt x="78" y="86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82" y="94"/>
                    </a:lnTo>
                    <a:lnTo>
                      <a:pt x="86" y="98"/>
                    </a:lnTo>
                    <a:lnTo>
                      <a:pt x="86" y="102"/>
                    </a:lnTo>
                    <a:lnTo>
                      <a:pt x="90" y="104"/>
                    </a:lnTo>
                    <a:lnTo>
                      <a:pt x="90" y="108"/>
                    </a:lnTo>
                    <a:lnTo>
                      <a:pt x="90" y="112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08"/>
                    </a:lnTo>
                    <a:lnTo>
                      <a:pt x="92" y="112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100" y="128"/>
                    </a:lnTo>
                    <a:lnTo>
                      <a:pt x="100" y="132"/>
                    </a:lnTo>
                    <a:lnTo>
                      <a:pt x="104" y="134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6" y="142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6" y="158"/>
                    </a:lnTo>
                    <a:lnTo>
                      <a:pt x="110" y="158"/>
                    </a:lnTo>
                    <a:lnTo>
                      <a:pt x="114" y="158"/>
                    </a:lnTo>
                    <a:lnTo>
                      <a:pt x="110" y="158"/>
                    </a:lnTo>
                    <a:lnTo>
                      <a:pt x="110" y="154"/>
                    </a:lnTo>
                    <a:lnTo>
                      <a:pt x="114" y="154"/>
                    </a:lnTo>
                    <a:lnTo>
                      <a:pt x="114" y="158"/>
                    </a:lnTo>
                    <a:lnTo>
                      <a:pt x="118" y="158"/>
                    </a:lnTo>
                    <a:lnTo>
                      <a:pt x="118" y="160"/>
                    </a:lnTo>
                    <a:lnTo>
                      <a:pt x="118" y="164"/>
                    </a:lnTo>
                    <a:lnTo>
                      <a:pt x="122" y="164"/>
                    </a:lnTo>
                    <a:lnTo>
                      <a:pt x="122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6" y="176"/>
                    </a:lnTo>
                    <a:lnTo>
                      <a:pt x="122" y="176"/>
                    </a:lnTo>
                    <a:lnTo>
                      <a:pt x="122" y="180"/>
                    </a:lnTo>
                    <a:lnTo>
                      <a:pt x="118" y="180"/>
                    </a:lnTo>
                    <a:lnTo>
                      <a:pt x="114" y="180"/>
                    </a:lnTo>
                    <a:lnTo>
                      <a:pt x="114" y="176"/>
                    </a:lnTo>
                    <a:lnTo>
                      <a:pt x="114" y="172"/>
                    </a:lnTo>
                    <a:lnTo>
                      <a:pt x="110" y="168"/>
                    </a:lnTo>
                    <a:lnTo>
                      <a:pt x="106" y="164"/>
                    </a:lnTo>
                    <a:lnTo>
                      <a:pt x="104" y="160"/>
                    </a:lnTo>
                    <a:lnTo>
                      <a:pt x="104" y="158"/>
                    </a:lnTo>
                    <a:lnTo>
                      <a:pt x="100" y="158"/>
                    </a:lnTo>
                    <a:lnTo>
                      <a:pt x="96" y="154"/>
                    </a:lnTo>
                    <a:lnTo>
                      <a:pt x="96" y="154"/>
                    </a:lnTo>
                    <a:lnTo>
                      <a:pt x="96" y="154"/>
                    </a:lnTo>
                    <a:close/>
                    <a:moveTo>
                      <a:pt x="106" y="142"/>
                    </a:moveTo>
                    <a:lnTo>
                      <a:pt x="110" y="146"/>
                    </a:lnTo>
                    <a:lnTo>
                      <a:pt x="106" y="146"/>
                    </a:lnTo>
                    <a:lnTo>
                      <a:pt x="106" y="142"/>
                    </a:lnTo>
                    <a:lnTo>
                      <a:pt x="106" y="142"/>
                    </a:lnTo>
                    <a:lnTo>
                      <a:pt x="106" y="142"/>
                    </a:lnTo>
                    <a:close/>
                    <a:moveTo>
                      <a:pt x="86" y="138"/>
                    </a:moveTo>
                    <a:lnTo>
                      <a:pt x="90" y="138"/>
                    </a:lnTo>
                    <a:lnTo>
                      <a:pt x="86" y="138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90" y="150"/>
                    </a:lnTo>
                    <a:lnTo>
                      <a:pt x="86" y="150"/>
                    </a:lnTo>
                    <a:lnTo>
                      <a:pt x="86" y="146"/>
                    </a:lnTo>
                    <a:lnTo>
                      <a:pt x="86" y="142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close/>
                    <a:moveTo>
                      <a:pt x="104" y="254"/>
                    </a:moveTo>
                    <a:lnTo>
                      <a:pt x="100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4" y="254"/>
                    </a:lnTo>
                    <a:lnTo>
                      <a:pt x="104" y="254"/>
                    </a:lnTo>
                    <a:lnTo>
                      <a:pt x="104" y="254"/>
                    </a:lnTo>
                    <a:close/>
                    <a:moveTo>
                      <a:pt x="74" y="72"/>
                    </a:moveTo>
                    <a:lnTo>
                      <a:pt x="70" y="72"/>
                    </a:lnTo>
                    <a:lnTo>
                      <a:pt x="70" y="68"/>
                    </a:lnTo>
                    <a:lnTo>
                      <a:pt x="66" y="64"/>
                    </a:lnTo>
                    <a:lnTo>
                      <a:pt x="66" y="60"/>
                    </a:lnTo>
                    <a:lnTo>
                      <a:pt x="70" y="60"/>
                    </a:lnTo>
                    <a:lnTo>
                      <a:pt x="70" y="64"/>
                    </a:lnTo>
                    <a:lnTo>
                      <a:pt x="70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close/>
                    <a:moveTo>
                      <a:pt x="86" y="74"/>
                    </a:moveTo>
                    <a:lnTo>
                      <a:pt x="82" y="74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86" y="68"/>
                    </a:lnTo>
                    <a:lnTo>
                      <a:pt x="86" y="72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close/>
                    <a:moveTo>
                      <a:pt x="0" y="72"/>
                    </a:moveTo>
                    <a:lnTo>
                      <a:pt x="0" y="68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44" y="90"/>
                    </a:moveTo>
                    <a:lnTo>
                      <a:pt x="44" y="86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82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close/>
                    <a:moveTo>
                      <a:pt x="100" y="128"/>
                    </a:move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close/>
                    <a:moveTo>
                      <a:pt x="110" y="154"/>
                    </a:moveTo>
                    <a:lnTo>
                      <a:pt x="110" y="150"/>
                    </a:lnTo>
                    <a:lnTo>
                      <a:pt x="110" y="154"/>
                    </a:lnTo>
                    <a:lnTo>
                      <a:pt x="110" y="154"/>
                    </a:lnTo>
                    <a:lnTo>
                      <a:pt x="110" y="154"/>
                    </a:lnTo>
                    <a:close/>
                    <a:moveTo>
                      <a:pt x="92" y="154"/>
                    </a:moveTo>
                    <a:lnTo>
                      <a:pt x="90" y="154"/>
                    </a:lnTo>
                    <a:lnTo>
                      <a:pt x="90" y="150"/>
                    </a:lnTo>
                    <a:lnTo>
                      <a:pt x="92" y="150"/>
                    </a:lnTo>
                    <a:lnTo>
                      <a:pt x="92" y="154"/>
                    </a:lnTo>
                    <a:lnTo>
                      <a:pt x="92" y="154"/>
                    </a:lnTo>
                    <a:lnTo>
                      <a:pt x="92" y="154"/>
                    </a:lnTo>
                    <a:close/>
                    <a:moveTo>
                      <a:pt x="118" y="158"/>
                    </a:moveTo>
                    <a:lnTo>
                      <a:pt x="118" y="154"/>
                    </a:lnTo>
                    <a:lnTo>
                      <a:pt x="118" y="158"/>
                    </a:lnTo>
                    <a:lnTo>
                      <a:pt x="118" y="158"/>
                    </a:lnTo>
                    <a:lnTo>
                      <a:pt x="118" y="158"/>
                    </a:lnTo>
                    <a:close/>
                    <a:moveTo>
                      <a:pt x="162" y="206"/>
                    </a:moveTo>
                    <a:lnTo>
                      <a:pt x="162" y="202"/>
                    </a:lnTo>
                    <a:lnTo>
                      <a:pt x="166" y="202"/>
                    </a:lnTo>
                    <a:lnTo>
                      <a:pt x="166" y="206"/>
                    </a:lnTo>
                    <a:lnTo>
                      <a:pt x="162" y="206"/>
                    </a:lnTo>
                    <a:lnTo>
                      <a:pt x="162" y="206"/>
                    </a:lnTo>
                    <a:lnTo>
                      <a:pt x="162" y="206"/>
                    </a:lnTo>
                    <a:close/>
                    <a:moveTo>
                      <a:pt x="166" y="206"/>
                    </a:moveTo>
                    <a:lnTo>
                      <a:pt x="170" y="206"/>
                    </a:lnTo>
                    <a:lnTo>
                      <a:pt x="166" y="206"/>
                    </a:lnTo>
                    <a:lnTo>
                      <a:pt x="166" y="206"/>
                    </a:lnTo>
                    <a:lnTo>
                      <a:pt x="166" y="206"/>
                    </a:lnTo>
                    <a:close/>
                    <a:moveTo>
                      <a:pt x="442" y="228"/>
                    </a:moveTo>
                    <a:lnTo>
                      <a:pt x="442" y="224"/>
                    </a:lnTo>
                    <a:lnTo>
                      <a:pt x="442" y="220"/>
                    </a:lnTo>
                    <a:lnTo>
                      <a:pt x="446" y="220"/>
                    </a:lnTo>
                    <a:lnTo>
                      <a:pt x="446" y="224"/>
                    </a:lnTo>
                    <a:lnTo>
                      <a:pt x="442" y="224"/>
                    </a:lnTo>
                    <a:lnTo>
                      <a:pt x="442" y="228"/>
                    </a:lnTo>
                    <a:lnTo>
                      <a:pt x="442" y="228"/>
                    </a:lnTo>
                    <a:lnTo>
                      <a:pt x="442" y="228"/>
                    </a:lnTo>
                    <a:close/>
                    <a:moveTo>
                      <a:pt x="376" y="254"/>
                    </a:moveTo>
                    <a:lnTo>
                      <a:pt x="372" y="254"/>
                    </a:lnTo>
                    <a:lnTo>
                      <a:pt x="376" y="254"/>
                    </a:lnTo>
                    <a:lnTo>
                      <a:pt x="380" y="254"/>
                    </a:lnTo>
                    <a:lnTo>
                      <a:pt x="376" y="254"/>
                    </a:lnTo>
                    <a:lnTo>
                      <a:pt x="376" y="254"/>
                    </a:lnTo>
                    <a:lnTo>
                      <a:pt x="376" y="25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0" name="Freeform 79">
                <a:extLst>
                  <a:ext uri="{FF2B5EF4-FFF2-40B4-BE49-F238E27FC236}">
                    <a16:creationId xmlns:a16="http://schemas.microsoft.com/office/drawing/2014/main" id="{8E05F870-9E24-4E3A-8D12-2E34148A437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44800" y="4222818"/>
                <a:ext cx="15875" cy="6350"/>
              </a:xfrm>
              <a:custGeom>
                <a:avLst/>
                <a:gdLst>
                  <a:gd name="T0" fmla="*/ 4 w 10"/>
                  <a:gd name="T1" fmla="*/ 4 h 4"/>
                  <a:gd name="T2" fmla="*/ 4 w 10"/>
                  <a:gd name="T3" fmla="*/ 4 h 4"/>
                  <a:gd name="T4" fmla="*/ 4 w 10"/>
                  <a:gd name="T5" fmla="*/ 4 h 4"/>
                  <a:gd name="T6" fmla="*/ 4 w 10"/>
                  <a:gd name="T7" fmla="*/ 4 h 4"/>
                  <a:gd name="T8" fmla="*/ 0 w 10"/>
                  <a:gd name="T9" fmla="*/ 4 h 4"/>
                  <a:gd name="T10" fmla="*/ 0 w 10"/>
                  <a:gd name="T11" fmla="*/ 0 h 4"/>
                  <a:gd name="T12" fmla="*/ 0 w 10"/>
                  <a:gd name="T13" fmla="*/ 0 h 4"/>
                  <a:gd name="T14" fmla="*/ 0 w 10"/>
                  <a:gd name="T15" fmla="*/ 0 h 4"/>
                  <a:gd name="T16" fmla="*/ 0 w 10"/>
                  <a:gd name="T17" fmla="*/ 0 h 4"/>
                  <a:gd name="T18" fmla="*/ 0 w 10"/>
                  <a:gd name="T19" fmla="*/ 0 h 4"/>
                  <a:gd name="T20" fmla="*/ 0 w 10"/>
                  <a:gd name="T21" fmla="*/ 0 h 4"/>
                  <a:gd name="T22" fmla="*/ 0 w 10"/>
                  <a:gd name="T23" fmla="*/ 0 h 4"/>
                  <a:gd name="T24" fmla="*/ 0 w 10"/>
                  <a:gd name="T25" fmla="*/ 0 h 4"/>
                  <a:gd name="T26" fmla="*/ 0 w 10"/>
                  <a:gd name="T27" fmla="*/ 0 h 4"/>
                  <a:gd name="T28" fmla="*/ 0 w 10"/>
                  <a:gd name="T29" fmla="*/ 0 h 4"/>
                  <a:gd name="T30" fmla="*/ 0 w 10"/>
                  <a:gd name="T31" fmla="*/ 0 h 4"/>
                  <a:gd name="T32" fmla="*/ 0 w 10"/>
                  <a:gd name="T33" fmla="*/ 0 h 4"/>
                  <a:gd name="T34" fmla="*/ 0 w 10"/>
                  <a:gd name="T35" fmla="*/ 0 h 4"/>
                  <a:gd name="T36" fmla="*/ 0 w 10"/>
                  <a:gd name="T37" fmla="*/ 0 h 4"/>
                  <a:gd name="T38" fmla="*/ 0 w 10"/>
                  <a:gd name="T39" fmla="*/ 0 h 4"/>
                  <a:gd name="T40" fmla="*/ 0 w 10"/>
                  <a:gd name="T41" fmla="*/ 0 h 4"/>
                  <a:gd name="T42" fmla="*/ 0 w 10"/>
                  <a:gd name="T43" fmla="*/ 0 h 4"/>
                  <a:gd name="T44" fmla="*/ 4 w 10"/>
                  <a:gd name="T45" fmla="*/ 0 h 4"/>
                  <a:gd name="T46" fmla="*/ 4 w 10"/>
                  <a:gd name="T47" fmla="*/ 0 h 4"/>
                  <a:gd name="T48" fmla="*/ 4 w 10"/>
                  <a:gd name="T49" fmla="*/ 4 h 4"/>
                  <a:gd name="T50" fmla="*/ 4 w 10"/>
                  <a:gd name="T51" fmla="*/ 4 h 4"/>
                  <a:gd name="T52" fmla="*/ 4 w 10"/>
                  <a:gd name="T53" fmla="*/ 4 h 4"/>
                  <a:gd name="T54" fmla="*/ 4 w 10"/>
                  <a:gd name="T55" fmla="*/ 4 h 4"/>
                  <a:gd name="T56" fmla="*/ 4 w 10"/>
                  <a:gd name="T57" fmla="*/ 4 h 4"/>
                  <a:gd name="T58" fmla="*/ 4 w 10"/>
                  <a:gd name="T59" fmla="*/ 4 h 4"/>
                  <a:gd name="T60" fmla="*/ 4 w 10"/>
                  <a:gd name="T61" fmla="*/ 4 h 4"/>
                  <a:gd name="T62" fmla="*/ 10 w 10"/>
                  <a:gd name="T63" fmla="*/ 4 h 4"/>
                  <a:gd name="T64" fmla="*/ 10 w 10"/>
                  <a:gd name="T65" fmla="*/ 4 h 4"/>
                  <a:gd name="T66" fmla="*/ 10 w 10"/>
                  <a:gd name="T67" fmla="*/ 4 h 4"/>
                  <a:gd name="T68" fmla="*/ 10 w 10"/>
                  <a:gd name="T69" fmla="*/ 4 h 4"/>
                  <a:gd name="T70" fmla="*/ 10 w 10"/>
                  <a:gd name="T71" fmla="*/ 4 h 4"/>
                  <a:gd name="T72" fmla="*/ 10 w 10"/>
                  <a:gd name="T73" fmla="*/ 4 h 4"/>
                  <a:gd name="T74" fmla="*/ 10 w 10"/>
                  <a:gd name="T75" fmla="*/ 4 h 4"/>
                  <a:gd name="T76" fmla="*/ 10 w 10"/>
                  <a:gd name="T77" fmla="*/ 4 h 4"/>
                  <a:gd name="T78" fmla="*/ 10 w 10"/>
                  <a:gd name="T79" fmla="*/ 0 h 4"/>
                  <a:gd name="T80" fmla="*/ 10 w 10"/>
                  <a:gd name="T81" fmla="*/ 0 h 4"/>
                  <a:gd name="T82" fmla="*/ 10 w 10"/>
                  <a:gd name="T83" fmla="*/ 0 h 4"/>
                  <a:gd name="T84" fmla="*/ 10 w 10"/>
                  <a:gd name="T85" fmla="*/ 0 h 4"/>
                  <a:gd name="T86" fmla="*/ 10 w 10"/>
                  <a:gd name="T87" fmla="*/ 0 h 4"/>
                  <a:gd name="T88" fmla="*/ 8 w 10"/>
                  <a:gd name="T89" fmla="*/ 0 h 4"/>
                  <a:gd name="T90" fmla="*/ 8 w 10"/>
                  <a:gd name="T91" fmla="*/ 0 h 4"/>
                  <a:gd name="T92" fmla="*/ 8 w 10"/>
                  <a:gd name="T93" fmla="*/ 0 h 4"/>
                  <a:gd name="T94" fmla="*/ 8 w 10"/>
                  <a:gd name="T95" fmla="*/ 0 h 4"/>
                  <a:gd name="T96" fmla="*/ 8 w 10"/>
                  <a:gd name="T97" fmla="*/ 0 h 4"/>
                  <a:gd name="T98" fmla="*/ 8 w 10"/>
                  <a:gd name="T99" fmla="*/ 0 h 4"/>
                  <a:gd name="T100" fmla="*/ 10 w 10"/>
                  <a:gd name="T101" fmla="*/ 0 h 4"/>
                  <a:gd name="T102" fmla="*/ 10 w 10"/>
                  <a:gd name="T103" fmla="*/ 0 h 4"/>
                  <a:gd name="T104" fmla="*/ 10 w 10"/>
                  <a:gd name="T105" fmla="*/ 0 h 4"/>
                  <a:gd name="T106" fmla="*/ 10 w 10"/>
                  <a:gd name="T107" fmla="*/ 4 h 4"/>
                  <a:gd name="T108" fmla="*/ 10 w 10"/>
                  <a:gd name="T109" fmla="*/ 4 h 4"/>
                  <a:gd name="T110" fmla="*/ 10 w 10"/>
                  <a:gd name="T111" fmla="*/ 4 h 4"/>
                  <a:gd name="T112" fmla="*/ 10 w 10"/>
                  <a:gd name="T113" fmla="*/ 4 h 4"/>
                  <a:gd name="T114" fmla="*/ 10 w 10"/>
                  <a:gd name="T115" fmla="*/ 4 h 4"/>
                  <a:gd name="T116" fmla="*/ 10 w 10"/>
                  <a:gd name="T117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1" name="Freeform 80">
                <a:extLst>
                  <a:ext uri="{FF2B5EF4-FFF2-40B4-BE49-F238E27FC236}">
                    <a16:creationId xmlns:a16="http://schemas.microsoft.com/office/drawing/2014/main" id="{3BAD482A-19C3-4527-8540-E07881466C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2525" y="4146618"/>
                <a:ext cx="107950" cy="120650"/>
              </a:xfrm>
              <a:custGeom>
                <a:avLst/>
                <a:gdLst>
                  <a:gd name="T0" fmla="*/ 64 w 68"/>
                  <a:gd name="T1" fmla="*/ 4 h 76"/>
                  <a:gd name="T2" fmla="*/ 64 w 68"/>
                  <a:gd name="T3" fmla="*/ 8 h 76"/>
                  <a:gd name="T4" fmla="*/ 64 w 68"/>
                  <a:gd name="T5" fmla="*/ 12 h 76"/>
                  <a:gd name="T6" fmla="*/ 64 w 68"/>
                  <a:gd name="T7" fmla="*/ 20 h 76"/>
                  <a:gd name="T8" fmla="*/ 60 w 68"/>
                  <a:gd name="T9" fmla="*/ 24 h 76"/>
                  <a:gd name="T10" fmla="*/ 60 w 68"/>
                  <a:gd name="T11" fmla="*/ 30 h 76"/>
                  <a:gd name="T12" fmla="*/ 60 w 68"/>
                  <a:gd name="T13" fmla="*/ 34 h 76"/>
                  <a:gd name="T14" fmla="*/ 60 w 68"/>
                  <a:gd name="T15" fmla="*/ 42 h 76"/>
                  <a:gd name="T16" fmla="*/ 60 w 68"/>
                  <a:gd name="T17" fmla="*/ 46 h 76"/>
                  <a:gd name="T18" fmla="*/ 60 w 68"/>
                  <a:gd name="T19" fmla="*/ 46 h 76"/>
                  <a:gd name="T20" fmla="*/ 60 w 68"/>
                  <a:gd name="T21" fmla="*/ 46 h 76"/>
                  <a:gd name="T22" fmla="*/ 60 w 68"/>
                  <a:gd name="T23" fmla="*/ 42 h 76"/>
                  <a:gd name="T24" fmla="*/ 56 w 68"/>
                  <a:gd name="T25" fmla="*/ 46 h 76"/>
                  <a:gd name="T26" fmla="*/ 56 w 68"/>
                  <a:gd name="T27" fmla="*/ 54 h 76"/>
                  <a:gd name="T28" fmla="*/ 56 w 68"/>
                  <a:gd name="T29" fmla="*/ 58 h 76"/>
                  <a:gd name="T30" fmla="*/ 56 w 68"/>
                  <a:gd name="T31" fmla="*/ 58 h 76"/>
                  <a:gd name="T32" fmla="*/ 60 w 68"/>
                  <a:gd name="T33" fmla="*/ 60 h 76"/>
                  <a:gd name="T34" fmla="*/ 56 w 68"/>
                  <a:gd name="T35" fmla="*/ 64 h 76"/>
                  <a:gd name="T36" fmla="*/ 56 w 68"/>
                  <a:gd name="T37" fmla="*/ 68 h 76"/>
                  <a:gd name="T38" fmla="*/ 56 w 68"/>
                  <a:gd name="T39" fmla="*/ 72 h 76"/>
                  <a:gd name="T40" fmla="*/ 60 w 68"/>
                  <a:gd name="T41" fmla="*/ 76 h 76"/>
                  <a:gd name="T42" fmla="*/ 56 w 68"/>
                  <a:gd name="T43" fmla="*/ 76 h 76"/>
                  <a:gd name="T44" fmla="*/ 52 w 68"/>
                  <a:gd name="T45" fmla="*/ 76 h 76"/>
                  <a:gd name="T46" fmla="*/ 48 w 68"/>
                  <a:gd name="T47" fmla="*/ 76 h 76"/>
                  <a:gd name="T48" fmla="*/ 38 w 68"/>
                  <a:gd name="T49" fmla="*/ 72 h 76"/>
                  <a:gd name="T50" fmla="*/ 38 w 68"/>
                  <a:gd name="T51" fmla="*/ 72 h 76"/>
                  <a:gd name="T52" fmla="*/ 30 w 68"/>
                  <a:gd name="T53" fmla="*/ 68 h 76"/>
                  <a:gd name="T54" fmla="*/ 26 w 68"/>
                  <a:gd name="T55" fmla="*/ 68 h 76"/>
                  <a:gd name="T56" fmla="*/ 22 w 68"/>
                  <a:gd name="T57" fmla="*/ 64 h 76"/>
                  <a:gd name="T58" fmla="*/ 20 w 68"/>
                  <a:gd name="T59" fmla="*/ 58 h 76"/>
                  <a:gd name="T60" fmla="*/ 16 w 68"/>
                  <a:gd name="T61" fmla="*/ 54 h 76"/>
                  <a:gd name="T62" fmla="*/ 16 w 68"/>
                  <a:gd name="T63" fmla="*/ 50 h 76"/>
                  <a:gd name="T64" fmla="*/ 12 w 68"/>
                  <a:gd name="T65" fmla="*/ 46 h 76"/>
                  <a:gd name="T66" fmla="*/ 4 w 68"/>
                  <a:gd name="T67" fmla="*/ 42 h 76"/>
                  <a:gd name="T68" fmla="*/ 0 w 68"/>
                  <a:gd name="T69" fmla="*/ 38 h 76"/>
                  <a:gd name="T70" fmla="*/ 4 w 68"/>
                  <a:gd name="T71" fmla="*/ 38 h 76"/>
                  <a:gd name="T72" fmla="*/ 8 w 68"/>
                  <a:gd name="T73" fmla="*/ 38 h 76"/>
                  <a:gd name="T74" fmla="*/ 12 w 68"/>
                  <a:gd name="T75" fmla="*/ 38 h 76"/>
                  <a:gd name="T76" fmla="*/ 12 w 68"/>
                  <a:gd name="T77" fmla="*/ 34 h 76"/>
                  <a:gd name="T78" fmla="*/ 16 w 68"/>
                  <a:gd name="T79" fmla="*/ 30 h 76"/>
                  <a:gd name="T80" fmla="*/ 16 w 68"/>
                  <a:gd name="T81" fmla="*/ 30 h 76"/>
                  <a:gd name="T82" fmla="*/ 16 w 68"/>
                  <a:gd name="T83" fmla="*/ 24 h 76"/>
                  <a:gd name="T84" fmla="*/ 22 w 68"/>
                  <a:gd name="T85" fmla="*/ 20 h 76"/>
                  <a:gd name="T86" fmla="*/ 26 w 68"/>
                  <a:gd name="T87" fmla="*/ 20 h 76"/>
                  <a:gd name="T88" fmla="*/ 30 w 68"/>
                  <a:gd name="T89" fmla="*/ 24 h 76"/>
                  <a:gd name="T90" fmla="*/ 34 w 68"/>
                  <a:gd name="T91" fmla="*/ 16 h 76"/>
                  <a:gd name="T92" fmla="*/ 34 w 68"/>
                  <a:gd name="T93" fmla="*/ 16 h 76"/>
                  <a:gd name="T94" fmla="*/ 38 w 68"/>
                  <a:gd name="T95" fmla="*/ 12 h 76"/>
                  <a:gd name="T96" fmla="*/ 38 w 68"/>
                  <a:gd name="T97" fmla="*/ 12 h 76"/>
                  <a:gd name="T98" fmla="*/ 38 w 68"/>
                  <a:gd name="T99" fmla="*/ 8 h 76"/>
                  <a:gd name="T100" fmla="*/ 46 w 68"/>
                  <a:gd name="T101" fmla="*/ 8 h 76"/>
                  <a:gd name="T102" fmla="*/ 52 w 68"/>
                  <a:gd name="T103" fmla="*/ 8 h 76"/>
                  <a:gd name="T104" fmla="*/ 60 w 68"/>
                  <a:gd name="T105" fmla="*/ 4 h 76"/>
                  <a:gd name="T106" fmla="*/ 64 w 68"/>
                  <a:gd name="T107" fmla="*/ 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8" h="76">
                    <a:moveTo>
                      <a:pt x="68" y="0"/>
                    </a:move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6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4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50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2" name="Freeform 81">
                <a:extLst>
                  <a:ext uri="{FF2B5EF4-FFF2-40B4-BE49-F238E27FC236}">
                    <a16:creationId xmlns:a16="http://schemas.microsoft.com/office/drawing/2014/main" id="{EEE781DB-79F2-4BE6-A3FE-3D1F1E9E72C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30475" y="4295843"/>
                <a:ext cx="130175" cy="66675"/>
              </a:xfrm>
              <a:custGeom>
                <a:avLst/>
                <a:gdLst>
                  <a:gd name="T0" fmla="*/ 38 w 82"/>
                  <a:gd name="T1" fmla="*/ 22 h 42"/>
                  <a:gd name="T2" fmla="*/ 38 w 82"/>
                  <a:gd name="T3" fmla="*/ 30 h 42"/>
                  <a:gd name="T4" fmla="*/ 40 w 82"/>
                  <a:gd name="T5" fmla="*/ 34 h 42"/>
                  <a:gd name="T6" fmla="*/ 40 w 82"/>
                  <a:gd name="T7" fmla="*/ 38 h 42"/>
                  <a:gd name="T8" fmla="*/ 34 w 82"/>
                  <a:gd name="T9" fmla="*/ 42 h 42"/>
                  <a:gd name="T10" fmla="*/ 30 w 82"/>
                  <a:gd name="T11" fmla="*/ 42 h 42"/>
                  <a:gd name="T12" fmla="*/ 30 w 82"/>
                  <a:gd name="T13" fmla="*/ 34 h 42"/>
                  <a:gd name="T14" fmla="*/ 26 w 82"/>
                  <a:gd name="T15" fmla="*/ 30 h 42"/>
                  <a:gd name="T16" fmla="*/ 22 w 82"/>
                  <a:gd name="T17" fmla="*/ 34 h 42"/>
                  <a:gd name="T18" fmla="*/ 18 w 82"/>
                  <a:gd name="T19" fmla="*/ 30 h 42"/>
                  <a:gd name="T20" fmla="*/ 18 w 82"/>
                  <a:gd name="T21" fmla="*/ 26 h 42"/>
                  <a:gd name="T22" fmla="*/ 10 w 82"/>
                  <a:gd name="T23" fmla="*/ 26 h 42"/>
                  <a:gd name="T24" fmla="*/ 8 w 82"/>
                  <a:gd name="T25" fmla="*/ 26 h 42"/>
                  <a:gd name="T26" fmla="*/ 4 w 82"/>
                  <a:gd name="T27" fmla="*/ 22 h 42"/>
                  <a:gd name="T28" fmla="*/ 4 w 82"/>
                  <a:gd name="T29" fmla="*/ 30 h 42"/>
                  <a:gd name="T30" fmla="*/ 0 w 82"/>
                  <a:gd name="T31" fmla="*/ 26 h 42"/>
                  <a:gd name="T32" fmla="*/ 4 w 82"/>
                  <a:gd name="T33" fmla="*/ 22 h 42"/>
                  <a:gd name="T34" fmla="*/ 0 w 82"/>
                  <a:gd name="T35" fmla="*/ 16 h 42"/>
                  <a:gd name="T36" fmla="*/ 0 w 82"/>
                  <a:gd name="T37" fmla="*/ 12 h 42"/>
                  <a:gd name="T38" fmla="*/ 4 w 82"/>
                  <a:gd name="T39" fmla="*/ 0 h 42"/>
                  <a:gd name="T40" fmla="*/ 8 w 82"/>
                  <a:gd name="T41" fmla="*/ 4 h 42"/>
                  <a:gd name="T42" fmla="*/ 10 w 82"/>
                  <a:gd name="T43" fmla="*/ 12 h 42"/>
                  <a:gd name="T44" fmla="*/ 14 w 82"/>
                  <a:gd name="T45" fmla="*/ 12 h 42"/>
                  <a:gd name="T46" fmla="*/ 18 w 82"/>
                  <a:gd name="T47" fmla="*/ 16 h 42"/>
                  <a:gd name="T48" fmla="*/ 26 w 82"/>
                  <a:gd name="T49" fmla="*/ 16 h 42"/>
                  <a:gd name="T50" fmla="*/ 30 w 82"/>
                  <a:gd name="T51" fmla="*/ 16 h 42"/>
                  <a:gd name="T52" fmla="*/ 38 w 82"/>
                  <a:gd name="T53" fmla="*/ 12 h 42"/>
                  <a:gd name="T54" fmla="*/ 40 w 82"/>
                  <a:gd name="T55" fmla="*/ 8 h 42"/>
                  <a:gd name="T56" fmla="*/ 48 w 82"/>
                  <a:gd name="T57" fmla="*/ 4 h 42"/>
                  <a:gd name="T58" fmla="*/ 56 w 82"/>
                  <a:gd name="T59" fmla="*/ 4 h 42"/>
                  <a:gd name="T60" fmla="*/ 56 w 82"/>
                  <a:gd name="T61" fmla="*/ 4 h 42"/>
                  <a:gd name="T62" fmla="*/ 64 w 82"/>
                  <a:gd name="T63" fmla="*/ 4 h 42"/>
                  <a:gd name="T64" fmla="*/ 70 w 82"/>
                  <a:gd name="T65" fmla="*/ 12 h 42"/>
                  <a:gd name="T66" fmla="*/ 78 w 82"/>
                  <a:gd name="T67" fmla="*/ 16 h 42"/>
                  <a:gd name="T68" fmla="*/ 78 w 82"/>
                  <a:gd name="T69" fmla="*/ 18 h 42"/>
                  <a:gd name="T70" fmla="*/ 78 w 82"/>
                  <a:gd name="T71" fmla="*/ 22 h 42"/>
                  <a:gd name="T72" fmla="*/ 82 w 82"/>
                  <a:gd name="T73" fmla="*/ 26 h 42"/>
                  <a:gd name="T74" fmla="*/ 82 w 82"/>
                  <a:gd name="T75" fmla="*/ 34 h 42"/>
                  <a:gd name="T76" fmla="*/ 74 w 82"/>
                  <a:gd name="T77" fmla="*/ 34 h 42"/>
                  <a:gd name="T78" fmla="*/ 74 w 82"/>
                  <a:gd name="T79" fmla="*/ 38 h 42"/>
                  <a:gd name="T80" fmla="*/ 68 w 82"/>
                  <a:gd name="T81" fmla="*/ 38 h 42"/>
                  <a:gd name="T82" fmla="*/ 68 w 82"/>
                  <a:gd name="T83" fmla="*/ 30 h 42"/>
                  <a:gd name="T84" fmla="*/ 68 w 82"/>
                  <a:gd name="T85" fmla="*/ 30 h 42"/>
                  <a:gd name="T86" fmla="*/ 68 w 82"/>
                  <a:gd name="T87" fmla="*/ 26 h 42"/>
                  <a:gd name="T88" fmla="*/ 70 w 82"/>
                  <a:gd name="T89" fmla="*/ 26 h 42"/>
                  <a:gd name="T90" fmla="*/ 74 w 82"/>
                  <a:gd name="T91" fmla="*/ 26 h 42"/>
                  <a:gd name="T92" fmla="*/ 70 w 82"/>
                  <a:gd name="T93" fmla="*/ 22 h 42"/>
                  <a:gd name="T94" fmla="*/ 64 w 82"/>
                  <a:gd name="T95" fmla="*/ 22 h 42"/>
                  <a:gd name="T96" fmla="*/ 60 w 82"/>
                  <a:gd name="T97" fmla="*/ 16 h 42"/>
                  <a:gd name="T98" fmla="*/ 56 w 82"/>
                  <a:gd name="T99" fmla="*/ 12 h 42"/>
                  <a:gd name="T100" fmla="*/ 56 w 82"/>
                  <a:gd name="T101" fmla="*/ 12 h 42"/>
                  <a:gd name="T102" fmla="*/ 48 w 82"/>
                  <a:gd name="T103" fmla="*/ 12 h 42"/>
                  <a:gd name="T104" fmla="*/ 44 w 82"/>
                  <a:gd name="T105" fmla="*/ 16 h 42"/>
                  <a:gd name="T106" fmla="*/ 40 w 82"/>
                  <a:gd name="T107" fmla="*/ 22 h 42"/>
                  <a:gd name="T108" fmla="*/ 10 w 82"/>
                  <a:gd name="T109" fmla="*/ 8 h 42"/>
                  <a:gd name="T110" fmla="*/ 60 w 82"/>
                  <a:gd name="T111" fmla="*/ 22 h 42"/>
                  <a:gd name="T112" fmla="*/ 56 w 82"/>
                  <a:gd name="T113" fmla="*/ 22 h 42"/>
                  <a:gd name="T114" fmla="*/ 18 w 82"/>
                  <a:gd name="T115" fmla="*/ 38 h 42"/>
                  <a:gd name="T116" fmla="*/ 18 w 82"/>
                  <a:gd name="T117" fmla="*/ 42 h 42"/>
                  <a:gd name="T118" fmla="*/ 18 w 82"/>
                  <a:gd name="T119" fmla="*/ 42 h 42"/>
                  <a:gd name="T120" fmla="*/ 18 w 82"/>
                  <a:gd name="T121" fmla="*/ 34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2" h="42">
                    <a:moveTo>
                      <a:pt x="40" y="22"/>
                    </a:move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6"/>
                    </a:lnTo>
                    <a:lnTo>
                      <a:pt x="74" y="16"/>
                    </a:lnTo>
                    <a:lnTo>
                      <a:pt x="78" y="16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4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4" y="26"/>
                    </a:lnTo>
                    <a:lnTo>
                      <a:pt x="68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70" y="22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60" y="22"/>
                    </a:move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18" y="34"/>
                    </a:move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3" name="Freeform 82">
                <a:extLst>
                  <a:ext uri="{FF2B5EF4-FFF2-40B4-BE49-F238E27FC236}">
                    <a16:creationId xmlns:a16="http://schemas.microsoft.com/office/drawing/2014/main" id="{D7B48693-84D6-4464-9C04-280367D9447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86075" y="4054543"/>
                <a:ext cx="41275" cy="15875"/>
              </a:xfrm>
              <a:custGeom>
                <a:avLst/>
                <a:gdLst>
                  <a:gd name="T0" fmla="*/ 18 w 26"/>
                  <a:gd name="T1" fmla="*/ 6 h 10"/>
                  <a:gd name="T2" fmla="*/ 18 w 26"/>
                  <a:gd name="T3" fmla="*/ 6 h 10"/>
                  <a:gd name="T4" fmla="*/ 18 w 26"/>
                  <a:gd name="T5" fmla="*/ 10 h 10"/>
                  <a:gd name="T6" fmla="*/ 16 w 26"/>
                  <a:gd name="T7" fmla="*/ 10 h 10"/>
                  <a:gd name="T8" fmla="*/ 12 w 26"/>
                  <a:gd name="T9" fmla="*/ 10 h 10"/>
                  <a:gd name="T10" fmla="*/ 12 w 26"/>
                  <a:gd name="T11" fmla="*/ 10 h 10"/>
                  <a:gd name="T12" fmla="*/ 8 w 26"/>
                  <a:gd name="T13" fmla="*/ 10 h 10"/>
                  <a:gd name="T14" fmla="*/ 8 w 26"/>
                  <a:gd name="T15" fmla="*/ 10 h 10"/>
                  <a:gd name="T16" fmla="*/ 8 w 26"/>
                  <a:gd name="T17" fmla="*/ 6 h 10"/>
                  <a:gd name="T18" fmla="*/ 4 w 26"/>
                  <a:gd name="T19" fmla="*/ 10 h 10"/>
                  <a:gd name="T20" fmla="*/ 4 w 26"/>
                  <a:gd name="T21" fmla="*/ 10 h 10"/>
                  <a:gd name="T22" fmla="*/ 4 w 26"/>
                  <a:gd name="T23" fmla="*/ 10 h 10"/>
                  <a:gd name="T24" fmla="*/ 0 w 26"/>
                  <a:gd name="T25" fmla="*/ 10 h 10"/>
                  <a:gd name="T26" fmla="*/ 0 w 26"/>
                  <a:gd name="T27" fmla="*/ 10 h 10"/>
                  <a:gd name="T28" fmla="*/ 0 w 26"/>
                  <a:gd name="T29" fmla="*/ 6 h 10"/>
                  <a:gd name="T30" fmla="*/ 0 w 26"/>
                  <a:gd name="T31" fmla="*/ 2 h 10"/>
                  <a:gd name="T32" fmla="*/ 0 w 26"/>
                  <a:gd name="T33" fmla="*/ 2 h 10"/>
                  <a:gd name="T34" fmla="*/ 0 w 26"/>
                  <a:gd name="T35" fmla="*/ 2 h 10"/>
                  <a:gd name="T36" fmla="*/ 0 w 26"/>
                  <a:gd name="T37" fmla="*/ 2 h 10"/>
                  <a:gd name="T38" fmla="*/ 0 w 26"/>
                  <a:gd name="T39" fmla="*/ 2 h 10"/>
                  <a:gd name="T40" fmla="*/ 0 w 26"/>
                  <a:gd name="T41" fmla="*/ 2 h 10"/>
                  <a:gd name="T42" fmla="*/ 0 w 26"/>
                  <a:gd name="T43" fmla="*/ 0 h 10"/>
                  <a:gd name="T44" fmla="*/ 0 w 26"/>
                  <a:gd name="T45" fmla="*/ 0 h 10"/>
                  <a:gd name="T46" fmla="*/ 0 w 26"/>
                  <a:gd name="T47" fmla="*/ 0 h 10"/>
                  <a:gd name="T48" fmla="*/ 4 w 26"/>
                  <a:gd name="T49" fmla="*/ 0 h 10"/>
                  <a:gd name="T50" fmla="*/ 4 w 26"/>
                  <a:gd name="T51" fmla="*/ 0 h 10"/>
                  <a:gd name="T52" fmla="*/ 8 w 26"/>
                  <a:gd name="T53" fmla="*/ 0 h 10"/>
                  <a:gd name="T54" fmla="*/ 12 w 26"/>
                  <a:gd name="T55" fmla="*/ 0 h 10"/>
                  <a:gd name="T56" fmla="*/ 16 w 26"/>
                  <a:gd name="T57" fmla="*/ 0 h 10"/>
                  <a:gd name="T58" fmla="*/ 16 w 26"/>
                  <a:gd name="T59" fmla="*/ 0 h 10"/>
                  <a:gd name="T60" fmla="*/ 16 w 26"/>
                  <a:gd name="T61" fmla="*/ 0 h 10"/>
                  <a:gd name="T62" fmla="*/ 16 w 26"/>
                  <a:gd name="T63" fmla="*/ 0 h 10"/>
                  <a:gd name="T64" fmla="*/ 18 w 26"/>
                  <a:gd name="T65" fmla="*/ 0 h 10"/>
                  <a:gd name="T66" fmla="*/ 18 w 26"/>
                  <a:gd name="T67" fmla="*/ 0 h 10"/>
                  <a:gd name="T68" fmla="*/ 22 w 26"/>
                  <a:gd name="T69" fmla="*/ 2 h 10"/>
                  <a:gd name="T70" fmla="*/ 22 w 26"/>
                  <a:gd name="T71" fmla="*/ 2 h 10"/>
                  <a:gd name="T72" fmla="*/ 22 w 26"/>
                  <a:gd name="T73" fmla="*/ 2 h 10"/>
                  <a:gd name="T74" fmla="*/ 22 w 26"/>
                  <a:gd name="T75" fmla="*/ 2 h 10"/>
                  <a:gd name="T76" fmla="*/ 18 w 26"/>
                  <a:gd name="T77" fmla="*/ 6 h 10"/>
                  <a:gd name="T78" fmla="*/ 18 w 26"/>
                  <a:gd name="T79" fmla="*/ 6 h 10"/>
                  <a:gd name="T80" fmla="*/ 22 w 26"/>
                  <a:gd name="T81" fmla="*/ 6 h 10"/>
                  <a:gd name="T82" fmla="*/ 22 w 26"/>
                  <a:gd name="T83" fmla="*/ 6 h 10"/>
                  <a:gd name="T84" fmla="*/ 22 w 26"/>
                  <a:gd name="T85" fmla="*/ 6 h 10"/>
                  <a:gd name="T86" fmla="*/ 26 w 26"/>
                  <a:gd name="T87" fmla="*/ 6 h 10"/>
                  <a:gd name="T88" fmla="*/ 26 w 26"/>
                  <a:gd name="T89" fmla="*/ 6 h 10"/>
                  <a:gd name="T90" fmla="*/ 26 w 26"/>
                  <a:gd name="T91" fmla="*/ 6 h 10"/>
                  <a:gd name="T92" fmla="*/ 22 w 26"/>
                  <a:gd name="T93" fmla="*/ 6 h 10"/>
                  <a:gd name="T94" fmla="*/ 22 w 26"/>
                  <a:gd name="T95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6" h="10">
                    <a:moveTo>
                      <a:pt x="18" y="6"/>
                    </a:move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close/>
                    <a:moveTo>
                      <a:pt x="22" y="6"/>
                    </a:move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4" name="Freeform 83">
                <a:extLst>
                  <a:ext uri="{FF2B5EF4-FFF2-40B4-BE49-F238E27FC236}">
                    <a16:creationId xmlns:a16="http://schemas.microsoft.com/office/drawing/2014/main" id="{C215A0C3-2A74-401B-BB48-01DB909B95E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127375" y="3206818"/>
                <a:ext cx="6350" cy="12700"/>
              </a:xfrm>
              <a:custGeom>
                <a:avLst/>
                <a:gdLst>
                  <a:gd name="T0" fmla="*/ 0 w 4"/>
                  <a:gd name="T1" fmla="*/ 0 h 8"/>
                  <a:gd name="T2" fmla="*/ 4 w 4"/>
                  <a:gd name="T3" fmla="*/ 0 h 8"/>
                  <a:gd name="T4" fmla="*/ 4 w 4"/>
                  <a:gd name="T5" fmla="*/ 0 h 8"/>
                  <a:gd name="T6" fmla="*/ 0 w 4"/>
                  <a:gd name="T7" fmla="*/ 0 h 8"/>
                  <a:gd name="T8" fmla="*/ 0 w 4"/>
                  <a:gd name="T9" fmla="*/ 0 h 8"/>
                  <a:gd name="T10" fmla="*/ 0 w 4"/>
                  <a:gd name="T11" fmla="*/ 0 h 8"/>
                  <a:gd name="T12" fmla="*/ 0 w 4"/>
                  <a:gd name="T13" fmla="*/ 0 h 8"/>
                  <a:gd name="T14" fmla="*/ 0 w 4"/>
                  <a:gd name="T15" fmla="*/ 0 h 8"/>
                  <a:gd name="T16" fmla="*/ 0 w 4"/>
                  <a:gd name="T17" fmla="*/ 0 h 8"/>
                  <a:gd name="T18" fmla="*/ 0 w 4"/>
                  <a:gd name="T19" fmla="*/ 0 h 8"/>
                  <a:gd name="T20" fmla="*/ 0 w 4"/>
                  <a:gd name="T21" fmla="*/ 0 h 8"/>
                  <a:gd name="T22" fmla="*/ 0 w 4"/>
                  <a:gd name="T23" fmla="*/ 4 h 8"/>
                  <a:gd name="T24" fmla="*/ 0 w 4"/>
                  <a:gd name="T25" fmla="*/ 4 h 8"/>
                  <a:gd name="T26" fmla="*/ 0 w 4"/>
                  <a:gd name="T27" fmla="*/ 4 h 8"/>
                  <a:gd name="T28" fmla="*/ 0 w 4"/>
                  <a:gd name="T29" fmla="*/ 4 h 8"/>
                  <a:gd name="T30" fmla="*/ 0 w 4"/>
                  <a:gd name="T31" fmla="*/ 4 h 8"/>
                  <a:gd name="T32" fmla="*/ 4 w 4"/>
                  <a:gd name="T33" fmla="*/ 4 h 8"/>
                  <a:gd name="T34" fmla="*/ 4 w 4"/>
                  <a:gd name="T35" fmla="*/ 4 h 8"/>
                  <a:gd name="T36" fmla="*/ 4 w 4"/>
                  <a:gd name="T37" fmla="*/ 4 h 8"/>
                  <a:gd name="T38" fmla="*/ 4 w 4"/>
                  <a:gd name="T39" fmla="*/ 4 h 8"/>
                  <a:gd name="T40" fmla="*/ 4 w 4"/>
                  <a:gd name="T41" fmla="*/ 4 h 8"/>
                  <a:gd name="T42" fmla="*/ 4 w 4"/>
                  <a:gd name="T43" fmla="*/ 4 h 8"/>
                  <a:gd name="T44" fmla="*/ 0 w 4"/>
                  <a:gd name="T45" fmla="*/ 4 h 8"/>
                  <a:gd name="T46" fmla="*/ 0 w 4"/>
                  <a:gd name="T47" fmla="*/ 4 h 8"/>
                  <a:gd name="T48" fmla="*/ 0 w 4"/>
                  <a:gd name="T49" fmla="*/ 4 h 8"/>
                  <a:gd name="T50" fmla="*/ 0 w 4"/>
                  <a:gd name="T51" fmla="*/ 4 h 8"/>
                  <a:gd name="T52" fmla="*/ 0 w 4"/>
                  <a:gd name="T53" fmla="*/ 4 h 8"/>
                  <a:gd name="T54" fmla="*/ 0 w 4"/>
                  <a:gd name="T55" fmla="*/ 4 h 8"/>
                  <a:gd name="T56" fmla="*/ 0 w 4"/>
                  <a:gd name="T57" fmla="*/ 4 h 8"/>
                  <a:gd name="T58" fmla="*/ 0 w 4"/>
                  <a:gd name="T59" fmla="*/ 4 h 8"/>
                  <a:gd name="T60" fmla="*/ 0 w 4"/>
                  <a:gd name="T61" fmla="*/ 4 h 8"/>
                  <a:gd name="T62" fmla="*/ 0 w 4"/>
                  <a:gd name="T63" fmla="*/ 4 h 8"/>
                  <a:gd name="T64" fmla="*/ 0 w 4"/>
                  <a:gd name="T65" fmla="*/ 4 h 8"/>
                  <a:gd name="T66" fmla="*/ 0 w 4"/>
                  <a:gd name="T67" fmla="*/ 0 h 8"/>
                  <a:gd name="T68" fmla="*/ 0 w 4"/>
                  <a:gd name="T69" fmla="*/ 0 h 8"/>
                  <a:gd name="T70" fmla="*/ 0 w 4"/>
                  <a:gd name="T71" fmla="*/ 0 h 8"/>
                  <a:gd name="T72" fmla="*/ 0 w 4"/>
                  <a:gd name="T73" fmla="*/ 0 h 8"/>
                  <a:gd name="T74" fmla="*/ 0 w 4"/>
                  <a:gd name="T75" fmla="*/ 0 h 8"/>
                  <a:gd name="T76" fmla="*/ 0 w 4"/>
                  <a:gd name="T77" fmla="*/ 0 h 8"/>
                  <a:gd name="T78" fmla="*/ 0 w 4"/>
                  <a:gd name="T79" fmla="*/ 0 h 8"/>
                  <a:gd name="T80" fmla="*/ 0 w 4"/>
                  <a:gd name="T81" fmla="*/ 0 h 8"/>
                  <a:gd name="T82" fmla="*/ 0 w 4"/>
                  <a:gd name="T83" fmla="*/ 0 h 8"/>
                  <a:gd name="T84" fmla="*/ 0 w 4"/>
                  <a:gd name="T85" fmla="*/ 0 h 8"/>
                  <a:gd name="T86" fmla="*/ 0 w 4"/>
                  <a:gd name="T87" fmla="*/ 0 h 8"/>
                  <a:gd name="T88" fmla="*/ 0 w 4"/>
                  <a:gd name="T89" fmla="*/ 0 h 8"/>
                  <a:gd name="T90" fmla="*/ 0 w 4"/>
                  <a:gd name="T91" fmla="*/ 0 h 8"/>
                  <a:gd name="T92" fmla="*/ 4 w 4"/>
                  <a:gd name="T93" fmla="*/ 4 h 8"/>
                  <a:gd name="T94" fmla="*/ 4 w 4"/>
                  <a:gd name="T95" fmla="*/ 4 h 8"/>
                  <a:gd name="T96" fmla="*/ 4 w 4"/>
                  <a:gd name="T97" fmla="*/ 8 h 8"/>
                  <a:gd name="T98" fmla="*/ 4 w 4"/>
                  <a:gd name="T99" fmla="*/ 8 h 8"/>
                  <a:gd name="T100" fmla="*/ 4 w 4"/>
                  <a:gd name="T101" fmla="*/ 8 h 8"/>
                  <a:gd name="T102" fmla="*/ 4 w 4"/>
                  <a:gd name="T103" fmla="*/ 4 h 8"/>
                  <a:gd name="T104" fmla="*/ 4 w 4"/>
                  <a:gd name="T105" fmla="*/ 4 h 8"/>
                  <a:gd name="T106" fmla="*/ 4 w 4"/>
                  <a:gd name="T107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" h="8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5" name="Freeform 84">
                <a:extLst>
                  <a:ext uri="{FF2B5EF4-FFF2-40B4-BE49-F238E27FC236}">
                    <a16:creationId xmlns:a16="http://schemas.microsoft.com/office/drawing/2014/main" id="{D401C983-62EF-4484-BD19-B928A619F51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3816418"/>
                <a:ext cx="142875" cy="174625"/>
              </a:xfrm>
              <a:custGeom>
                <a:avLst/>
                <a:gdLst>
                  <a:gd name="T0" fmla="*/ 52 w 90"/>
                  <a:gd name="T1" fmla="*/ 50 h 110"/>
                  <a:gd name="T2" fmla="*/ 48 w 90"/>
                  <a:gd name="T3" fmla="*/ 46 h 110"/>
                  <a:gd name="T4" fmla="*/ 52 w 90"/>
                  <a:gd name="T5" fmla="*/ 50 h 110"/>
                  <a:gd name="T6" fmla="*/ 64 w 90"/>
                  <a:gd name="T7" fmla="*/ 50 h 110"/>
                  <a:gd name="T8" fmla="*/ 64 w 90"/>
                  <a:gd name="T9" fmla="*/ 54 h 110"/>
                  <a:gd name="T10" fmla="*/ 86 w 90"/>
                  <a:gd name="T11" fmla="*/ 82 h 110"/>
                  <a:gd name="T12" fmla="*/ 86 w 90"/>
                  <a:gd name="T13" fmla="*/ 80 h 110"/>
                  <a:gd name="T14" fmla="*/ 90 w 90"/>
                  <a:gd name="T15" fmla="*/ 82 h 110"/>
                  <a:gd name="T16" fmla="*/ 22 w 90"/>
                  <a:gd name="T17" fmla="*/ 0 h 110"/>
                  <a:gd name="T18" fmla="*/ 26 w 90"/>
                  <a:gd name="T19" fmla="*/ 8 h 110"/>
                  <a:gd name="T20" fmla="*/ 26 w 90"/>
                  <a:gd name="T21" fmla="*/ 12 h 110"/>
                  <a:gd name="T22" fmla="*/ 26 w 90"/>
                  <a:gd name="T23" fmla="*/ 16 h 110"/>
                  <a:gd name="T24" fmla="*/ 26 w 90"/>
                  <a:gd name="T25" fmla="*/ 12 h 110"/>
                  <a:gd name="T26" fmla="*/ 22 w 90"/>
                  <a:gd name="T27" fmla="*/ 4 h 110"/>
                  <a:gd name="T28" fmla="*/ 16 w 90"/>
                  <a:gd name="T29" fmla="*/ 0 h 110"/>
                  <a:gd name="T30" fmla="*/ 4 w 90"/>
                  <a:gd name="T31" fmla="*/ 8 h 110"/>
                  <a:gd name="T32" fmla="*/ 8 w 90"/>
                  <a:gd name="T33" fmla="*/ 4 h 110"/>
                  <a:gd name="T34" fmla="*/ 12 w 90"/>
                  <a:gd name="T35" fmla="*/ 4 h 110"/>
                  <a:gd name="T36" fmla="*/ 4 w 90"/>
                  <a:gd name="T37" fmla="*/ 8 h 110"/>
                  <a:gd name="T38" fmla="*/ 34 w 90"/>
                  <a:gd name="T39" fmla="*/ 26 h 110"/>
                  <a:gd name="T40" fmla="*/ 42 w 90"/>
                  <a:gd name="T41" fmla="*/ 30 h 110"/>
                  <a:gd name="T42" fmla="*/ 42 w 90"/>
                  <a:gd name="T43" fmla="*/ 42 h 110"/>
                  <a:gd name="T44" fmla="*/ 42 w 90"/>
                  <a:gd name="T45" fmla="*/ 38 h 110"/>
                  <a:gd name="T46" fmla="*/ 38 w 90"/>
                  <a:gd name="T47" fmla="*/ 30 h 110"/>
                  <a:gd name="T48" fmla="*/ 34 w 90"/>
                  <a:gd name="T49" fmla="*/ 24 h 110"/>
                  <a:gd name="T50" fmla="*/ 12 w 90"/>
                  <a:gd name="T51" fmla="*/ 30 h 110"/>
                  <a:gd name="T52" fmla="*/ 16 w 90"/>
                  <a:gd name="T53" fmla="*/ 38 h 110"/>
                  <a:gd name="T54" fmla="*/ 18 w 90"/>
                  <a:gd name="T55" fmla="*/ 46 h 110"/>
                  <a:gd name="T56" fmla="*/ 12 w 90"/>
                  <a:gd name="T57" fmla="*/ 46 h 110"/>
                  <a:gd name="T58" fmla="*/ 12 w 90"/>
                  <a:gd name="T59" fmla="*/ 42 h 110"/>
                  <a:gd name="T60" fmla="*/ 12 w 90"/>
                  <a:gd name="T61" fmla="*/ 38 h 110"/>
                  <a:gd name="T62" fmla="*/ 12 w 90"/>
                  <a:gd name="T63" fmla="*/ 30 h 110"/>
                  <a:gd name="T64" fmla="*/ 26 w 90"/>
                  <a:gd name="T65" fmla="*/ 34 h 110"/>
                  <a:gd name="T66" fmla="*/ 22 w 90"/>
                  <a:gd name="T67" fmla="*/ 34 h 110"/>
                  <a:gd name="T68" fmla="*/ 18 w 90"/>
                  <a:gd name="T69" fmla="*/ 50 h 110"/>
                  <a:gd name="T70" fmla="*/ 22 w 90"/>
                  <a:gd name="T71" fmla="*/ 56 h 110"/>
                  <a:gd name="T72" fmla="*/ 18 w 90"/>
                  <a:gd name="T73" fmla="*/ 56 h 110"/>
                  <a:gd name="T74" fmla="*/ 18 w 90"/>
                  <a:gd name="T75" fmla="*/ 50 h 110"/>
                  <a:gd name="T76" fmla="*/ 44 w 90"/>
                  <a:gd name="T77" fmla="*/ 60 h 110"/>
                  <a:gd name="T78" fmla="*/ 44 w 90"/>
                  <a:gd name="T79" fmla="*/ 56 h 110"/>
                  <a:gd name="T80" fmla="*/ 52 w 90"/>
                  <a:gd name="T81" fmla="*/ 60 h 110"/>
                  <a:gd name="T82" fmla="*/ 60 w 90"/>
                  <a:gd name="T83" fmla="*/ 68 h 110"/>
                  <a:gd name="T84" fmla="*/ 56 w 90"/>
                  <a:gd name="T85" fmla="*/ 68 h 110"/>
                  <a:gd name="T86" fmla="*/ 52 w 90"/>
                  <a:gd name="T87" fmla="*/ 60 h 110"/>
                  <a:gd name="T88" fmla="*/ 68 w 90"/>
                  <a:gd name="T89" fmla="*/ 76 h 110"/>
                  <a:gd name="T90" fmla="*/ 70 w 90"/>
                  <a:gd name="T91" fmla="*/ 76 h 110"/>
                  <a:gd name="T92" fmla="*/ 68 w 90"/>
                  <a:gd name="T93" fmla="*/ 86 h 110"/>
                  <a:gd name="T94" fmla="*/ 70 w 90"/>
                  <a:gd name="T95" fmla="*/ 80 h 110"/>
                  <a:gd name="T96" fmla="*/ 70 w 90"/>
                  <a:gd name="T97" fmla="*/ 76 h 110"/>
                  <a:gd name="T98" fmla="*/ 70 w 90"/>
                  <a:gd name="T99" fmla="*/ 82 h 110"/>
                  <a:gd name="T100" fmla="*/ 68 w 90"/>
                  <a:gd name="T101" fmla="*/ 86 h 110"/>
                  <a:gd name="T102" fmla="*/ 74 w 90"/>
                  <a:gd name="T103" fmla="*/ 106 h 110"/>
                  <a:gd name="T104" fmla="*/ 82 w 90"/>
                  <a:gd name="T105" fmla="*/ 102 h 110"/>
                  <a:gd name="T106" fmla="*/ 86 w 90"/>
                  <a:gd name="T107" fmla="*/ 102 h 110"/>
                  <a:gd name="T108" fmla="*/ 82 w 90"/>
                  <a:gd name="T109" fmla="*/ 110 h 110"/>
                  <a:gd name="T110" fmla="*/ 74 w 90"/>
                  <a:gd name="T111" fmla="*/ 11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0" h="110">
                    <a:moveTo>
                      <a:pt x="52" y="50"/>
                    </a:moveTo>
                    <a:lnTo>
                      <a:pt x="48" y="50"/>
                    </a:lnTo>
                    <a:lnTo>
                      <a:pt x="52" y="50"/>
                    </a:lnTo>
                    <a:lnTo>
                      <a:pt x="48" y="46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52" y="46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close/>
                    <a:moveTo>
                      <a:pt x="64" y="54"/>
                    </a:moveTo>
                    <a:lnTo>
                      <a:pt x="64" y="50"/>
                    </a:lnTo>
                    <a:lnTo>
                      <a:pt x="68" y="54"/>
                    </a:lnTo>
                    <a:lnTo>
                      <a:pt x="64" y="54"/>
                    </a:lnTo>
                    <a:lnTo>
                      <a:pt x="64" y="54"/>
                    </a:lnTo>
                    <a:lnTo>
                      <a:pt x="64" y="54"/>
                    </a:lnTo>
                    <a:close/>
                    <a:moveTo>
                      <a:pt x="90" y="82"/>
                    </a:moveTo>
                    <a:lnTo>
                      <a:pt x="86" y="82"/>
                    </a:lnTo>
                    <a:lnTo>
                      <a:pt x="82" y="82"/>
                    </a:lnTo>
                    <a:lnTo>
                      <a:pt x="82" y="80"/>
                    </a:lnTo>
                    <a:lnTo>
                      <a:pt x="86" y="80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16" y="0"/>
                    </a:move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18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  <a:moveTo>
                      <a:pt x="4" y="8"/>
                    </a:moveTo>
                    <a:lnTo>
                      <a:pt x="0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2" y="4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24"/>
                    </a:moveTo>
                    <a:lnTo>
                      <a:pt x="34" y="26"/>
                    </a:lnTo>
                    <a:lnTo>
                      <a:pt x="38" y="26"/>
                    </a:lnTo>
                    <a:lnTo>
                      <a:pt x="38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38"/>
                    </a:lnTo>
                    <a:lnTo>
                      <a:pt x="38" y="38"/>
                    </a:lnTo>
                    <a:lnTo>
                      <a:pt x="42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close/>
                    <a:moveTo>
                      <a:pt x="12" y="30"/>
                    </a:moveTo>
                    <a:lnTo>
                      <a:pt x="16" y="30"/>
                    </a:lnTo>
                    <a:lnTo>
                      <a:pt x="16" y="34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18" y="42"/>
                    </a:lnTo>
                    <a:lnTo>
                      <a:pt x="18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close/>
                    <a:moveTo>
                      <a:pt x="22" y="34"/>
                    </a:moveTo>
                    <a:lnTo>
                      <a:pt x="26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close/>
                    <a:moveTo>
                      <a:pt x="18" y="50"/>
                    </a:moveTo>
                    <a:lnTo>
                      <a:pt x="18" y="54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6" y="54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close/>
                    <a:moveTo>
                      <a:pt x="44" y="56"/>
                    </a:moveTo>
                    <a:lnTo>
                      <a:pt x="44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close/>
                    <a:moveTo>
                      <a:pt x="52" y="60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close/>
                    <a:moveTo>
                      <a:pt x="70" y="76"/>
                    </a:moveTo>
                    <a:lnTo>
                      <a:pt x="68" y="76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6"/>
                    </a:lnTo>
                    <a:close/>
                    <a:moveTo>
                      <a:pt x="68" y="86"/>
                    </a:moveTo>
                    <a:lnTo>
                      <a:pt x="68" y="82"/>
                    </a:lnTo>
                    <a:lnTo>
                      <a:pt x="70" y="82"/>
                    </a:lnTo>
                    <a:lnTo>
                      <a:pt x="70" y="80"/>
                    </a:lnTo>
                    <a:lnTo>
                      <a:pt x="74" y="80"/>
                    </a:lnTo>
                    <a:lnTo>
                      <a:pt x="70" y="80"/>
                    </a:lnTo>
                    <a:lnTo>
                      <a:pt x="70" y="76"/>
                    </a:lnTo>
                    <a:lnTo>
                      <a:pt x="74" y="76"/>
                    </a:lnTo>
                    <a:lnTo>
                      <a:pt x="74" y="80"/>
                    </a:lnTo>
                    <a:lnTo>
                      <a:pt x="70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8" y="86"/>
                    </a:lnTo>
                    <a:lnTo>
                      <a:pt x="68" y="86"/>
                    </a:lnTo>
                    <a:close/>
                    <a:moveTo>
                      <a:pt x="74" y="110"/>
                    </a:moveTo>
                    <a:lnTo>
                      <a:pt x="74" y="106"/>
                    </a:lnTo>
                    <a:lnTo>
                      <a:pt x="78" y="106"/>
                    </a:lnTo>
                    <a:lnTo>
                      <a:pt x="78" y="102"/>
                    </a:lnTo>
                    <a:lnTo>
                      <a:pt x="82" y="102"/>
                    </a:lnTo>
                    <a:lnTo>
                      <a:pt x="82" y="106"/>
                    </a:lnTo>
                    <a:lnTo>
                      <a:pt x="82" y="102"/>
                    </a:lnTo>
                    <a:lnTo>
                      <a:pt x="86" y="102"/>
                    </a:lnTo>
                    <a:lnTo>
                      <a:pt x="86" y="106"/>
                    </a:lnTo>
                    <a:lnTo>
                      <a:pt x="82" y="106"/>
                    </a:lnTo>
                    <a:lnTo>
                      <a:pt x="82" y="110"/>
                    </a:lnTo>
                    <a:lnTo>
                      <a:pt x="78" y="110"/>
                    </a:lnTo>
                    <a:lnTo>
                      <a:pt x="78" y="106"/>
                    </a:lnTo>
                    <a:lnTo>
                      <a:pt x="74" y="110"/>
                    </a:lnTo>
                    <a:lnTo>
                      <a:pt x="74" y="110"/>
                    </a:lnTo>
                    <a:lnTo>
                      <a:pt x="74" y="1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6" name="Freeform 85">
                <a:extLst>
                  <a:ext uri="{FF2B5EF4-FFF2-40B4-BE49-F238E27FC236}">
                    <a16:creationId xmlns:a16="http://schemas.microsoft.com/office/drawing/2014/main" id="{641C7B93-8803-4444-B1DE-B6549EA3515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3550" y="4248218"/>
                <a:ext cx="28575" cy="34925"/>
              </a:xfrm>
              <a:custGeom>
                <a:avLst/>
                <a:gdLst>
                  <a:gd name="T0" fmla="*/ 14 w 18"/>
                  <a:gd name="T1" fmla="*/ 4 h 22"/>
                  <a:gd name="T2" fmla="*/ 14 w 18"/>
                  <a:gd name="T3" fmla="*/ 4 h 22"/>
                  <a:gd name="T4" fmla="*/ 18 w 18"/>
                  <a:gd name="T5" fmla="*/ 4 h 22"/>
                  <a:gd name="T6" fmla="*/ 18 w 18"/>
                  <a:gd name="T7" fmla="*/ 0 h 22"/>
                  <a:gd name="T8" fmla="*/ 18 w 18"/>
                  <a:gd name="T9" fmla="*/ 4 h 22"/>
                  <a:gd name="T10" fmla="*/ 18 w 18"/>
                  <a:gd name="T11" fmla="*/ 4 h 22"/>
                  <a:gd name="T12" fmla="*/ 18 w 18"/>
                  <a:gd name="T13" fmla="*/ 4 h 22"/>
                  <a:gd name="T14" fmla="*/ 14 w 18"/>
                  <a:gd name="T15" fmla="*/ 4 h 22"/>
                  <a:gd name="T16" fmla="*/ 14 w 18"/>
                  <a:gd name="T17" fmla="*/ 4 h 22"/>
                  <a:gd name="T18" fmla="*/ 12 w 18"/>
                  <a:gd name="T19" fmla="*/ 12 h 22"/>
                  <a:gd name="T20" fmla="*/ 14 w 18"/>
                  <a:gd name="T21" fmla="*/ 12 h 22"/>
                  <a:gd name="T22" fmla="*/ 14 w 18"/>
                  <a:gd name="T23" fmla="*/ 12 h 22"/>
                  <a:gd name="T24" fmla="*/ 14 w 18"/>
                  <a:gd name="T25" fmla="*/ 12 h 22"/>
                  <a:gd name="T26" fmla="*/ 12 w 18"/>
                  <a:gd name="T27" fmla="*/ 12 h 22"/>
                  <a:gd name="T28" fmla="*/ 12 w 18"/>
                  <a:gd name="T29" fmla="*/ 16 h 22"/>
                  <a:gd name="T30" fmla="*/ 14 w 18"/>
                  <a:gd name="T31" fmla="*/ 18 h 22"/>
                  <a:gd name="T32" fmla="*/ 12 w 18"/>
                  <a:gd name="T33" fmla="*/ 22 h 22"/>
                  <a:gd name="T34" fmla="*/ 12 w 18"/>
                  <a:gd name="T35" fmla="*/ 22 h 22"/>
                  <a:gd name="T36" fmla="*/ 8 w 18"/>
                  <a:gd name="T37" fmla="*/ 22 h 22"/>
                  <a:gd name="T38" fmla="*/ 4 w 18"/>
                  <a:gd name="T39" fmla="*/ 22 h 22"/>
                  <a:gd name="T40" fmla="*/ 0 w 18"/>
                  <a:gd name="T41" fmla="*/ 22 h 22"/>
                  <a:gd name="T42" fmla="*/ 0 w 18"/>
                  <a:gd name="T43" fmla="*/ 22 h 22"/>
                  <a:gd name="T44" fmla="*/ 0 w 18"/>
                  <a:gd name="T45" fmla="*/ 22 h 22"/>
                  <a:gd name="T46" fmla="*/ 0 w 18"/>
                  <a:gd name="T47" fmla="*/ 22 h 22"/>
                  <a:gd name="T48" fmla="*/ 8 w 18"/>
                  <a:gd name="T49" fmla="*/ 18 h 22"/>
                  <a:gd name="T50" fmla="*/ 8 w 18"/>
                  <a:gd name="T51" fmla="*/ 18 h 22"/>
                  <a:gd name="T52" fmla="*/ 8 w 18"/>
                  <a:gd name="T53" fmla="*/ 16 h 22"/>
                  <a:gd name="T54" fmla="*/ 4 w 18"/>
                  <a:gd name="T55" fmla="*/ 12 h 22"/>
                  <a:gd name="T56" fmla="*/ 4 w 18"/>
                  <a:gd name="T57" fmla="*/ 12 h 22"/>
                  <a:gd name="T58" fmla="*/ 4 w 18"/>
                  <a:gd name="T59" fmla="*/ 12 h 22"/>
                  <a:gd name="T60" fmla="*/ 8 w 18"/>
                  <a:gd name="T61" fmla="*/ 12 h 22"/>
                  <a:gd name="T62" fmla="*/ 8 w 18"/>
                  <a:gd name="T63" fmla="*/ 12 h 22"/>
                  <a:gd name="T64" fmla="*/ 12 w 18"/>
                  <a:gd name="T65" fmla="*/ 12 h 22"/>
                  <a:gd name="T66" fmla="*/ 12 w 18"/>
                  <a:gd name="T67" fmla="*/ 12 h 22"/>
                  <a:gd name="T68" fmla="*/ 12 w 18"/>
                  <a:gd name="T69" fmla="*/ 1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18" h="22">
                    <a:moveTo>
                      <a:pt x="14" y="4"/>
                    </a:move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close/>
                    <a:moveTo>
                      <a:pt x="12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14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7" name="Freeform 86">
                <a:extLst>
                  <a:ext uri="{FF2B5EF4-FFF2-40B4-BE49-F238E27FC236}">
                    <a16:creationId xmlns:a16="http://schemas.microsoft.com/office/drawing/2014/main" id="{4C6E0379-7ED5-45E0-8FAC-700BEA8360F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81300" y="3959293"/>
                <a:ext cx="15875" cy="12700"/>
              </a:xfrm>
              <a:custGeom>
                <a:avLst/>
                <a:gdLst>
                  <a:gd name="T0" fmla="*/ 10 w 10"/>
                  <a:gd name="T1" fmla="*/ 8 h 8"/>
                  <a:gd name="T2" fmla="*/ 10 w 10"/>
                  <a:gd name="T3" fmla="*/ 8 h 8"/>
                  <a:gd name="T4" fmla="*/ 10 w 10"/>
                  <a:gd name="T5" fmla="*/ 8 h 8"/>
                  <a:gd name="T6" fmla="*/ 10 w 10"/>
                  <a:gd name="T7" fmla="*/ 8 h 8"/>
                  <a:gd name="T8" fmla="*/ 10 w 10"/>
                  <a:gd name="T9" fmla="*/ 8 h 8"/>
                  <a:gd name="T10" fmla="*/ 10 w 10"/>
                  <a:gd name="T11" fmla="*/ 8 h 8"/>
                  <a:gd name="T12" fmla="*/ 10 w 10"/>
                  <a:gd name="T13" fmla="*/ 8 h 8"/>
                  <a:gd name="T14" fmla="*/ 0 w 10"/>
                  <a:gd name="T15" fmla="*/ 0 h 8"/>
                  <a:gd name="T16" fmla="*/ 0 w 10"/>
                  <a:gd name="T17" fmla="*/ 0 h 8"/>
                  <a:gd name="T18" fmla="*/ 0 w 10"/>
                  <a:gd name="T19" fmla="*/ 0 h 8"/>
                  <a:gd name="T20" fmla="*/ 0 w 10"/>
                  <a:gd name="T21" fmla="*/ 0 h 8"/>
                  <a:gd name="T22" fmla="*/ 0 w 10"/>
                  <a:gd name="T23" fmla="*/ 0 h 8"/>
                  <a:gd name="T24" fmla="*/ 0 w 10"/>
                  <a:gd name="T25" fmla="*/ 0 h 8"/>
                  <a:gd name="T26" fmla="*/ 0 w 10"/>
                  <a:gd name="T27" fmla="*/ 0 h 8"/>
                  <a:gd name="T28" fmla="*/ 0 w 10"/>
                  <a:gd name="T29" fmla="*/ 0 h 8"/>
                  <a:gd name="T30" fmla="*/ 0 w 10"/>
                  <a:gd name="T31" fmla="*/ 0 h 8"/>
                  <a:gd name="T32" fmla="*/ 0 w 10"/>
                  <a:gd name="T33" fmla="*/ 0 h 8"/>
                  <a:gd name="T34" fmla="*/ 0 w 10"/>
                  <a:gd name="T35" fmla="*/ 0 h 8"/>
                  <a:gd name="T36" fmla="*/ 0 w 10"/>
                  <a:gd name="T37" fmla="*/ 0 h 8"/>
                  <a:gd name="T38" fmla="*/ 0 w 10"/>
                  <a:gd name="T39" fmla="*/ 0 h 8"/>
                  <a:gd name="T40" fmla="*/ 0 w 10"/>
                  <a:gd name="T41" fmla="*/ 0 h 8"/>
                  <a:gd name="T42" fmla="*/ 0 w 10"/>
                  <a:gd name="T43" fmla="*/ 0 h 8"/>
                  <a:gd name="T44" fmla="*/ 2 w 10"/>
                  <a:gd name="T45" fmla="*/ 4 h 8"/>
                  <a:gd name="T46" fmla="*/ 2 w 10"/>
                  <a:gd name="T47" fmla="*/ 4 h 8"/>
                  <a:gd name="T48" fmla="*/ 2 w 10"/>
                  <a:gd name="T49" fmla="*/ 4 h 8"/>
                  <a:gd name="T50" fmla="*/ 2 w 10"/>
                  <a:gd name="T51" fmla="*/ 0 h 8"/>
                  <a:gd name="T52" fmla="*/ 2 w 10"/>
                  <a:gd name="T53" fmla="*/ 0 h 8"/>
                  <a:gd name="T54" fmla="*/ 2 w 10"/>
                  <a:gd name="T55" fmla="*/ 0 h 8"/>
                  <a:gd name="T56" fmla="*/ 2 w 10"/>
                  <a:gd name="T57" fmla="*/ 0 h 8"/>
                  <a:gd name="T58" fmla="*/ 0 w 10"/>
                  <a:gd name="T59" fmla="*/ 4 h 8"/>
                  <a:gd name="T60" fmla="*/ 0 w 10"/>
                  <a:gd name="T61" fmla="*/ 4 h 8"/>
                  <a:gd name="T62" fmla="*/ 0 w 10"/>
                  <a:gd name="T63" fmla="*/ 0 h 8"/>
                  <a:gd name="T64" fmla="*/ 0 w 10"/>
                  <a:gd name="T65" fmla="*/ 0 h 8"/>
                  <a:gd name="T66" fmla="*/ 0 w 10"/>
                  <a:gd name="T67" fmla="*/ 0 h 8"/>
                  <a:gd name="T68" fmla="*/ 2 w 10"/>
                  <a:gd name="T69" fmla="*/ 0 h 8"/>
                  <a:gd name="T70" fmla="*/ 2 w 10"/>
                  <a:gd name="T71" fmla="*/ 0 h 8"/>
                  <a:gd name="T72" fmla="*/ 2 w 10"/>
                  <a:gd name="T73" fmla="*/ 0 h 8"/>
                  <a:gd name="T74" fmla="*/ 2 w 10"/>
                  <a:gd name="T75" fmla="*/ 0 h 8"/>
                  <a:gd name="T76" fmla="*/ 2 w 10"/>
                  <a:gd name="T77" fmla="*/ 4 h 8"/>
                  <a:gd name="T78" fmla="*/ 2 w 10"/>
                  <a:gd name="T79" fmla="*/ 4 h 8"/>
                  <a:gd name="T80" fmla="*/ 2 w 10"/>
                  <a:gd name="T81" fmla="*/ 4 h 8"/>
                  <a:gd name="T82" fmla="*/ 2 w 10"/>
                  <a:gd name="T83" fmla="*/ 4 h 8"/>
                  <a:gd name="T84" fmla="*/ 2 w 10"/>
                  <a:gd name="T85" fmla="*/ 4 h 8"/>
                  <a:gd name="T86" fmla="*/ 2 w 10"/>
                  <a:gd name="T87" fmla="*/ 4 h 8"/>
                  <a:gd name="T88" fmla="*/ 2 w 10"/>
                  <a:gd name="T89" fmla="*/ 4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10" h="8">
                    <a:moveTo>
                      <a:pt x="10" y="8"/>
                    </a:move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2" y="4"/>
                    </a:move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8" name="Freeform 87">
                <a:extLst>
                  <a:ext uri="{FF2B5EF4-FFF2-40B4-BE49-F238E27FC236}">
                    <a16:creationId xmlns:a16="http://schemas.microsoft.com/office/drawing/2014/main" id="{3C6A8FB0-24EA-48CF-BFEF-3C8AD5BC51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26000" y="3349693"/>
                <a:ext cx="41275" cy="88900"/>
              </a:xfrm>
              <a:custGeom>
                <a:avLst/>
                <a:gdLst>
                  <a:gd name="T0" fmla="*/ 4 w 26"/>
                  <a:gd name="T1" fmla="*/ 14 h 56"/>
                  <a:gd name="T2" fmla="*/ 4 w 26"/>
                  <a:gd name="T3" fmla="*/ 14 h 56"/>
                  <a:gd name="T4" fmla="*/ 4 w 26"/>
                  <a:gd name="T5" fmla="*/ 14 h 56"/>
                  <a:gd name="T6" fmla="*/ 4 w 26"/>
                  <a:gd name="T7" fmla="*/ 10 h 56"/>
                  <a:gd name="T8" fmla="*/ 0 w 26"/>
                  <a:gd name="T9" fmla="*/ 6 h 56"/>
                  <a:gd name="T10" fmla="*/ 4 w 26"/>
                  <a:gd name="T11" fmla="*/ 0 h 56"/>
                  <a:gd name="T12" fmla="*/ 8 w 26"/>
                  <a:gd name="T13" fmla="*/ 0 h 56"/>
                  <a:gd name="T14" fmla="*/ 8 w 26"/>
                  <a:gd name="T15" fmla="*/ 0 h 56"/>
                  <a:gd name="T16" fmla="*/ 8 w 26"/>
                  <a:gd name="T17" fmla="*/ 0 h 56"/>
                  <a:gd name="T18" fmla="*/ 12 w 26"/>
                  <a:gd name="T19" fmla="*/ 0 h 56"/>
                  <a:gd name="T20" fmla="*/ 16 w 26"/>
                  <a:gd name="T21" fmla="*/ 0 h 56"/>
                  <a:gd name="T22" fmla="*/ 16 w 26"/>
                  <a:gd name="T23" fmla="*/ 2 h 56"/>
                  <a:gd name="T24" fmla="*/ 18 w 26"/>
                  <a:gd name="T25" fmla="*/ 6 h 56"/>
                  <a:gd name="T26" fmla="*/ 18 w 26"/>
                  <a:gd name="T27" fmla="*/ 10 h 56"/>
                  <a:gd name="T28" fmla="*/ 18 w 26"/>
                  <a:gd name="T29" fmla="*/ 10 h 56"/>
                  <a:gd name="T30" fmla="*/ 18 w 26"/>
                  <a:gd name="T31" fmla="*/ 14 h 56"/>
                  <a:gd name="T32" fmla="*/ 18 w 26"/>
                  <a:gd name="T33" fmla="*/ 18 h 56"/>
                  <a:gd name="T34" fmla="*/ 18 w 26"/>
                  <a:gd name="T35" fmla="*/ 22 h 56"/>
                  <a:gd name="T36" fmla="*/ 18 w 26"/>
                  <a:gd name="T37" fmla="*/ 22 h 56"/>
                  <a:gd name="T38" fmla="*/ 18 w 26"/>
                  <a:gd name="T39" fmla="*/ 26 h 56"/>
                  <a:gd name="T40" fmla="*/ 18 w 26"/>
                  <a:gd name="T41" fmla="*/ 30 h 56"/>
                  <a:gd name="T42" fmla="*/ 22 w 26"/>
                  <a:gd name="T43" fmla="*/ 32 h 56"/>
                  <a:gd name="T44" fmla="*/ 26 w 26"/>
                  <a:gd name="T45" fmla="*/ 32 h 56"/>
                  <a:gd name="T46" fmla="*/ 26 w 26"/>
                  <a:gd name="T47" fmla="*/ 32 h 56"/>
                  <a:gd name="T48" fmla="*/ 26 w 26"/>
                  <a:gd name="T49" fmla="*/ 36 h 56"/>
                  <a:gd name="T50" fmla="*/ 22 w 26"/>
                  <a:gd name="T51" fmla="*/ 40 h 56"/>
                  <a:gd name="T52" fmla="*/ 22 w 26"/>
                  <a:gd name="T53" fmla="*/ 40 h 56"/>
                  <a:gd name="T54" fmla="*/ 22 w 26"/>
                  <a:gd name="T55" fmla="*/ 44 h 56"/>
                  <a:gd name="T56" fmla="*/ 18 w 26"/>
                  <a:gd name="T57" fmla="*/ 48 h 56"/>
                  <a:gd name="T58" fmla="*/ 18 w 26"/>
                  <a:gd name="T59" fmla="*/ 48 h 56"/>
                  <a:gd name="T60" fmla="*/ 18 w 26"/>
                  <a:gd name="T61" fmla="*/ 48 h 56"/>
                  <a:gd name="T62" fmla="*/ 16 w 26"/>
                  <a:gd name="T63" fmla="*/ 52 h 56"/>
                  <a:gd name="T64" fmla="*/ 16 w 26"/>
                  <a:gd name="T65" fmla="*/ 52 h 56"/>
                  <a:gd name="T66" fmla="*/ 16 w 26"/>
                  <a:gd name="T67" fmla="*/ 52 h 56"/>
                  <a:gd name="T68" fmla="*/ 16 w 26"/>
                  <a:gd name="T69" fmla="*/ 56 h 56"/>
                  <a:gd name="T70" fmla="*/ 16 w 26"/>
                  <a:gd name="T71" fmla="*/ 56 h 56"/>
                  <a:gd name="T72" fmla="*/ 12 w 26"/>
                  <a:gd name="T73" fmla="*/ 56 h 56"/>
                  <a:gd name="T74" fmla="*/ 12 w 26"/>
                  <a:gd name="T75" fmla="*/ 56 h 56"/>
                  <a:gd name="T76" fmla="*/ 8 w 26"/>
                  <a:gd name="T77" fmla="*/ 48 h 56"/>
                  <a:gd name="T78" fmla="*/ 8 w 26"/>
                  <a:gd name="T79" fmla="*/ 48 h 56"/>
                  <a:gd name="T80" fmla="*/ 4 w 26"/>
                  <a:gd name="T81" fmla="*/ 44 h 56"/>
                  <a:gd name="T82" fmla="*/ 0 w 26"/>
                  <a:gd name="T83" fmla="*/ 40 h 56"/>
                  <a:gd name="T84" fmla="*/ 4 w 26"/>
                  <a:gd name="T85" fmla="*/ 40 h 56"/>
                  <a:gd name="T86" fmla="*/ 4 w 26"/>
                  <a:gd name="T87" fmla="*/ 44 h 56"/>
                  <a:gd name="T88" fmla="*/ 4 w 26"/>
                  <a:gd name="T89" fmla="*/ 40 h 56"/>
                  <a:gd name="T90" fmla="*/ 4 w 26"/>
                  <a:gd name="T91" fmla="*/ 36 h 56"/>
                  <a:gd name="T92" fmla="*/ 0 w 26"/>
                  <a:gd name="T93" fmla="*/ 36 h 56"/>
                  <a:gd name="T94" fmla="*/ 4 w 26"/>
                  <a:gd name="T95" fmla="*/ 32 h 56"/>
                  <a:gd name="T96" fmla="*/ 4 w 26"/>
                  <a:gd name="T97" fmla="*/ 32 h 56"/>
                  <a:gd name="T98" fmla="*/ 4 w 26"/>
                  <a:gd name="T99" fmla="*/ 30 h 56"/>
                  <a:gd name="T100" fmla="*/ 4 w 26"/>
                  <a:gd name="T101" fmla="*/ 26 h 56"/>
                  <a:gd name="T102" fmla="*/ 4 w 26"/>
                  <a:gd name="T103" fmla="*/ 26 h 56"/>
                  <a:gd name="T104" fmla="*/ 4 w 26"/>
                  <a:gd name="T105" fmla="*/ 18 h 56"/>
                  <a:gd name="T106" fmla="*/ 4 w 26"/>
                  <a:gd name="T107" fmla="*/ 1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26" h="56">
                    <a:moveTo>
                      <a:pt x="4" y="18"/>
                    </a:move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49" name="Freeform 88">
                <a:extLst>
                  <a:ext uri="{FF2B5EF4-FFF2-40B4-BE49-F238E27FC236}">
                    <a16:creationId xmlns:a16="http://schemas.microsoft.com/office/drawing/2014/main" id="{767FBC9C-F3C8-43D7-9D6A-2263D9BE5B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22775" y="3349693"/>
                <a:ext cx="12700" cy="3175"/>
              </a:xfrm>
              <a:custGeom>
                <a:avLst/>
                <a:gdLst>
                  <a:gd name="T0" fmla="*/ 0 w 8"/>
                  <a:gd name="T1" fmla="*/ 0 h 2"/>
                  <a:gd name="T2" fmla="*/ 4 w 8"/>
                  <a:gd name="T3" fmla="*/ 0 h 2"/>
                  <a:gd name="T4" fmla="*/ 4 w 8"/>
                  <a:gd name="T5" fmla="*/ 0 h 2"/>
                  <a:gd name="T6" fmla="*/ 4 w 8"/>
                  <a:gd name="T7" fmla="*/ 0 h 2"/>
                  <a:gd name="T8" fmla="*/ 8 w 8"/>
                  <a:gd name="T9" fmla="*/ 0 h 2"/>
                  <a:gd name="T10" fmla="*/ 8 w 8"/>
                  <a:gd name="T11" fmla="*/ 0 h 2"/>
                  <a:gd name="T12" fmla="*/ 8 w 8"/>
                  <a:gd name="T13" fmla="*/ 0 h 2"/>
                  <a:gd name="T14" fmla="*/ 8 w 8"/>
                  <a:gd name="T15" fmla="*/ 0 h 2"/>
                  <a:gd name="T16" fmla="*/ 8 w 8"/>
                  <a:gd name="T17" fmla="*/ 0 h 2"/>
                  <a:gd name="T18" fmla="*/ 8 w 8"/>
                  <a:gd name="T19" fmla="*/ 0 h 2"/>
                  <a:gd name="T20" fmla="*/ 8 w 8"/>
                  <a:gd name="T21" fmla="*/ 0 h 2"/>
                  <a:gd name="T22" fmla="*/ 4 w 8"/>
                  <a:gd name="T23" fmla="*/ 2 h 2"/>
                  <a:gd name="T24" fmla="*/ 4 w 8"/>
                  <a:gd name="T25" fmla="*/ 2 h 2"/>
                  <a:gd name="T26" fmla="*/ 4 w 8"/>
                  <a:gd name="T27" fmla="*/ 2 h 2"/>
                  <a:gd name="T28" fmla="*/ 4 w 8"/>
                  <a:gd name="T29" fmla="*/ 2 h 2"/>
                  <a:gd name="T30" fmla="*/ 0 w 8"/>
                  <a:gd name="T31" fmla="*/ 0 h 2"/>
                  <a:gd name="T32" fmla="*/ 0 w 8"/>
                  <a:gd name="T33" fmla="*/ 0 h 2"/>
                  <a:gd name="T34" fmla="*/ 0 w 8"/>
                  <a:gd name="T35" fmla="*/ 0 h 2"/>
                  <a:gd name="T36" fmla="*/ 0 w 8"/>
                  <a:gd name="T37" fmla="*/ 0 h 2"/>
                  <a:gd name="T38" fmla="*/ 0 w 8"/>
                  <a:gd name="T39" fmla="*/ 0 h 2"/>
                  <a:gd name="T40" fmla="*/ 0 w 8"/>
                  <a:gd name="T4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8" h="2">
                    <a:moveTo>
                      <a:pt x="0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0" name="Freeform 89">
                <a:extLst>
                  <a:ext uri="{FF2B5EF4-FFF2-40B4-BE49-F238E27FC236}">
                    <a16:creationId xmlns:a16="http://schemas.microsoft.com/office/drawing/2014/main" id="{70FCCE20-8FEA-4821-B188-F4A7245DF2F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6925" y="3143318"/>
                <a:ext cx="171450" cy="82550"/>
              </a:xfrm>
              <a:custGeom>
                <a:avLst/>
                <a:gdLst>
                  <a:gd name="T0" fmla="*/ 12 w 108"/>
                  <a:gd name="T1" fmla="*/ 40 h 52"/>
                  <a:gd name="T2" fmla="*/ 8 w 108"/>
                  <a:gd name="T3" fmla="*/ 44 h 52"/>
                  <a:gd name="T4" fmla="*/ 4 w 108"/>
                  <a:gd name="T5" fmla="*/ 40 h 52"/>
                  <a:gd name="T6" fmla="*/ 4 w 108"/>
                  <a:gd name="T7" fmla="*/ 40 h 52"/>
                  <a:gd name="T8" fmla="*/ 4 w 108"/>
                  <a:gd name="T9" fmla="*/ 34 h 52"/>
                  <a:gd name="T10" fmla="*/ 0 w 108"/>
                  <a:gd name="T11" fmla="*/ 30 h 52"/>
                  <a:gd name="T12" fmla="*/ 4 w 108"/>
                  <a:gd name="T13" fmla="*/ 30 h 52"/>
                  <a:gd name="T14" fmla="*/ 12 w 108"/>
                  <a:gd name="T15" fmla="*/ 38 h 52"/>
                  <a:gd name="T16" fmla="*/ 14 w 108"/>
                  <a:gd name="T17" fmla="*/ 34 h 52"/>
                  <a:gd name="T18" fmla="*/ 18 w 108"/>
                  <a:gd name="T19" fmla="*/ 30 h 52"/>
                  <a:gd name="T20" fmla="*/ 26 w 108"/>
                  <a:gd name="T21" fmla="*/ 30 h 52"/>
                  <a:gd name="T22" fmla="*/ 38 w 108"/>
                  <a:gd name="T23" fmla="*/ 30 h 52"/>
                  <a:gd name="T24" fmla="*/ 38 w 108"/>
                  <a:gd name="T25" fmla="*/ 30 h 52"/>
                  <a:gd name="T26" fmla="*/ 44 w 108"/>
                  <a:gd name="T27" fmla="*/ 30 h 52"/>
                  <a:gd name="T28" fmla="*/ 48 w 108"/>
                  <a:gd name="T29" fmla="*/ 34 h 52"/>
                  <a:gd name="T30" fmla="*/ 48 w 108"/>
                  <a:gd name="T31" fmla="*/ 26 h 52"/>
                  <a:gd name="T32" fmla="*/ 48 w 108"/>
                  <a:gd name="T33" fmla="*/ 22 h 52"/>
                  <a:gd name="T34" fmla="*/ 44 w 108"/>
                  <a:gd name="T35" fmla="*/ 18 h 52"/>
                  <a:gd name="T36" fmla="*/ 52 w 108"/>
                  <a:gd name="T37" fmla="*/ 14 h 52"/>
                  <a:gd name="T38" fmla="*/ 56 w 108"/>
                  <a:gd name="T39" fmla="*/ 10 h 52"/>
                  <a:gd name="T40" fmla="*/ 60 w 108"/>
                  <a:gd name="T41" fmla="*/ 10 h 52"/>
                  <a:gd name="T42" fmla="*/ 64 w 108"/>
                  <a:gd name="T43" fmla="*/ 6 h 52"/>
                  <a:gd name="T44" fmla="*/ 70 w 108"/>
                  <a:gd name="T45" fmla="*/ 6 h 52"/>
                  <a:gd name="T46" fmla="*/ 74 w 108"/>
                  <a:gd name="T47" fmla="*/ 6 h 52"/>
                  <a:gd name="T48" fmla="*/ 78 w 108"/>
                  <a:gd name="T49" fmla="*/ 4 h 52"/>
                  <a:gd name="T50" fmla="*/ 82 w 108"/>
                  <a:gd name="T51" fmla="*/ 0 h 52"/>
                  <a:gd name="T52" fmla="*/ 86 w 108"/>
                  <a:gd name="T53" fmla="*/ 4 h 52"/>
                  <a:gd name="T54" fmla="*/ 92 w 108"/>
                  <a:gd name="T55" fmla="*/ 4 h 52"/>
                  <a:gd name="T56" fmla="*/ 96 w 108"/>
                  <a:gd name="T57" fmla="*/ 6 h 52"/>
                  <a:gd name="T58" fmla="*/ 100 w 108"/>
                  <a:gd name="T59" fmla="*/ 6 h 52"/>
                  <a:gd name="T60" fmla="*/ 104 w 108"/>
                  <a:gd name="T61" fmla="*/ 6 h 52"/>
                  <a:gd name="T62" fmla="*/ 104 w 108"/>
                  <a:gd name="T63" fmla="*/ 14 h 52"/>
                  <a:gd name="T64" fmla="*/ 108 w 108"/>
                  <a:gd name="T65" fmla="*/ 18 h 52"/>
                  <a:gd name="T66" fmla="*/ 108 w 108"/>
                  <a:gd name="T67" fmla="*/ 22 h 52"/>
                  <a:gd name="T68" fmla="*/ 108 w 108"/>
                  <a:gd name="T69" fmla="*/ 26 h 52"/>
                  <a:gd name="T70" fmla="*/ 100 w 108"/>
                  <a:gd name="T71" fmla="*/ 26 h 52"/>
                  <a:gd name="T72" fmla="*/ 100 w 108"/>
                  <a:gd name="T73" fmla="*/ 30 h 52"/>
                  <a:gd name="T74" fmla="*/ 100 w 108"/>
                  <a:gd name="T75" fmla="*/ 34 h 52"/>
                  <a:gd name="T76" fmla="*/ 100 w 108"/>
                  <a:gd name="T77" fmla="*/ 38 h 52"/>
                  <a:gd name="T78" fmla="*/ 96 w 108"/>
                  <a:gd name="T79" fmla="*/ 40 h 52"/>
                  <a:gd name="T80" fmla="*/ 92 w 108"/>
                  <a:gd name="T81" fmla="*/ 44 h 52"/>
                  <a:gd name="T82" fmla="*/ 90 w 108"/>
                  <a:gd name="T83" fmla="*/ 48 h 52"/>
                  <a:gd name="T84" fmla="*/ 78 w 108"/>
                  <a:gd name="T85" fmla="*/ 48 h 52"/>
                  <a:gd name="T86" fmla="*/ 70 w 108"/>
                  <a:gd name="T87" fmla="*/ 52 h 52"/>
                  <a:gd name="T88" fmla="*/ 64 w 108"/>
                  <a:gd name="T89" fmla="*/ 52 h 52"/>
                  <a:gd name="T90" fmla="*/ 56 w 108"/>
                  <a:gd name="T91" fmla="*/ 52 h 52"/>
                  <a:gd name="T92" fmla="*/ 44 w 108"/>
                  <a:gd name="T93" fmla="*/ 48 h 52"/>
                  <a:gd name="T94" fmla="*/ 40 w 108"/>
                  <a:gd name="T95" fmla="*/ 48 h 52"/>
                  <a:gd name="T96" fmla="*/ 38 w 108"/>
                  <a:gd name="T97" fmla="*/ 40 h 52"/>
                  <a:gd name="T98" fmla="*/ 38 w 108"/>
                  <a:gd name="T99" fmla="*/ 40 h 52"/>
                  <a:gd name="T100" fmla="*/ 30 w 108"/>
                  <a:gd name="T101" fmla="*/ 40 h 52"/>
                  <a:gd name="T102" fmla="*/ 22 w 108"/>
                  <a:gd name="T103" fmla="*/ 44 h 52"/>
                  <a:gd name="T104" fmla="*/ 18 w 108"/>
                  <a:gd name="T105" fmla="*/ 44 h 52"/>
                  <a:gd name="T106" fmla="*/ 14 w 108"/>
                  <a:gd name="T107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08" h="52">
                    <a:moveTo>
                      <a:pt x="14" y="44"/>
                    </a:moveTo>
                    <a:lnTo>
                      <a:pt x="14" y="44"/>
                    </a:lnTo>
                    <a:lnTo>
                      <a:pt x="14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0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4" y="6"/>
                    </a:lnTo>
                    <a:lnTo>
                      <a:pt x="66" y="10"/>
                    </a:lnTo>
                    <a:lnTo>
                      <a:pt x="66" y="10"/>
                    </a:lnTo>
                    <a:lnTo>
                      <a:pt x="70" y="10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0" y="6"/>
                    </a:lnTo>
                    <a:lnTo>
                      <a:pt x="74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6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2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2" y="4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2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6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6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4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4" y="30"/>
                    </a:lnTo>
                    <a:lnTo>
                      <a:pt x="104" y="30"/>
                    </a:lnTo>
                    <a:lnTo>
                      <a:pt x="104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0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96" y="34"/>
                    </a:lnTo>
                    <a:lnTo>
                      <a:pt x="96" y="34"/>
                    </a:lnTo>
                    <a:lnTo>
                      <a:pt x="100" y="38"/>
                    </a:lnTo>
                    <a:lnTo>
                      <a:pt x="100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2" y="40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lnTo>
                      <a:pt x="14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1" name="Freeform 90">
                <a:extLst>
                  <a:ext uri="{FF2B5EF4-FFF2-40B4-BE49-F238E27FC236}">
                    <a16:creationId xmlns:a16="http://schemas.microsoft.com/office/drawing/2014/main" id="{1AA4C7F4-836B-40AF-8846-7A80B6A1356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14900" y="2898843"/>
                <a:ext cx="212725" cy="171450"/>
              </a:xfrm>
              <a:custGeom>
                <a:avLst/>
                <a:gdLst>
                  <a:gd name="T0" fmla="*/ 26 w 134"/>
                  <a:gd name="T1" fmla="*/ 94 h 108"/>
                  <a:gd name="T2" fmla="*/ 14 w 134"/>
                  <a:gd name="T3" fmla="*/ 98 h 108"/>
                  <a:gd name="T4" fmla="*/ 12 w 134"/>
                  <a:gd name="T5" fmla="*/ 100 h 108"/>
                  <a:gd name="T6" fmla="*/ 4 w 134"/>
                  <a:gd name="T7" fmla="*/ 100 h 108"/>
                  <a:gd name="T8" fmla="*/ 8 w 134"/>
                  <a:gd name="T9" fmla="*/ 90 h 108"/>
                  <a:gd name="T10" fmla="*/ 0 w 134"/>
                  <a:gd name="T11" fmla="*/ 82 h 108"/>
                  <a:gd name="T12" fmla="*/ 8 w 134"/>
                  <a:gd name="T13" fmla="*/ 78 h 108"/>
                  <a:gd name="T14" fmla="*/ 12 w 134"/>
                  <a:gd name="T15" fmla="*/ 74 h 108"/>
                  <a:gd name="T16" fmla="*/ 8 w 134"/>
                  <a:gd name="T17" fmla="*/ 60 h 108"/>
                  <a:gd name="T18" fmla="*/ 4 w 134"/>
                  <a:gd name="T19" fmla="*/ 52 h 108"/>
                  <a:gd name="T20" fmla="*/ 8 w 134"/>
                  <a:gd name="T21" fmla="*/ 48 h 108"/>
                  <a:gd name="T22" fmla="*/ 14 w 134"/>
                  <a:gd name="T23" fmla="*/ 48 h 108"/>
                  <a:gd name="T24" fmla="*/ 18 w 134"/>
                  <a:gd name="T25" fmla="*/ 48 h 108"/>
                  <a:gd name="T26" fmla="*/ 22 w 134"/>
                  <a:gd name="T27" fmla="*/ 44 h 108"/>
                  <a:gd name="T28" fmla="*/ 30 w 134"/>
                  <a:gd name="T29" fmla="*/ 44 h 108"/>
                  <a:gd name="T30" fmla="*/ 34 w 134"/>
                  <a:gd name="T31" fmla="*/ 44 h 108"/>
                  <a:gd name="T32" fmla="*/ 38 w 134"/>
                  <a:gd name="T33" fmla="*/ 40 h 108"/>
                  <a:gd name="T34" fmla="*/ 38 w 134"/>
                  <a:gd name="T35" fmla="*/ 38 h 108"/>
                  <a:gd name="T36" fmla="*/ 38 w 134"/>
                  <a:gd name="T37" fmla="*/ 30 h 108"/>
                  <a:gd name="T38" fmla="*/ 44 w 134"/>
                  <a:gd name="T39" fmla="*/ 22 h 108"/>
                  <a:gd name="T40" fmla="*/ 48 w 134"/>
                  <a:gd name="T41" fmla="*/ 18 h 108"/>
                  <a:gd name="T42" fmla="*/ 48 w 134"/>
                  <a:gd name="T43" fmla="*/ 10 h 108"/>
                  <a:gd name="T44" fmla="*/ 52 w 134"/>
                  <a:gd name="T45" fmla="*/ 10 h 108"/>
                  <a:gd name="T46" fmla="*/ 64 w 134"/>
                  <a:gd name="T47" fmla="*/ 10 h 108"/>
                  <a:gd name="T48" fmla="*/ 68 w 134"/>
                  <a:gd name="T49" fmla="*/ 4 h 108"/>
                  <a:gd name="T50" fmla="*/ 74 w 134"/>
                  <a:gd name="T51" fmla="*/ 4 h 108"/>
                  <a:gd name="T52" fmla="*/ 78 w 134"/>
                  <a:gd name="T53" fmla="*/ 8 h 108"/>
                  <a:gd name="T54" fmla="*/ 88 w 134"/>
                  <a:gd name="T55" fmla="*/ 8 h 108"/>
                  <a:gd name="T56" fmla="*/ 96 w 134"/>
                  <a:gd name="T57" fmla="*/ 8 h 108"/>
                  <a:gd name="T58" fmla="*/ 108 w 134"/>
                  <a:gd name="T59" fmla="*/ 14 h 108"/>
                  <a:gd name="T60" fmla="*/ 108 w 134"/>
                  <a:gd name="T61" fmla="*/ 18 h 108"/>
                  <a:gd name="T62" fmla="*/ 112 w 134"/>
                  <a:gd name="T63" fmla="*/ 26 h 108"/>
                  <a:gd name="T64" fmla="*/ 108 w 134"/>
                  <a:gd name="T65" fmla="*/ 34 h 108"/>
                  <a:gd name="T66" fmla="*/ 112 w 134"/>
                  <a:gd name="T67" fmla="*/ 38 h 108"/>
                  <a:gd name="T68" fmla="*/ 118 w 134"/>
                  <a:gd name="T69" fmla="*/ 44 h 108"/>
                  <a:gd name="T70" fmla="*/ 122 w 134"/>
                  <a:gd name="T71" fmla="*/ 52 h 108"/>
                  <a:gd name="T72" fmla="*/ 130 w 134"/>
                  <a:gd name="T73" fmla="*/ 56 h 108"/>
                  <a:gd name="T74" fmla="*/ 134 w 134"/>
                  <a:gd name="T75" fmla="*/ 60 h 108"/>
                  <a:gd name="T76" fmla="*/ 130 w 134"/>
                  <a:gd name="T77" fmla="*/ 68 h 108"/>
                  <a:gd name="T78" fmla="*/ 122 w 134"/>
                  <a:gd name="T79" fmla="*/ 68 h 108"/>
                  <a:gd name="T80" fmla="*/ 114 w 134"/>
                  <a:gd name="T81" fmla="*/ 70 h 108"/>
                  <a:gd name="T82" fmla="*/ 118 w 134"/>
                  <a:gd name="T83" fmla="*/ 74 h 108"/>
                  <a:gd name="T84" fmla="*/ 118 w 134"/>
                  <a:gd name="T85" fmla="*/ 86 h 108"/>
                  <a:gd name="T86" fmla="*/ 118 w 134"/>
                  <a:gd name="T87" fmla="*/ 90 h 108"/>
                  <a:gd name="T88" fmla="*/ 112 w 134"/>
                  <a:gd name="T89" fmla="*/ 90 h 108"/>
                  <a:gd name="T90" fmla="*/ 104 w 134"/>
                  <a:gd name="T91" fmla="*/ 94 h 108"/>
                  <a:gd name="T92" fmla="*/ 104 w 134"/>
                  <a:gd name="T93" fmla="*/ 104 h 108"/>
                  <a:gd name="T94" fmla="*/ 96 w 134"/>
                  <a:gd name="T95" fmla="*/ 100 h 108"/>
                  <a:gd name="T96" fmla="*/ 92 w 134"/>
                  <a:gd name="T97" fmla="*/ 104 h 108"/>
                  <a:gd name="T98" fmla="*/ 84 w 134"/>
                  <a:gd name="T99" fmla="*/ 100 h 108"/>
                  <a:gd name="T100" fmla="*/ 78 w 134"/>
                  <a:gd name="T101" fmla="*/ 100 h 108"/>
                  <a:gd name="T102" fmla="*/ 78 w 134"/>
                  <a:gd name="T103" fmla="*/ 100 h 108"/>
                  <a:gd name="T104" fmla="*/ 70 w 134"/>
                  <a:gd name="T105" fmla="*/ 100 h 108"/>
                  <a:gd name="T106" fmla="*/ 68 w 134"/>
                  <a:gd name="T107" fmla="*/ 100 h 108"/>
                  <a:gd name="T108" fmla="*/ 64 w 134"/>
                  <a:gd name="T109" fmla="*/ 100 h 108"/>
                  <a:gd name="T110" fmla="*/ 60 w 134"/>
                  <a:gd name="T111" fmla="*/ 100 h 108"/>
                  <a:gd name="T112" fmla="*/ 52 w 134"/>
                  <a:gd name="T113" fmla="*/ 98 h 108"/>
                  <a:gd name="T114" fmla="*/ 48 w 134"/>
                  <a:gd name="T115" fmla="*/ 94 h 108"/>
                  <a:gd name="T116" fmla="*/ 44 w 134"/>
                  <a:gd name="T117" fmla="*/ 94 h 108"/>
                  <a:gd name="T118" fmla="*/ 38 w 134"/>
                  <a:gd name="T119" fmla="*/ 9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34" h="108">
                    <a:moveTo>
                      <a:pt x="34" y="94"/>
                    </a:moveTo>
                    <a:lnTo>
                      <a:pt x="34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4" y="98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8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8" y="94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4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4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4" y="10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4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08" y="26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2" y="38"/>
                    </a:lnTo>
                    <a:lnTo>
                      <a:pt x="114" y="38"/>
                    </a:lnTo>
                    <a:lnTo>
                      <a:pt x="114" y="40"/>
                    </a:lnTo>
                    <a:lnTo>
                      <a:pt x="114" y="40"/>
                    </a:lnTo>
                    <a:lnTo>
                      <a:pt x="114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18" y="44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48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56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18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68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4"/>
                    </a:lnTo>
                    <a:lnTo>
                      <a:pt x="118" y="78"/>
                    </a:lnTo>
                    <a:lnTo>
                      <a:pt x="118" y="78"/>
                    </a:lnTo>
                    <a:lnTo>
                      <a:pt x="118" y="82"/>
                    </a:lnTo>
                    <a:lnTo>
                      <a:pt x="118" y="82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22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4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98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4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6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4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8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4" y="100"/>
                    </a:lnTo>
                    <a:lnTo>
                      <a:pt x="70" y="100"/>
                    </a:lnTo>
                    <a:lnTo>
                      <a:pt x="70" y="98"/>
                    </a:lnTo>
                    <a:lnTo>
                      <a:pt x="70" y="98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70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42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lnTo>
                      <a:pt x="34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2" name="Freeform 91">
                <a:extLst>
                  <a:ext uri="{FF2B5EF4-FFF2-40B4-BE49-F238E27FC236}">
                    <a16:creationId xmlns:a16="http://schemas.microsoft.com/office/drawing/2014/main" id="{324D0157-B1C9-4960-AFEE-F4A3E87474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54525" y="3060768"/>
                <a:ext cx="79375" cy="63500"/>
              </a:xfrm>
              <a:custGeom>
                <a:avLst/>
                <a:gdLst>
                  <a:gd name="T0" fmla="*/ 22 w 50"/>
                  <a:gd name="T1" fmla="*/ 26 h 40"/>
                  <a:gd name="T2" fmla="*/ 18 w 50"/>
                  <a:gd name="T3" fmla="*/ 26 h 40"/>
                  <a:gd name="T4" fmla="*/ 14 w 50"/>
                  <a:gd name="T5" fmla="*/ 22 h 40"/>
                  <a:gd name="T6" fmla="*/ 10 w 50"/>
                  <a:gd name="T7" fmla="*/ 22 h 40"/>
                  <a:gd name="T8" fmla="*/ 6 w 50"/>
                  <a:gd name="T9" fmla="*/ 18 h 40"/>
                  <a:gd name="T10" fmla="*/ 6 w 50"/>
                  <a:gd name="T11" fmla="*/ 14 h 40"/>
                  <a:gd name="T12" fmla="*/ 2 w 50"/>
                  <a:gd name="T13" fmla="*/ 14 h 40"/>
                  <a:gd name="T14" fmla="*/ 2 w 50"/>
                  <a:gd name="T15" fmla="*/ 14 h 40"/>
                  <a:gd name="T16" fmla="*/ 0 w 50"/>
                  <a:gd name="T17" fmla="*/ 10 h 40"/>
                  <a:gd name="T18" fmla="*/ 2 w 50"/>
                  <a:gd name="T19" fmla="*/ 6 h 40"/>
                  <a:gd name="T20" fmla="*/ 10 w 50"/>
                  <a:gd name="T21" fmla="*/ 4 h 40"/>
                  <a:gd name="T22" fmla="*/ 10 w 50"/>
                  <a:gd name="T23" fmla="*/ 6 h 40"/>
                  <a:gd name="T24" fmla="*/ 14 w 50"/>
                  <a:gd name="T25" fmla="*/ 4 h 40"/>
                  <a:gd name="T26" fmla="*/ 18 w 50"/>
                  <a:gd name="T27" fmla="*/ 6 h 40"/>
                  <a:gd name="T28" fmla="*/ 22 w 50"/>
                  <a:gd name="T29" fmla="*/ 4 h 40"/>
                  <a:gd name="T30" fmla="*/ 22 w 50"/>
                  <a:gd name="T31" fmla="*/ 4 h 40"/>
                  <a:gd name="T32" fmla="*/ 22 w 50"/>
                  <a:gd name="T33" fmla="*/ 6 h 40"/>
                  <a:gd name="T34" fmla="*/ 22 w 50"/>
                  <a:gd name="T35" fmla="*/ 4 h 40"/>
                  <a:gd name="T36" fmla="*/ 26 w 50"/>
                  <a:gd name="T37" fmla="*/ 4 h 40"/>
                  <a:gd name="T38" fmla="*/ 26 w 50"/>
                  <a:gd name="T39" fmla="*/ 4 h 40"/>
                  <a:gd name="T40" fmla="*/ 26 w 50"/>
                  <a:gd name="T41" fmla="*/ 0 h 40"/>
                  <a:gd name="T42" fmla="*/ 30 w 50"/>
                  <a:gd name="T43" fmla="*/ 4 h 40"/>
                  <a:gd name="T44" fmla="*/ 30 w 50"/>
                  <a:gd name="T45" fmla="*/ 0 h 40"/>
                  <a:gd name="T46" fmla="*/ 32 w 50"/>
                  <a:gd name="T47" fmla="*/ 4 h 40"/>
                  <a:gd name="T48" fmla="*/ 32 w 50"/>
                  <a:gd name="T49" fmla="*/ 0 h 40"/>
                  <a:gd name="T50" fmla="*/ 36 w 50"/>
                  <a:gd name="T51" fmla="*/ 4 h 40"/>
                  <a:gd name="T52" fmla="*/ 36 w 50"/>
                  <a:gd name="T53" fmla="*/ 6 h 40"/>
                  <a:gd name="T54" fmla="*/ 40 w 50"/>
                  <a:gd name="T55" fmla="*/ 6 h 40"/>
                  <a:gd name="T56" fmla="*/ 44 w 50"/>
                  <a:gd name="T57" fmla="*/ 6 h 40"/>
                  <a:gd name="T58" fmla="*/ 44 w 50"/>
                  <a:gd name="T59" fmla="*/ 10 h 40"/>
                  <a:gd name="T60" fmla="*/ 44 w 50"/>
                  <a:gd name="T61" fmla="*/ 14 h 40"/>
                  <a:gd name="T62" fmla="*/ 44 w 50"/>
                  <a:gd name="T63" fmla="*/ 14 h 40"/>
                  <a:gd name="T64" fmla="*/ 44 w 50"/>
                  <a:gd name="T65" fmla="*/ 14 h 40"/>
                  <a:gd name="T66" fmla="*/ 48 w 50"/>
                  <a:gd name="T67" fmla="*/ 18 h 40"/>
                  <a:gd name="T68" fmla="*/ 50 w 50"/>
                  <a:gd name="T69" fmla="*/ 22 h 40"/>
                  <a:gd name="T70" fmla="*/ 50 w 50"/>
                  <a:gd name="T71" fmla="*/ 26 h 40"/>
                  <a:gd name="T72" fmla="*/ 48 w 50"/>
                  <a:gd name="T73" fmla="*/ 28 h 40"/>
                  <a:gd name="T74" fmla="*/ 48 w 50"/>
                  <a:gd name="T75" fmla="*/ 28 h 40"/>
                  <a:gd name="T76" fmla="*/ 44 w 50"/>
                  <a:gd name="T77" fmla="*/ 28 h 40"/>
                  <a:gd name="T78" fmla="*/ 44 w 50"/>
                  <a:gd name="T79" fmla="*/ 36 h 40"/>
                  <a:gd name="T80" fmla="*/ 44 w 50"/>
                  <a:gd name="T81" fmla="*/ 36 h 40"/>
                  <a:gd name="T82" fmla="*/ 44 w 50"/>
                  <a:gd name="T83" fmla="*/ 40 h 40"/>
                  <a:gd name="T84" fmla="*/ 40 w 50"/>
                  <a:gd name="T85" fmla="*/ 40 h 40"/>
                  <a:gd name="T86" fmla="*/ 40 w 50"/>
                  <a:gd name="T87" fmla="*/ 40 h 40"/>
                  <a:gd name="T88" fmla="*/ 36 w 50"/>
                  <a:gd name="T89" fmla="*/ 40 h 40"/>
                  <a:gd name="T90" fmla="*/ 32 w 50"/>
                  <a:gd name="T91" fmla="*/ 36 h 40"/>
                  <a:gd name="T92" fmla="*/ 30 w 50"/>
                  <a:gd name="T93" fmla="*/ 28 h 40"/>
                  <a:gd name="T94" fmla="*/ 30 w 50"/>
                  <a:gd name="T95" fmla="*/ 28 h 40"/>
                  <a:gd name="T96" fmla="*/ 26 w 50"/>
                  <a:gd name="T97" fmla="*/ 32 h 40"/>
                  <a:gd name="T98" fmla="*/ 22 w 50"/>
                  <a:gd name="T99" fmla="*/ 32 h 40"/>
                  <a:gd name="T100" fmla="*/ 22 w 50"/>
                  <a:gd name="T101" fmla="*/ 32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0" h="40">
                    <a:moveTo>
                      <a:pt x="22" y="32"/>
                    </a:moveTo>
                    <a:lnTo>
                      <a:pt x="22" y="32"/>
                    </a:lnTo>
                    <a:lnTo>
                      <a:pt x="22" y="28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2" y="6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6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4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4" y="10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2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50" y="26"/>
                    </a:lnTo>
                    <a:lnTo>
                      <a:pt x="48" y="26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2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28"/>
                    </a:lnTo>
                    <a:lnTo>
                      <a:pt x="30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6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lnTo>
                      <a:pt x="22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3" name="Freeform 92">
                <a:extLst>
                  <a:ext uri="{FF2B5EF4-FFF2-40B4-BE49-F238E27FC236}">
                    <a16:creationId xmlns:a16="http://schemas.microsoft.com/office/drawing/2014/main" id="{EFB7391E-D2D2-4B12-8B55-E3DC8A4AE4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49800" y="3267143"/>
                <a:ext cx="82550" cy="82550"/>
              </a:xfrm>
              <a:custGeom>
                <a:avLst/>
                <a:gdLst>
                  <a:gd name="T0" fmla="*/ 26 w 52"/>
                  <a:gd name="T1" fmla="*/ 44 h 52"/>
                  <a:gd name="T2" fmla="*/ 26 w 52"/>
                  <a:gd name="T3" fmla="*/ 40 h 52"/>
                  <a:gd name="T4" fmla="*/ 22 w 52"/>
                  <a:gd name="T5" fmla="*/ 38 h 52"/>
                  <a:gd name="T6" fmla="*/ 18 w 52"/>
                  <a:gd name="T7" fmla="*/ 34 h 52"/>
                  <a:gd name="T8" fmla="*/ 18 w 52"/>
                  <a:gd name="T9" fmla="*/ 34 h 52"/>
                  <a:gd name="T10" fmla="*/ 14 w 52"/>
                  <a:gd name="T11" fmla="*/ 30 h 52"/>
                  <a:gd name="T12" fmla="*/ 10 w 52"/>
                  <a:gd name="T13" fmla="*/ 22 h 52"/>
                  <a:gd name="T14" fmla="*/ 6 w 52"/>
                  <a:gd name="T15" fmla="*/ 22 h 52"/>
                  <a:gd name="T16" fmla="*/ 6 w 52"/>
                  <a:gd name="T17" fmla="*/ 18 h 52"/>
                  <a:gd name="T18" fmla="*/ 4 w 52"/>
                  <a:gd name="T19" fmla="*/ 18 h 52"/>
                  <a:gd name="T20" fmla="*/ 4 w 52"/>
                  <a:gd name="T21" fmla="*/ 14 h 52"/>
                  <a:gd name="T22" fmla="*/ 4 w 52"/>
                  <a:gd name="T23" fmla="*/ 12 h 52"/>
                  <a:gd name="T24" fmla="*/ 0 w 52"/>
                  <a:gd name="T25" fmla="*/ 4 h 52"/>
                  <a:gd name="T26" fmla="*/ 0 w 52"/>
                  <a:gd name="T27" fmla="*/ 0 h 52"/>
                  <a:gd name="T28" fmla="*/ 4 w 52"/>
                  <a:gd name="T29" fmla="*/ 0 h 52"/>
                  <a:gd name="T30" fmla="*/ 6 w 52"/>
                  <a:gd name="T31" fmla="*/ 4 h 52"/>
                  <a:gd name="T32" fmla="*/ 6 w 52"/>
                  <a:gd name="T33" fmla="*/ 0 h 52"/>
                  <a:gd name="T34" fmla="*/ 10 w 52"/>
                  <a:gd name="T35" fmla="*/ 0 h 52"/>
                  <a:gd name="T36" fmla="*/ 14 w 52"/>
                  <a:gd name="T37" fmla="*/ 0 h 52"/>
                  <a:gd name="T38" fmla="*/ 18 w 52"/>
                  <a:gd name="T39" fmla="*/ 0 h 52"/>
                  <a:gd name="T40" fmla="*/ 22 w 52"/>
                  <a:gd name="T41" fmla="*/ 0 h 52"/>
                  <a:gd name="T42" fmla="*/ 26 w 52"/>
                  <a:gd name="T43" fmla="*/ 4 h 52"/>
                  <a:gd name="T44" fmla="*/ 28 w 52"/>
                  <a:gd name="T45" fmla="*/ 4 h 52"/>
                  <a:gd name="T46" fmla="*/ 32 w 52"/>
                  <a:gd name="T47" fmla="*/ 4 h 52"/>
                  <a:gd name="T48" fmla="*/ 36 w 52"/>
                  <a:gd name="T49" fmla="*/ 0 h 52"/>
                  <a:gd name="T50" fmla="*/ 40 w 52"/>
                  <a:gd name="T51" fmla="*/ 4 h 52"/>
                  <a:gd name="T52" fmla="*/ 44 w 52"/>
                  <a:gd name="T53" fmla="*/ 8 h 52"/>
                  <a:gd name="T54" fmla="*/ 48 w 52"/>
                  <a:gd name="T55" fmla="*/ 4 h 52"/>
                  <a:gd name="T56" fmla="*/ 48 w 52"/>
                  <a:gd name="T57" fmla="*/ 8 h 52"/>
                  <a:gd name="T58" fmla="*/ 48 w 52"/>
                  <a:gd name="T59" fmla="*/ 14 h 52"/>
                  <a:gd name="T60" fmla="*/ 48 w 52"/>
                  <a:gd name="T61" fmla="*/ 18 h 52"/>
                  <a:gd name="T62" fmla="*/ 52 w 52"/>
                  <a:gd name="T63" fmla="*/ 22 h 52"/>
                  <a:gd name="T64" fmla="*/ 52 w 52"/>
                  <a:gd name="T65" fmla="*/ 26 h 52"/>
                  <a:gd name="T66" fmla="*/ 48 w 52"/>
                  <a:gd name="T67" fmla="*/ 22 h 52"/>
                  <a:gd name="T68" fmla="*/ 52 w 52"/>
                  <a:gd name="T69" fmla="*/ 30 h 52"/>
                  <a:gd name="T70" fmla="*/ 52 w 52"/>
                  <a:gd name="T71" fmla="*/ 30 h 52"/>
                  <a:gd name="T72" fmla="*/ 48 w 52"/>
                  <a:gd name="T73" fmla="*/ 34 h 52"/>
                  <a:gd name="T74" fmla="*/ 44 w 52"/>
                  <a:gd name="T75" fmla="*/ 34 h 52"/>
                  <a:gd name="T76" fmla="*/ 44 w 52"/>
                  <a:gd name="T77" fmla="*/ 34 h 52"/>
                  <a:gd name="T78" fmla="*/ 44 w 52"/>
                  <a:gd name="T79" fmla="*/ 38 h 52"/>
                  <a:gd name="T80" fmla="*/ 44 w 52"/>
                  <a:gd name="T81" fmla="*/ 38 h 52"/>
                  <a:gd name="T82" fmla="*/ 40 w 52"/>
                  <a:gd name="T83" fmla="*/ 40 h 52"/>
                  <a:gd name="T84" fmla="*/ 36 w 52"/>
                  <a:gd name="T85" fmla="*/ 44 h 52"/>
                  <a:gd name="T86" fmla="*/ 36 w 52"/>
                  <a:gd name="T87" fmla="*/ 48 h 52"/>
                  <a:gd name="T88" fmla="*/ 36 w 52"/>
                  <a:gd name="T89" fmla="*/ 52 h 52"/>
                  <a:gd name="T90" fmla="*/ 36 w 52"/>
                  <a:gd name="T91" fmla="*/ 52 h 52"/>
                  <a:gd name="T92" fmla="*/ 32 w 52"/>
                  <a:gd name="T93" fmla="*/ 52 h 52"/>
                  <a:gd name="T94" fmla="*/ 28 w 52"/>
                  <a:gd name="T95" fmla="*/ 48 h 52"/>
                  <a:gd name="T96" fmla="*/ 28 w 52"/>
                  <a:gd name="T97" fmla="*/ 44 h 52"/>
                  <a:gd name="T98" fmla="*/ 26 w 52"/>
                  <a:gd name="T99" fmla="*/ 4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52" h="52">
                    <a:moveTo>
                      <a:pt x="26" y="44"/>
                    </a:move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4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4" name="Freeform 93">
                <a:extLst>
                  <a:ext uri="{FF2B5EF4-FFF2-40B4-BE49-F238E27FC236}">
                    <a16:creationId xmlns:a16="http://schemas.microsoft.com/office/drawing/2014/main" id="{100EC065-EF85-4536-B40C-D51F28A318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95850" y="3295718"/>
                <a:ext cx="142875" cy="95250"/>
              </a:xfrm>
              <a:custGeom>
                <a:avLst/>
                <a:gdLst>
                  <a:gd name="T0" fmla="*/ 8 w 90"/>
                  <a:gd name="T1" fmla="*/ 52 h 60"/>
                  <a:gd name="T2" fmla="*/ 8 w 90"/>
                  <a:gd name="T3" fmla="*/ 48 h 60"/>
                  <a:gd name="T4" fmla="*/ 0 w 90"/>
                  <a:gd name="T5" fmla="*/ 40 h 60"/>
                  <a:gd name="T6" fmla="*/ 4 w 90"/>
                  <a:gd name="T7" fmla="*/ 38 h 60"/>
                  <a:gd name="T8" fmla="*/ 0 w 90"/>
                  <a:gd name="T9" fmla="*/ 30 h 60"/>
                  <a:gd name="T10" fmla="*/ 8 w 90"/>
                  <a:gd name="T11" fmla="*/ 22 h 60"/>
                  <a:gd name="T12" fmla="*/ 8 w 90"/>
                  <a:gd name="T13" fmla="*/ 20 h 60"/>
                  <a:gd name="T14" fmla="*/ 0 w 90"/>
                  <a:gd name="T15" fmla="*/ 12 h 60"/>
                  <a:gd name="T16" fmla="*/ 4 w 90"/>
                  <a:gd name="T17" fmla="*/ 0 h 60"/>
                  <a:gd name="T18" fmla="*/ 8 w 90"/>
                  <a:gd name="T19" fmla="*/ 4 h 60"/>
                  <a:gd name="T20" fmla="*/ 8 w 90"/>
                  <a:gd name="T21" fmla="*/ 4 h 60"/>
                  <a:gd name="T22" fmla="*/ 8 w 90"/>
                  <a:gd name="T23" fmla="*/ 8 h 60"/>
                  <a:gd name="T24" fmla="*/ 12 w 90"/>
                  <a:gd name="T25" fmla="*/ 8 h 60"/>
                  <a:gd name="T26" fmla="*/ 16 w 90"/>
                  <a:gd name="T27" fmla="*/ 8 h 60"/>
                  <a:gd name="T28" fmla="*/ 26 w 90"/>
                  <a:gd name="T29" fmla="*/ 12 h 60"/>
                  <a:gd name="T30" fmla="*/ 26 w 90"/>
                  <a:gd name="T31" fmla="*/ 12 h 60"/>
                  <a:gd name="T32" fmla="*/ 30 w 90"/>
                  <a:gd name="T33" fmla="*/ 12 h 60"/>
                  <a:gd name="T34" fmla="*/ 34 w 90"/>
                  <a:gd name="T35" fmla="*/ 12 h 60"/>
                  <a:gd name="T36" fmla="*/ 42 w 90"/>
                  <a:gd name="T37" fmla="*/ 12 h 60"/>
                  <a:gd name="T38" fmla="*/ 46 w 90"/>
                  <a:gd name="T39" fmla="*/ 12 h 60"/>
                  <a:gd name="T40" fmla="*/ 54 w 90"/>
                  <a:gd name="T41" fmla="*/ 8 h 60"/>
                  <a:gd name="T42" fmla="*/ 56 w 90"/>
                  <a:gd name="T43" fmla="*/ 4 h 60"/>
                  <a:gd name="T44" fmla="*/ 64 w 90"/>
                  <a:gd name="T45" fmla="*/ 4 h 60"/>
                  <a:gd name="T46" fmla="*/ 68 w 90"/>
                  <a:gd name="T47" fmla="*/ 4 h 60"/>
                  <a:gd name="T48" fmla="*/ 76 w 90"/>
                  <a:gd name="T49" fmla="*/ 4 h 60"/>
                  <a:gd name="T50" fmla="*/ 80 w 90"/>
                  <a:gd name="T51" fmla="*/ 8 h 60"/>
                  <a:gd name="T52" fmla="*/ 80 w 90"/>
                  <a:gd name="T53" fmla="*/ 8 h 60"/>
                  <a:gd name="T54" fmla="*/ 86 w 90"/>
                  <a:gd name="T55" fmla="*/ 12 h 60"/>
                  <a:gd name="T56" fmla="*/ 90 w 90"/>
                  <a:gd name="T57" fmla="*/ 16 h 60"/>
                  <a:gd name="T58" fmla="*/ 86 w 90"/>
                  <a:gd name="T59" fmla="*/ 20 h 60"/>
                  <a:gd name="T60" fmla="*/ 82 w 90"/>
                  <a:gd name="T61" fmla="*/ 16 h 60"/>
                  <a:gd name="T62" fmla="*/ 80 w 90"/>
                  <a:gd name="T63" fmla="*/ 22 h 60"/>
                  <a:gd name="T64" fmla="*/ 80 w 90"/>
                  <a:gd name="T65" fmla="*/ 26 h 60"/>
                  <a:gd name="T66" fmla="*/ 76 w 90"/>
                  <a:gd name="T67" fmla="*/ 30 h 60"/>
                  <a:gd name="T68" fmla="*/ 72 w 90"/>
                  <a:gd name="T69" fmla="*/ 38 h 60"/>
                  <a:gd name="T70" fmla="*/ 76 w 90"/>
                  <a:gd name="T71" fmla="*/ 40 h 60"/>
                  <a:gd name="T72" fmla="*/ 80 w 90"/>
                  <a:gd name="T73" fmla="*/ 44 h 60"/>
                  <a:gd name="T74" fmla="*/ 80 w 90"/>
                  <a:gd name="T75" fmla="*/ 44 h 60"/>
                  <a:gd name="T76" fmla="*/ 72 w 90"/>
                  <a:gd name="T77" fmla="*/ 44 h 60"/>
                  <a:gd name="T78" fmla="*/ 68 w 90"/>
                  <a:gd name="T79" fmla="*/ 40 h 60"/>
                  <a:gd name="T80" fmla="*/ 60 w 90"/>
                  <a:gd name="T81" fmla="*/ 44 h 60"/>
                  <a:gd name="T82" fmla="*/ 56 w 90"/>
                  <a:gd name="T83" fmla="*/ 48 h 60"/>
                  <a:gd name="T84" fmla="*/ 56 w 90"/>
                  <a:gd name="T85" fmla="*/ 52 h 60"/>
                  <a:gd name="T86" fmla="*/ 54 w 90"/>
                  <a:gd name="T87" fmla="*/ 52 h 60"/>
                  <a:gd name="T88" fmla="*/ 54 w 90"/>
                  <a:gd name="T89" fmla="*/ 56 h 60"/>
                  <a:gd name="T90" fmla="*/ 46 w 90"/>
                  <a:gd name="T91" fmla="*/ 60 h 60"/>
                  <a:gd name="T92" fmla="*/ 42 w 90"/>
                  <a:gd name="T93" fmla="*/ 60 h 60"/>
                  <a:gd name="T94" fmla="*/ 34 w 90"/>
                  <a:gd name="T95" fmla="*/ 56 h 60"/>
                  <a:gd name="T96" fmla="*/ 26 w 90"/>
                  <a:gd name="T97" fmla="*/ 52 h 60"/>
                  <a:gd name="T98" fmla="*/ 24 w 90"/>
                  <a:gd name="T99" fmla="*/ 56 h 60"/>
                  <a:gd name="T100" fmla="*/ 20 w 90"/>
                  <a:gd name="T101" fmla="*/ 56 h 60"/>
                  <a:gd name="T102" fmla="*/ 12 w 90"/>
                  <a:gd name="T103" fmla="*/ 56 h 60"/>
                  <a:gd name="T104" fmla="*/ 8 w 90"/>
                  <a:gd name="T105" fmla="*/ 56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90" h="60">
                    <a:moveTo>
                      <a:pt x="8" y="56"/>
                    </a:move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20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2" y="20"/>
                    </a:lnTo>
                    <a:lnTo>
                      <a:pt x="80" y="20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4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2"/>
                    </a:lnTo>
                    <a:lnTo>
                      <a:pt x="54" y="56"/>
                    </a:lnTo>
                    <a:lnTo>
                      <a:pt x="54" y="56"/>
                    </a:lnTo>
                    <a:lnTo>
                      <a:pt x="54" y="60"/>
                    </a:lnTo>
                    <a:lnTo>
                      <a:pt x="50" y="60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5" name="Freeform 94">
                <a:extLst>
                  <a:ext uri="{FF2B5EF4-FFF2-40B4-BE49-F238E27FC236}">
                    <a16:creationId xmlns:a16="http://schemas.microsoft.com/office/drawing/2014/main" id="{6F7D0004-CE72-430B-A1F6-37317F2AF8C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95825" y="3225868"/>
                <a:ext cx="136525" cy="127000"/>
              </a:xfrm>
              <a:custGeom>
                <a:avLst/>
                <a:gdLst>
                  <a:gd name="T0" fmla="*/ 66 w 86"/>
                  <a:gd name="T1" fmla="*/ 74 h 80"/>
                  <a:gd name="T2" fmla="*/ 70 w 86"/>
                  <a:gd name="T3" fmla="*/ 78 h 80"/>
                  <a:gd name="T4" fmla="*/ 56 w 86"/>
                  <a:gd name="T5" fmla="*/ 70 h 80"/>
                  <a:gd name="T6" fmla="*/ 60 w 86"/>
                  <a:gd name="T7" fmla="*/ 70 h 80"/>
                  <a:gd name="T8" fmla="*/ 14 w 86"/>
                  <a:gd name="T9" fmla="*/ 30 h 80"/>
                  <a:gd name="T10" fmla="*/ 18 w 86"/>
                  <a:gd name="T11" fmla="*/ 30 h 80"/>
                  <a:gd name="T12" fmla="*/ 14 w 86"/>
                  <a:gd name="T13" fmla="*/ 34 h 80"/>
                  <a:gd name="T14" fmla="*/ 14 w 86"/>
                  <a:gd name="T15" fmla="*/ 26 h 80"/>
                  <a:gd name="T16" fmla="*/ 14 w 86"/>
                  <a:gd name="T17" fmla="*/ 34 h 80"/>
                  <a:gd name="T18" fmla="*/ 14 w 86"/>
                  <a:gd name="T19" fmla="*/ 40 h 80"/>
                  <a:gd name="T20" fmla="*/ 14 w 86"/>
                  <a:gd name="T21" fmla="*/ 40 h 80"/>
                  <a:gd name="T22" fmla="*/ 22 w 86"/>
                  <a:gd name="T23" fmla="*/ 38 h 80"/>
                  <a:gd name="T24" fmla="*/ 22 w 86"/>
                  <a:gd name="T25" fmla="*/ 40 h 80"/>
                  <a:gd name="T26" fmla="*/ 26 w 86"/>
                  <a:gd name="T27" fmla="*/ 52 h 80"/>
                  <a:gd name="T28" fmla="*/ 18 w 86"/>
                  <a:gd name="T29" fmla="*/ 44 h 80"/>
                  <a:gd name="T30" fmla="*/ 26 w 86"/>
                  <a:gd name="T31" fmla="*/ 52 h 80"/>
                  <a:gd name="T32" fmla="*/ 44 w 86"/>
                  <a:gd name="T33" fmla="*/ 64 h 80"/>
                  <a:gd name="T34" fmla="*/ 44 w 86"/>
                  <a:gd name="T35" fmla="*/ 64 h 80"/>
                  <a:gd name="T36" fmla="*/ 40 w 86"/>
                  <a:gd name="T37" fmla="*/ 66 h 80"/>
                  <a:gd name="T38" fmla="*/ 52 w 86"/>
                  <a:gd name="T39" fmla="*/ 66 h 80"/>
                  <a:gd name="T40" fmla="*/ 40 w 86"/>
                  <a:gd name="T41" fmla="*/ 66 h 80"/>
                  <a:gd name="T42" fmla="*/ 36 w 86"/>
                  <a:gd name="T43" fmla="*/ 70 h 80"/>
                  <a:gd name="T44" fmla="*/ 52 w 86"/>
                  <a:gd name="T45" fmla="*/ 70 h 80"/>
                  <a:gd name="T46" fmla="*/ 60 w 86"/>
                  <a:gd name="T47" fmla="*/ 74 h 80"/>
                  <a:gd name="T48" fmla="*/ 60 w 86"/>
                  <a:gd name="T49" fmla="*/ 74 h 80"/>
                  <a:gd name="T50" fmla="*/ 52 w 86"/>
                  <a:gd name="T51" fmla="*/ 66 h 80"/>
                  <a:gd name="T52" fmla="*/ 40 w 86"/>
                  <a:gd name="T53" fmla="*/ 60 h 80"/>
                  <a:gd name="T54" fmla="*/ 36 w 86"/>
                  <a:gd name="T55" fmla="*/ 56 h 80"/>
                  <a:gd name="T56" fmla="*/ 26 w 86"/>
                  <a:gd name="T57" fmla="*/ 48 h 80"/>
                  <a:gd name="T58" fmla="*/ 30 w 86"/>
                  <a:gd name="T59" fmla="*/ 44 h 80"/>
                  <a:gd name="T60" fmla="*/ 18 w 86"/>
                  <a:gd name="T61" fmla="*/ 34 h 80"/>
                  <a:gd name="T62" fmla="*/ 14 w 86"/>
                  <a:gd name="T63" fmla="*/ 26 h 80"/>
                  <a:gd name="T64" fmla="*/ 10 w 86"/>
                  <a:gd name="T65" fmla="*/ 30 h 80"/>
                  <a:gd name="T66" fmla="*/ 8 w 86"/>
                  <a:gd name="T67" fmla="*/ 34 h 80"/>
                  <a:gd name="T68" fmla="*/ 0 w 86"/>
                  <a:gd name="T69" fmla="*/ 22 h 80"/>
                  <a:gd name="T70" fmla="*/ 8 w 86"/>
                  <a:gd name="T71" fmla="*/ 22 h 80"/>
                  <a:gd name="T72" fmla="*/ 14 w 86"/>
                  <a:gd name="T73" fmla="*/ 18 h 80"/>
                  <a:gd name="T74" fmla="*/ 22 w 86"/>
                  <a:gd name="T75" fmla="*/ 22 h 80"/>
                  <a:gd name="T76" fmla="*/ 30 w 86"/>
                  <a:gd name="T77" fmla="*/ 14 h 80"/>
                  <a:gd name="T78" fmla="*/ 30 w 86"/>
                  <a:gd name="T79" fmla="*/ 8 h 80"/>
                  <a:gd name="T80" fmla="*/ 36 w 86"/>
                  <a:gd name="T81" fmla="*/ 0 h 80"/>
                  <a:gd name="T82" fmla="*/ 52 w 86"/>
                  <a:gd name="T83" fmla="*/ 8 h 80"/>
                  <a:gd name="T84" fmla="*/ 60 w 86"/>
                  <a:gd name="T85" fmla="*/ 14 h 80"/>
                  <a:gd name="T86" fmla="*/ 74 w 86"/>
                  <a:gd name="T87" fmla="*/ 14 h 80"/>
                  <a:gd name="T88" fmla="*/ 78 w 86"/>
                  <a:gd name="T89" fmla="*/ 22 h 80"/>
                  <a:gd name="T90" fmla="*/ 82 w 86"/>
                  <a:gd name="T91" fmla="*/ 26 h 80"/>
                  <a:gd name="T92" fmla="*/ 74 w 86"/>
                  <a:gd name="T93" fmla="*/ 34 h 80"/>
                  <a:gd name="T94" fmla="*/ 66 w 86"/>
                  <a:gd name="T95" fmla="*/ 30 h 80"/>
                  <a:gd name="T96" fmla="*/ 56 w 86"/>
                  <a:gd name="T97" fmla="*/ 26 h 80"/>
                  <a:gd name="T98" fmla="*/ 40 w 86"/>
                  <a:gd name="T99" fmla="*/ 26 h 80"/>
                  <a:gd name="T100" fmla="*/ 34 w 86"/>
                  <a:gd name="T101" fmla="*/ 26 h 80"/>
                  <a:gd name="T102" fmla="*/ 36 w 86"/>
                  <a:gd name="T103" fmla="*/ 38 h 80"/>
                  <a:gd name="T104" fmla="*/ 40 w 86"/>
                  <a:gd name="T105" fmla="*/ 48 h 80"/>
                  <a:gd name="T106" fmla="*/ 48 w 86"/>
                  <a:gd name="T107" fmla="*/ 60 h 80"/>
                  <a:gd name="T108" fmla="*/ 56 w 86"/>
                  <a:gd name="T109" fmla="*/ 64 h 80"/>
                  <a:gd name="T110" fmla="*/ 60 w 86"/>
                  <a:gd name="T111" fmla="*/ 7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86" h="80">
                    <a:moveTo>
                      <a:pt x="60" y="70"/>
                    </a:moveTo>
                    <a:lnTo>
                      <a:pt x="62" y="70"/>
                    </a:lnTo>
                    <a:lnTo>
                      <a:pt x="62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70" y="78"/>
                    </a:lnTo>
                    <a:lnTo>
                      <a:pt x="70" y="80"/>
                    </a:lnTo>
                    <a:lnTo>
                      <a:pt x="70" y="78"/>
                    </a:lnTo>
                    <a:lnTo>
                      <a:pt x="66" y="78"/>
                    </a:lnTo>
                    <a:lnTo>
                      <a:pt x="62" y="74"/>
                    </a:lnTo>
                    <a:lnTo>
                      <a:pt x="60" y="74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  <a:moveTo>
                      <a:pt x="18" y="30"/>
                    </a:move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close/>
                    <a:moveTo>
                      <a:pt x="14" y="38"/>
                    </a:moveTo>
                    <a:lnTo>
                      <a:pt x="10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  <a:moveTo>
                      <a:pt x="14" y="40"/>
                    </a:moveTo>
                    <a:lnTo>
                      <a:pt x="14" y="38"/>
                    </a:lnTo>
                    <a:lnTo>
                      <a:pt x="10" y="38"/>
                    </a:lnTo>
                    <a:lnTo>
                      <a:pt x="14" y="38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close/>
                    <a:moveTo>
                      <a:pt x="18" y="38"/>
                    </a:moveTo>
                    <a:lnTo>
                      <a:pt x="22" y="38"/>
                    </a:lnTo>
                    <a:lnTo>
                      <a:pt x="22" y="40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26" y="52"/>
                    </a:moveTo>
                    <a:lnTo>
                      <a:pt x="22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close/>
                    <a:moveTo>
                      <a:pt x="44" y="64"/>
                    </a:moveTo>
                    <a:lnTo>
                      <a:pt x="40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close/>
                    <a:moveTo>
                      <a:pt x="52" y="66"/>
                    </a:moveTo>
                    <a:lnTo>
                      <a:pt x="48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52" y="66"/>
                    </a:lnTo>
                    <a:lnTo>
                      <a:pt x="52" y="66"/>
                    </a:lnTo>
                    <a:close/>
                    <a:moveTo>
                      <a:pt x="36" y="70"/>
                    </a:moveTo>
                    <a:lnTo>
                      <a:pt x="36" y="66"/>
                    </a:lnTo>
                    <a:lnTo>
                      <a:pt x="40" y="66"/>
                    </a:lnTo>
                    <a:lnTo>
                      <a:pt x="40" y="70"/>
                    </a:lnTo>
                    <a:lnTo>
                      <a:pt x="36" y="70"/>
                    </a:lnTo>
                    <a:lnTo>
                      <a:pt x="36" y="70"/>
                    </a:lnTo>
                    <a:lnTo>
                      <a:pt x="36" y="70"/>
                    </a:lnTo>
                    <a:close/>
                    <a:moveTo>
                      <a:pt x="48" y="70"/>
                    </a:moveTo>
                    <a:lnTo>
                      <a:pt x="44" y="70"/>
                    </a:lnTo>
                    <a:lnTo>
                      <a:pt x="48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close/>
                    <a:moveTo>
                      <a:pt x="60" y="74"/>
                    </a:moveTo>
                    <a:lnTo>
                      <a:pt x="56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4"/>
                    </a:lnTo>
                    <a:close/>
                    <a:moveTo>
                      <a:pt x="60" y="70"/>
                    </a:moveTo>
                    <a:lnTo>
                      <a:pt x="56" y="70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6" y="56"/>
                    </a:lnTo>
                    <a:lnTo>
                      <a:pt x="34" y="56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6" y="44"/>
                    </a:lnTo>
                    <a:lnTo>
                      <a:pt x="30" y="44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22" y="38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0" y="22"/>
                    </a:lnTo>
                    <a:lnTo>
                      <a:pt x="10" y="26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2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22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4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70" y="14"/>
                    </a:lnTo>
                    <a:lnTo>
                      <a:pt x="74" y="14"/>
                    </a:lnTo>
                    <a:lnTo>
                      <a:pt x="74" y="12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4" y="34"/>
                    </a:lnTo>
                    <a:lnTo>
                      <a:pt x="74" y="30"/>
                    </a:lnTo>
                    <a:lnTo>
                      <a:pt x="70" y="26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56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34" y="26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6" y="38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6" name="Freeform 95">
                <a:extLst>
                  <a:ext uri="{FF2B5EF4-FFF2-40B4-BE49-F238E27FC236}">
                    <a16:creationId xmlns:a16="http://schemas.microsoft.com/office/drawing/2014/main" id="{2C16BC63-FAF2-4552-ABD5-F416173BC1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3076643"/>
                <a:ext cx="155575" cy="82550"/>
              </a:xfrm>
              <a:custGeom>
                <a:avLst/>
                <a:gdLst>
                  <a:gd name="T0" fmla="*/ 84 w 98"/>
                  <a:gd name="T1" fmla="*/ 42 h 52"/>
                  <a:gd name="T2" fmla="*/ 80 w 98"/>
                  <a:gd name="T3" fmla="*/ 46 h 52"/>
                  <a:gd name="T4" fmla="*/ 72 w 98"/>
                  <a:gd name="T5" fmla="*/ 46 h 52"/>
                  <a:gd name="T6" fmla="*/ 68 w 98"/>
                  <a:gd name="T7" fmla="*/ 50 h 52"/>
                  <a:gd name="T8" fmla="*/ 68 w 98"/>
                  <a:gd name="T9" fmla="*/ 50 h 52"/>
                  <a:gd name="T10" fmla="*/ 60 w 98"/>
                  <a:gd name="T11" fmla="*/ 46 h 52"/>
                  <a:gd name="T12" fmla="*/ 58 w 98"/>
                  <a:gd name="T13" fmla="*/ 50 h 52"/>
                  <a:gd name="T14" fmla="*/ 54 w 98"/>
                  <a:gd name="T15" fmla="*/ 46 h 52"/>
                  <a:gd name="T16" fmla="*/ 50 w 98"/>
                  <a:gd name="T17" fmla="*/ 46 h 52"/>
                  <a:gd name="T18" fmla="*/ 46 w 98"/>
                  <a:gd name="T19" fmla="*/ 42 h 52"/>
                  <a:gd name="T20" fmla="*/ 42 w 98"/>
                  <a:gd name="T21" fmla="*/ 42 h 52"/>
                  <a:gd name="T22" fmla="*/ 38 w 98"/>
                  <a:gd name="T23" fmla="*/ 46 h 52"/>
                  <a:gd name="T24" fmla="*/ 38 w 98"/>
                  <a:gd name="T25" fmla="*/ 52 h 52"/>
                  <a:gd name="T26" fmla="*/ 34 w 98"/>
                  <a:gd name="T27" fmla="*/ 52 h 52"/>
                  <a:gd name="T28" fmla="*/ 26 w 98"/>
                  <a:gd name="T29" fmla="*/ 50 h 52"/>
                  <a:gd name="T30" fmla="*/ 24 w 98"/>
                  <a:gd name="T31" fmla="*/ 46 h 52"/>
                  <a:gd name="T32" fmla="*/ 24 w 98"/>
                  <a:gd name="T33" fmla="*/ 46 h 52"/>
                  <a:gd name="T34" fmla="*/ 20 w 98"/>
                  <a:gd name="T35" fmla="*/ 42 h 52"/>
                  <a:gd name="T36" fmla="*/ 12 w 98"/>
                  <a:gd name="T37" fmla="*/ 38 h 52"/>
                  <a:gd name="T38" fmla="*/ 8 w 98"/>
                  <a:gd name="T39" fmla="*/ 30 h 52"/>
                  <a:gd name="T40" fmla="*/ 4 w 98"/>
                  <a:gd name="T41" fmla="*/ 26 h 52"/>
                  <a:gd name="T42" fmla="*/ 4 w 98"/>
                  <a:gd name="T43" fmla="*/ 22 h 52"/>
                  <a:gd name="T44" fmla="*/ 0 w 98"/>
                  <a:gd name="T45" fmla="*/ 18 h 52"/>
                  <a:gd name="T46" fmla="*/ 4 w 98"/>
                  <a:gd name="T47" fmla="*/ 18 h 52"/>
                  <a:gd name="T48" fmla="*/ 8 w 98"/>
                  <a:gd name="T49" fmla="*/ 12 h 52"/>
                  <a:gd name="T50" fmla="*/ 12 w 98"/>
                  <a:gd name="T51" fmla="*/ 12 h 52"/>
                  <a:gd name="T52" fmla="*/ 12 w 98"/>
                  <a:gd name="T53" fmla="*/ 12 h 52"/>
                  <a:gd name="T54" fmla="*/ 16 w 98"/>
                  <a:gd name="T55" fmla="*/ 12 h 52"/>
                  <a:gd name="T56" fmla="*/ 20 w 98"/>
                  <a:gd name="T57" fmla="*/ 8 h 52"/>
                  <a:gd name="T58" fmla="*/ 24 w 98"/>
                  <a:gd name="T59" fmla="*/ 8 h 52"/>
                  <a:gd name="T60" fmla="*/ 26 w 98"/>
                  <a:gd name="T61" fmla="*/ 4 h 52"/>
                  <a:gd name="T62" fmla="*/ 30 w 98"/>
                  <a:gd name="T63" fmla="*/ 0 h 52"/>
                  <a:gd name="T64" fmla="*/ 34 w 98"/>
                  <a:gd name="T65" fmla="*/ 0 h 52"/>
                  <a:gd name="T66" fmla="*/ 38 w 98"/>
                  <a:gd name="T67" fmla="*/ 4 h 52"/>
                  <a:gd name="T68" fmla="*/ 38 w 98"/>
                  <a:gd name="T69" fmla="*/ 4 h 52"/>
                  <a:gd name="T70" fmla="*/ 46 w 98"/>
                  <a:gd name="T71" fmla="*/ 0 h 52"/>
                  <a:gd name="T72" fmla="*/ 46 w 98"/>
                  <a:gd name="T73" fmla="*/ 4 h 52"/>
                  <a:gd name="T74" fmla="*/ 50 w 98"/>
                  <a:gd name="T75" fmla="*/ 4 h 52"/>
                  <a:gd name="T76" fmla="*/ 58 w 98"/>
                  <a:gd name="T77" fmla="*/ 8 h 52"/>
                  <a:gd name="T78" fmla="*/ 60 w 98"/>
                  <a:gd name="T79" fmla="*/ 8 h 52"/>
                  <a:gd name="T80" fmla="*/ 60 w 98"/>
                  <a:gd name="T81" fmla="*/ 12 h 52"/>
                  <a:gd name="T82" fmla="*/ 60 w 98"/>
                  <a:gd name="T83" fmla="*/ 16 h 52"/>
                  <a:gd name="T84" fmla="*/ 64 w 98"/>
                  <a:gd name="T85" fmla="*/ 18 h 52"/>
                  <a:gd name="T86" fmla="*/ 68 w 98"/>
                  <a:gd name="T87" fmla="*/ 18 h 52"/>
                  <a:gd name="T88" fmla="*/ 72 w 98"/>
                  <a:gd name="T89" fmla="*/ 18 h 52"/>
                  <a:gd name="T90" fmla="*/ 68 w 98"/>
                  <a:gd name="T91" fmla="*/ 12 h 52"/>
                  <a:gd name="T92" fmla="*/ 72 w 98"/>
                  <a:gd name="T93" fmla="*/ 16 h 52"/>
                  <a:gd name="T94" fmla="*/ 80 w 98"/>
                  <a:gd name="T95" fmla="*/ 16 h 52"/>
                  <a:gd name="T96" fmla="*/ 80 w 98"/>
                  <a:gd name="T97" fmla="*/ 16 h 52"/>
                  <a:gd name="T98" fmla="*/ 80 w 98"/>
                  <a:gd name="T99" fmla="*/ 18 h 52"/>
                  <a:gd name="T100" fmla="*/ 88 w 98"/>
                  <a:gd name="T101" fmla="*/ 18 h 52"/>
                  <a:gd name="T102" fmla="*/ 94 w 98"/>
                  <a:gd name="T103" fmla="*/ 22 h 52"/>
                  <a:gd name="T104" fmla="*/ 94 w 98"/>
                  <a:gd name="T105" fmla="*/ 30 h 52"/>
                  <a:gd name="T106" fmla="*/ 94 w 98"/>
                  <a:gd name="T107" fmla="*/ 30 h 52"/>
                  <a:gd name="T108" fmla="*/ 88 w 98"/>
                  <a:gd name="T109" fmla="*/ 38 h 52"/>
                  <a:gd name="T110" fmla="*/ 88 w 98"/>
                  <a:gd name="T111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98" h="52">
                    <a:moveTo>
                      <a:pt x="88" y="38"/>
                    </a:moveTo>
                    <a:lnTo>
                      <a:pt x="88" y="42"/>
                    </a:lnTo>
                    <a:lnTo>
                      <a:pt x="88" y="42"/>
                    </a:lnTo>
                    <a:lnTo>
                      <a:pt x="88" y="42"/>
                    </a:lnTo>
                    <a:lnTo>
                      <a:pt x="84" y="42"/>
                    </a:lnTo>
                    <a:lnTo>
                      <a:pt x="84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80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50"/>
                    </a:lnTo>
                    <a:lnTo>
                      <a:pt x="72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4" y="50"/>
                    </a:lnTo>
                    <a:lnTo>
                      <a:pt x="64" y="46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0" y="46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4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50" y="46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6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46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4" y="50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4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58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8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88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4" y="30"/>
                    </a:lnTo>
                    <a:lnTo>
                      <a:pt x="94" y="30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90" y="34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lnTo>
                      <a:pt x="8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7" name="Freeform 96">
                <a:extLst>
                  <a:ext uri="{FF2B5EF4-FFF2-40B4-BE49-F238E27FC236}">
                    <a16:creationId xmlns:a16="http://schemas.microsoft.com/office/drawing/2014/main" id="{224192AE-156A-4832-B328-106AC66E4E8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75175" y="2844868"/>
                <a:ext cx="155575" cy="114300"/>
              </a:xfrm>
              <a:custGeom>
                <a:avLst/>
                <a:gdLst>
                  <a:gd name="T0" fmla="*/ 4 w 98"/>
                  <a:gd name="T1" fmla="*/ 22 h 72"/>
                  <a:gd name="T2" fmla="*/ 8 w 98"/>
                  <a:gd name="T3" fmla="*/ 16 h 72"/>
                  <a:gd name="T4" fmla="*/ 24 w 98"/>
                  <a:gd name="T5" fmla="*/ 12 h 72"/>
                  <a:gd name="T6" fmla="*/ 34 w 98"/>
                  <a:gd name="T7" fmla="*/ 4 h 72"/>
                  <a:gd name="T8" fmla="*/ 30 w 98"/>
                  <a:gd name="T9" fmla="*/ 16 h 72"/>
                  <a:gd name="T10" fmla="*/ 16 w 98"/>
                  <a:gd name="T11" fmla="*/ 16 h 72"/>
                  <a:gd name="T12" fmla="*/ 4 w 98"/>
                  <a:gd name="T13" fmla="*/ 22 h 72"/>
                  <a:gd name="T14" fmla="*/ 20 w 98"/>
                  <a:gd name="T15" fmla="*/ 56 h 72"/>
                  <a:gd name="T16" fmla="*/ 24 w 98"/>
                  <a:gd name="T17" fmla="*/ 64 h 72"/>
                  <a:gd name="T18" fmla="*/ 8 w 98"/>
                  <a:gd name="T19" fmla="*/ 60 h 72"/>
                  <a:gd name="T20" fmla="*/ 8 w 98"/>
                  <a:gd name="T21" fmla="*/ 56 h 72"/>
                  <a:gd name="T22" fmla="*/ 0 w 98"/>
                  <a:gd name="T23" fmla="*/ 46 h 72"/>
                  <a:gd name="T24" fmla="*/ 0 w 98"/>
                  <a:gd name="T25" fmla="*/ 42 h 72"/>
                  <a:gd name="T26" fmla="*/ 0 w 98"/>
                  <a:gd name="T27" fmla="*/ 26 h 72"/>
                  <a:gd name="T28" fmla="*/ 8 w 98"/>
                  <a:gd name="T29" fmla="*/ 30 h 72"/>
                  <a:gd name="T30" fmla="*/ 16 w 98"/>
                  <a:gd name="T31" fmla="*/ 26 h 72"/>
                  <a:gd name="T32" fmla="*/ 16 w 98"/>
                  <a:gd name="T33" fmla="*/ 16 h 72"/>
                  <a:gd name="T34" fmla="*/ 30 w 98"/>
                  <a:gd name="T35" fmla="*/ 18 h 72"/>
                  <a:gd name="T36" fmla="*/ 30 w 98"/>
                  <a:gd name="T37" fmla="*/ 22 h 72"/>
                  <a:gd name="T38" fmla="*/ 38 w 98"/>
                  <a:gd name="T39" fmla="*/ 26 h 72"/>
                  <a:gd name="T40" fmla="*/ 34 w 98"/>
                  <a:gd name="T41" fmla="*/ 38 h 72"/>
                  <a:gd name="T42" fmla="*/ 30 w 98"/>
                  <a:gd name="T43" fmla="*/ 42 h 72"/>
                  <a:gd name="T44" fmla="*/ 24 w 98"/>
                  <a:gd name="T45" fmla="*/ 46 h 72"/>
                  <a:gd name="T46" fmla="*/ 20 w 98"/>
                  <a:gd name="T47" fmla="*/ 52 h 72"/>
                  <a:gd name="T48" fmla="*/ 42 w 98"/>
                  <a:gd name="T49" fmla="*/ 12 h 72"/>
                  <a:gd name="T50" fmla="*/ 12 w 98"/>
                  <a:gd name="T51" fmla="*/ 18 h 72"/>
                  <a:gd name="T52" fmla="*/ 60 w 98"/>
                  <a:gd name="T53" fmla="*/ 48 h 72"/>
                  <a:gd name="T54" fmla="*/ 56 w 98"/>
                  <a:gd name="T55" fmla="*/ 56 h 72"/>
                  <a:gd name="T56" fmla="*/ 46 w 98"/>
                  <a:gd name="T57" fmla="*/ 56 h 72"/>
                  <a:gd name="T58" fmla="*/ 38 w 98"/>
                  <a:gd name="T59" fmla="*/ 46 h 72"/>
                  <a:gd name="T60" fmla="*/ 46 w 98"/>
                  <a:gd name="T61" fmla="*/ 38 h 72"/>
                  <a:gd name="T62" fmla="*/ 50 w 98"/>
                  <a:gd name="T63" fmla="*/ 46 h 72"/>
                  <a:gd name="T64" fmla="*/ 54 w 98"/>
                  <a:gd name="T65" fmla="*/ 46 h 72"/>
                  <a:gd name="T66" fmla="*/ 56 w 98"/>
                  <a:gd name="T67" fmla="*/ 38 h 72"/>
                  <a:gd name="T68" fmla="*/ 64 w 98"/>
                  <a:gd name="T69" fmla="*/ 48 h 72"/>
                  <a:gd name="T70" fmla="*/ 34 w 98"/>
                  <a:gd name="T71" fmla="*/ 46 h 72"/>
                  <a:gd name="T72" fmla="*/ 34 w 98"/>
                  <a:gd name="T73" fmla="*/ 42 h 72"/>
                  <a:gd name="T74" fmla="*/ 34 w 98"/>
                  <a:gd name="T75" fmla="*/ 48 h 72"/>
                  <a:gd name="T76" fmla="*/ 34 w 98"/>
                  <a:gd name="T77" fmla="*/ 60 h 72"/>
                  <a:gd name="T78" fmla="*/ 26 w 98"/>
                  <a:gd name="T79" fmla="*/ 52 h 72"/>
                  <a:gd name="T80" fmla="*/ 26 w 98"/>
                  <a:gd name="T81" fmla="*/ 48 h 72"/>
                  <a:gd name="T82" fmla="*/ 94 w 98"/>
                  <a:gd name="T83" fmla="*/ 56 h 72"/>
                  <a:gd name="T84" fmla="*/ 38 w 98"/>
                  <a:gd name="T85" fmla="*/ 68 h 72"/>
                  <a:gd name="T86" fmla="*/ 42 w 98"/>
                  <a:gd name="T87" fmla="*/ 56 h 72"/>
                  <a:gd name="T88" fmla="*/ 38 w 98"/>
                  <a:gd name="T89" fmla="*/ 68 h 72"/>
                  <a:gd name="T90" fmla="*/ 24 w 98"/>
                  <a:gd name="T91" fmla="*/ 60 h 72"/>
                  <a:gd name="T92" fmla="*/ 26 w 98"/>
                  <a:gd name="T93" fmla="*/ 60 h 72"/>
                  <a:gd name="T94" fmla="*/ 34 w 98"/>
                  <a:gd name="T95" fmla="*/ 64 h 72"/>
                  <a:gd name="T96" fmla="*/ 60 w 98"/>
                  <a:gd name="T97" fmla="*/ 60 h 72"/>
                  <a:gd name="T98" fmla="*/ 60 w 98"/>
                  <a:gd name="T99" fmla="*/ 64 h 72"/>
                  <a:gd name="T100" fmla="*/ 30 w 98"/>
                  <a:gd name="T101" fmla="*/ 60 h 72"/>
                  <a:gd name="T102" fmla="*/ 30 w 98"/>
                  <a:gd name="T103" fmla="*/ 64 h 72"/>
                  <a:gd name="T104" fmla="*/ 54 w 98"/>
                  <a:gd name="T105" fmla="*/ 72 h 72"/>
                  <a:gd name="T106" fmla="*/ 54 w 98"/>
                  <a:gd name="T107" fmla="*/ 60 h 72"/>
                  <a:gd name="T108" fmla="*/ 42 w 98"/>
                  <a:gd name="T109" fmla="*/ 60 h 72"/>
                  <a:gd name="T110" fmla="*/ 54 w 98"/>
                  <a:gd name="T111" fmla="*/ 68 h 72"/>
                  <a:gd name="T112" fmla="*/ 42 w 98"/>
                  <a:gd name="T113" fmla="*/ 64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98" h="72">
                    <a:moveTo>
                      <a:pt x="4" y="22"/>
                    </a:moveTo>
                    <a:lnTo>
                      <a:pt x="8" y="22"/>
                    </a:lnTo>
                    <a:lnTo>
                      <a:pt x="8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26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20" y="52"/>
                    </a:moveTo>
                    <a:lnTo>
                      <a:pt x="24" y="56"/>
                    </a:lnTo>
                    <a:lnTo>
                      <a:pt x="20" y="56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0" y="38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24" y="26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6"/>
                    </a:lnTo>
                    <a:lnTo>
                      <a:pt x="30" y="30"/>
                    </a:lnTo>
                    <a:lnTo>
                      <a:pt x="30" y="26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26" y="42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4" y="46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8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close/>
                    <a:moveTo>
                      <a:pt x="42" y="12"/>
                    </a:move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close/>
                    <a:moveTo>
                      <a:pt x="8" y="22"/>
                    </a:moveTo>
                    <a:lnTo>
                      <a:pt x="4" y="22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60" y="48"/>
                    </a:moveTo>
                    <a:lnTo>
                      <a:pt x="56" y="48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4" y="60"/>
                    </a:lnTo>
                    <a:lnTo>
                      <a:pt x="54" y="56"/>
                    </a:lnTo>
                    <a:lnTo>
                      <a:pt x="50" y="56"/>
                    </a:lnTo>
                    <a:lnTo>
                      <a:pt x="46" y="56"/>
                    </a:lnTo>
                    <a:lnTo>
                      <a:pt x="42" y="52"/>
                    </a:lnTo>
                    <a:lnTo>
                      <a:pt x="46" y="52"/>
                    </a:lnTo>
                    <a:lnTo>
                      <a:pt x="42" y="48"/>
                    </a:lnTo>
                    <a:lnTo>
                      <a:pt x="42" y="46"/>
                    </a:lnTo>
                    <a:lnTo>
                      <a:pt x="38" y="46"/>
                    </a:lnTo>
                    <a:lnTo>
                      <a:pt x="42" y="46"/>
                    </a:lnTo>
                    <a:lnTo>
                      <a:pt x="46" y="46"/>
                    </a:lnTo>
                    <a:lnTo>
                      <a:pt x="50" y="42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6" y="42"/>
                    </a:lnTo>
                    <a:lnTo>
                      <a:pt x="50" y="42"/>
                    </a:lnTo>
                    <a:lnTo>
                      <a:pt x="54" y="42"/>
                    </a:lnTo>
                    <a:lnTo>
                      <a:pt x="50" y="42"/>
                    </a:lnTo>
                    <a:lnTo>
                      <a:pt x="50" y="46"/>
                    </a:lnTo>
                    <a:lnTo>
                      <a:pt x="54" y="46"/>
                    </a:lnTo>
                    <a:lnTo>
                      <a:pt x="54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4" y="46"/>
                    </a:lnTo>
                    <a:lnTo>
                      <a:pt x="56" y="46"/>
                    </a:lnTo>
                    <a:lnTo>
                      <a:pt x="56" y="42"/>
                    </a:lnTo>
                    <a:lnTo>
                      <a:pt x="54" y="42"/>
                    </a:lnTo>
                    <a:lnTo>
                      <a:pt x="54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4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close/>
                    <a:moveTo>
                      <a:pt x="34" y="42"/>
                    </a:moveTo>
                    <a:lnTo>
                      <a:pt x="34" y="46"/>
                    </a:lnTo>
                    <a:lnTo>
                      <a:pt x="34" y="42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close/>
                    <a:moveTo>
                      <a:pt x="26" y="48"/>
                    </a:moveTo>
                    <a:lnTo>
                      <a:pt x="30" y="48"/>
                    </a:lnTo>
                    <a:lnTo>
                      <a:pt x="34" y="48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close/>
                    <a:moveTo>
                      <a:pt x="98" y="60"/>
                    </a:move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98" y="60"/>
                    </a:lnTo>
                    <a:lnTo>
                      <a:pt x="98" y="60"/>
                    </a:lnTo>
                    <a:lnTo>
                      <a:pt x="98" y="60"/>
                    </a:lnTo>
                    <a:close/>
                    <a:moveTo>
                      <a:pt x="38" y="68"/>
                    </a:moveTo>
                    <a:lnTo>
                      <a:pt x="34" y="64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38" y="68"/>
                    </a:lnTo>
                    <a:close/>
                    <a:moveTo>
                      <a:pt x="26" y="60"/>
                    </a:moveTo>
                    <a:lnTo>
                      <a:pt x="26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close/>
                    <a:moveTo>
                      <a:pt x="34" y="64"/>
                    </a:moveTo>
                    <a:lnTo>
                      <a:pt x="34" y="60"/>
                    </a:lnTo>
                    <a:lnTo>
                      <a:pt x="38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4" y="64"/>
                    </a:lnTo>
                    <a:lnTo>
                      <a:pt x="34" y="64"/>
                    </a:lnTo>
                    <a:close/>
                    <a:moveTo>
                      <a:pt x="56" y="64"/>
                    </a:move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close/>
                    <a:moveTo>
                      <a:pt x="30" y="64"/>
                    </a:moveTo>
                    <a:lnTo>
                      <a:pt x="30" y="60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30" y="64"/>
                    </a:lnTo>
                    <a:close/>
                    <a:moveTo>
                      <a:pt x="54" y="64"/>
                    </a:moveTo>
                    <a:lnTo>
                      <a:pt x="56" y="64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0"/>
                    </a:lnTo>
                    <a:lnTo>
                      <a:pt x="54" y="64"/>
                    </a:lnTo>
                    <a:lnTo>
                      <a:pt x="54" y="64"/>
                    </a:lnTo>
                    <a:lnTo>
                      <a:pt x="54" y="64"/>
                    </a:lnTo>
                    <a:close/>
                    <a:moveTo>
                      <a:pt x="42" y="64"/>
                    </a:moveTo>
                    <a:lnTo>
                      <a:pt x="42" y="60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50" y="64"/>
                    </a:lnTo>
                    <a:lnTo>
                      <a:pt x="54" y="64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46" y="68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8" name="Freeform 97">
                <a:extLst>
                  <a:ext uri="{FF2B5EF4-FFF2-40B4-BE49-F238E27FC236}">
                    <a16:creationId xmlns:a16="http://schemas.microsoft.com/office/drawing/2014/main" id="{718DA631-07EA-4CA0-802D-BD1EADDCF4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83150" y="2775018"/>
                <a:ext cx="142875" cy="76200"/>
              </a:xfrm>
              <a:custGeom>
                <a:avLst/>
                <a:gdLst>
                  <a:gd name="T0" fmla="*/ 90 w 90"/>
                  <a:gd name="T1" fmla="*/ 12 h 48"/>
                  <a:gd name="T2" fmla="*/ 88 w 90"/>
                  <a:gd name="T3" fmla="*/ 12 h 48"/>
                  <a:gd name="T4" fmla="*/ 84 w 90"/>
                  <a:gd name="T5" fmla="*/ 18 h 48"/>
                  <a:gd name="T6" fmla="*/ 80 w 90"/>
                  <a:gd name="T7" fmla="*/ 22 h 48"/>
                  <a:gd name="T8" fmla="*/ 84 w 90"/>
                  <a:gd name="T9" fmla="*/ 30 h 48"/>
                  <a:gd name="T10" fmla="*/ 84 w 90"/>
                  <a:gd name="T11" fmla="*/ 36 h 48"/>
                  <a:gd name="T12" fmla="*/ 88 w 90"/>
                  <a:gd name="T13" fmla="*/ 40 h 48"/>
                  <a:gd name="T14" fmla="*/ 84 w 90"/>
                  <a:gd name="T15" fmla="*/ 44 h 48"/>
                  <a:gd name="T16" fmla="*/ 76 w 90"/>
                  <a:gd name="T17" fmla="*/ 48 h 48"/>
                  <a:gd name="T18" fmla="*/ 68 w 90"/>
                  <a:gd name="T19" fmla="*/ 48 h 48"/>
                  <a:gd name="T20" fmla="*/ 60 w 90"/>
                  <a:gd name="T21" fmla="*/ 44 h 48"/>
                  <a:gd name="T22" fmla="*/ 54 w 90"/>
                  <a:gd name="T23" fmla="*/ 36 h 48"/>
                  <a:gd name="T24" fmla="*/ 50 w 90"/>
                  <a:gd name="T25" fmla="*/ 36 h 48"/>
                  <a:gd name="T26" fmla="*/ 46 w 90"/>
                  <a:gd name="T27" fmla="*/ 36 h 48"/>
                  <a:gd name="T28" fmla="*/ 34 w 90"/>
                  <a:gd name="T29" fmla="*/ 40 h 48"/>
                  <a:gd name="T30" fmla="*/ 38 w 90"/>
                  <a:gd name="T31" fmla="*/ 36 h 48"/>
                  <a:gd name="T32" fmla="*/ 38 w 90"/>
                  <a:gd name="T33" fmla="*/ 34 h 48"/>
                  <a:gd name="T34" fmla="*/ 34 w 90"/>
                  <a:gd name="T35" fmla="*/ 30 h 48"/>
                  <a:gd name="T36" fmla="*/ 30 w 90"/>
                  <a:gd name="T37" fmla="*/ 34 h 48"/>
                  <a:gd name="T38" fmla="*/ 28 w 90"/>
                  <a:gd name="T39" fmla="*/ 30 h 48"/>
                  <a:gd name="T40" fmla="*/ 28 w 90"/>
                  <a:gd name="T41" fmla="*/ 22 h 48"/>
                  <a:gd name="T42" fmla="*/ 24 w 90"/>
                  <a:gd name="T43" fmla="*/ 18 h 48"/>
                  <a:gd name="T44" fmla="*/ 28 w 90"/>
                  <a:gd name="T45" fmla="*/ 14 h 48"/>
                  <a:gd name="T46" fmla="*/ 24 w 90"/>
                  <a:gd name="T47" fmla="*/ 14 h 48"/>
                  <a:gd name="T48" fmla="*/ 28 w 90"/>
                  <a:gd name="T49" fmla="*/ 12 h 48"/>
                  <a:gd name="T50" fmla="*/ 30 w 90"/>
                  <a:gd name="T51" fmla="*/ 12 h 48"/>
                  <a:gd name="T52" fmla="*/ 34 w 90"/>
                  <a:gd name="T53" fmla="*/ 8 h 48"/>
                  <a:gd name="T54" fmla="*/ 38 w 90"/>
                  <a:gd name="T55" fmla="*/ 8 h 48"/>
                  <a:gd name="T56" fmla="*/ 46 w 90"/>
                  <a:gd name="T57" fmla="*/ 4 h 48"/>
                  <a:gd name="T58" fmla="*/ 50 w 90"/>
                  <a:gd name="T59" fmla="*/ 8 h 48"/>
                  <a:gd name="T60" fmla="*/ 58 w 90"/>
                  <a:gd name="T61" fmla="*/ 4 h 48"/>
                  <a:gd name="T62" fmla="*/ 60 w 90"/>
                  <a:gd name="T63" fmla="*/ 4 h 48"/>
                  <a:gd name="T64" fmla="*/ 68 w 90"/>
                  <a:gd name="T65" fmla="*/ 4 h 48"/>
                  <a:gd name="T66" fmla="*/ 72 w 90"/>
                  <a:gd name="T67" fmla="*/ 8 h 48"/>
                  <a:gd name="T68" fmla="*/ 76 w 90"/>
                  <a:gd name="T69" fmla="*/ 8 h 48"/>
                  <a:gd name="T70" fmla="*/ 88 w 90"/>
                  <a:gd name="T71" fmla="*/ 8 h 48"/>
                  <a:gd name="T72" fmla="*/ 88 w 90"/>
                  <a:gd name="T73" fmla="*/ 8 h 48"/>
                  <a:gd name="T74" fmla="*/ 8 w 90"/>
                  <a:gd name="T75" fmla="*/ 22 h 48"/>
                  <a:gd name="T76" fmla="*/ 8 w 90"/>
                  <a:gd name="T77" fmla="*/ 18 h 48"/>
                  <a:gd name="T78" fmla="*/ 4 w 90"/>
                  <a:gd name="T79" fmla="*/ 18 h 48"/>
                  <a:gd name="T80" fmla="*/ 8 w 90"/>
                  <a:gd name="T81" fmla="*/ 18 h 48"/>
                  <a:gd name="T82" fmla="*/ 12 w 90"/>
                  <a:gd name="T83" fmla="*/ 18 h 48"/>
                  <a:gd name="T84" fmla="*/ 16 w 90"/>
                  <a:gd name="T85" fmla="*/ 18 h 48"/>
                  <a:gd name="T86" fmla="*/ 16 w 90"/>
                  <a:gd name="T87" fmla="*/ 22 h 48"/>
                  <a:gd name="T88" fmla="*/ 12 w 90"/>
                  <a:gd name="T89" fmla="*/ 22 h 48"/>
                  <a:gd name="T90" fmla="*/ 12 w 90"/>
                  <a:gd name="T91" fmla="*/ 22 h 48"/>
                  <a:gd name="T92" fmla="*/ 12 w 90"/>
                  <a:gd name="T93" fmla="*/ 22 h 48"/>
                  <a:gd name="T94" fmla="*/ 24 w 90"/>
                  <a:gd name="T95" fmla="*/ 14 h 48"/>
                  <a:gd name="T96" fmla="*/ 20 w 90"/>
                  <a:gd name="T97" fmla="*/ 18 h 48"/>
                  <a:gd name="T98" fmla="*/ 20 w 90"/>
                  <a:gd name="T99" fmla="*/ 14 h 48"/>
                  <a:gd name="T100" fmla="*/ 20 w 90"/>
                  <a:gd name="T101" fmla="*/ 14 h 48"/>
                  <a:gd name="T102" fmla="*/ 24 w 90"/>
                  <a:gd name="T103" fmla="*/ 26 h 48"/>
                  <a:gd name="T104" fmla="*/ 20 w 90"/>
                  <a:gd name="T105" fmla="*/ 26 h 48"/>
                  <a:gd name="T106" fmla="*/ 20 w 90"/>
                  <a:gd name="T107" fmla="*/ 22 h 48"/>
                  <a:gd name="T108" fmla="*/ 4 w 90"/>
                  <a:gd name="T109" fmla="*/ 36 h 48"/>
                  <a:gd name="T110" fmla="*/ 0 w 90"/>
                  <a:gd name="T111" fmla="*/ 34 h 48"/>
                  <a:gd name="T112" fmla="*/ 0 w 90"/>
                  <a:gd name="T113" fmla="*/ 30 h 48"/>
                  <a:gd name="T114" fmla="*/ 8 w 90"/>
                  <a:gd name="T115" fmla="*/ 26 h 48"/>
                  <a:gd name="T116" fmla="*/ 20 w 90"/>
                  <a:gd name="T117" fmla="*/ 26 h 48"/>
                  <a:gd name="T118" fmla="*/ 20 w 90"/>
                  <a:gd name="T119" fmla="*/ 30 h 48"/>
                  <a:gd name="T120" fmla="*/ 8 w 90"/>
                  <a:gd name="T121" fmla="*/ 34 h 48"/>
                  <a:gd name="T122" fmla="*/ 4 w 90"/>
                  <a:gd name="T123" fmla="*/ 40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0" h="48">
                    <a:moveTo>
                      <a:pt x="88" y="8"/>
                    </a:moveTo>
                    <a:lnTo>
                      <a:pt x="88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8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4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4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2"/>
                    </a:lnTo>
                    <a:lnTo>
                      <a:pt x="80" y="26"/>
                    </a:lnTo>
                    <a:lnTo>
                      <a:pt x="80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4" y="48"/>
                    </a:lnTo>
                    <a:lnTo>
                      <a:pt x="64" y="48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8" y="40"/>
                    </a:lnTo>
                    <a:lnTo>
                      <a:pt x="54" y="40"/>
                    </a:lnTo>
                    <a:lnTo>
                      <a:pt x="54" y="40"/>
                    </a:lnTo>
                    <a:lnTo>
                      <a:pt x="54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40"/>
                    </a:lnTo>
                    <a:lnTo>
                      <a:pt x="50" y="40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50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6" y="36"/>
                    </a:lnTo>
                    <a:lnTo>
                      <a:pt x="42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0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30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30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8" y="18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4" y="14"/>
                    </a:lnTo>
                    <a:lnTo>
                      <a:pt x="28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4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4" y="4"/>
                    </a:lnTo>
                    <a:lnTo>
                      <a:pt x="54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close/>
                    <a:moveTo>
                      <a:pt x="12" y="22"/>
                    </a:move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close/>
                    <a:moveTo>
                      <a:pt x="20" y="14"/>
                    </a:move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close/>
                    <a:moveTo>
                      <a:pt x="20" y="22"/>
                    </a:move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close/>
                    <a:moveTo>
                      <a:pt x="4" y="40"/>
                    </a:moveTo>
                    <a:lnTo>
                      <a:pt x="4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59" name="Freeform 98">
                <a:extLst>
                  <a:ext uri="{FF2B5EF4-FFF2-40B4-BE49-F238E27FC236}">
                    <a16:creationId xmlns:a16="http://schemas.microsoft.com/office/drawing/2014/main" id="{BE93AF28-32C6-436D-825C-D8165F01673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29100" y="2679768"/>
                <a:ext cx="22225" cy="34925"/>
              </a:xfrm>
              <a:custGeom>
                <a:avLst/>
                <a:gdLst>
                  <a:gd name="T0" fmla="*/ 10 w 14"/>
                  <a:gd name="T1" fmla="*/ 12 h 22"/>
                  <a:gd name="T2" fmla="*/ 6 w 14"/>
                  <a:gd name="T3" fmla="*/ 12 h 22"/>
                  <a:gd name="T4" fmla="*/ 6 w 14"/>
                  <a:gd name="T5" fmla="*/ 12 h 22"/>
                  <a:gd name="T6" fmla="*/ 10 w 14"/>
                  <a:gd name="T7" fmla="*/ 12 h 22"/>
                  <a:gd name="T8" fmla="*/ 10 w 14"/>
                  <a:gd name="T9" fmla="*/ 12 h 22"/>
                  <a:gd name="T10" fmla="*/ 10 w 14"/>
                  <a:gd name="T11" fmla="*/ 14 h 22"/>
                  <a:gd name="T12" fmla="*/ 10 w 14"/>
                  <a:gd name="T13" fmla="*/ 14 h 22"/>
                  <a:gd name="T14" fmla="*/ 10 w 14"/>
                  <a:gd name="T15" fmla="*/ 4 h 22"/>
                  <a:gd name="T16" fmla="*/ 10 w 14"/>
                  <a:gd name="T17" fmla="*/ 4 h 22"/>
                  <a:gd name="T18" fmla="*/ 10 w 14"/>
                  <a:gd name="T19" fmla="*/ 4 h 22"/>
                  <a:gd name="T20" fmla="*/ 10 w 14"/>
                  <a:gd name="T21" fmla="*/ 4 h 22"/>
                  <a:gd name="T22" fmla="*/ 10 w 14"/>
                  <a:gd name="T23" fmla="*/ 0 h 22"/>
                  <a:gd name="T24" fmla="*/ 10 w 14"/>
                  <a:gd name="T25" fmla="*/ 0 h 22"/>
                  <a:gd name="T26" fmla="*/ 10 w 14"/>
                  <a:gd name="T27" fmla="*/ 0 h 22"/>
                  <a:gd name="T28" fmla="*/ 14 w 14"/>
                  <a:gd name="T29" fmla="*/ 0 h 22"/>
                  <a:gd name="T30" fmla="*/ 14 w 14"/>
                  <a:gd name="T31" fmla="*/ 4 h 22"/>
                  <a:gd name="T32" fmla="*/ 10 w 14"/>
                  <a:gd name="T33" fmla="*/ 4 h 22"/>
                  <a:gd name="T34" fmla="*/ 10 w 14"/>
                  <a:gd name="T35" fmla="*/ 8 h 22"/>
                  <a:gd name="T36" fmla="*/ 6 w 14"/>
                  <a:gd name="T37" fmla="*/ 8 h 22"/>
                  <a:gd name="T38" fmla="*/ 6 w 14"/>
                  <a:gd name="T39" fmla="*/ 4 h 22"/>
                  <a:gd name="T40" fmla="*/ 2 w 14"/>
                  <a:gd name="T41" fmla="*/ 4 h 22"/>
                  <a:gd name="T42" fmla="*/ 2 w 14"/>
                  <a:gd name="T43" fmla="*/ 0 h 22"/>
                  <a:gd name="T44" fmla="*/ 6 w 14"/>
                  <a:gd name="T45" fmla="*/ 0 h 22"/>
                  <a:gd name="T46" fmla="*/ 6 w 14"/>
                  <a:gd name="T47" fmla="*/ 0 h 22"/>
                  <a:gd name="T48" fmla="*/ 10 w 14"/>
                  <a:gd name="T49" fmla="*/ 4 h 22"/>
                  <a:gd name="T50" fmla="*/ 10 w 14"/>
                  <a:gd name="T51" fmla="*/ 4 h 22"/>
                  <a:gd name="T52" fmla="*/ 10 w 14"/>
                  <a:gd name="T53" fmla="*/ 8 h 22"/>
                  <a:gd name="T54" fmla="*/ 10 w 14"/>
                  <a:gd name="T55" fmla="*/ 12 h 22"/>
                  <a:gd name="T56" fmla="*/ 6 w 14"/>
                  <a:gd name="T57" fmla="*/ 8 h 22"/>
                  <a:gd name="T58" fmla="*/ 6 w 14"/>
                  <a:gd name="T59" fmla="*/ 8 h 22"/>
                  <a:gd name="T60" fmla="*/ 2 w 14"/>
                  <a:gd name="T61" fmla="*/ 4 h 22"/>
                  <a:gd name="T62" fmla="*/ 2 w 14"/>
                  <a:gd name="T63" fmla="*/ 4 h 22"/>
                  <a:gd name="T64" fmla="*/ 2 w 14"/>
                  <a:gd name="T65" fmla="*/ 0 h 22"/>
                  <a:gd name="T66" fmla="*/ 2 w 14"/>
                  <a:gd name="T67" fmla="*/ 0 h 22"/>
                  <a:gd name="T68" fmla="*/ 2 w 14"/>
                  <a:gd name="T69" fmla="*/ 0 h 22"/>
                  <a:gd name="T70" fmla="*/ 2 w 14"/>
                  <a:gd name="T71" fmla="*/ 4 h 22"/>
                  <a:gd name="T72" fmla="*/ 2 w 14"/>
                  <a:gd name="T73" fmla="*/ 4 h 22"/>
                  <a:gd name="T74" fmla="*/ 6 w 14"/>
                  <a:gd name="T75" fmla="*/ 4 h 22"/>
                  <a:gd name="T76" fmla="*/ 6 w 14"/>
                  <a:gd name="T77" fmla="*/ 4 h 22"/>
                  <a:gd name="T78" fmla="*/ 6 w 14"/>
                  <a:gd name="T79" fmla="*/ 8 h 22"/>
                  <a:gd name="T80" fmla="*/ 10 w 14"/>
                  <a:gd name="T81" fmla="*/ 8 h 22"/>
                  <a:gd name="T82" fmla="*/ 10 w 14"/>
                  <a:gd name="T83" fmla="*/ 12 h 22"/>
                  <a:gd name="T84" fmla="*/ 2 w 14"/>
                  <a:gd name="T85" fmla="*/ 8 h 22"/>
                  <a:gd name="T86" fmla="*/ 2 w 14"/>
                  <a:gd name="T87" fmla="*/ 8 h 22"/>
                  <a:gd name="T88" fmla="*/ 2 w 14"/>
                  <a:gd name="T89" fmla="*/ 8 h 22"/>
                  <a:gd name="T90" fmla="*/ 0 w 14"/>
                  <a:gd name="T91" fmla="*/ 8 h 22"/>
                  <a:gd name="T92" fmla="*/ 0 w 14"/>
                  <a:gd name="T93" fmla="*/ 4 h 22"/>
                  <a:gd name="T94" fmla="*/ 2 w 14"/>
                  <a:gd name="T95" fmla="*/ 4 h 22"/>
                  <a:gd name="T96" fmla="*/ 2 w 14"/>
                  <a:gd name="T97" fmla="*/ 4 h 22"/>
                  <a:gd name="T98" fmla="*/ 2 w 14"/>
                  <a:gd name="T99" fmla="*/ 8 h 22"/>
                  <a:gd name="T100" fmla="*/ 2 w 14"/>
                  <a:gd name="T101" fmla="*/ 8 h 22"/>
                  <a:gd name="T102" fmla="*/ 2 w 14"/>
                  <a:gd name="T103" fmla="*/ 8 h 22"/>
                  <a:gd name="T104" fmla="*/ 2 w 14"/>
                  <a:gd name="T105" fmla="*/ 8 h 22"/>
                  <a:gd name="T106" fmla="*/ 10 w 14"/>
                  <a:gd name="T107" fmla="*/ 22 h 22"/>
                  <a:gd name="T108" fmla="*/ 6 w 14"/>
                  <a:gd name="T109" fmla="*/ 18 h 22"/>
                  <a:gd name="T110" fmla="*/ 6 w 14"/>
                  <a:gd name="T111" fmla="*/ 14 h 22"/>
                  <a:gd name="T112" fmla="*/ 6 w 14"/>
                  <a:gd name="T113" fmla="*/ 14 h 22"/>
                  <a:gd name="T114" fmla="*/ 6 w 14"/>
                  <a:gd name="T115" fmla="*/ 14 h 22"/>
                  <a:gd name="T116" fmla="*/ 10 w 14"/>
                  <a:gd name="T117" fmla="*/ 18 h 22"/>
                  <a:gd name="T118" fmla="*/ 10 w 14"/>
                  <a:gd name="T119" fmla="*/ 22 h 22"/>
                  <a:gd name="T120" fmla="*/ 10 w 14"/>
                  <a:gd name="T121" fmla="*/ 22 h 22"/>
                  <a:gd name="T122" fmla="*/ 10 w 14"/>
                  <a:gd name="T123" fmla="*/ 22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14" h="22">
                    <a:moveTo>
                      <a:pt x="10" y="14"/>
                    </a:moveTo>
                    <a:lnTo>
                      <a:pt x="10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6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close/>
                    <a:moveTo>
                      <a:pt x="10" y="4"/>
                    </a:move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close/>
                    <a:moveTo>
                      <a:pt x="10" y="8"/>
                    </a:move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close/>
                    <a:moveTo>
                      <a:pt x="10" y="12"/>
                    </a:moveTo>
                    <a:lnTo>
                      <a:pt x="6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0" y="22"/>
                    </a:moveTo>
                    <a:lnTo>
                      <a:pt x="10" y="22"/>
                    </a:lnTo>
                    <a:lnTo>
                      <a:pt x="10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0" name="Freeform 99">
                <a:extLst>
                  <a:ext uri="{FF2B5EF4-FFF2-40B4-BE49-F238E27FC236}">
                    <a16:creationId xmlns:a16="http://schemas.microsoft.com/office/drawing/2014/main" id="{8B8FE200-16D2-4289-A52A-55C6214F1DA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2350" y="2378143"/>
                <a:ext cx="273050" cy="396875"/>
              </a:xfrm>
              <a:custGeom>
                <a:avLst/>
                <a:gdLst>
                  <a:gd name="T0" fmla="*/ 44 w 172"/>
                  <a:gd name="T1" fmla="*/ 238 h 250"/>
                  <a:gd name="T2" fmla="*/ 30 w 172"/>
                  <a:gd name="T3" fmla="*/ 232 h 250"/>
                  <a:gd name="T4" fmla="*/ 30 w 172"/>
                  <a:gd name="T5" fmla="*/ 212 h 250"/>
                  <a:gd name="T6" fmla="*/ 26 w 172"/>
                  <a:gd name="T7" fmla="*/ 202 h 250"/>
                  <a:gd name="T8" fmla="*/ 22 w 172"/>
                  <a:gd name="T9" fmla="*/ 180 h 250"/>
                  <a:gd name="T10" fmla="*/ 30 w 172"/>
                  <a:gd name="T11" fmla="*/ 172 h 250"/>
                  <a:gd name="T12" fmla="*/ 40 w 172"/>
                  <a:gd name="T13" fmla="*/ 164 h 250"/>
                  <a:gd name="T14" fmla="*/ 56 w 172"/>
                  <a:gd name="T15" fmla="*/ 154 h 250"/>
                  <a:gd name="T16" fmla="*/ 66 w 172"/>
                  <a:gd name="T17" fmla="*/ 138 h 250"/>
                  <a:gd name="T18" fmla="*/ 86 w 172"/>
                  <a:gd name="T19" fmla="*/ 128 h 250"/>
                  <a:gd name="T20" fmla="*/ 78 w 172"/>
                  <a:gd name="T21" fmla="*/ 116 h 250"/>
                  <a:gd name="T22" fmla="*/ 66 w 172"/>
                  <a:gd name="T23" fmla="*/ 108 h 250"/>
                  <a:gd name="T24" fmla="*/ 64 w 172"/>
                  <a:gd name="T25" fmla="*/ 86 h 250"/>
                  <a:gd name="T26" fmla="*/ 56 w 172"/>
                  <a:gd name="T27" fmla="*/ 64 h 250"/>
                  <a:gd name="T28" fmla="*/ 40 w 172"/>
                  <a:gd name="T29" fmla="*/ 42 h 250"/>
                  <a:gd name="T30" fmla="*/ 22 w 172"/>
                  <a:gd name="T31" fmla="*/ 34 h 250"/>
                  <a:gd name="T32" fmla="*/ 22 w 172"/>
                  <a:gd name="T33" fmla="*/ 22 h 250"/>
                  <a:gd name="T34" fmla="*/ 40 w 172"/>
                  <a:gd name="T35" fmla="*/ 38 h 250"/>
                  <a:gd name="T36" fmla="*/ 64 w 172"/>
                  <a:gd name="T37" fmla="*/ 34 h 250"/>
                  <a:gd name="T38" fmla="*/ 78 w 172"/>
                  <a:gd name="T39" fmla="*/ 34 h 250"/>
                  <a:gd name="T40" fmla="*/ 90 w 172"/>
                  <a:gd name="T41" fmla="*/ 26 h 250"/>
                  <a:gd name="T42" fmla="*/ 94 w 172"/>
                  <a:gd name="T43" fmla="*/ 12 h 250"/>
                  <a:gd name="T44" fmla="*/ 112 w 172"/>
                  <a:gd name="T45" fmla="*/ 4 h 250"/>
                  <a:gd name="T46" fmla="*/ 130 w 172"/>
                  <a:gd name="T47" fmla="*/ 12 h 250"/>
                  <a:gd name="T48" fmla="*/ 130 w 172"/>
                  <a:gd name="T49" fmla="*/ 22 h 250"/>
                  <a:gd name="T50" fmla="*/ 130 w 172"/>
                  <a:gd name="T51" fmla="*/ 34 h 250"/>
                  <a:gd name="T52" fmla="*/ 142 w 172"/>
                  <a:gd name="T53" fmla="*/ 56 h 250"/>
                  <a:gd name="T54" fmla="*/ 138 w 172"/>
                  <a:gd name="T55" fmla="*/ 78 h 250"/>
                  <a:gd name="T56" fmla="*/ 144 w 172"/>
                  <a:gd name="T57" fmla="*/ 98 h 250"/>
                  <a:gd name="T58" fmla="*/ 144 w 172"/>
                  <a:gd name="T59" fmla="*/ 116 h 250"/>
                  <a:gd name="T60" fmla="*/ 142 w 172"/>
                  <a:gd name="T61" fmla="*/ 132 h 250"/>
                  <a:gd name="T62" fmla="*/ 152 w 172"/>
                  <a:gd name="T63" fmla="*/ 142 h 250"/>
                  <a:gd name="T64" fmla="*/ 148 w 172"/>
                  <a:gd name="T65" fmla="*/ 158 h 250"/>
                  <a:gd name="T66" fmla="*/ 172 w 172"/>
                  <a:gd name="T67" fmla="*/ 176 h 250"/>
                  <a:gd name="T68" fmla="*/ 160 w 172"/>
                  <a:gd name="T69" fmla="*/ 194 h 250"/>
                  <a:gd name="T70" fmla="*/ 142 w 172"/>
                  <a:gd name="T71" fmla="*/ 212 h 250"/>
                  <a:gd name="T72" fmla="*/ 122 w 172"/>
                  <a:gd name="T73" fmla="*/ 224 h 250"/>
                  <a:gd name="T74" fmla="*/ 108 w 172"/>
                  <a:gd name="T75" fmla="*/ 232 h 250"/>
                  <a:gd name="T76" fmla="*/ 100 w 172"/>
                  <a:gd name="T77" fmla="*/ 228 h 250"/>
                  <a:gd name="T78" fmla="*/ 90 w 172"/>
                  <a:gd name="T79" fmla="*/ 236 h 250"/>
                  <a:gd name="T80" fmla="*/ 82 w 172"/>
                  <a:gd name="T81" fmla="*/ 238 h 250"/>
                  <a:gd name="T82" fmla="*/ 66 w 172"/>
                  <a:gd name="T83" fmla="*/ 242 h 250"/>
                  <a:gd name="T84" fmla="*/ 48 w 172"/>
                  <a:gd name="T85" fmla="*/ 250 h 250"/>
                  <a:gd name="T86" fmla="*/ 48 w 172"/>
                  <a:gd name="T87" fmla="*/ 242 h 250"/>
                  <a:gd name="T88" fmla="*/ 78 w 172"/>
                  <a:gd name="T89" fmla="*/ 128 h 250"/>
                  <a:gd name="T90" fmla="*/ 48 w 172"/>
                  <a:gd name="T91" fmla="*/ 158 h 250"/>
                  <a:gd name="T92" fmla="*/ 26 w 172"/>
                  <a:gd name="T93" fmla="*/ 172 h 250"/>
                  <a:gd name="T94" fmla="*/ 2 w 172"/>
                  <a:gd name="T95" fmla="*/ 236 h 250"/>
                  <a:gd name="T96" fmla="*/ 6 w 172"/>
                  <a:gd name="T97" fmla="*/ 242 h 250"/>
                  <a:gd name="T98" fmla="*/ 0 w 172"/>
                  <a:gd name="T99" fmla="*/ 242 h 250"/>
                  <a:gd name="T100" fmla="*/ 44 w 172"/>
                  <a:gd name="T101" fmla="*/ 242 h 250"/>
                  <a:gd name="T102" fmla="*/ 44 w 172"/>
                  <a:gd name="T103" fmla="*/ 246 h 250"/>
                  <a:gd name="T104" fmla="*/ 34 w 172"/>
                  <a:gd name="T105" fmla="*/ 242 h 250"/>
                  <a:gd name="T106" fmla="*/ 6 w 172"/>
                  <a:gd name="T107" fmla="*/ 242 h 250"/>
                  <a:gd name="T108" fmla="*/ 56 w 172"/>
                  <a:gd name="T109" fmla="*/ 246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50">
                    <a:moveTo>
                      <a:pt x="48" y="242"/>
                    </a:moveTo>
                    <a:lnTo>
                      <a:pt x="48" y="238"/>
                    </a:lnTo>
                    <a:lnTo>
                      <a:pt x="52" y="236"/>
                    </a:lnTo>
                    <a:lnTo>
                      <a:pt x="48" y="238"/>
                    </a:lnTo>
                    <a:lnTo>
                      <a:pt x="44" y="238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4" y="232"/>
                    </a:lnTo>
                    <a:lnTo>
                      <a:pt x="34" y="236"/>
                    </a:lnTo>
                    <a:lnTo>
                      <a:pt x="34" y="232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6" y="228"/>
                    </a:lnTo>
                    <a:lnTo>
                      <a:pt x="26" y="224"/>
                    </a:lnTo>
                    <a:lnTo>
                      <a:pt x="26" y="220"/>
                    </a:lnTo>
                    <a:lnTo>
                      <a:pt x="26" y="216"/>
                    </a:lnTo>
                    <a:lnTo>
                      <a:pt x="30" y="216"/>
                    </a:lnTo>
                    <a:lnTo>
                      <a:pt x="30" y="212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30" y="208"/>
                    </a:lnTo>
                    <a:lnTo>
                      <a:pt x="30" y="206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26" y="202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2"/>
                    </a:lnTo>
                    <a:lnTo>
                      <a:pt x="22" y="192"/>
                    </a:lnTo>
                    <a:lnTo>
                      <a:pt x="22" y="188"/>
                    </a:lnTo>
                    <a:lnTo>
                      <a:pt x="22" y="184"/>
                    </a:lnTo>
                    <a:lnTo>
                      <a:pt x="22" y="180"/>
                    </a:lnTo>
                    <a:lnTo>
                      <a:pt x="26" y="180"/>
                    </a:lnTo>
                    <a:lnTo>
                      <a:pt x="26" y="176"/>
                    </a:lnTo>
                    <a:lnTo>
                      <a:pt x="30" y="172"/>
                    </a:lnTo>
                    <a:lnTo>
                      <a:pt x="30" y="176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72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6" y="168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2"/>
                    </a:lnTo>
                    <a:lnTo>
                      <a:pt x="44" y="158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52" y="154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60" y="146"/>
                    </a:lnTo>
                    <a:lnTo>
                      <a:pt x="64" y="146"/>
                    </a:lnTo>
                    <a:lnTo>
                      <a:pt x="64" y="142"/>
                    </a:lnTo>
                    <a:lnTo>
                      <a:pt x="66" y="142"/>
                    </a:lnTo>
                    <a:lnTo>
                      <a:pt x="66" y="138"/>
                    </a:lnTo>
                    <a:lnTo>
                      <a:pt x="70" y="136"/>
                    </a:lnTo>
                    <a:lnTo>
                      <a:pt x="70" y="132"/>
                    </a:lnTo>
                    <a:lnTo>
                      <a:pt x="74" y="132"/>
                    </a:lnTo>
                    <a:lnTo>
                      <a:pt x="78" y="132"/>
                    </a:lnTo>
                    <a:lnTo>
                      <a:pt x="82" y="132"/>
                    </a:lnTo>
                    <a:lnTo>
                      <a:pt x="82" y="128"/>
                    </a:lnTo>
                    <a:lnTo>
                      <a:pt x="86" y="128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82" y="112"/>
                    </a:lnTo>
                    <a:lnTo>
                      <a:pt x="78" y="112"/>
                    </a:lnTo>
                    <a:lnTo>
                      <a:pt x="78" y="116"/>
                    </a:lnTo>
                    <a:lnTo>
                      <a:pt x="78" y="112"/>
                    </a:lnTo>
                    <a:lnTo>
                      <a:pt x="74" y="112"/>
                    </a:lnTo>
                    <a:lnTo>
                      <a:pt x="70" y="108"/>
                    </a:lnTo>
                    <a:lnTo>
                      <a:pt x="74" y="106"/>
                    </a:lnTo>
                    <a:lnTo>
                      <a:pt x="70" y="106"/>
                    </a:lnTo>
                    <a:lnTo>
                      <a:pt x="70" y="108"/>
                    </a:lnTo>
                    <a:lnTo>
                      <a:pt x="66" y="108"/>
                    </a:lnTo>
                    <a:lnTo>
                      <a:pt x="64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60" y="94"/>
                    </a:lnTo>
                    <a:lnTo>
                      <a:pt x="60" y="90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4" y="82"/>
                    </a:lnTo>
                    <a:lnTo>
                      <a:pt x="60" y="78"/>
                    </a:lnTo>
                    <a:lnTo>
                      <a:pt x="56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56" y="52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70" y="38"/>
                    </a:lnTo>
                    <a:lnTo>
                      <a:pt x="74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94" y="16"/>
                    </a:lnTo>
                    <a:lnTo>
                      <a:pt x="94" y="12"/>
                    </a:lnTo>
                    <a:lnTo>
                      <a:pt x="90" y="12"/>
                    </a:lnTo>
                    <a:lnTo>
                      <a:pt x="94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2"/>
                    </a:lnTo>
                    <a:lnTo>
                      <a:pt x="134" y="12"/>
                    </a:lnTo>
                    <a:lnTo>
                      <a:pt x="138" y="12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34" y="20"/>
                    </a:lnTo>
                    <a:lnTo>
                      <a:pt x="134" y="22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26" y="42"/>
                    </a:lnTo>
                    <a:lnTo>
                      <a:pt x="126" y="46"/>
                    </a:lnTo>
                    <a:lnTo>
                      <a:pt x="130" y="50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48" y="64"/>
                    </a:lnTo>
                    <a:lnTo>
                      <a:pt x="148" y="68"/>
                    </a:lnTo>
                    <a:lnTo>
                      <a:pt x="144" y="68"/>
                    </a:lnTo>
                    <a:lnTo>
                      <a:pt x="142" y="72"/>
                    </a:lnTo>
                    <a:lnTo>
                      <a:pt x="138" y="78"/>
                    </a:lnTo>
                    <a:lnTo>
                      <a:pt x="134" y="78"/>
                    </a:lnTo>
                    <a:lnTo>
                      <a:pt x="134" y="82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90"/>
                    </a:lnTo>
                    <a:lnTo>
                      <a:pt x="142" y="94"/>
                    </a:lnTo>
                    <a:lnTo>
                      <a:pt x="144" y="98"/>
                    </a:lnTo>
                    <a:lnTo>
                      <a:pt x="144" y="102"/>
                    </a:lnTo>
                    <a:lnTo>
                      <a:pt x="148" y="102"/>
                    </a:lnTo>
                    <a:lnTo>
                      <a:pt x="148" y="106"/>
                    </a:lnTo>
                    <a:lnTo>
                      <a:pt x="148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4" y="116"/>
                    </a:lnTo>
                    <a:lnTo>
                      <a:pt x="144" y="120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2" y="128"/>
                    </a:lnTo>
                    <a:lnTo>
                      <a:pt x="142" y="132"/>
                    </a:lnTo>
                    <a:lnTo>
                      <a:pt x="144" y="132"/>
                    </a:lnTo>
                    <a:lnTo>
                      <a:pt x="148" y="132"/>
                    </a:lnTo>
                    <a:lnTo>
                      <a:pt x="148" y="136"/>
                    </a:lnTo>
                    <a:lnTo>
                      <a:pt x="152" y="136"/>
                    </a:lnTo>
                    <a:lnTo>
                      <a:pt x="148" y="138"/>
                    </a:lnTo>
                    <a:lnTo>
                      <a:pt x="148" y="142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6" y="146"/>
                    </a:lnTo>
                    <a:lnTo>
                      <a:pt x="156" y="150"/>
                    </a:lnTo>
                    <a:lnTo>
                      <a:pt x="156" y="154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48" y="158"/>
                    </a:lnTo>
                    <a:lnTo>
                      <a:pt x="152" y="162"/>
                    </a:lnTo>
                    <a:lnTo>
                      <a:pt x="156" y="164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72" y="176"/>
                    </a:lnTo>
                    <a:lnTo>
                      <a:pt x="172" y="180"/>
                    </a:lnTo>
                    <a:lnTo>
                      <a:pt x="168" y="180"/>
                    </a:lnTo>
                    <a:lnTo>
                      <a:pt x="168" y="184"/>
                    </a:lnTo>
                    <a:lnTo>
                      <a:pt x="168" y="188"/>
                    </a:lnTo>
                    <a:lnTo>
                      <a:pt x="164" y="192"/>
                    </a:lnTo>
                    <a:lnTo>
                      <a:pt x="160" y="192"/>
                    </a:lnTo>
                    <a:lnTo>
                      <a:pt x="160" y="194"/>
                    </a:lnTo>
                    <a:lnTo>
                      <a:pt x="156" y="194"/>
                    </a:lnTo>
                    <a:lnTo>
                      <a:pt x="152" y="198"/>
                    </a:lnTo>
                    <a:lnTo>
                      <a:pt x="152" y="202"/>
                    </a:lnTo>
                    <a:lnTo>
                      <a:pt x="148" y="202"/>
                    </a:lnTo>
                    <a:lnTo>
                      <a:pt x="148" y="206"/>
                    </a:lnTo>
                    <a:lnTo>
                      <a:pt x="144" y="208"/>
                    </a:lnTo>
                    <a:lnTo>
                      <a:pt x="142" y="212"/>
                    </a:lnTo>
                    <a:lnTo>
                      <a:pt x="138" y="212"/>
                    </a:lnTo>
                    <a:lnTo>
                      <a:pt x="138" y="216"/>
                    </a:lnTo>
                    <a:lnTo>
                      <a:pt x="134" y="216"/>
                    </a:lnTo>
                    <a:lnTo>
                      <a:pt x="130" y="220"/>
                    </a:lnTo>
                    <a:lnTo>
                      <a:pt x="130" y="224"/>
                    </a:lnTo>
                    <a:lnTo>
                      <a:pt x="126" y="224"/>
                    </a:lnTo>
                    <a:lnTo>
                      <a:pt x="122" y="224"/>
                    </a:lnTo>
                    <a:lnTo>
                      <a:pt x="122" y="228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6"/>
                    </a:lnTo>
                    <a:lnTo>
                      <a:pt x="100" y="236"/>
                    </a:lnTo>
                    <a:lnTo>
                      <a:pt x="96" y="236"/>
                    </a:lnTo>
                    <a:lnTo>
                      <a:pt x="100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100" y="228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36"/>
                    </a:lnTo>
                    <a:lnTo>
                      <a:pt x="94" y="236"/>
                    </a:lnTo>
                    <a:lnTo>
                      <a:pt x="94" y="238"/>
                    </a:lnTo>
                    <a:lnTo>
                      <a:pt x="94" y="236"/>
                    </a:lnTo>
                    <a:lnTo>
                      <a:pt x="90" y="236"/>
                    </a:lnTo>
                    <a:lnTo>
                      <a:pt x="90" y="238"/>
                    </a:lnTo>
                    <a:lnTo>
                      <a:pt x="86" y="238"/>
                    </a:lnTo>
                    <a:lnTo>
                      <a:pt x="86" y="236"/>
                    </a:lnTo>
                    <a:lnTo>
                      <a:pt x="86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82" y="238"/>
                    </a:lnTo>
                    <a:lnTo>
                      <a:pt x="78" y="238"/>
                    </a:lnTo>
                    <a:lnTo>
                      <a:pt x="78" y="242"/>
                    </a:lnTo>
                    <a:lnTo>
                      <a:pt x="74" y="242"/>
                    </a:lnTo>
                    <a:lnTo>
                      <a:pt x="70" y="242"/>
                    </a:lnTo>
                    <a:lnTo>
                      <a:pt x="70" y="246"/>
                    </a:lnTo>
                    <a:lnTo>
                      <a:pt x="70" y="242"/>
                    </a:lnTo>
                    <a:lnTo>
                      <a:pt x="66" y="242"/>
                    </a:lnTo>
                    <a:lnTo>
                      <a:pt x="64" y="242"/>
                    </a:ln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2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50"/>
                    </a:lnTo>
                    <a:lnTo>
                      <a:pt x="48" y="246"/>
                    </a:lnTo>
                    <a:lnTo>
                      <a:pt x="52" y="246"/>
                    </a:lnTo>
                    <a:lnTo>
                      <a:pt x="56" y="242"/>
                    </a:lnTo>
                    <a:lnTo>
                      <a:pt x="52" y="242"/>
                    </a:lnTo>
                    <a:lnTo>
                      <a:pt x="52" y="246"/>
                    </a:lnTo>
                    <a:lnTo>
                      <a:pt x="52" y="242"/>
                    </a:lnTo>
                    <a:lnTo>
                      <a:pt x="48" y="242"/>
                    </a:lnTo>
                    <a:lnTo>
                      <a:pt x="48" y="242"/>
                    </a:lnTo>
                    <a:lnTo>
                      <a:pt x="48" y="242"/>
                    </a:lnTo>
                    <a:close/>
                    <a:moveTo>
                      <a:pt x="78" y="128"/>
                    </a:moveTo>
                    <a:lnTo>
                      <a:pt x="74" y="128"/>
                    </a:lnTo>
                    <a:lnTo>
                      <a:pt x="70" y="128"/>
                    </a:lnTo>
                    <a:lnTo>
                      <a:pt x="74" y="128"/>
                    </a:lnTo>
                    <a:lnTo>
                      <a:pt x="78" y="128"/>
                    </a:lnTo>
                    <a:lnTo>
                      <a:pt x="78" y="128"/>
                    </a:lnTo>
                    <a:lnTo>
                      <a:pt x="78" y="128"/>
                    </a:lnTo>
                    <a:close/>
                    <a:moveTo>
                      <a:pt x="48" y="158"/>
                    </a:moveTo>
                    <a:lnTo>
                      <a:pt x="44" y="158"/>
                    </a:lnTo>
                    <a:lnTo>
                      <a:pt x="48" y="154"/>
                    </a:lnTo>
                    <a:lnTo>
                      <a:pt x="48" y="158"/>
                    </a:lnTo>
                    <a:lnTo>
                      <a:pt x="48" y="158"/>
                    </a:lnTo>
                    <a:lnTo>
                      <a:pt x="48" y="158"/>
                    </a:lnTo>
                    <a:close/>
                    <a:moveTo>
                      <a:pt x="26" y="172"/>
                    </a:moveTo>
                    <a:lnTo>
                      <a:pt x="22" y="172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26" y="172"/>
                    </a:lnTo>
                    <a:lnTo>
                      <a:pt x="26" y="172"/>
                    </a:lnTo>
                    <a:lnTo>
                      <a:pt x="26" y="172"/>
                    </a:lnTo>
                    <a:close/>
                    <a:moveTo>
                      <a:pt x="6" y="242"/>
                    </a:moveTo>
                    <a:lnTo>
                      <a:pt x="2" y="242"/>
                    </a:lnTo>
                    <a:lnTo>
                      <a:pt x="2" y="238"/>
                    </a:lnTo>
                    <a:lnTo>
                      <a:pt x="6" y="238"/>
                    </a:lnTo>
                    <a:lnTo>
                      <a:pt x="6" y="236"/>
                    </a:lnTo>
                    <a:lnTo>
                      <a:pt x="2" y="236"/>
                    </a:lnTo>
                    <a:lnTo>
                      <a:pt x="2" y="238"/>
                    </a:lnTo>
                    <a:lnTo>
                      <a:pt x="2" y="236"/>
                    </a:lnTo>
                    <a:lnTo>
                      <a:pt x="6" y="236"/>
                    </a:lnTo>
                    <a:lnTo>
                      <a:pt x="10" y="238"/>
                    </a:lnTo>
                    <a:lnTo>
                      <a:pt x="6" y="238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36" y="238"/>
                    </a:moveTo>
                    <a:lnTo>
                      <a:pt x="40" y="238"/>
                    </a:lnTo>
                    <a:lnTo>
                      <a:pt x="36" y="238"/>
                    </a:lnTo>
                    <a:lnTo>
                      <a:pt x="36" y="238"/>
                    </a:lnTo>
                    <a:lnTo>
                      <a:pt x="36" y="238"/>
                    </a:lnTo>
                    <a:close/>
                    <a:moveTo>
                      <a:pt x="0" y="242"/>
                    </a:moveTo>
                    <a:lnTo>
                      <a:pt x="0" y="238"/>
                    </a:lnTo>
                    <a:lnTo>
                      <a:pt x="2" y="238"/>
                    </a:lnTo>
                    <a:lnTo>
                      <a:pt x="0" y="242"/>
                    </a:lnTo>
                    <a:lnTo>
                      <a:pt x="0" y="242"/>
                    </a:lnTo>
                    <a:lnTo>
                      <a:pt x="0" y="242"/>
                    </a:lnTo>
                    <a:close/>
                    <a:moveTo>
                      <a:pt x="44" y="246"/>
                    </a:moveTo>
                    <a:lnTo>
                      <a:pt x="44" y="242"/>
                    </a:lnTo>
                    <a:lnTo>
                      <a:pt x="40" y="242"/>
                    </a:lnTo>
                    <a:lnTo>
                      <a:pt x="40" y="238"/>
                    </a:lnTo>
                    <a:lnTo>
                      <a:pt x="44" y="238"/>
                    </a:lnTo>
                    <a:lnTo>
                      <a:pt x="48" y="238"/>
                    </a:lnTo>
                    <a:lnTo>
                      <a:pt x="48" y="242"/>
                    </a:lnTo>
                    <a:lnTo>
                      <a:pt x="44" y="242"/>
                    </a:lnTo>
                    <a:lnTo>
                      <a:pt x="44" y="246"/>
                    </a:lnTo>
                    <a:lnTo>
                      <a:pt x="44" y="246"/>
                    </a:lnTo>
                    <a:lnTo>
                      <a:pt x="44" y="246"/>
                    </a:lnTo>
                    <a:close/>
                    <a:moveTo>
                      <a:pt x="34" y="242"/>
                    </a:moveTo>
                    <a:lnTo>
                      <a:pt x="30" y="242"/>
                    </a:lnTo>
                    <a:lnTo>
                      <a:pt x="30" y="238"/>
                    </a:lnTo>
                    <a:lnTo>
                      <a:pt x="34" y="238"/>
                    </a:lnTo>
                    <a:lnTo>
                      <a:pt x="34" y="242"/>
                    </a:lnTo>
                    <a:lnTo>
                      <a:pt x="34" y="242"/>
                    </a:lnTo>
                    <a:lnTo>
                      <a:pt x="34" y="242"/>
                    </a:lnTo>
                    <a:close/>
                    <a:moveTo>
                      <a:pt x="6" y="242"/>
                    </a:moveTo>
                    <a:lnTo>
                      <a:pt x="10" y="242"/>
                    </a:lnTo>
                    <a:lnTo>
                      <a:pt x="10" y="246"/>
                    </a:lnTo>
                    <a:lnTo>
                      <a:pt x="6" y="242"/>
                    </a:lnTo>
                    <a:lnTo>
                      <a:pt x="6" y="242"/>
                    </a:lnTo>
                    <a:lnTo>
                      <a:pt x="6" y="242"/>
                    </a:lnTo>
                    <a:close/>
                    <a:moveTo>
                      <a:pt x="48" y="246"/>
                    </a:move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6"/>
                    </a:lnTo>
                    <a:lnTo>
                      <a:pt x="48" y="246"/>
                    </a:lnTo>
                    <a:close/>
                    <a:moveTo>
                      <a:pt x="56" y="246"/>
                    </a:moveTo>
                    <a:lnTo>
                      <a:pt x="60" y="246"/>
                    </a:lnTo>
                    <a:lnTo>
                      <a:pt x="56" y="246"/>
                    </a:lnTo>
                    <a:lnTo>
                      <a:pt x="56" y="246"/>
                    </a:lnTo>
                    <a:lnTo>
                      <a:pt x="56" y="24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1" name="Freeform 100">
                <a:extLst>
                  <a:ext uri="{FF2B5EF4-FFF2-40B4-BE49-F238E27FC236}">
                    <a16:creationId xmlns:a16="http://schemas.microsoft.com/office/drawing/2014/main" id="{CF36DED6-684C-4832-BE25-41C7C1273A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86250" y="3076643"/>
                <a:ext cx="320675" cy="307975"/>
              </a:xfrm>
              <a:custGeom>
                <a:avLst/>
                <a:gdLst>
                  <a:gd name="T0" fmla="*/ 80 w 202"/>
                  <a:gd name="T1" fmla="*/ 168 h 194"/>
                  <a:gd name="T2" fmla="*/ 72 w 202"/>
                  <a:gd name="T3" fmla="*/ 168 h 194"/>
                  <a:gd name="T4" fmla="*/ 50 w 202"/>
                  <a:gd name="T5" fmla="*/ 162 h 194"/>
                  <a:gd name="T6" fmla="*/ 46 w 202"/>
                  <a:gd name="T7" fmla="*/ 158 h 194"/>
                  <a:gd name="T8" fmla="*/ 50 w 202"/>
                  <a:gd name="T9" fmla="*/ 138 h 194"/>
                  <a:gd name="T10" fmla="*/ 50 w 202"/>
                  <a:gd name="T11" fmla="*/ 128 h 194"/>
                  <a:gd name="T12" fmla="*/ 56 w 202"/>
                  <a:gd name="T13" fmla="*/ 116 h 194"/>
                  <a:gd name="T14" fmla="*/ 56 w 202"/>
                  <a:gd name="T15" fmla="*/ 116 h 194"/>
                  <a:gd name="T16" fmla="*/ 54 w 202"/>
                  <a:gd name="T17" fmla="*/ 106 h 194"/>
                  <a:gd name="T18" fmla="*/ 42 w 202"/>
                  <a:gd name="T19" fmla="*/ 94 h 194"/>
                  <a:gd name="T20" fmla="*/ 42 w 202"/>
                  <a:gd name="T21" fmla="*/ 78 h 194"/>
                  <a:gd name="T22" fmla="*/ 34 w 202"/>
                  <a:gd name="T23" fmla="*/ 72 h 194"/>
                  <a:gd name="T24" fmla="*/ 22 w 202"/>
                  <a:gd name="T25" fmla="*/ 72 h 194"/>
                  <a:gd name="T26" fmla="*/ 12 w 202"/>
                  <a:gd name="T27" fmla="*/ 64 h 194"/>
                  <a:gd name="T28" fmla="*/ 0 w 202"/>
                  <a:gd name="T29" fmla="*/ 64 h 194"/>
                  <a:gd name="T30" fmla="*/ 0 w 202"/>
                  <a:gd name="T31" fmla="*/ 56 h 194"/>
                  <a:gd name="T32" fmla="*/ 4 w 202"/>
                  <a:gd name="T33" fmla="*/ 52 h 194"/>
                  <a:gd name="T34" fmla="*/ 16 w 202"/>
                  <a:gd name="T35" fmla="*/ 48 h 194"/>
                  <a:gd name="T36" fmla="*/ 34 w 202"/>
                  <a:gd name="T37" fmla="*/ 48 h 194"/>
                  <a:gd name="T38" fmla="*/ 46 w 202"/>
                  <a:gd name="T39" fmla="*/ 48 h 194"/>
                  <a:gd name="T40" fmla="*/ 42 w 202"/>
                  <a:gd name="T41" fmla="*/ 34 h 194"/>
                  <a:gd name="T42" fmla="*/ 50 w 202"/>
                  <a:gd name="T43" fmla="*/ 26 h 194"/>
                  <a:gd name="T44" fmla="*/ 64 w 202"/>
                  <a:gd name="T45" fmla="*/ 34 h 194"/>
                  <a:gd name="T46" fmla="*/ 72 w 202"/>
                  <a:gd name="T47" fmla="*/ 34 h 194"/>
                  <a:gd name="T48" fmla="*/ 80 w 202"/>
                  <a:gd name="T49" fmla="*/ 22 h 194"/>
                  <a:gd name="T50" fmla="*/ 90 w 202"/>
                  <a:gd name="T51" fmla="*/ 12 h 194"/>
                  <a:gd name="T52" fmla="*/ 106 w 202"/>
                  <a:gd name="T53" fmla="*/ 0 h 194"/>
                  <a:gd name="T54" fmla="*/ 114 w 202"/>
                  <a:gd name="T55" fmla="*/ 8 h 194"/>
                  <a:gd name="T56" fmla="*/ 128 w 202"/>
                  <a:gd name="T57" fmla="*/ 16 h 194"/>
                  <a:gd name="T58" fmla="*/ 138 w 202"/>
                  <a:gd name="T59" fmla="*/ 18 h 194"/>
                  <a:gd name="T60" fmla="*/ 146 w 202"/>
                  <a:gd name="T61" fmla="*/ 30 h 194"/>
                  <a:gd name="T62" fmla="*/ 158 w 202"/>
                  <a:gd name="T63" fmla="*/ 34 h 194"/>
                  <a:gd name="T64" fmla="*/ 172 w 202"/>
                  <a:gd name="T65" fmla="*/ 42 h 194"/>
                  <a:gd name="T66" fmla="*/ 180 w 202"/>
                  <a:gd name="T67" fmla="*/ 48 h 194"/>
                  <a:gd name="T68" fmla="*/ 176 w 202"/>
                  <a:gd name="T69" fmla="*/ 68 h 194"/>
                  <a:gd name="T70" fmla="*/ 168 w 202"/>
                  <a:gd name="T71" fmla="*/ 76 h 194"/>
                  <a:gd name="T72" fmla="*/ 160 w 202"/>
                  <a:gd name="T73" fmla="*/ 86 h 194"/>
                  <a:gd name="T74" fmla="*/ 154 w 202"/>
                  <a:gd name="T75" fmla="*/ 98 h 194"/>
                  <a:gd name="T76" fmla="*/ 164 w 202"/>
                  <a:gd name="T77" fmla="*/ 94 h 194"/>
                  <a:gd name="T78" fmla="*/ 164 w 202"/>
                  <a:gd name="T79" fmla="*/ 112 h 194"/>
                  <a:gd name="T80" fmla="*/ 160 w 202"/>
                  <a:gd name="T81" fmla="*/ 124 h 194"/>
                  <a:gd name="T82" fmla="*/ 168 w 202"/>
                  <a:gd name="T83" fmla="*/ 138 h 194"/>
                  <a:gd name="T84" fmla="*/ 172 w 202"/>
                  <a:gd name="T85" fmla="*/ 146 h 194"/>
                  <a:gd name="T86" fmla="*/ 164 w 202"/>
                  <a:gd name="T87" fmla="*/ 154 h 194"/>
                  <a:gd name="T88" fmla="*/ 146 w 202"/>
                  <a:gd name="T89" fmla="*/ 162 h 194"/>
                  <a:gd name="T90" fmla="*/ 138 w 202"/>
                  <a:gd name="T91" fmla="*/ 154 h 194"/>
                  <a:gd name="T92" fmla="*/ 128 w 202"/>
                  <a:gd name="T93" fmla="*/ 154 h 194"/>
                  <a:gd name="T94" fmla="*/ 110 w 202"/>
                  <a:gd name="T95" fmla="*/ 164 h 194"/>
                  <a:gd name="T96" fmla="*/ 106 w 202"/>
                  <a:gd name="T97" fmla="*/ 176 h 194"/>
                  <a:gd name="T98" fmla="*/ 94 w 202"/>
                  <a:gd name="T99" fmla="*/ 172 h 194"/>
                  <a:gd name="T100" fmla="*/ 54 w 202"/>
                  <a:gd name="T101" fmla="*/ 108 h 194"/>
                  <a:gd name="T102" fmla="*/ 22 w 202"/>
                  <a:gd name="T103" fmla="*/ 78 h 194"/>
                  <a:gd name="T104" fmla="*/ 50 w 202"/>
                  <a:gd name="T105" fmla="*/ 102 h 194"/>
                  <a:gd name="T106" fmla="*/ 190 w 202"/>
                  <a:gd name="T107" fmla="*/ 172 h 194"/>
                  <a:gd name="T108" fmla="*/ 202 w 202"/>
                  <a:gd name="T109" fmla="*/ 168 h 194"/>
                  <a:gd name="T110" fmla="*/ 198 w 202"/>
                  <a:gd name="T111" fmla="*/ 190 h 194"/>
                  <a:gd name="T112" fmla="*/ 190 w 202"/>
                  <a:gd name="T113" fmla="*/ 186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202" h="194">
                    <a:moveTo>
                      <a:pt x="94" y="172"/>
                    </a:moveTo>
                    <a:lnTo>
                      <a:pt x="90" y="172"/>
                    </a:lnTo>
                    <a:lnTo>
                      <a:pt x="86" y="172"/>
                    </a:lnTo>
                    <a:lnTo>
                      <a:pt x="86" y="168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64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68" y="168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56" y="164"/>
                    </a:lnTo>
                    <a:lnTo>
                      <a:pt x="54" y="164"/>
                    </a:lnTo>
                    <a:lnTo>
                      <a:pt x="50" y="162"/>
                    </a:lnTo>
                    <a:lnTo>
                      <a:pt x="50" y="164"/>
                    </a:lnTo>
                    <a:lnTo>
                      <a:pt x="50" y="162"/>
                    </a:lnTo>
                    <a:lnTo>
                      <a:pt x="46" y="162"/>
                    </a:lnTo>
                    <a:lnTo>
                      <a:pt x="50" y="162"/>
                    </a:lnTo>
                    <a:lnTo>
                      <a:pt x="50" y="158"/>
                    </a:lnTo>
                    <a:lnTo>
                      <a:pt x="46" y="158"/>
                    </a:lnTo>
                    <a:lnTo>
                      <a:pt x="42" y="158"/>
                    </a:lnTo>
                    <a:lnTo>
                      <a:pt x="46" y="158"/>
                    </a:lnTo>
                    <a:lnTo>
                      <a:pt x="46" y="154"/>
                    </a:lnTo>
                    <a:lnTo>
                      <a:pt x="50" y="150"/>
                    </a:lnTo>
                    <a:lnTo>
                      <a:pt x="50" y="142"/>
                    </a:lnTo>
                    <a:lnTo>
                      <a:pt x="50" y="138"/>
                    </a:lnTo>
                    <a:lnTo>
                      <a:pt x="50" y="134"/>
                    </a:lnTo>
                    <a:lnTo>
                      <a:pt x="50" y="132"/>
                    </a:lnTo>
                    <a:lnTo>
                      <a:pt x="54" y="132"/>
                    </a:lnTo>
                    <a:lnTo>
                      <a:pt x="54" y="128"/>
                    </a:lnTo>
                    <a:lnTo>
                      <a:pt x="50" y="132"/>
                    </a:lnTo>
                    <a:lnTo>
                      <a:pt x="50" y="128"/>
                    </a:lnTo>
                    <a:lnTo>
                      <a:pt x="50" y="124"/>
                    </a:lnTo>
                    <a:lnTo>
                      <a:pt x="54" y="120"/>
                    </a:lnTo>
                    <a:lnTo>
                      <a:pt x="54" y="116"/>
                    </a:lnTo>
                    <a:lnTo>
                      <a:pt x="54" y="112"/>
                    </a:lnTo>
                    <a:lnTo>
                      <a:pt x="54" y="116"/>
                    </a:lnTo>
                    <a:lnTo>
                      <a:pt x="56" y="116"/>
                    </a:lnTo>
                    <a:lnTo>
                      <a:pt x="56" y="120"/>
                    </a:lnTo>
                    <a:lnTo>
                      <a:pt x="56" y="124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56" y="120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4" y="112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4" y="108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98"/>
                    </a:lnTo>
                    <a:lnTo>
                      <a:pt x="50" y="98"/>
                    </a:lnTo>
                    <a:lnTo>
                      <a:pt x="46" y="98"/>
                    </a:lnTo>
                    <a:lnTo>
                      <a:pt x="46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76"/>
                    </a:lnTo>
                    <a:lnTo>
                      <a:pt x="34" y="76"/>
                    </a:lnTo>
                    <a:lnTo>
                      <a:pt x="34" y="72"/>
                    </a:lnTo>
                    <a:lnTo>
                      <a:pt x="30" y="72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26" y="72"/>
                    </a:lnTo>
                    <a:lnTo>
                      <a:pt x="22" y="72"/>
                    </a:lnTo>
                    <a:lnTo>
                      <a:pt x="22" y="76"/>
                    </a:lnTo>
                    <a:lnTo>
                      <a:pt x="22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20" y="46"/>
                    </a:lnTo>
                    <a:lnTo>
                      <a:pt x="22" y="46"/>
                    </a:lnTo>
                    <a:lnTo>
                      <a:pt x="26" y="48"/>
                    </a:lnTo>
                    <a:lnTo>
                      <a:pt x="30" y="52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48"/>
                    </a:lnTo>
                    <a:lnTo>
                      <a:pt x="42" y="48"/>
                    </a:lnTo>
                    <a:lnTo>
                      <a:pt x="46" y="48"/>
                    </a:lnTo>
                    <a:lnTo>
                      <a:pt x="50" y="48"/>
                    </a:lnTo>
                    <a:lnTo>
                      <a:pt x="46" y="48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6" y="38"/>
                    </a:lnTo>
                    <a:lnTo>
                      <a:pt x="42" y="34"/>
                    </a:lnTo>
                    <a:lnTo>
                      <a:pt x="42" y="30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6" y="30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50" y="34"/>
                    </a:lnTo>
                    <a:lnTo>
                      <a:pt x="54" y="34"/>
                    </a:lnTo>
                    <a:lnTo>
                      <a:pt x="56" y="34"/>
                    </a:lnTo>
                    <a:lnTo>
                      <a:pt x="60" y="34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8" y="38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6" y="34"/>
                    </a:lnTo>
                    <a:lnTo>
                      <a:pt x="72" y="34"/>
                    </a:lnTo>
                    <a:lnTo>
                      <a:pt x="68" y="34"/>
                    </a:lnTo>
                    <a:lnTo>
                      <a:pt x="68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76" y="22"/>
                    </a:lnTo>
                    <a:lnTo>
                      <a:pt x="80" y="22"/>
                    </a:lnTo>
                    <a:lnTo>
                      <a:pt x="84" y="22"/>
                    </a:lnTo>
                    <a:lnTo>
                      <a:pt x="86" y="22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6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4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0" y="4"/>
                    </a:lnTo>
                    <a:lnTo>
                      <a:pt x="114" y="4"/>
                    </a:lnTo>
                    <a:lnTo>
                      <a:pt x="114" y="8"/>
                    </a:lnTo>
                    <a:lnTo>
                      <a:pt x="114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18"/>
                    </a:lnTo>
                    <a:lnTo>
                      <a:pt x="128" y="22"/>
                    </a:lnTo>
                    <a:lnTo>
                      <a:pt x="132" y="22"/>
                    </a:lnTo>
                    <a:lnTo>
                      <a:pt x="136" y="22"/>
                    </a:lnTo>
                    <a:lnTo>
                      <a:pt x="136" y="18"/>
                    </a:lnTo>
                    <a:lnTo>
                      <a:pt x="138" y="18"/>
                    </a:lnTo>
                    <a:lnTo>
                      <a:pt x="136" y="18"/>
                    </a:lnTo>
                    <a:lnTo>
                      <a:pt x="136" y="22"/>
                    </a:lnTo>
                    <a:lnTo>
                      <a:pt x="136" y="26"/>
                    </a:lnTo>
                    <a:lnTo>
                      <a:pt x="138" y="26"/>
                    </a:lnTo>
                    <a:lnTo>
                      <a:pt x="142" y="30"/>
                    </a:lnTo>
                    <a:lnTo>
                      <a:pt x="146" y="30"/>
                    </a:lnTo>
                    <a:lnTo>
                      <a:pt x="150" y="30"/>
                    </a:lnTo>
                    <a:lnTo>
                      <a:pt x="150" y="34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58" y="34"/>
                    </a:lnTo>
                    <a:lnTo>
                      <a:pt x="160" y="34"/>
                    </a:lnTo>
                    <a:lnTo>
                      <a:pt x="160" y="38"/>
                    </a:lnTo>
                    <a:lnTo>
                      <a:pt x="164" y="38"/>
                    </a:lnTo>
                    <a:lnTo>
                      <a:pt x="168" y="38"/>
                    </a:lnTo>
                    <a:lnTo>
                      <a:pt x="168" y="42"/>
                    </a:lnTo>
                    <a:lnTo>
                      <a:pt x="172" y="42"/>
                    </a:lnTo>
                    <a:lnTo>
                      <a:pt x="172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0" y="48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4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2" y="72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0" y="82"/>
                    </a:lnTo>
                    <a:lnTo>
                      <a:pt x="160" y="86"/>
                    </a:lnTo>
                    <a:lnTo>
                      <a:pt x="158" y="86"/>
                    </a:lnTo>
                    <a:lnTo>
                      <a:pt x="160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8" y="98"/>
                    </a:lnTo>
                    <a:lnTo>
                      <a:pt x="158" y="94"/>
                    </a:lnTo>
                    <a:lnTo>
                      <a:pt x="160" y="94"/>
                    </a:lnTo>
                    <a:lnTo>
                      <a:pt x="164" y="94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8" y="106"/>
                    </a:lnTo>
                    <a:lnTo>
                      <a:pt x="164" y="106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4" y="128"/>
                    </a:lnTo>
                    <a:lnTo>
                      <a:pt x="168" y="128"/>
                    </a:lnTo>
                    <a:lnTo>
                      <a:pt x="164" y="132"/>
                    </a:lnTo>
                    <a:lnTo>
                      <a:pt x="164" y="134"/>
                    </a:lnTo>
                    <a:lnTo>
                      <a:pt x="164" y="138"/>
                    </a:lnTo>
                    <a:lnTo>
                      <a:pt x="168" y="138"/>
                    </a:lnTo>
                    <a:lnTo>
                      <a:pt x="172" y="142"/>
                    </a:lnTo>
                    <a:lnTo>
                      <a:pt x="176" y="142"/>
                    </a:lnTo>
                    <a:lnTo>
                      <a:pt x="176" y="138"/>
                    </a:lnTo>
                    <a:lnTo>
                      <a:pt x="176" y="142"/>
                    </a:lnTo>
                    <a:lnTo>
                      <a:pt x="176" y="146"/>
                    </a:lnTo>
                    <a:lnTo>
                      <a:pt x="172" y="146"/>
                    </a:lnTo>
                    <a:lnTo>
                      <a:pt x="176" y="146"/>
                    </a:lnTo>
                    <a:lnTo>
                      <a:pt x="176" y="150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64" y="154"/>
                    </a:lnTo>
                    <a:lnTo>
                      <a:pt x="160" y="158"/>
                    </a:lnTo>
                    <a:lnTo>
                      <a:pt x="160" y="162"/>
                    </a:lnTo>
                    <a:lnTo>
                      <a:pt x="158" y="162"/>
                    </a:lnTo>
                    <a:lnTo>
                      <a:pt x="154" y="162"/>
                    </a:lnTo>
                    <a:lnTo>
                      <a:pt x="150" y="162"/>
                    </a:lnTo>
                    <a:lnTo>
                      <a:pt x="146" y="162"/>
                    </a:lnTo>
                    <a:lnTo>
                      <a:pt x="142" y="162"/>
                    </a:lnTo>
                    <a:lnTo>
                      <a:pt x="142" y="158"/>
                    </a:lnTo>
                    <a:lnTo>
                      <a:pt x="138" y="158"/>
                    </a:lnTo>
                    <a:lnTo>
                      <a:pt x="142" y="158"/>
                    </a:lnTo>
                    <a:lnTo>
                      <a:pt x="142" y="154"/>
                    </a:lnTo>
                    <a:lnTo>
                      <a:pt x="138" y="154"/>
                    </a:lnTo>
                    <a:lnTo>
                      <a:pt x="136" y="158"/>
                    </a:lnTo>
                    <a:lnTo>
                      <a:pt x="136" y="154"/>
                    </a:lnTo>
                    <a:lnTo>
                      <a:pt x="136" y="158"/>
                    </a:lnTo>
                    <a:lnTo>
                      <a:pt x="132" y="158"/>
                    </a:lnTo>
                    <a:lnTo>
                      <a:pt x="132" y="154"/>
                    </a:lnTo>
                    <a:lnTo>
                      <a:pt x="128" y="154"/>
                    </a:lnTo>
                    <a:lnTo>
                      <a:pt x="124" y="154"/>
                    </a:lnTo>
                    <a:lnTo>
                      <a:pt x="120" y="158"/>
                    </a:lnTo>
                    <a:lnTo>
                      <a:pt x="116" y="158"/>
                    </a:lnTo>
                    <a:lnTo>
                      <a:pt x="114" y="162"/>
                    </a:lnTo>
                    <a:lnTo>
                      <a:pt x="114" y="164"/>
                    </a:lnTo>
                    <a:lnTo>
                      <a:pt x="110" y="164"/>
                    </a:lnTo>
                    <a:lnTo>
                      <a:pt x="110" y="168"/>
                    </a:lnTo>
                    <a:lnTo>
                      <a:pt x="114" y="168"/>
                    </a:lnTo>
                    <a:lnTo>
                      <a:pt x="114" y="172"/>
                    </a:lnTo>
                    <a:lnTo>
                      <a:pt x="114" y="176"/>
                    </a:lnTo>
                    <a:lnTo>
                      <a:pt x="110" y="172"/>
                    </a:lnTo>
                    <a:lnTo>
                      <a:pt x="106" y="176"/>
                    </a:lnTo>
                    <a:lnTo>
                      <a:pt x="102" y="176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4" y="172"/>
                    </a:lnTo>
                    <a:lnTo>
                      <a:pt x="94" y="172"/>
                    </a:lnTo>
                    <a:lnTo>
                      <a:pt x="94" y="172"/>
                    </a:lnTo>
                    <a:close/>
                    <a:moveTo>
                      <a:pt x="50" y="108"/>
                    </a:moveTo>
                    <a:lnTo>
                      <a:pt x="50" y="106"/>
                    </a:lnTo>
                    <a:lnTo>
                      <a:pt x="50" y="102"/>
                    </a:lnTo>
                    <a:lnTo>
                      <a:pt x="50" y="106"/>
                    </a:lnTo>
                    <a:lnTo>
                      <a:pt x="54" y="106"/>
                    </a:lnTo>
                    <a:lnTo>
                      <a:pt x="54" y="108"/>
                    </a:lnTo>
                    <a:lnTo>
                      <a:pt x="50" y="108"/>
                    </a:lnTo>
                    <a:lnTo>
                      <a:pt x="50" y="108"/>
                    </a:lnTo>
                    <a:lnTo>
                      <a:pt x="50" y="108"/>
                    </a:lnTo>
                    <a:close/>
                    <a:moveTo>
                      <a:pt x="22" y="78"/>
                    </a:moveTo>
                    <a:lnTo>
                      <a:pt x="22" y="76"/>
                    </a:lnTo>
                    <a:lnTo>
                      <a:pt x="22" y="78"/>
                    </a:lnTo>
                    <a:lnTo>
                      <a:pt x="22" y="78"/>
                    </a:lnTo>
                    <a:lnTo>
                      <a:pt x="22" y="78"/>
                    </a:lnTo>
                    <a:close/>
                    <a:moveTo>
                      <a:pt x="50" y="102"/>
                    </a:moveTo>
                    <a:lnTo>
                      <a:pt x="46" y="102"/>
                    </a:lnTo>
                    <a:lnTo>
                      <a:pt x="46" y="98"/>
                    </a:lnTo>
                    <a:lnTo>
                      <a:pt x="50" y="102"/>
                    </a:lnTo>
                    <a:lnTo>
                      <a:pt x="50" y="102"/>
                    </a:lnTo>
                    <a:lnTo>
                      <a:pt x="50" y="102"/>
                    </a:lnTo>
                    <a:close/>
                    <a:moveTo>
                      <a:pt x="190" y="182"/>
                    </a:moveTo>
                    <a:lnTo>
                      <a:pt x="190" y="180"/>
                    </a:lnTo>
                    <a:lnTo>
                      <a:pt x="190" y="176"/>
                    </a:lnTo>
                    <a:lnTo>
                      <a:pt x="190" y="172"/>
                    </a:lnTo>
                    <a:lnTo>
                      <a:pt x="194" y="172"/>
                    </a:lnTo>
                    <a:lnTo>
                      <a:pt x="194" y="168"/>
                    </a:lnTo>
                    <a:lnTo>
                      <a:pt x="198" y="168"/>
                    </a:lnTo>
                    <a:lnTo>
                      <a:pt x="198" y="164"/>
                    </a:lnTo>
                    <a:lnTo>
                      <a:pt x="202" y="164"/>
                    </a:lnTo>
                    <a:lnTo>
                      <a:pt x="202" y="168"/>
                    </a:lnTo>
                    <a:lnTo>
                      <a:pt x="202" y="172"/>
                    </a:lnTo>
                    <a:lnTo>
                      <a:pt x="202" y="180"/>
                    </a:lnTo>
                    <a:lnTo>
                      <a:pt x="202" y="182"/>
                    </a:lnTo>
                    <a:lnTo>
                      <a:pt x="202" y="186"/>
                    </a:lnTo>
                    <a:lnTo>
                      <a:pt x="202" y="190"/>
                    </a:lnTo>
                    <a:lnTo>
                      <a:pt x="198" y="190"/>
                    </a:lnTo>
                    <a:lnTo>
                      <a:pt x="198" y="194"/>
                    </a:lnTo>
                    <a:lnTo>
                      <a:pt x="194" y="194"/>
                    </a:lnTo>
                    <a:lnTo>
                      <a:pt x="190" y="190"/>
                    </a:lnTo>
                    <a:lnTo>
                      <a:pt x="194" y="190"/>
                    </a:lnTo>
                    <a:lnTo>
                      <a:pt x="190" y="190"/>
                    </a:lnTo>
                    <a:lnTo>
                      <a:pt x="190" y="186"/>
                    </a:lnTo>
                    <a:lnTo>
                      <a:pt x="190" y="182"/>
                    </a:lnTo>
                    <a:lnTo>
                      <a:pt x="190" y="182"/>
                    </a:lnTo>
                    <a:lnTo>
                      <a:pt x="190" y="18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2" name="Freeform 101">
                <a:extLst>
                  <a:ext uri="{FF2B5EF4-FFF2-40B4-BE49-F238E27FC236}">
                    <a16:creationId xmlns:a16="http://schemas.microsoft.com/office/drawing/2014/main" id="{B8249046-BF18-4C98-A355-5703FD45C74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24375" y="2940118"/>
                <a:ext cx="206375" cy="260350"/>
              </a:xfrm>
              <a:custGeom>
                <a:avLst/>
                <a:gdLst>
                  <a:gd name="T0" fmla="*/ 26 w 130"/>
                  <a:gd name="T1" fmla="*/ 142 h 164"/>
                  <a:gd name="T2" fmla="*/ 32 w 130"/>
                  <a:gd name="T3" fmla="*/ 128 h 164"/>
                  <a:gd name="T4" fmla="*/ 18 w 130"/>
                  <a:gd name="T5" fmla="*/ 128 h 164"/>
                  <a:gd name="T6" fmla="*/ 6 w 130"/>
                  <a:gd name="T7" fmla="*/ 120 h 164"/>
                  <a:gd name="T8" fmla="*/ 4 w 130"/>
                  <a:gd name="T9" fmla="*/ 108 h 164"/>
                  <a:gd name="T10" fmla="*/ 6 w 130"/>
                  <a:gd name="T11" fmla="*/ 94 h 164"/>
                  <a:gd name="T12" fmla="*/ 4 w 130"/>
                  <a:gd name="T13" fmla="*/ 86 h 164"/>
                  <a:gd name="T14" fmla="*/ 4 w 130"/>
                  <a:gd name="T15" fmla="*/ 76 h 164"/>
                  <a:gd name="T16" fmla="*/ 14 w 130"/>
                  <a:gd name="T17" fmla="*/ 68 h 164"/>
                  <a:gd name="T18" fmla="*/ 14 w 130"/>
                  <a:gd name="T19" fmla="*/ 56 h 164"/>
                  <a:gd name="T20" fmla="*/ 18 w 130"/>
                  <a:gd name="T21" fmla="*/ 50 h 164"/>
                  <a:gd name="T22" fmla="*/ 18 w 130"/>
                  <a:gd name="T23" fmla="*/ 38 h 164"/>
                  <a:gd name="T24" fmla="*/ 30 w 130"/>
                  <a:gd name="T25" fmla="*/ 30 h 164"/>
                  <a:gd name="T26" fmla="*/ 32 w 130"/>
                  <a:gd name="T27" fmla="*/ 30 h 164"/>
                  <a:gd name="T28" fmla="*/ 40 w 130"/>
                  <a:gd name="T29" fmla="*/ 34 h 164"/>
                  <a:gd name="T30" fmla="*/ 48 w 130"/>
                  <a:gd name="T31" fmla="*/ 26 h 164"/>
                  <a:gd name="T32" fmla="*/ 52 w 130"/>
                  <a:gd name="T33" fmla="*/ 30 h 164"/>
                  <a:gd name="T34" fmla="*/ 44 w 130"/>
                  <a:gd name="T35" fmla="*/ 20 h 164"/>
                  <a:gd name="T36" fmla="*/ 44 w 130"/>
                  <a:gd name="T37" fmla="*/ 16 h 164"/>
                  <a:gd name="T38" fmla="*/ 36 w 130"/>
                  <a:gd name="T39" fmla="*/ 4 h 164"/>
                  <a:gd name="T40" fmla="*/ 36 w 130"/>
                  <a:gd name="T41" fmla="*/ 0 h 164"/>
                  <a:gd name="T42" fmla="*/ 52 w 130"/>
                  <a:gd name="T43" fmla="*/ 4 h 164"/>
                  <a:gd name="T44" fmla="*/ 56 w 130"/>
                  <a:gd name="T45" fmla="*/ 12 h 164"/>
                  <a:gd name="T46" fmla="*/ 74 w 130"/>
                  <a:gd name="T47" fmla="*/ 16 h 164"/>
                  <a:gd name="T48" fmla="*/ 74 w 130"/>
                  <a:gd name="T49" fmla="*/ 24 h 164"/>
                  <a:gd name="T50" fmla="*/ 86 w 130"/>
                  <a:gd name="T51" fmla="*/ 20 h 164"/>
                  <a:gd name="T52" fmla="*/ 100 w 130"/>
                  <a:gd name="T53" fmla="*/ 12 h 164"/>
                  <a:gd name="T54" fmla="*/ 92 w 130"/>
                  <a:gd name="T55" fmla="*/ 16 h 164"/>
                  <a:gd name="T56" fmla="*/ 108 w 130"/>
                  <a:gd name="T57" fmla="*/ 20 h 164"/>
                  <a:gd name="T58" fmla="*/ 114 w 130"/>
                  <a:gd name="T59" fmla="*/ 26 h 164"/>
                  <a:gd name="T60" fmla="*/ 122 w 130"/>
                  <a:gd name="T61" fmla="*/ 38 h 164"/>
                  <a:gd name="T62" fmla="*/ 122 w 130"/>
                  <a:gd name="T63" fmla="*/ 52 h 164"/>
                  <a:gd name="T64" fmla="*/ 126 w 130"/>
                  <a:gd name="T65" fmla="*/ 60 h 164"/>
                  <a:gd name="T66" fmla="*/ 126 w 130"/>
                  <a:gd name="T67" fmla="*/ 76 h 164"/>
                  <a:gd name="T68" fmla="*/ 126 w 130"/>
                  <a:gd name="T69" fmla="*/ 90 h 164"/>
                  <a:gd name="T70" fmla="*/ 122 w 130"/>
                  <a:gd name="T71" fmla="*/ 86 h 164"/>
                  <a:gd name="T72" fmla="*/ 104 w 130"/>
                  <a:gd name="T73" fmla="*/ 94 h 164"/>
                  <a:gd name="T74" fmla="*/ 92 w 130"/>
                  <a:gd name="T75" fmla="*/ 106 h 164"/>
                  <a:gd name="T76" fmla="*/ 96 w 130"/>
                  <a:gd name="T77" fmla="*/ 108 h 164"/>
                  <a:gd name="T78" fmla="*/ 100 w 130"/>
                  <a:gd name="T79" fmla="*/ 120 h 164"/>
                  <a:gd name="T80" fmla="*/ 112 w 130"/>
                  <a:gd name="T81" fmla="*/ 134 h 164"/>
                  <a:gd name="T82" fmla="*/ 100 w 130"/>
                  <a:gd name="T83" fmla="*/ 142 h 164"/>
                  <a:gd name="T84" fmla="*/ 100 w 130"/>
                  <a:gd name="T85" fmla="*/ 154 h 164"/>
                  <a:gd name="T86" fmla="*/ 100 w 130"/>
                  <a:gd name="T87" fmla="*/ 158 h 164"/>
                  <a:gd name="T88" fmla="*/ 82 w 130"/>
                  <a:gd name="T89" fmla="*/ 158 h 164"/>
                  <a:gd name="T90" fmla="*/ 66 w 130"/>
                  <a:gd name="T91" fmla="*/ 158 h 164"/>
                  <a:gd name="T92" fmla="*/ 58 w 130"/>
                  <a:gd name="T93" fmla="*/ 158 h 164"/>
                  <a:gd name="T94" fmla="*/ 44 w 130"/>
                  <a:gd name="T95" fmla="*/ 154 h 164"/>
                  <a:gd name="T96" fmla="*/ 40 w 130"/>
                  <a:gd name="T97" fmla="*/ 154 h 164"/>
                  <a:gd name="T98" fmla="*/ 32 w 130"/>
                  <a:gd name="T99" fmla="*/ 158 h 164"/>
                  <a:gd name="T100" fmla="*/ 118 w 130"/>
                  <a:gd name="T101" fmla="*/ 26 h 164"/>
                  <a:gd name="T102" fmla="*/ 112 w 130"/>
                  <a:gd name="T103" fmla="*/ 24 h 164"/>
                  <a:gd name="T104" fmla="*/ 118 w 130"/>
                  <a:gd name="T105" fmla="*/ 26 h 164"/>
                  <a:gd name="T106" fmla="*/ 74 w 130"/>
                  <a:gd name="T107" fmla="*/ 16 h 164"/>
                  <a:gd name="T108" fmla="*/ 40 w 130"/>
                  <a:gd name="T109" fmla="*/ 8 h 164"/>
                  <a:gd name="T110" fmla="*/ 104 w 130"/>
                  <a:gd name="T111" fmla="*/ 20 h 164"/>
                  <a:gd name="T112" fmla="*/ 104 w 130"/>
                  <a:gd name="T113" fmla="*/ 8 h 164"/>
                  <a:gd name="T114" fmla="*/ 108 w 130"/>
                  <a:gd name="T115" fmla="*/ 16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30" h="164">
                    <a:moveTo>
                      <a:pt x="26" y="158"/>
                    </a:moveTo>
                    <a:lnTo>
                      <a:pt x="26" y="154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30" y="138"/>
                    </a:lnTo>
                    <a:lnTo>
                      <a:pt x="30" y="134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30" y="128"/>
                    </a:lnTo>
                    <a:lnTo>
                      <a:pt x="26" y="128"/>
                    </a:lnTo>
                    <a:lnTo>
                      <a:pt x="22" y="124"/>
                    </a:lnTo>
                    <a:lnTo>
                      <a:pt x="22" y="128"/>
                    </a:lnTo>
                    <a:lnTo>
                      <a:pt x="18" y="128"/>
                    </a:lnTo>
                    <a:lnTo>
                      <a:pt x="18" y="124"/>
                    </a:lnTo>
                    <a:lnTo>
                      <a:pt x="14" y="124"/>
                    </a:lnTo>
                    <a:lnTo>
                      <a:pt x="10" y="124"/>
                    </a:lnTo>
                    <a:lnTo>
                      <a:pt x="10" y="120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10" y="112"/>
                    </a:lnTo>
                    <a:lnTo>
                      <a:pt x="6" y="112"/>
                    </a:lnTo>
                    <a:lnTo>
                      <a:pt x="6" y="108"/>
                    </a:lnTo>
                    <a:lnTo>
                      <a:pt x="4" y="108"/>
                    </a:lnTo>
                    <a:lnTo>
                      <a:pt x="4" y="106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6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6" y="78"/>
                    </a:lnTo>
                    <a:lnTo>
                      <a:pt x="6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8" y="52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2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4"/>
                    </a:lnTo>
                    <a:lnTo>
                      <a:pt x="40" y="34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52" y="26"/>
                    </a:lnTo>
                    <a:lnTo>
                      <a:pt x="52" y="30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8" y="4"/>
                    </a:lnTo>
                    <a:lnTo>
                      <a:pt x="58" y="8"/>
                    </a:lnTo>
                    <a:lnTo>
                      <a:pt x="58" y="12"/>
                    </a:lnTo>
                    <a:lnTo>
                      <a:pt x="56" y="12"/>
                    </a:lnTo>
                    <a:lnTo>
                      <a:pt x="58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70" y="16"/>
                    </a:lnTo>
                    <a:lnTo>
                      <a:pt x="74" y="16"/>
                    </a:lnTo>
                    <a:lnTo>
                      <a:pt x="74" y="20"/>
                    </a:lnTo>
                    <a:lnTo>
                      <a:pt x="70" y="24"/>
                    </a:lnTo>
                    <a:lnTo>
                      <a:pt x="70" y="26"/>
                    </a:ln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6"/>
                    </a:lnTo>
                    <a:lnTo>
                      <a:pt x="82" y="24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8" y="30"/>
                    </a:lnTo>
                    <a:lnTo>
                      <a:pt x="118" y="34"/>
                    </a:lnTo>
                    <a:lnTo>
                      <a:pt x="122" y="38"/>
                    </a:lnTo>
                    <a:lnTo>
                      <a:pt x="122" y="42"/>
                    </a:lnTo>
                    <a:lnTo>
                      <a:pt x="118" y="46"/>
                    </a:lnTo>
                    <a:lnTo>
                      <a:pt x="118" y="50"/>
                    </a:lnTo>
                    <a:lnTo>
                      <a:pt x="122" y="50"/>
                    </a:lnTo>
                    <a:lnTo>
                      <a:pt x="122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26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6" y="90"/>
                    </a:lnTo>
                    <a:lnTo>
                      <a:pt x="122" y="86"/>
                    </a:lnTo>
                    <a:lnTo>
                      <a:pt x="118" y="86"/>
                    </a:lnTo>
                    <a:lnTo>
                      <a:pt x="122" y="86"/>
                    </a:lnTo>
                    <a:lnTo>
                      <a:pt x="118" y="90"/>
                    </a:lnTo>
                    <a:lnTo>
                      <a:pt x="114" y="90"/>
                    </a:lnTo>
                    <a:lnTo>
                      <a:pt x="112" y="94"/>
                    </a:lnTo>
                    <a:lnTo>
                      <a:pt x="108" y="94"/>
                    </a:lnTo>
                    <a:lnTo>
                      <a:pt x="104" y="94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96" y="98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88" y="102"/>
                    </a:lnTo>
                    <a:lnTo>
                      <a:pt x="88" y="106"/>
                    </a:lnTo>
                    <a:lnTo>
                      <a:pt x="92" y="106"/>
                    </a:lnTo>
                    <a:lnTo>
                      <a:pt x="92" y="108"/>
                    </a:lnTo>
                    <a:lnTo>
                      <a:pt x="96" y="108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8" y="128"/>
                    </a:lnTo>
                    <a:lnTo>
                      <a:pt x="112" y="132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4" y="142"/>
                    </a:lnTo>
                    <a:lnTo>
                      <a:pt x="100" y="142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100" y="154"/>
                    </a:lnTo>
                    <a:lnTo>
                      <a:pt x="104" y="154"/>
                    </a:lnTo>
                    <a:lnTo>
                      <a:pt x="104" y="158"/>
                    </a:lnTo>
                    <a:lnTo>
                      <a:pt x="104" y="162"/>
                    </a:lnTo>
                    <a:lnTo>
                      <a:pt x="100" y="162"/>
                    </a:lnTo>
                    <a:lnTo>
                      <a:pt x="100" y="158"/>
                    </a:lnTo>
                    <a:lnTo>
                      <a:pt x="96" y="158"/>
                    </a:lnTo>
                    <a:lnTo>
                      <a:pt x="92" y="158"/>
                    </a:lnTo>
                    <a:lnTo>
                      <a:pt x="88" y="158"/>
                    </a:lnTo>
                    <a:lnTo>
                      <a:pt x="86" y="158"/>
                    </a:lnTo>
                    <a:lnTo>
                      <a:pt x="82" y="158"/>
                    </a:lnTo>
                    <a:lnTo>
                      <a:pt x="78" y="158"/>
                    </a:lnTo>
                    <a:lnTo>
                      <a:pt x="78" y="162"/>
                    </a:lnTo>
                    <a:lnTo>
                      <a:pt x="74" y="162"/>
                    </a:lnTo>
                    <a:lnTo>
                      <a:pt x="70" y="158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2" y="164"/>
                    </a:lnTo>
                    <a:lnTo>
                      <a:pt x="62" y="162"/>
                    </a:lnTo>
                    <a:lnTo>
                      <a:pt x="58" y="162"/>
                    </a:lnTo>
                    <a:lnTo>
                      <a:pt x="58" y="158"/>
                    </a:lnTo>
                    <a:lnTo>
                      <a:pt x="56" y="158"/>
                    </a:lnTo>
                    <a:lnTo>
                      <a:pt x="52" y="158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0" y="158"/>
                    </a:lnTo>
                    <a:lnTo>
                      <a:pt x="40" y="154"/>
                    </a:lnTo>
                    <a:lnTo>
                      <a:pt x="36" y="154"/>
                    </a:lnTo>
                    <a:lnTo>
                      <a:pt x="36" y="158"/>
                    </a:lnTo>
                    <a:lnTo>
                      <a:pt x="40" y="158"/>
                    </a:lnTo>
                    <a:lnTo>
                      <a:pt x="36" y="158"/>
                    </a:lnTo>
                    <a:lnTo>
                      <a:pt x="32" y="158"/>
                    </a:lnTo>
                    <a:lnTo>
                      <a:pt x="30" y="158"/>
                    </a:lnTo>
                    <a:lnTo>
                      <a:pt x="26" y="158"/>
                    </a:lnTo>
                    <a:lnTo>
                      <a:pt x="26" y="158"/>
                    </a:lnTo>
                    <a:lnTo>
                      <a:pt x="26" y="158"/>
                    </a:lnTo>
                    <a:close/>
                    <a:moveTo>
                      <a:pt x="118" y="26"/>
                    </a:moveTo>
                    <a:lnTo>
                      <a:pt x="114" y="26"/>
                    </a:lnTo>
                    <a:lnTo>
                      <a:pt x="112" y="26"/>
                    </a:lnTo>
                    <a:lnTo>
                      <a:pt x="114" y="26"/>
                    </a:lnTo>
                    <a:lnTo>
                      <a:pt x="114" y="24"/>
                    </a:lnTo>
                    <a:lnTo>
                      <a:pt x="112" y="24"/>
                    </a:lnTo>
                    <a:lnTo>
                      <a:pt x="112" y="20"/>
                    </a:lnTo>
                    <a:lnTo>
                      <a:pt x="114" y="20"/>
                    </a:lnTo>
                    <a:lnTo>
                      <a:pt x="114" y="24"/>
                    </a:lnTo>
                    <a:lnTo>
                      <a:pt x="118" y="24"/>
                    </a:lnTo>
                    <a:lnTo>
                      <a:pt x="118" y="26"/>
                    </a:lnTo>
                    <a:lnTo>
                      <a:pt x="118" y="26"/>
                    </a:lnTo>
                    <a:lnTo>
                      <a:pt x="118" y="26"/>
                    </a:lnTo>
                    <a:close/>
                    <a:moveTo>
                      <a:pt x="78" y="12"/>
                    </a:moveTo>
                    <a:lnTo>
                      <a:pt x="78" y="16"/>
                    </a:lnTo>
                    <a:lnTo>
                      <a:pt x="74" y="16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78" y="12"/>
                    </a:lnTo>
                    <a:close/>
                    <a:moveTo>
                      <a:pt x="40" y="8"/>
                    </a:move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104" y="20"/>
                    </a:move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3" name="Freeform 102">
                <a:extLst>
                  <a:ext uri="{FF2B5EF4-FFF2-40B4-BE49-F238E27FC236}">
                    <a16:creationId xmlns:a16="http://schemas.microsoft.com/office/drawing/2014/main" id="{EB86B337-071D-4118-942D-18956969104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38700" y="3371918"/>
                <a:ext cx="187325" cy="206375"/>
              </a:xfrm>
              <a:custGeom>
                <a:avLst/>
                <a:gdLst>
                  <a:gd name="T0" fmla="*/ 6 w 118"/>
                  <a:gd name="T1" fmla="*/ 48 h 130"/>
                  <a:gd name="T2" fmla="*/ 6 w 118"/>
                  <a:gd name="T3" fmla="*/ 34 h 130"/>
                  <a:gd name="T4" fmla="*/ 26 w 118"/>
                  <a:gd name="T5" fmla="*/ 18 h 130"/>
                  <a:gd name="T6" fmla="*/ 44 w 118"/>
                  <a:gd name="T7" fmla="*/ 8 h 130"/>
                  <a:gd name="T8" fmla="*/ 66 w 118"/>
                  <a:gd name="T9" fmla="*/ 4 h 130"/>
                  <a:gd name="T10" fmla="*/ 86 w 118"/>
                  <a:gd name="T11" fmla="*/ 12 h 130"/>
                  <a:gd name="T12" fmla="*/ 96 w 118"/>
                  <a:gd name="T13" fmla="*/ 8 h 130"/>
                  <a:gd name="T14" fmla="*/ 86 w 118"/>
                  <a:gd name="T15" fmla="*/ 18 h 130"/>
                  <a:gd name="T16" fmla="*/ 62 w 118"/>
                  <a:gd name="T17" fmla="*/ 18 h 130"/>
                  <a:gd name="T18" fmla="*/ 62 w 118"/>
                  <a:gd name="T19" fmla="*/ 30 h 130"/>
                  <a:gd name="T20" fmla="*/ 60 w 118"/>
                  <a:gd name="T21" fmla="*/ 38 h 130"/>
                  <a:gd name="T22" fmla="*/ 52 w 118"/>
                  <a:gd name="T23" fmla="*/ 34 h 130"/>
                  <a:gd name="T24" fmla="*/ 40 w 118"/>
                  <a:gd name="T25" fmla="*/ 38 h 130"/>
                  <a:gd name="T26" fmla="*/ 44 w 118"/>
                  <a:gd name="T27" fmla="*/ 52 h 130"/>
                  <a:gd name="T28" fmla="*/ 36 w 118"/>
                  <a:gd name="T29" fmla="*/ 56 h 130"/>
                  <a:gd name="T30" fmla="*/ 48 w 118"/>
                  <a:gd name="T31" fmla="*/ 60 h 130"/>
                  <a:gd name="T32" fmla="*/ 60 w 118"/>
                  <a:gd name="T33" fmla="*/ 74 h 130"/>
                  <a:gd name="T34" fmla="*/ 48 w 118"/>
                  <a:gd name="T35" fmla="*/ 74 h 130"/>
                  <a:gd name="T36" fmla="*/ 44 w 118"/>
                  <a:gd name="T37" fmla="*/ 82 h 130"/>
                  <a:gd name="T38" fmla="*/ 44 w 118"/>
                  <a:gd name="T39" fmla="*/ 98 h 130"/>
                  <a:gd name="T40" fmla="*/ 36 w 118"/>
                  <a:gd name="T41" fmla="*/ 102 h 130"/>
                  <a:gd name="T42" fmla="*/ 26 w 118"/>
                  <a:gd name="T43" fmla="*/ 90 h 130"/>
                  <a:gd name="T44" fmla="*/ 22 w 118"/>
                  <a:gd name="T45" fmla="*/ 72 h 130"/>
                  <a:gd name="T46" fmla="*/ 40 w 118"/>
                  <a:gd name="T47" fmla="*/ 74 h 130"/>
                  <a:gd name="T48" fmla="*/ 36 w 118"/>
                  <a:gd name="T49" fmla="*/ 64 h 130"/>
                  <a:gd name="T50" fmla="*/ 18 w 118"/>
                  <a:gd name="T51" fmla="*/ 60 h 130"/>
                  <a:gd name="T52" fmla="*/ 66 w 118"/>
                  <a:gd name="T53" fmla="*/ 22 h 130"/>
                  <a:gd name="T54" fmla="*/ 82 w 118"/>
                  <a:gd name="T55" fmla="*/ 26 h 130"/>
                  <a:gd name="T56" fmla="*/ 74 w 118"/>
                  <a:gd name="T57" fmla="*/ 34 h 130"/>
                  <a:gd name="T58" fmla="*/ 2 w 118"/>
                  <a:gd name="T59" fmla="*/ 42 h 130"/>
                  <a:gd name="T60" fmla="*/ 0 w 118"/>
                  <a:gd name="T61" fmla="*/ 38 h 130"/>
                  <a:gd name="T62" fmla="*/ 92 w 118"/>
                  <a:gd name="T63" fmla="*/ 52 h 130"/>
                  <a:gd name="T64" fmla="*/ 60 w 118"/>
                  <a:gd name="T65" fmla="*/ 68 h 130"/>
                  <a:gd name="T66" fmla="*/ 48 w 118"/>
                  <a:gd name="T67" fmla="*/ 52 h 130"/>
                  <a:gd name="T68" fmla="*/ 62 w 118"/>
                  <a:gd name="T69" fmla="*/ 72 h 130"/>
                  <a:gd name="T70" fmla="*/ 60 w 118"/>
                  <a:gd name="T71" fmla="*/ 68 h 130"/>
                  <a:gd name="T72" fmla="*/ 14 w 118"/>
                  <a:gd name="T73" fmla="*/ 60 h 130"/>
                  <a:gd name="T74" fmla="*/ 90 w 118"/>
                  <a:gd name="T75" fmla="*/ 72 h 130"/>
                  <a:gd name="T76" fmla="*/ 90 w 118"/>
                  <a:gd name="T77" fmla="*/ 72 h 130"/>
                  <a:gd name="T78" fmla="*/ 14 w 118"/>
                  <a:gd name="T79" fmla="*/ 68 h 130"/>
                  <a:gd name="T80" fmla="*/ 10 w 118"/>
                  <a:gd name="T81" fmla="*/ 64 h 130"/>
                  <a:gd name="T82" fmla="*/ 74 w 118"/>
                  <a:gd name="T83" fmla="*/ 78 h 130"/>
                  <a:gd name="T84" fmla="*/ 18 w 118"/>
                  <a:gd name="T85" fmla="*/ 78 h 130"/>
                  <a:gd name="T86" fmla="*/ 100 w 118"/>
                  <a:gd name="T87" fmla="*/ 78 h 130"/>
                  <a:gd name="T88" fmla="*/ 92 w 118"/>
                  <a:gd name="T89" fmla="*/ 82 h 130"/>
                  <a:gd name="T90" fmla="*/ 62 w 118"/>
                  <a:gd name="T91" fmla="*/ 82 h 130"/>
                  <a:gd name="T92" fmla="*/ 74 w 118"/>
                  <a:gd name="T93" fmla="*/ 78 h 130"/>
                  <a:gd name="T94" fmla="*/ 66 w 118"/>
                  <a:gd name="T95" fmla="*/ 82 h 130"/>
                  <a:gd name="T96" fmla="*/ 74 w 118"/>
                  <a:gd name="T97" fmla="*/ 94 h 130"/>
                  <a:gd name="T98" fmla="*/ 100 w 118"/>
                  <a:gd name="T99" fmla="*/ 94 h 130"/>
                  <a:gd name="T100" fmla="*/ 104 w 118"/>
                  <a:gd name="T101" fmla="*/ 94 h 130"/>
                  <a:gd name="T102" fmla="*/ 78 w 118"/>
                  <a:gd name="T103" fmla="*/ 102 h 130"/>
                  <a:gd name="T104" fmla="*/ 66 w 118"/>
                  <a:gd name="T105" fmla="*/ 102 h 130"/>
                  <a:gd name="T106" fmla="*/ 112 w 118"/>
                  <a:gd name="T107" fmla="*/ 108 h 130"/>
                  <a:gd name="T108" fmla="*/ 44 w 118"/>
                  <a:gd name="T109" fmla="*/ 108 h 130"/>
                  <a:gd name="T110" fmla="*/ 104 w 118"/>
                  <a:gd name="T111" fmla="*/ 124 h 130"/>
                  <a:gd name="T112" fmla="*/ 62 w 118"/>
                  <a:gd name="T113" fmla="*/ 120 h 130"/>
                  <a:gd name="T114" fmla="*/ 82 w 118"/>
                  <a:gd name="T115" fmla="*/ 124 h 130"/>
                  <a:gd name="T116" fmla="*/ 78 w 118"/>
                  <a:gd name="T117" fmla="*/ 130 h 130"/>
                  <a:gd name="T118" fmla="*/ 56 w 118"/>
                  <a:gd name="T119" fmla="*/ 128 h 1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18" h="130">
                    <a:moveTo>
                      <a:pt x="18" y="52"/>
                    </a:moveTo>
                    <a:lnTo>
                      <a:pt x="18" y="56"/>
                    </a:lnTo>
                    <a:lnTo>
                      <a:pt x="14" y="52"/>
                    </a:lnTo>
                    <a:lnTo>
                      <a:pt x="14" y="56"/>
                    </a:lnTo>
                    <a:lnTo>
                      <a:pt x="14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6" y="48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2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18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8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8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2" y="12"/>
                    </a:lnTo>
                    <a:lnTo>
                      <a:pt x="92" y="16"/>
                    </a:lnTo>
                    <a:lnTo>
                      <a:pt x="92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86" y="18"/>
                    </a:lnTo>
                    <a:lnTo>
                      <a:pt x="82" y="18"/>
                    </a:lnTo>
                    <a:lnTo>
                      <a:pt x="78" y="18"/>
                    </a:lnTo>
                    <a:lnTo>
                      <a:pt x="74" y="16"/>
                    </a:lnTo>
                    <a:lnTo>
                      <a:pt x="70" y="18"/>
                    </a:lnTo>
                    <a:lnTo>
                      <a:pt x="66" y="18"/>
                    </a:lnTo>
                    <a:lnTo>
                      <a:pt x="66" y="16"/>
                    </a:lnTo>
                    <a:lnTo>
                      <a:pt x="66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56" y="18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2" y="30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62" y="34"/>
                    </a:lnTo>
                    <a:lnTo>
                      <a:pt x="62" y="30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6" y="34"/>
                    </a:lnTo>
                    <a:lnTo>
                      <a:pt x="56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8" y="46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4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2" y="74"/>
                    </a:lnTo>
                    <a:lnTo>
                      <a:pt x="48" y="74"/>
                    </a:lnTo>
                    <a:lnTo>
                      <a:pt x="44" y="74"/>
                    </a:lnTo>
                    <a:lnTo>
                      <a:pt x="44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52" y="86"/>
                    </a:lnTo>
                    <a:lnTo>
                      <a:pt x="48" y="86"/>
                    </a:lnTo>
                    <a:lnTo>
                      <a:pt x="44" y="82"/>
                    </a:lnTo>
                    <a:lnTo>
                      <a:pt x="40" y="82"/>
                    </a:lnTo>
                    <a:lnTo>
                      <a:pt x="40" y="86"/>
                    </a:lnTo>
                    <a:lnTo>
                      <a:pt x="44" y="86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8" y="102"/>
                    </a:lnTo>
                    <a:lnTo>
                      <a:pt x="48" y="104"/>
                    </a:lnTo>
                    <a:lnTo>
                      <a:pt x="44" y="102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4"/>
                    </a:lnTo>
                    <a:lnTo>
                      <a:pt x="36" y="102"/>
                    </a:lnTo>
                    <a:lnTo>
                      <a:pt x="36" y="98"/>
                    </a:lnTo>
                    <a:lnTo>
                      <a:pt x="32" y="98"/>
                    </a:lnTo>
                    <a:lnTo>
                      <a:pt x="32" y="94"/>
                    </a:lnTo>
                    <a:lnTo>
                      <a:pt x="30" y="94"/>
                    </a:lnTo>
                    <a:lnTo>
                      <a:pt x="30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2"/>
                    </a:lnTo>
                    <a:lnTo>
                      <a:pt x="26" y="72"/>
                    </a:lnTo>
                    <a:lnTo>
                      <a:pt x="26" y="68"/>
                    </a:lnTo>
                    <a:lnTo>
                      <a:pt x="30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4"/>
                    </a:lnTo>
                    <a:lnTo>
                      <a:pt x="44" y="74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0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close/>
                    <a:moveTo>
                      <a:pt x="70" y="22"/>
                    </a:moveTo>
                    <a:lnTo>
                      <a:pt x="66" y="22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22"/>
                    </a:lnTo>
                    <a:lnTo>
                      <a:pt x="70" y="22"/>
                    </a:lnTo>
                    <a:lnTo>
                      <a:pt x="70" y="22"/>
                    </a:lnTo>
                    <a:close/>
                    <a:moveTo>
                      <a:pt x="82" y="26"/>
                    </a:move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close/>
                    <a:moveTo>
                      <a:pt x="82" y="34"/>
                    </a:moveTo>
                    <a:lnTo>
                      <a:pt x="78" y="38"/>
                    </a:lnTo>
                    <a:lnTo>
                      <a:pt x="78" y="42"/>
                    </a:lnTo>
                    <a:lnTo>
                      <a:pt x="78" y="38"/>
                    </a:lnTo>
                    <a:lnTo>
                      <a:pt x="74" y="38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2" y="34"/>
                    </a:lnTo>
                    <a:lnTo>
                      <a:pt x="82" y="34"/>
                    </a:lnTo>
                    <a:close/>
                    <a:moveTo>
                      <a:pt x="0" y="38"/>
                    </a:moveTo>
                    <a:lnTo>
                      <a:pt x="2" y="42"/>
                    </a:lnTo>
                    <a:lnTo>
                      <a:pt x="0" y="42"/>
                    </a:lnTo>
                    <a:lnTo>
                      <a:pt x="2" y="42"/>
                    </a:lnTo>
                    <a:lnTo>
                      <a:pt x="2" y="46"/>
                    </a:lnTo>
                    <a:lnTo>
                      <a:pt x="2" y="48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8"/>
                    </a:lnTo>
                    <a:lnTo>
                      <a:pt x="0" y="38"/>
                    </a:lnTo>
                    <a:close/>
                    <a:moveTo>
                      <a:pt x="92" y="48"/>
                    </a:moveTo>
                    <a:lnTo>
                      <a:pt x="96" y="52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0" y="56"/>
                    </a:lnTo>
                    <a:lnTo>
                      <a:pt x="90" y="52"/>
                    </a:lnTo>
                    <a:lnTo>
                      <a:pt x="92" y="52"/>
                    </a:lnTo>
                    <a:lnTo>
                      <a:pt x="90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close/>
                    <a:moveTo>
                      <a:pt x="60" y="68"/>
                    </a:moveTo>
                    <a:lnTo>
                      <a:pt x="56" y="68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2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2" y="72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2" y="74"/>
                    </a:lnTo>
                    <a:lnTo>
                      <a:pt x="62" y="72"/>
                    </a:lnTo>
                    <a:lnTo>
                      <a:pt x="62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close/>
                    <a:moveTo>
                      <a:pt x="66" y="60"/>
                    </a:moveTo>
                    <a:lnTo>
                      <a:pt x="66" y="56"/>
                    </a:lnTo>
                    <a:lnTo>
                      <a:pt x="70" y="60"/>
                    </a:lnTo>
                    <a:lnTo>
                      <a:pt x="66" y="60"/>
                    </a:lnTo>
                    <a:lnTo>
                      <a:pt x="66" y="60"/>
                    </a:lnTo>
                    <a:lnTo>
                      <a:pt x="66" y="60"/>
                    </a:lnTo>
                    <a:close/>
                    <a:moveTo>
                      <a:pt x="14" y="56"/>
                    </a:move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4" y="56"/>
                    </a:lnTo>
                    <a:lnTo>
                      <a:pt x="14" y="56"/>
                    </a:lnTo>
                    <a:lnTo>
                      <a:pt x="14" y="56"/>
                    </a:lnTo>
                    <a:close/>
                    <a:moveTo>
                      <a:pt x="90" y="72"/>
                    </a:moveTo>
                    <a:lnTo>
                      <a:pt x="86" y="72"/>
                    </a:lnTo>
                    <a:lnTo>
                      <a:pt x="86" y="68"/>
                    </a:lnTo>
                    <a:lnTo>
                      <a:pt x="90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  <a:moveTo>
                      <a:pt x="14" y="68"/>
                    </a:move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8"/>
                    </a:lnTo>
                    <a:lnTo>
                      <a:pt x="14" y="68"/>
                    </a:lnTo>
                    <a:lnTo>
                      <a:pt x="14" y="68"/>
                    </a:lnTo>
                    <a:close/>
                    <a:moveTo>
                      <a:pt x="10" y="64"/>
                    </a:moveTo>
                    <a:lnTo>
                      <a:pt x="10" y="68"/>
                    </a:lnTo>
                    <a:lnTo>
                      <a:pt x="14" y="72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4"/>
                    </a:lnTo>
                    <a:close/>
                    <a:moveTo>
                      <a:pt x="74" y="78"/>
                    </a:moveTo>
                    <a:lnTo>
                      <a:pt x="70" y="78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14" y="82"/>
                    </a:moveTo>
                    <a:lnTo>
                      <a:pt x="14" y="78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4" y="74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4" y="82"/>
                    </a:lnTo>
                    <a:lnTo>
                      <a:pt x="14" y="82"/>
                    </a:lnTo>
                    <a:lnTo>
                      <a:pt x="14" y="82"/>
                    </a:lnTo>
                    <a:close/>
                    <a:moveTo>
                      <a:pt x="100" y="82"/>
                    </a:moveTo>
                    <a:lnTo>
                      <a:pt x="100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4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  <a:moveTo>
                      <a:pt x="90" y="82"/>
                    </a:moveTo>
                    <a:lnTo>
                      <a:pt x="92" y="78"/>
                    </a:lnTo>
                    <a:lnTo>
                      <a:pt x="92" y="82"/>
                    </a:lnTo>
                    <a:lnTo>
                      <a:pt x="90" y="82"/>
                    </a:lnTo>
                    <a:lnTo>
                      <a:pt x="90" y="82"/>
                    </a:lnTo>
                    <a:lnTo>
                      <a:pt x="90" y="82"/>
                    </a:lnTo>
                    <a:close/>
                    <a:moveTo>
                      <a:pt x="62" y="82"/>
                    </a:moveTo>
                    <a:lnTo>
                      <a:pt x="62" y="78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2" y="82"/>
                    </a:lnTo>
                    <a:lnTo>
                      <a:pt x="62" y="82"/>
                    </a:lnTo>
                    <a:lnTo>
                      <a:pt x="62" y="82"/>
                    </a:lnTo>
                    <a:close/>
                    <a:moveTo>
                      <a:pt x="74" y="78"/>
                    </a:moveTo>
                    <a:lnTo>
                      <a:pt x="74" y="82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78"/>
                    </a:lnTo>
                    <a:lnTo>
                      <a:pt x="74" y="78"/>
                    </a:lnTo>
                    <a:lnTo>
                      <a:pt x="74" y="78"/>
                    </a:lnTo>
                    <a:close/>
                    <a:moveTo>
                      <a:pt x="66" y="82"/>
                    </a:moveTo>
                    <a:lnTo>
                      <a:pt x="66" y="86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66" y="82"/>
                    </a:lnTo>
                    <a:lnTo>
                      <a:pt x="66" y="82"/>
                    </a:lnTo>
                    <a:lnTo>
                      <a:pt x="66" y="82"/>
                    </a:lnTo>
                    <a:close/>
                    <a:moveTo>
                      <a:pt x="82" y="94"/>
                    </a:moveTo>
                    <a:lnTo>
                      <a:pt x="78" y="90"/>
                    </a:lnTo>
                    <a:lnTo>
                      <a:pt x="82" y="90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close/>
                    <a:moveTo>
                      <a:pt x="78" y="94"/>
                    </a:moveTo>
                    <a:lnTo>
                      <a:pt x="74" y="94"/>
                    </a:lnTo>
                    <a:lnTo>
                      <a:pt x="74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close/>
                    <a:moveTo>
                      <a:pt x="100" y="94"/>
                    </a:moveTo>
                    <a:lnTo>
                      <a:pt x="100" y="90"/>
                    </a:lnTo>
                    <a:lnTo>
                      <a:pt x="100" y="94"/>
                    </a:lnTo>
                    <a:lnTo>
                      <a:pt x="104" y="94"/>
                    </a:lnTo>
                    <a:lnTo>
                      <a:pt x="100" y="94"/>
                    </a:lnTo>
                    <a:lnTo>
                      <a:pt x="100" y="94"/>
                    </a:lnTo>
                    <a:lnTo>
                      <a:pt x="100" y="94"/>
                    </a:lnTo>
                    <a:close/>
                    <a:moveTo>
                      <a:pt x="100" y="102"/>
                    </a:moveTo>
                    <a:lnTo>
                      <a:pt x="100" y="98"/>
                    </a:lnTo>
                    <a:lnTo>
                      <a:pt x="104" y="98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08" y="98"/>
                    </a:lnTo>
                    <a:lnTo>
                      <a:pt x="104" y="98"/>
                    </a:lnTo>
                    <a:lnTo>
                      <a:pt x="100" y="98"/>
                    </a:lnTo>
                    <a:lnTo>
                      <a:pt x="100" y="102"/>
                    </a:lnTo>
                    <a:lnTo>
                      <a:pt x="100" y="102"/>
                    </a:lnTo>
                    <a:lnTo>
                      <a:pt x="100" y="102"/>
                    </a:lnTo>
                    <a:close/>
                    <a:moveTo>
                      <a:pt x="78" y="102"/>
                    </a:moveTo>
                    <a:lnTo>
                      <a:pt x="78" y="98"/>
                    </a:lnTo>
                    <a:lnTo>
                      <a:pt x="78" y="102"/>
                    </a:lnTo>
                    <a:lnTo>
                      <a:pt x="78" y="102"/>
                    </a:lnTo>
                    <a:lnTo>
                      <a:pt x="78" y="102"/>
                    </a:lnTo>
                    <a:close/>
                    <a:moveTo>
                      <a:pt x="62" y="102"/>
                    </a:moveTo>
                    <a:lnTo>
                      <a:pt x="62" y="98"/>
                    </a:lnTo>
                    <a:lnTo>
                      <a:pt x="66" y="98"/>
                    </a:lnTo>
                    <a:lnTo>
                      <a:pt x="66" y="102"/>
                    </a:lnTo>
                    <a:lnTo>
                      <a:pt x="62" y="102"/>
                    </a:lnTo>
                    <a:lnTo>
                      <a:pt x="62" y="102"/>
                    </a:lnTo>
                    <a:lnTo>
                      <a:pt x="62" y="102"/>
                    </a:lnTo>
                    <a:close/>
                    <a:moveTo>
                      <a:pt x="118" y="104"/>
                    </a:moveTo>
                    <a:lnTo>
                      <a:pt x="118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2" y="108"/>
                    </a:lnTo>
                    <a:lnTo>
                      <a:pt x="116" y="108"/>
                    </a:lnTo>
                    <a:lnTo>
                      <a:pt x="116" y="104"/>
                    </a:lnTo>
                    <a:lnTo>
                      <a:pt x="118" y="104"/>
                    </a:lnTo>
                    <a:lnTo>
                      <a:pt x="118" y="104"/>
                    </a:lnTo>
                    <a:lnTo>
                      <a:pt x="118" y="104"/>
                    </a:lnTo>
                    <a:close/>
                    <a:moveTo>
                      <a:pt x="44" y="104"/>
                    </a:move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close/>
                    <a:moveTo>
                      <a:pt x="104" y="124"/>
                    </a:moveTo>
                    <a:lnTo>
                      <a:pt x="104" y="120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close/>
                    <a:moveTo>
                      <a:pt x="56" y="128"/>
                    </a:moveTo>
                    <a:lnTo>
                      <a:pt x="52" y="128"/>
                    </a:lnTo>
                    <a:lnTo>
                      <a:pt x="52" y="120"/>
                    </a:lnTo>
                    <a:lnTo>
                      <a:pt x="56" y="120"/>
                    </a:lnTo>
                    <a:lnTo>
                      <a:pt x="60" y="120"/>
                    </a:lnTo>
                    <a:lnTo>
                      <a:pt x="62" y="120"/>
                    </a:lnTo>
                    <a:lnTo>
                      <a:pt x="60" y="124"/>
                    </a:lnTo>
                    <a:lnTo>
                      <a:pt x="62" y="124"/>
                    </a:lnTo>
                    <a:lnTo>
                      <a:pt x="66" y="124"/>
                    </a:lnTo>
                    <a:lnTo>
                      <a:pt x="70" y="124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8"/>
                    </a:lnTo>
                    <a:lnTo>
                      <a:pt x="82" y="124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92" y="128"/>
                    </a:lnTo>
                    <a:lnTo>
                      <a:pt x="92" y="130"/>
                    </a:lnTo>
                    <a:lnTo>
                      <a:pt x="90" y="130"/>
                    </a:lnTo>
                    <a:lnTo>
                      <a:pt x="82" y="130"/>
                    </a:lnTo>
                    <a:lnTo>
                      <a:pt x="78" y="130"/>
                    </a:lnTo>
                    <a:lnTo>
                      <a:pt x="74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28"/>
                    </a:lnTo>
                    <a:lnTo>
                      <a:pt x="62" y="128"/>
                    </a:lnTo>
                    <a:lnTo>
                      <a:pt x="60" y="128"/>
                    </a:lnTo>
                    <a:lnTo>
                      <a:pt x="56" y="128"/>
                    </a:lnTo>
                    <a:lnTo>
                      <a:pt x="56" y="128"/>
                    </a:lnTo>
                    <a:lnTo>
                      <a:pt x="56" y="1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4" name="Freeform 103">
                <a:extLst>
                  <a:ext uri="{FF2B5EF4-FFF2-40B4-BE49-F238E27FC236}">
                    <a16:creationId xmlns:a16="http://schemas.microsoft.com/office/drawing/2014/main" id="{72A89D84-2013-4D0E-B682-1F8A5D25096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37050" y="3124268"/>
                <a:ext cx="3175" cy="6350"/>
              </a:xfrm>
              <a:custGeom>
                <a:avLst/>
                <a:gdLst>
                  <a:gd name="T0" fmla="*/ 0 w 2"/>
                  <a:gd name="T1" fmla="*/ 4 h 4"/>
                  <a:gd name="T2" fmla="*/ 0 w 2"/>
                  <a:gd name="T3" fmla="*/ 4 h 4"/>
                  <a:gd name="T4" fmla="*/ 0 w 2"/>
                  <a:gd name="T5" fmla="*/ 4 h 4"/>
                  <a:gd name="T6" fmla="*/ 0 w 2"/>
                  <a:gd name="T7" fmla="*/ 4 h 4"/>
                  <a:gd name="T8" fmla="*/ 0 w 2"/>
                  <a:gd name="T9" fmla="*/ 4 h 4"/>
                  <a:gd name="T10" fmla="*/ 0 w 2"/>
                  <a:gd name="T11" fmla="*/ 4 h 4"/>
                  <a:gd name="T12" fmla="*/ 0 w 2"/>
                  <a:gd name="T13" fmla="*/ 0 h 4"/>
                  <a:gd name="T14" fmla="*/ 2 w 2"/>
                  <a:gd name="T15" fmla="*/ 0 h 4"/>
                  <a:gd name="T16" fmla="*/ 0 w 2"/>
                  <a:gd name="T17" fmla="*/ 4 h 4"/>
                  <a:gd name="T18" fmla="*/ 0 w 2"/>
                  <a:gd name="T19" fmla="*/ 4 h 4"/>
                  <a:gd name="T20" fmla="*/ 0 w 2"/>
                  <a:gd name="T21" fmla="*/ 4 h 4"/>
                  <a:gd name="T22" fmla="*/ 0 w 2"/>
                  <a:gd name="T23" fmla="*/ 4 h 4"/>
                  <a:gd name="T24" fmla="*/ 0 w 2"/>
                  <a:gd name="T25" fmla="*/ 4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"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5" name="Freeform 104">
                <a:extLst>
                  <a:ext uri="{FF2B5EF4-FFF2-40B4-BE49-F238E27FC236}">
                    <a16:creationId xmlns:a16="http://schemas.microsoft.com/office/drawing/2014/main" id="{531DEE5F-C35F-458C-9DE3-A144A6F54D3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56150" y="3159193"/>
                <a:ext cx="152400" cy="88900"/>
              </a:xfrm>
              <a:custGeom>
                <a:avLst/>
                <a:gdLst>
                  <a:gd name="T0" fmla="*/ 74 w 96"/>
                  <a:gd name="T1" fmla="*/ 42 h 56"/>
                  <a:gd name="T2" fmla="*/ 70 w 96"/>
                  <a:gd name="T3" fmla="*/ 46 h 56"/>
                  <a:gd name="T4" fmla="*/ 66 w 96"/>
                  <a:gd name="T5" fmla="*/ 46 h 56"/>
                  <a:gd name="T6" fmla="*/ 66 w 96"/>
                  <a:gd name="T7" fmla="*/ 46 h 56"/>
                  <a:gd name="T8" fmla="*/ 62 w 96"/>
                  <a:gd name="T9" fmla="*/ 50 h 56"/>
                  <a:gd name="T10" fmla="*/ 58 w 96"/>
                  <a:gd name="T11" fmla="*/ 50 h 56"/>
                  <a:gd name="T12" fmla="*/ 56 w 96"/>
                  <a:gd name="T13" fmla="*/ 50 h 56"/>
                  <a:gd name="T14" fmla="*/ 52 w 96"/>
                  <a:gd name="T15" fmla="*/ 50 h 56"/>
                  <a:gd name="T16" fmla="*/ 44 w 96"/>
                  <a:gd name="T17" fmla="*/ 52 h 56"/>
                  <a:gd name="T18" fmla="*/ 40 w 96"/>
                  <a:gd name="T19" fmla="*/ 52 h 56"/>
                  <a:gd name="T20" fmla="*/ 36 w 96"/>
                  <a:gd name="T21" fmla="*/ 52 h 56"/>
                  <a:gd name="T22" fmla="*/ 32 w 96"/>
                  <a:gd name="T23" fmla="*/ 56 h 56"/>
                  <a:gd name="T24" fmla="*/ 30 w 96"/>
                  <a:gd name="T25" fmla="*/ 56 h 56"/>
                  <a:gd name="T26" fmla="*/ 22 w 96"/>
                  <a:gd name="T27" fmla="*/ 52 h 56"/>
                  <a:gd name="T28" fmla="*/ 18 w 96"/>
                  <a:gd name="T29" fmla="*/ 52 h 56"/>
                  <a:gd name="T30" fmla="*/ 14 w 96"/>
                  <a:gd name="T31" fmla="*/ 50 h 56"/>
                  <a:gd name="T32" fmla="*/ 10 w 96"/>
                  <a:gd name="T33" fmla="*/ 46 h 56"/>
                  <a:gd name="T34" fmla="*/ 10 w 96"/>
                  <a:gd name="T35" fmla="*/ 46 h 56"/>
                  <a:gd name="T36" fmla="*/ 6 w 96"/>
                  <a:gd name="T37" fmla="*/ 42 h 56"/>
                  <a:gd name="T38" fmla="*/ 2 w 96"/>
                  <a:gd name="T39" fmla="*/ 38 h 56"/>
                  <a:gd name="T40" fmla="*/ 2 w 96"/>
                  <a:gd name="T41" fmla="*/ 34 h 56"/>
                  <a:gd name="T42" fmla="*/ 0 w 96"/>
                  <a:gd name="T43" fmla="*/ 34 h 56"/>
                  <a:gd name="T44" fmla="*/ 2 w 96"/>
                  <a:gd name="T45" fmla="*/ 30 h 56"/>
                  <a:gd name="T46" fmla="*/ 2 w 96"/>
                  <a:gd name="T47" fmla="*/ 26 h 56"/>
                  <a:gd name="T48" fmla="*/ 2 w 96"/>
                  <a:gd name="T49" fmla="*/ 24 h 56"/>
                  <a:gd name="T50" fmla="*/ 6 w 96"/>
                  <a:gd name="T51" fmla="*/ 20 h 56"/>
                  <a:gd name="T52" fmla="*/ 6 w 96"/>
                  <a:gd name="T53" fmla="*/ 20 h 56"/>
                  <a:gd name="T54" fmla="*/ 6 w 96"/>
                  <a:gd name="T55" fmla="*/ 16 h 56"/>
                  <a:gd name="T56" fmla="*/ 10 w 96"/>
                  <a:gd name="T57" fmla="*/ 16 h 56"/>
                  <a:gd name="T58" fmla="*/ 14 w 96"/>
                  <a:gd name="T59" fmla="*/ 16 h 56"/>
                  <a:gd name="T60" fmla="*/ 14 w 96"/>
                  <a:gd name="T61" fmla="*/ 12 h 56"/>
                  <a:gd name="T62" fmla="*/ 18 w 96"/>
                  <a:gd name="T63" fmla="*/ 12 h 56"/>
                  <a:gd name="T64" fmla="*/ 18 w 96"/>
                  <a:gd name="T65" fmla="*/ 12 h 56"/>
                  <a:gd name="T66" fmla="*/ 26 w 96"/>
                  <a:gd name="T67" fmla="*/ 16 h 56"/>
                  <a:gd name="T68" fmla="*/ 32 w 96"/>
                  <a:gd name="T69" fmla="*/ 16 h 56"/>
                  <a:gd name="T70" fmla="*/ 36 w 96"/>
                  <a:gd name="T71" fmla="*/ 16 h 56"/>
                  <a:gd name="T72" fmla="*/ 36 w 96"/>
                  <a:gd name="T73" fmla="*/ 16 h 56"/>
                  <a:gd name="T74" fmla="*/ 36 w 96"/>
                  <a:gd name="T75" fmla="*/ 12 h 56"/>
                  <a:gd name="T76" fmla="*/ 40 w 96"/>
                  <a:gd name="T77" fmla="*/ 8 h 56"/>
                  <a:gd name="T78" fmla="*/ 44 w 96"/>
                  <a:gd name="T79" fmla="*/ 8 h 56"/>
                  <a:gd name="T80" fmla="*/ 48 w 96"/>
                  <a:gd name="T81" fmla="*/ 8 h 56"/>
                  <a:gd name="T82" fmla="*/ 56 w 96"/>
                  <a:gd name="T83" fmla="*/ 8 h 56"/>
                  <a:gd name="T84" fmla="*/ 56 w 96"/>
                  <a:gd name="T85" fmla="*/ 8 h 56"/>
                  <a:gd name="T86" fmla="*/ 58 w 96"/>
                  <a:gd name="T87" fmla="*/ 4 h 56"/>
                  <a:gd name="T88" fmla="*/ 62 w 96"/>
                  <a:gd name="T89" fmla="*/ 0 h 56"/>
                  <a:gd name="T90" fmla="*/ 66 w 96"/>
                  <a:gd name="T91" fmla="*/ 0 h 56"/>
                  <a:gd name="T92" fmla="*/ 70 w 96"/>
                  <a:gd name="T93" fmla="*/ 0 h 56"/>
                  <a:gd name="T94" fmla="*/ 78 w 96"/>
                  <a:gd name="T95" fmla="*/ 0 h 56"/>
                  <a:gd name="T96" fmla="*/ 82 w 96"/>
                  <a:gd name="T97" fmla="*/ 4 h 56"/>
                  <a:gd name="T98" fmla="*/ 84 w 96"/>
                  <a:gd name="T99" fmla="*/ 4 h 56"/>
                  <a:gd name="T100" fmla="*/ 84 w 96"/>
                  <a:gd name="T101" fmla="*/ 0 h 56"/>
                  <a:gd name="T102" fmla="*/ 88 w 96"/>
                  <a:gd name="T103" fmla="*/ 4 h 56"/>
                  <a:gd name="T104" fmla="*/ 92 w 96"/>
                  <a:gd name="T105" fmla="*/ 8 h 56"/>
                  <a:gd name="T106" fmla="*/ 96 w 96"/>
                  <a:gd name="T107" fmla="*/ 8 h 56"/>
                  <a:gd name="T108" fmla="*/ 92 w 96"/>
                  <a:gd name="T109" fmla="*/ 16 h 56"/>
                  <a:gd name="T110" fmla="*/ 88 w 96"/>
                  <a:gd name="T111" fmla="*/ 16 h 56"/>
                  <a:gd name="T112" fmla="*/ 84 w 96"/>
                  <a:gd name="T113" fmla="*/ 20 h 56"/>
                  <a:gd name="T114" fmla="*/ 84 w 96"/>
                  <a:gd name="T115" fmla="*/ 20 h 56"/>
                  <a:gd name="T116" fmla="*/ 84 w 96"/>
                  <a:gd name="T117" fmla="*/ 24 h 56"/>
                  <a:gd name="T118" fmla="*/ 82 w 96"/>
                  <a:gd name="T119" fmla="*/ 26 h 56"/>
                  <a:gd name="T120" fmla="*/ 78 w 96"/>
                  <a:gd name="T121" fmla="*/ 30 h 56"/>
                  <a:gd name="T122" fmla="*/ 78 w 96"/>
                  <a:gd name="T123" fmla="*/ 34 h 56"/>
                  <a:gd name="T124" fmla="*/ 78 w 96"/>
                  <a:gd name="T125" fmla="*/ 38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6" h="56">
                    <a:moveTo>
                      <a:pt x="78" y="38"/>
                    </a:moveTo>
                    <a:lnTo>
                      <a:pt x="74" y="38"/>
                    </a:lnTo>
                    <a:lnTo>
                      <a:pt x="74" y="38"/>
                    </a:lnTo>
                    <a:lnTo>
                      <a:pt x="74" y="38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4" y="42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70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46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62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8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52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8" y="50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2" y="56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22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8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4"/>
                    </a:lnTo>
                    <a:lnTo>
                      <a:pt x="2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4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6" y="20"/>
                    </a:lnTo>
                    <a:lnTo>
                      <a:pt x="2" y="20"/>
                    </a:lnTo>
                    <a:lnTo>
                      <a:pt x="2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10" y="16"/>
                    </a:lnTo>
                    <a:lnTo>
                      <a:pt x="10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82" y="30"/>
                    </a:lnTo>
                    <a:lnTo>
                      <a:pt x="82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8" y="34"/>
                    </a:lnTo>
                    <a:lnTo>
                      <a:pt x="78" y="34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lnTo>
                      <a:pt x="78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6" name="Freeform 105">
                <a:extLst>
                  <a:ext uri="{FF2B5EF4-FFF2-40B4-BE49-F238E27FC236}">
                    <a16:creationId xmlns:a16="http://schemas.microsoft.com/office/drawing/2014/main" id="{26CE675A-6BBD-41A1-ADB8-70F80356BD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44925" y="2521018"/>
                <a:ext cx="247650" cy="117475"/>
              </a:xfrm>
              <a:custGeom>
                <a:avLst/>
                <a:gdLst>
                  <a:gd name="T0" fmla="*/ 36 w 156"/>
                  <a:gd name="T1" fmla="*/ 48 h 74"/>
                  <a:gd name="T2" fmla="*/ 30 w 156"/>
                  <a:gd name="T3" fmla="*/ 44 h 74"/>
                  <a:gd name="T4" fmla="*/ 14 w 156"/>
                  <a:gd name="T5" fmla="*/ 40 h 74"/>
                  <a:gd name="T6" fmla="*/ 14 w 156"/>
                  <a:gd name="T7" fmla="*/ 40 h 74"/>
                  <a:gd name="T8" fmla="*/ 30 w 156"/>
                  <a:gd name="T9" fmla="*/ 38 h 74"/>
                  <a:gd name="T10" fmla="*/ 32 w 156"/>
                  <a:gd name="T11" fmla="*/ 34 h 74"/>
                  <a:gd name="T12" fmla="*/ 32 w 156"/>
                  <a:gd name="T13" fmla="*/ 30 h 74"/>
                  <a:gd name="T14" fmla="*/ 32 w 156"/>
                  <a:gd name="T15" fmla="*/ 26 h 74"/>
                  <a:gd name="T16" fmla="*/ 30 w 156"/>
                  <a:gd name="T17" fmla="*/ 26 h 74"/>
                  <a:gd name="T18" fmla="*/ 18 w 156"/>
                  <a:gd name="T19" fmla="*/ 26 h 74"/>
                  <a:gd name="T20" fmla="*/ 0 w 156"/>
                  <a:gd name="T21" fmla="*/ 26 h 74"/>
                  <a:gd name="T22" fmla="*/ 6 w 156"/>
                  <a:gd name="T23" fmla="*/ 26 h 74"/>
                  <a:gd name="T24" fmla="*/ 6 w 156"/>
                  <a:gd name="T25" fmla="*/ 22 h 74"/>
                  <a:gd name="T26" fmla="*/ 10 w 156"/>
                  <a:gd name="T27" fmla="*/ 22 h 74"/>
                  <a:gd name="T28" fmla="*/ 10 w 156"/>
                  <a:gd name="T29" fmla="*/ 18 h 74"/>
                  <a:gd name="T30" fmla="*/ 14 w 156"/>
                  <a:gd name="T31" fmla="*/ 14 h 74"/>
                  <a:gd name="T32" fmla="*/ 14 w 156"/>
                  <a:gd name="T33" fmla="*/ 10 h 74"/>
                  <a:gd name="T34" fmla="*/ 18 w 156"/>
                  <a:gd name="T35" fmla="*/ 10 h 74"/>
                  <a:gd name="T36" fmla="*/ 26 w 156"/>
                  <a:gd name="T37" fmla="*/ 18 h 74"/>
                  <a:gd name="T38" fmla="*/ 30 w 156"/>
                  <a:gd name="T39" fmla="*/ 10 h 74"/>
                  <a:gd name="T40" fmla="*/ 30 w 156"/>
                  <a:gd name="T41" fmla="*/ 8 h 74"/>
                  <a:gd name="T42" fmla="*/ 22 w 156"/>
                  <a:gd name="T43" fmla="*/ 4 h 74"/>
                  <a:gd name="T44" fmla="*/ 32 w 156"/>
                  <a:gd name="T45" fmla="*/ 4 h 74"/>
                  <a:gd name="T46" fmla="*/ 44 w 156"/>
                  <a:gd name="T47" fmla="*/ 14 h 74"/>
                  <a:gd name="T48" fmla="*/ 40 w 156"/>
                  <a:gd name="T49" fmla="*/ 22 h 74"/>
                  <a:gd name="T50" fmla="*/ 44 w 156"/>
                  <a:gd name="T51" fmla="*/ 26 h 74"/>
                  <a:gd name="T52" fmla="*/ 52 w 156"/>
                  <a:gd name="T53" fmla="*/ 22 h 74"/>
                  <a:gd name="T54" fmla="*/ 60 w 156"/>
                  <a:gd name="T55" fmla="*/ 14 h 74"/>
                  <a:gd name="T56" fmla="*/ 66 w 156"/>
                  <a:gd name="T57" fmla="*/ 18 h 74"/>
                  <a:gd name="T58" fmla="*/ 78 w 156"/>
                  <a:gd name="T59" fmla="*/ 10 h 74"/>
                  <a:gd name="T60" fmla="*/ 84 w 156"/>
                  <a:gd name="T61" fmla="*/ 14 h 74"/>
                  <a:gd name="T62" fmla="*/ 88 w 156"/>
                  <a:gd name="T63" fmla="*/ 18 h 74"/>
                  <a:gd name="T64" fmla="*/ 92 w 156"/>
                  <a:gd name="T65" fmla="*/ 10 h 74"/>
                  <a:gd name="T66" fmla="*/ 104 w 156"/>
                  <a:gd name="T67" fmla="*/ 8 h 74"/>
                  <a:gd name="T68" fmla="*/ 114 w 156"/>
                  <a:gd name="T69" fmla="*/ 8 h 74"/>
                  <a:gd name="T70" fmla="*/ 122 w 156"/>
                  <a:gd name="T71" fmla="*/ 0 h 74"/>
                  <a:gd name="T72" fmla="*/ 130 w 156"/>
                  <a:gd name="T73" fmla="*/ 8 h 74"/>
                  <a:gd name="T74" fmla="*/ 134 w 156"/>
                  <a:gd name="T75" fmla="*/ 10 h 74"/>
                  <a:gd name="T76" fmla="*/ 136 w 156"/>
                  <a:gd name="T77" fmla="*/ 14 h 74"/>
                  <a:gd name="T78" fmla="*/ 140 w 156"/>
                  <a:gd name="T79" fmla="*/ 22 h 74"/>
                  <a:gd name="T80" fmla="*/ 152 w 156"/>
                  <a:gd name="T81" fmla="*/ 30 h 74"/>
                  <a:gd name="T82" fmla="*/ 156 w 156"/>
                  <a:gd name="T83" fmla="*/ 34 h 74"/>
                  <a:gd name="T84" fmla="*/ 152 w 156"/>
                  <a:gd name="T85" fmla="*/ 40 h 74"/>
                  <a:gd name="T86" fmla="*/ 144 w 156"/>
                  <a:gd name="T87" fmla="*/ 44 h 74"/>
                  <a:gd name="T88" fmla="*/ 140 w 156"/>
                  <a:gd name="T89" fmla="*/ 52 h 74"/>
                  <a:gd name="T90" fmla="*/ 130 w 156"/>
                  <a:gd name="T91" fmla="*/ 56 h 74"/>
                  <a:gd name="T92" fmla="*/ 118 w 156"/>
                  <a:gd name="T93" fmla="*/ 60 h 74"/>
                  <a:gd name="T94" fmla="*/ 106 w 156"/>
                  <a:gd name="T95" fmla="*/ 64 h 74"/>
                  <a:gd name="T96" fmla="*/ 92 w 156"/>
                  <a:gd name="T97" fmla="*/ 68 h 74"/>
                  <a:gd name="T98" fmla="*/ 82 w 156"/>
                  <a:gd name="T99" fmla="*/ 74 h 74"/>
                  <a:gd name="T100" fmla="*/ 62 w 156"/>
                  <a:gd name="T101" fmla="*/ 70 h 74"/>
                  <a:gd name="T102" fmla="*/ 56 w 156"/>
                  <a:gd name="T103" fmla="*/ 68 h 74"/>
                  <a:gd name="T104" fmla="*/ 48 w 156"/>
                  <a:gd name="T105" fmla="*/ 68 h 74"/>
                  <a:gd name="T106" fmla="*/ 36 w 156"/>
                  <a:gd name="T107" fmla="*/ 64 h 74"/>
                  <a:gd name="T108" fmla="*/ 26 w 156"/>
                  <a:gd name="T109" fmla="*/ 68 h 74"/>
                  <a:gd name="T110" fmla="*/ 30 w 156"/>
                  <a:gd name="T111" fmla="*/ 60 h 74"/>
                  <a:gd name="T112" fmla="*/ 36 w 156"/>
                  <a:gd name="T113" fmla="*/ 56 h 74"/>
                  <a:gd name="T114" fmla="*/ 44 w 156"/>
                  <a:gd name="T115" fmla="*/ 52 h 74"/>
                  <a:gd name="T116" fmla="*/ 32 w 156"/>
                  <a:gd name="T117" fmla="*/ 5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56" h="74">
                    <a:moveTo>
                      <a:pt x="32" y="52"/>
                    </a:moveTo>
                    <a:lnTo>
                      <a:pt x="36" y="48"/>
                    </a:lnTo>
                    <a:lnTo>
                      <a:pt x="40" y="48"/>
                    </a:lnTo>
                    <a:lnTo>
                      <a:pt x="40" y="44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0"/>
                    </a:lnTo>
                    <a:lnTo>
                      <a:pt x="26" y="40"/>
                    </a:lnTo>
                    <a:lnTo>
                      <a:pt x="22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10" y="40"/>
                    </a:lnTo>
                    <a:lnTo>
                      <a:pt x="14" y="40"/>
                    </a:lnTo>
                    <a:lnTo>
                      <a:pt x="14" y="38"/>
                    </a:lnTo>
                    <a:lnTo>
                      <a:pt x="18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2" y="38"/>
                    </a:lnTo>
                    <a:lnTo>
                      <a:pt x="36" y="38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2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2" y="30"/>
                    </a:lnTo>
                    <a:lnTo>
                      <a:pt x="36" y="30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36" y="26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32" y="26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0" y="26"/>
                    </a:lnTo>
                    <a:lnTo>
                      <a:pt x="2" y="22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8" y="18"/>
                    </a:lnTo>
                    <a:lnTo>
                      <a:pt x="14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0" y="10"/>
                    </a:lnTo>
                    <a:lnTo>
                      <a:pt x="14" y="10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4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4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2" y="10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26" y="8"/>
                    </a:lnTo>
                    <a:lnTo>
                      <a:pt x="22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10"/>
                    </a:lnTo>
                    <a:lnTo>
                      <a:pt x="44" y="10"/>
                    </a:lnTo>
                    <a:lnTo>
                      <a:pt x="44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26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60" y="22"/>
                    </a:lnTo>
                    <a:lnTo>
                      <a:pt x="60" y="18"/>
                    </a:lnTo>
                    <a:lnTo>
                      <a:pt x="60" y="14"/>
                    </a:lnTo>
                    <a:lnTo>
                      <a:pt x="60" y="10"/>
                    </a:lnTo>
                    <a:lnTo>
                      <a:pt x="62" y="10"/>
                    </a:lnTo>
                    <a:lnTo>
                      <a:pt x="62" y="14"/>
                    </a:lnTo>
                    <a:lnTo>
                      <a:pt x="66" y="14"/>
                    </a:lnTo>
                    <a:lnTo>
                      <a:pt x="66" y="18"/>
                    </a:lnTo>
                    <a:lnTo>
                      <a:pt x="70" y="18"/>
                    </a:lnTo>
                    <a:lnTo>
                      <a:pt x="70" y="14"/>
                    </a:lnTo>
                    <a:lnTo>
                      <a:pt x="70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10"/>
                    </a:lnTo>
                    <a:lnTo>
                      <a:pt x="84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88" y="18"/>
                    </a:lnTo>
                    <a:lnTo>
                      <a:pt x="88" y="14"/>
                    </a:lnTo>
                    <a:lnTo>
                      <a:pt x="84" y="10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6" y="10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4" y="8"/>
                    </a:lnTo>
                    <a:lnTo>
                      <a:pt x="106" y="8"/>
                    </a:lnTo>
                    <a:lnTo>
                      <a:pt x="106" y="10"/>
                    </a:lnTo>
                    <a:lnTo>
                      <a:pt x="110" y="10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0" y="4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4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10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4"/>
                    </a:lnTo>
                    <a:lnTo>
                      <a:pt x="134" y="8"/>
                    </a:lnTo>
                    <a:lnTo>
                      <a:pt x="134" y="10"/>
                    </a:lnTo>
                    <a:lnTo>
                      <a:pt x="130" y="10"/>
                    </a:lnTo>
                    <a:lnTo>
                      <a:pt x="134" y="10"/>
                    </a:lnTo>
                    <a:lnTo>
                      <a:pt x="136" y="10"/>
                    </a:lnTo>
                    <a:lnTo>
                      <a:pt x="140" y="14"/>
                    </a:lnTo>
                    <a:lnTo>
                      <a:pt x="136" y="14"/>
                    </a:lnTo>
                    <a:lnTo>
                      <a:pt x="136" y="18"/>
                    </a:lnTo>
                    <a:lnTo>
                      <a:pt x="140" y="18"/>
                    </a:lnTo>
                    <a:lnTo>
                      <a:pt x="144" y="18"/>
                    </a:lnTo>
                    <a:lnTo>
                      <a:pt x="144" y="22"/>
                    </a:lnTo>
                    <a:lnTo>
                      <a:pt x="140" y="22"/>
                    </a:lnTo>
                    <a:lnTo>
                      <a:pt x="140" y="26"/>
                    </a:lnTo>
                    <a:lnTo>
                      <a:pt x="144" y="22"/>
                    </a:lnTo>
                    <a:lnTo>
                      <a:pt x="148" y="22"/>
                    </a:lnTo>
                    <a:lnTo>
                      <a:pt x="152" y="26"/>
                    </a:lnTo>
                    <a:lnTo>
                      <a:pt x="152" y="30"/>
                    </a:lnTo>
                    <a:lnTo>
                      <a:pt x="156" y="30"/>
                    </a:lnTo>
                    <a:lnTo>
                      <a:pt x="152" y="34"/>
                    </a:lnTo>
                    <a:lnTo>
                      <a:pt x="148" y="34"/>
                    </a:lnTo>
                    <a:lnTo>
                      <a:pt x="152" y="34"/>
                    </a:lnTo>
                    <a:lnTo>
                      <a:pt x="156" y="34"/>
                    </a:lnTo>
                    <a:lnTo>
                      <a:pt x="156" y="38"/>
                    </a:lnTo>
                    <a:lnTo>
                      <a:pt x="152" y="38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52" y="40"/>
                    </a:lnTo>
                    <a:lnTo>
                      <a:pt x="148" y="40"/>
                    </a:lnTo>
                    <a:lnTo>
                      <a:pt x="148" y="44"/>
                    </a:lnTo>
                    <a:lnTo>
                      <a:pt x="144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2"/>
                    </a:lnTo>
                    <a:lnTo>
                      <a:pt x="134" y="56"/>
                    </a:lnTo>
                    <a:lnTo>
                      <a:pt x="136" y="56"/>
                    </a:lnTo>
                    <a:lnTo>
                      <a:pt x="134" y="56"/>
                    </a:lnTo>
                    <a:lnTo>
                      <a:pt x="130" y="56"/>
                    </a:lnTo>
                    <a:lnTo>
                      <a:pt x="130" y="52"/>
                    </a:lnTo>
                    <a:lnTo>
                      <a:pt x="130" y="56"/>
                    </a:lnTo>
                    <a:lnTo>
                      <a:pt x="126" y="56"/>
                    </a:lnTo>
                    <a:lnTo>
                      <a:pt x="122" y="56"/>
                    </a:lnTo>
                    <a:lnTo>
                      <a:pt x="118" y="60"/>
                    </a:lnTo>
                    <a:lnTo>
                      <a:pt x="114" y="60"/>
                    </a:lnTo>
                    <a:lnTo>
                      <a:pt x="114" y="64"/>
                    </a:lnTo>
                    <a:lnTo>
                      <a:pt x="110" y="64"/>
                    </a:lnTo>
                    <a:lnTo>
                      <a:pt x="106" y="68"/>
                    </a:lnTo>
                    <a:lnTo>
                      <a:pt x="106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88" y="74"/>
                    </a:lnTo>
                    <a:lnTo>
                      <a:pt x="84" y="74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0" y="74"/>
                    </a:lnTo>
                    <a:lnTo>
                      <a:pt x="66" y="70"/>
                    </a:lnTo>
                    <a:lnTo>
                      <a:pt x="62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0" y="64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7" name="Freeform 106">
                <a:extLst>
                  <a:ext uri="{FF2B5EF4-FFF2-40B4-BE49-F238E27FC236}">
                    <a16:creationId xmlns:a16="http://schemas.microsoft.com/office/drawing/2014/main" id="{88995354-B51E-4152-B2AA-1AC20D6AED4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56075" y="2927418"/>
                <a:ext cx="101600" cy="136525"/>
              </a:xfrm>
              <a:custGeom>
                <a:avLst/>
                <a:gdLst>
                  <a:gd name="T0" fmla="*/ 20 w 64"/>
                  <a:gd name="T1" fmla="*/ 46 h 86"/>
                  <a:gd name="T2" fmla="*/ 16 w 64"/>
                  <a:gd name="T3" fmla="*/ 46 h 86"/>
                  <a:gd name="T4" fmla="*/ 12 w 64"/>
                  <a:gd name="T5" fmla="*/ 46 h 86"/>
                  <a:gd name="T6" fmla="*/ 12 w 64"/>
                  <a:gd name="T7" fmla="*/ 42 h 86"/>
                  <a:gd name="T8" fmla="*/ 8 w 64"/>
                  <a:gd name="T9" fmla="*/ 38 h 86"/>
                  <a:gd name="T10" fmla="*/ 8 w 64"/>
                  <a:gd name="T11" fmla="*/ 34 h 86"/>
                  <a:gd name="T12" fmla="*/ 12 w 64"/>
                  <a:gd name="T13" fmla="*/ 34 h 86"/>
                  <a:gd name="T14" fmla="*/ 12 w 64"/>
                  <a:gd name="T15" fmla="*/ 30 h 86"/>
                  <a:gd name="T16" fmla="*/ 8 w 64"/>
                  <a:gd name="T17" fmla="*/ 30 h 86"/>
                  <a:gd name="T18" fmla="*/ 8 w 64"/>
                  <a:gd name="T19" fmla="*/ 26 h 86"/>
                  <a:gd name="T20" fmla="*/ 12 w 64"/>
                  <a:gd name="T21" fmla="*/ 26 h 86"/>
                  <a:gd name="T22" fmla="*/ 20 w 64"/>
                  <a:gd name="T23" fmla="*/ 24 h 86"/>
                  <a:gd name="T24" fmla="*/ 26 w 64"/>
                  <a:gd name="T25" fmla="*/ 26 h 86"/>
                  <a:gd name="T26" fmla="*/ 30 w 64"/>
                  <a:gd name="T27" fmla="*/ 20 h 86"/>
                  <a:gd name="T28" fmla="*/ 30 w 64"/>
                  <a:gd name="T29" fmla="*/ 16 h 86"/>
                  <a:gd name="T30" fmla="*/ 30 w 64"/>
                  <a:gd name="T31" fmla="*/ 12 h 86"/>
                  <a:gd name="T32" fmla="*/ 38 w 64"/>
                  <a:gd name="T33" fmla="*/ 4 h 86"/>
                  <a:gd name="T34" fmla="*/ 42 w 64"/>
                  <a:gd name="T35" fmla="*/ 4 h 86"/>
                  <a:gd name="T36" fmla="*/ 42 w 64"/>
                  <a:gd name="T37" fmla="*/ 8 h 86"/>
                  <a:gd name="T38" fmla="*/ 46 w 64"/>
                  <a:gd name="T39" fmla="*/ 8 h 86"/>
                  <a:gd name="T40" fmla="*/ 46 w 64"/>
                  <a:gd name="T41" fmla="*/ 4 h 86"/>
                  <a:gd name="T42" fmla="*/ 50 w 64"/>
                  <a:gd name="T43" fmla="*/ 4 h 86"/>
                  <a:gd name="T44" fmla="*/ 50 w 64"/>
                  <a:gd name="T45" fmla="*/ 8 h 86"/>
                  <a:gd name="T46" fmla="*/ 42 w 64"/>
                  <a:gd name="T47" fmla="*/ 16 h 86"/>
                  <a:gd name="T48" fmla="*/ 38 w 64"/>
                  <a:gd name="T49" fmla="*/ 20 h 86"/>
                  <a:gd name="T50" fmla="*/ 38 w 64"/>
                  <a:gd name="T51" fmla="*/ 24 h 86"/>
                  <a:gd name="T52" fmla="*/ 46 w 64"/>
                  <a:gd name="T53" fmla="*/ 26 h 86"/>
                  <a:gd name="T54" fmla="*/ 54 w 64"/>
                  <a:gd name="T55" fmla="*/ 24 h 86"/>
                  <a:gd name="T56" fmla="*/ 60 w 64"/>
                  <a:gd name="T57" fmla="*/ 30 h 86"/>
                  <a:gd name="T58" fmla="*/ 64 w 64"/>
                  <a:gd name="T59" fmla="*/ 30 h 86"/>
                  <a:gd name="T60" fmla="*/ 60 w 64"/>
                  <a:gd name="T61" fmla="*/ 38 h 86"/>
                  <a:gd name="T62" fmla="*/ 64 w 64"/>
                  <a:gd name="T63" fmla="*/ 46 h 86"/>
                  <a:gd name="T64" fmla="*/ 64 w 64"/>
                  <a:gd name="T65" fmla="*/ 50 h 86"/>
                  <a:gd name="T66" fmla="*/ 60 w 64"/>
                  <a:gd name="T67" fmla="*/ 60 h 86"/>
                  <a:gd name="T68" fmla="*/ 60 w 64"/>
                  <a:gd name="T69" fmla="*/ 68 h 86"/>
                  <a:gd name="T70" fmla="*/ 54 w 64"/>
                  <a:gd name="T71" fmla="*/ 72 h 86"/>
                  <a:gd name="T72" fmla="*/ 54 w 64"/>
                  <a:gd name="T73" fmla="*/ 68 h 86"/>
                  <a:gd name="T74" fmla="*/ 46 w 64"/>
                  <a:gd name="T75" fmla="*/ 72 h 86"/>
                  <a:gd name="T76" fmla="*/ 38 w 64"/>
                  <a:gd name="T77" fmla="*/ 76 h 86"/>
                  <a:gd name="T78" fmla="*/ 30 w 64"/>
                  <a:gd name="T79" fmla="*/ 76 h 86"/>
                  <a:gd name="T80" fmla="*/ 30 w 64"/>
                  <a:gd name="T81" fmla="*/ 82 h 86"/>
                  <a:gd name="T82" fmla="*/ 20 w 64"/>
                  <a:gd name="T83" fmla="*/ 82 h 86"/>
                  <a:gd name="T84" fmla="*/ 12 w 64"/>
                  <a:gd name="T85" fmla="*/ 86 h 86"/>
                  <a:gd name="T86" fmla="*/ 12 w 64"/>
                  <a:gd name="T87" fmla="*/ 82 h 86"/>
                  <a:gd name="T88" fmla="*/ 8 w 64"/>
                  <a:gd name="T89" fmla="*/ 82 h 86"/>
                  <a:gd name="T90" fmla="*/ 16 w 64"/>
                  <a:gd name="T91" fmla="*/ 76 h 86"/>
                  <a:gd name="T92" fmla="*/ 4 w 64"/>
                  <a:gd name="T93" fmla="*/ 78 h 86"/>
                  <a:gd name="T94" fmla="*/ 4 w 64"/>
                  <a:gd name="T95" fmla="*/ 76 h 86"/>
                  <a:gd name="T96" fmla="*/ 8 w 64"/>
                  <a:gd name="T97" fmla="*/ 72 h 86"/>
                  <a:gd name="T98" fmla="*/ 0 w 64"/>
                  <a:gd name="T99" fmla="*/ 68 h 86"/>
                  <a:gd name="T100" fmla="*/ 12 w 64"/>
                  <a:gd name="T101" fmla="*/ 68 h 86"/>
                  <a:gd name="T102" fmla="*/ 16 w 64"/>
                  <a:gd name="T103" fmla="*/ 60 h 86"/>
                  <a:gd name="T104" fmla="*/ 26 w 64"/>
                  <a:gd name="T105" fmla="*/ 60 h 86"/>
                  <a:gd name="T106" fmla="*/ 24 w 64"/>
                  <a:gd name="T107" fmla="*/ 60 h 86"/>
                  <a:gd name="T108" fmla="*/ 12 w 64"/>
                  <a:gd name="T109" fmla="*/ 60 h 86"/>
                  <a:gd name="T110" fmla="*/ 16 w 64"/>
                  <a:gd name="T111" fmla="*/ 56 h 86"/>
                  <a:gd name="T112" fmla="*/ 24 w 64"/>
                  <a:gd name="T113" fmla="*/ 50 h 86"/>
                  <a:gd name="T114" fmla="*/ 8 w 64"/>
                  <a:gd name="T115" fmla="*/ 30 h 86"/>
                  <a:gd name="T116" fmla="*/ 4 w 64"/>
                  <a:gd name="T117" fmla="*/ 30 h 86"/>
                  <a:gd name="T118" fmla="*/ 8 w 64"/>
                  <a:gd name="T119" fmla="*/ 30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4" h="86">
                    <a:moveTo>
                      <a:pt x="24" y="50"/>
                    </a:moveTo>
                    <a:lnTo>
                      <a:pt x="24" y="46"/>
                    </a:lnTo>
                    <a:lnTo>
                      <a:pt x="20" y="46"/>
                    </a:lnTo>
                    <a:lnTo>
                      <a:pt x="16" y="46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8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6"/>
                    </a:lnTo>
                    <a:lnTo>
                      <a:pt x="4" y="42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8" y="26"/>
                    </a:lnTo>
                    <a:lnTo>
                      <a:pt x="12" y="26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6"/>
                    </a:lnTo>
                    <a:lnTo>
                      <a:pt x="24" y="24"/>
                    </a:lnTo>
                    <a:lnTo>
                      <a:pt x="26" y="26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0" y="4"/>
                    </a:lnTo>
                    <a:lnTo>
                      <a:pt x="54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46" y="8"/>
                    </a:lnTo>
                    <a:lnTo>
                      <a:pt x="46" y="12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38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8" y="24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24"/>
                    </a:lnTo>
                    <a:lnTo>
                      <a:pt x="54" y="24"/>
                    </a:lnTo>
                    <a:lnTo>
                      <a:pt x="54" y="26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8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4" y="46"/>
                    </a:lnTo>
                    <a:lnTo>
                      <a:pt x="60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0" y="68"/>
                    </a:lnTo>
                    <a:lnTo>
                      <a:pt x="54" y="68"/>
                    </a:lnTo>
                    <a:lnTo>
                      <a:pt x="54" y="72"/>
                    </a:lnTo>
                    <a:lnTo>
                      <a:pt x="50" y="72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76"/>
                    </a:lnTo>
                    <a:lnTo>
                      <a:pt x="38" y="76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4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26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4" y="60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20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close/>
                    <a:moveTo>
                      <a:pt x="8" y="30"/>
                    </a:move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8" name="Freeform 107">
                <a:extLst>
                  <a:ext uri="{FF2B5EF4-FFF2-40B4-BE49-F238E27FC236}">
                    <a16:creationId xmlns:a16="http://schemas.microsoft.com/office/drawing/2014/main" id="{CDE42976-F9A1-4D90-9AE0-DABC2B89BE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86250" y="2965518"/>
                <a:ext cx="12700" cy="9525"/>
              </a:xfrm>
              <a:custGeom>
                <a:avLst/>
                <a:gdLst>
                  <a:gd name="T0" fmla="*/ 0 w 8"/>
                  <a:gd name="T1" fmla="*/ 6 h 6"/>
                  <a:gd name="T2" fmla="*/ 0 w 8"/>
                  <a:gd name="T3" fmla="*/ 6 h 6"/>
                  <a:gd name="T4" fmla="*/ 0 w 8"/>
                  <a:gd name="T5" fmla="*/ 2 h 6"/>
                  <a:gd name="T6" fmla="*/ 0 w 8"/>
                  <a:gd name="T7" fmla="*/ 2 h 6"/>
                  <a:gd name="T8" fmla="*/ 0 w 8"/>
                  <a:gd name="T9" fmla="*/ 2 h 6"/>
                  <a:gd name="T10" fmla="*/ 0 w 8"/>
                  <a:gd name="T11" fmla="*/ 2 h 6"/>
                  <a:gd name="T12" fmla="*/ 4 w 8"/>
                  <a:gd name="T13" fmla="*/ 0 h 6"/>
                  <a:gd name="T14" fmla="*/ 4 w 8"/>
                  <a:gd name="T15" fmla="*/ 0 h 6"/>
                  <a:gd name="T16" fmla="*/ 4 w 8"/>
                  <a:gd name="T17" fmla="*/ 0 h 6"/>
                  <a:gd name="T18" fmla="*/ 4 w 8"/>
                  <a:gd name="T19" fmla="*/ 0 h 6"/>
                  <a:gd name="T20" fmla="*/ 4 w 8"/>
                  <a:gd name="T21" fmla="*/ 0 h 6"/>
                  <a:gd name="T22" fmla="*/ 4 w 8"/>
                  <a:gd name="T23" fmla="*/ 0 h 6"/>
                  <a:gd name="T24" fmla="*/ 4 w 8"/>
                  <a:gd name="T25" fmla="*/ 0 h 6"/>
                  <a:gd name="T26" fmla="*/ 4 w 8"/>
                  <a:gd name="T27" fmla="*/ 0 h 6"/>
                  <a:gd name="T28" fmla="*/ 4 w 8"/>
                  <a:gd name="T29" fmla="*/ 0 h 6"/>
                  <a:gd name="T30" fmla="*/ 4 w 8"/>
                  <a:gd name="T31" fmla="*/ 0 h 6"/>
                  <a:gd name="T32" fmla="*/ 4 w 8"/>
                  <a:gd name="T33" fmla="*/ 0 h 6"/>
                  <a:gd name="T34" fmla="*/ 8 w 8"/>
                  <a:gd name="T35" fmla="*/ 0 h 6"/>
                  <a:gd name="T36" fmla="*/ 8 w 8"/>
                  <a:gd name="T37" fmla="*/ 0 h 6"/>
                  <a:gd name="T38" fmla="*/ 4 w 8"/>
                  <a:gd name="T39" fmla="*/ 2 h 6"/>
                  <a:gd name="T40" fmla="*/ 4 w 8"/>
                  <a:gd name="T41" fmla="*/ 2 h 6"/>
                  <a:gd name="T42" fmla="*/ 4 w 8"/>
                  <a:gd name="T43" fmla="*/ 2 h 6"/>
                  <a:gd name="T44" fmla="*/ 4 w 8"/>
                  <a:gd name="T45" fmla="*/ 2 h 6"/>
                  <a:gd name="T46" fmla="*/ 4 w 8"/>
                  <a:gd name="T47" fmla="*/ 2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0 w 8"/>
                  <a:gd name="T61" fmla="*/ 6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8" h="6">
                    <a:moveTo>
                      <a:pt x="0" y="6"/>
                    </a:move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69" name="Freeform 108">
                <a:extLst>
                  <a:ext uri="{FF2B5EF4-FFF2-40B4-BE49-F238E27FC236}">
                    <a16:creationId xmlns:a16="http://schemas.microsoft.com/office/drawing/2014/main" id="{094000A9-9355-418A-9A09-7C5C81BE2C1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3206818"/>
                <a:ext cx="266700" cy="327025"/>
              </a:xfrm>
              <a:custGeom>
                <a:avLst/>
                <a:gdLst>
                  <a:gd name="T0" fmla="*/ 98 w 168"/>
                  <a:gd name="T1" fmla="*/ 72 h 206"/>
                  <a:gd name="T2" fmla="*/ 106 w 168"/>
                  <a:gd name="T3" fmla="*/ 90 h 206"/>
                  <a:gd name="T4" fmla="*/ 124 w 168"/>
                  <a:gd name="T5" fmla="*/ 100 h 206"/>
                  <a:gd name="T6" fmla="*/ 136 w 168"/>
                  <a:gd name="T7" fmla="*/ 108 h 206"/>
                  <a:gd name="T8" fmla="*/ 150 w 168"/>
                  <a:gd name="T9" fmla="*/ 120 h 206"/>
                  <a:gd name="T10" fmla="*/ 166 w 168"/>
                  <a:gd name="T11" fmla="*/ 130 h 206"/>
                  <a:gd name="T12" fmla="*/ 166 w 168"/>
                  <a:gd name="T13" fmla="*/ 142 h 206"/>
                  <a:gd name="T14" fmla="*/ 150 w 168"/>
                  <a:gd name="T15" fmla="*/ 130 h 206"/>
                  <a:gd name="T16" fmla="*/ 142 w 168"/>
                  <a:gd name="T17" fmla="*/ 142 h 206"/>
                  <a:gd name="T18" fmla="*/ 150 w 168"/>
                  <a:gd name="T19" fmla="*/ 156 h 206"/>
                  <a:gd name="T20" fmla="*/ 142 w 168"/>
                  <a:gd name="T21" fmla="*/ 172 h 206"/>
                  <a:gd name="T22" fmla="*/ 128 w 168"/>
                  <a:gd name="T23" fmla="*/ 176 h 206"/>
                  <a:gd name="T24" fmla="*/ 138 w 168"/>
                  <a:gd name="T25" fmla="*/ 160 h 206"/>
                  <a:gd name="T26" fmla="*/ 132 w 168"/>
                  <a:gd name="T27" fmla="*/ 146 h 206"/>
                  <a:gd name="T28" fmla="*/ 120 w 168"/>
                  <a:gd name="T29" fmla="*/ 130 h 206"/>
                  <a:gd name="T30" fmla="*/ 106 w 168"/>
                  <a:gd name="T31" fmla="*/ 116 h 206"/>
                  <a:gd name="T32" fmla="*/ 86 w 168"/>
                  <a:gd name="T33" fmla="*/ 112 h 206"/>
                  <a:gd name="T34" fmla="*/ 76 w 168"/>
                  <a:gd name="T35" fmla="*/ 96 h 206"/>
                  <a:gd name="T36" fmla="*/ 64 w 168"/>
                  <a:gd name="T37" fmla="*/ 86 h 206"/>
                  <a:gd name="T38" fmla="*/ 54 w 168"/>
                  <a:gd name="T39" fmla="*/ 72 h 206"/>
                  <a:gd name="T40" fmla="*/ 38 w 168"/>
                  <a:gd name="T41" fmla="*/ 56 h 206"/>
                  <a:gd name="T42" fmla="*/ 20 w 168"/>
                  <a:gd name="T43" fmla="*/ 64 h 206"/>
                  <a:gd name="T44" fmla="*/ 16 w 168"/>
                  <a:gd name="T45" fmla="*/ 60 h 206"/>
                  <a:gd name="T46" fmla="*/ 4 w 168"/>
                  <a:gd name="T47" fmla="*/ 52 h 206"/>
                  <a:gd name="T48" fmla="*/ 4 w 168"/>
                  <a:gd name="T49" fmla="*/ 38 h 206"/>
                  <a:gd name="T50" fmla="*/ 4 w 168"/>
                  <a:gd name="T51" fmla="*/ 24 h 206"/>
                  <a:gd name="T52" fmla="*/ 24 w 168"/>
                  <a:gd name="T53" fmla="*/ 16 h 206"/>
                  <a:gd name="T54" fmla="*/ 34 w 168"/>
                  <a:gd name="T55" fmla="*/ 24 h 206"/>
                  <a:gd name="T56" fmla="*/ 38 w 168"/>
                  <a:gd name="T57" fmla="*/ 12 h 206"/>
                  <a:gd name="T58" fmla="*/ 50 w 168"/>
                  <a:gd name="T59" fmla="*/ 12 h 206"/>
                  <a:gd name="T60" fmla="*/ 56 w 168"/>
                  <a:gd name="T61" fmla="*/ 4 h 206"/>
                  <a:gd name="T62" fmla="*/ 76 w 168"/>
                  <a:gd name="T63" fmla="*/ 0 h 206"/>
                  <a:gd name="T64" fmla="*/ 90 w 168"/>
                  <a:gd name="T65" fmla="*/ 8 h 206"/>
                  <a:gd name="T66" fmla="*/ 98 w 168"/>
                  <a:gd name="T67" fmla="*/ 16 h 206"/>
                  <a:gd name="T68" fmla="*/ 102 w 168"/>
                  <a:gd name="T69" fmla="*/ 26 h 206"/>
                  <a:gd name="T70" fmla="*/ 94 w 168"/>
                  <a:gd name="T71" fmla="*/ 26 h 206"/>
                  <a:gd name="T72" fmla="*/ 86 w 168"/>
                  <a:gd name="T73" fmla="*/ 30 h 206"/>
                  <a:gd name="T74" fmla="*/ 86 w 168"/>
                  <a:gd name="T75" fmla="*/ 42 h 206"/>
                  <a:gd name="T76" fmla="*/ 86 w 168"/>
                  <a:gd name="T77" fmla="*/ 60 h 206"/>
                  <a:gd name="T78" fmla="*/ 82 w 168"/>
                  <a:gd name="T79" fmla="*/ 100 h 206"/>
                  <a:gd name="T80" fmla="*/ 82 w 168"/>
                  <a:gd name="T81" fmla="*/ 64 h 206"/>
                  <a:gd name="T82" fmla="*/ 54 w 168"/>
                  <a:gd name="T83" fmla="*/ 82 h 206"/>
                  <a:gd name="T84" fmla="*/ 26 w 168"/>
                  <a:gd name="T85" fmla="*/ 150 h 206"/>
                  <a:gd name="T86" fmla="*/ 26 w 168"/>
                  <a:gd name="T87" fmla="*/ 126 h 206"/>
                  <a:gd name="T88" fmla="*/ 38 w 168"/>
                  <a:gd name="T89" fmla="*/ 116 h 206"/>
                  <a:gd name="T90" fmla="*/ 46 w 168"/>
                  <a:gd name="T91" fmla="*/ 126 h 206"/>
                  <a:gd name="T92" fmla="*/ 46 w 168"/>
                  <a:gd name="T93" fmla="*/ 150 h 206"/>
                  <a:gd name="T94" fmla="*/ 34 w 168"/>
                  <a:gd name="T95" fmla="*/ 160 h 206"/>
                  <a:gd name="T96" fmla="*/ 26 w 168"/>
                  <a:gd name="T97" fmla="*/ 152 h 206"/>
                  <a:gd name="T98" fmla="*/ 112 w 168"/>
                  <a:gd name="T99" fmla="*/ 198 h 206"/>
                  <a:gd name="T100" fmla="*/ 94 w 168"/>
                  <a:gd name="T101" fmla="*/ 190 h 206"/>
                  <a:gd name="T102" fmla="*/ 82 w 168"/>
                  <a:gd name="T103" fmla="*/ 178 h 206"/>
                  <a:gd name="T104" fmla="*/ 98 w 168"/>
                  <a:gd name="T105" fmla="*/ 176 h 206"/>
                  <a:gd name="T106" fmla="*/ 120 w 168"/>
                  <a:gd name="T107" fmla="*/ 176 h 206"/>
                  <a:gd name="T108" fmla="*/ 124 w 168"/>
                  <a:gd name="T109" fmla="*/ 182 h 206"/>
                  <a:gd name="T110" fmla="*/ 120 w 168"/>
                  <a:gd name="T111" fmla="*/ 198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68" h="206">
                    <a:moveTo>
                      <a:pt x="86" y="64"/>
                    </a:move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8" y="68"/>
                    </a:lnTo>
                    <a:lnTo>
                      <a:pt x="98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6" y="80"/>
                    </a:lnTo>
                    <a:lnTo>
                      <a:pt x="106" y="82"/>
                    </a:lnTo>
                    <a:lnTo>
                      <a:pt x="106" y="86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20" y="100"/>
                    </a:lnTo>
                    <a:lnTo>
                      <a:pt x="124" y="100"/>
                    </a:lnTo>
                    <a:lnTo>
                      <a:pt x="124" y="104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6" y="100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2" y="108"/>
                    </a:lnTo>
                    <a:lnTo>
                      <a:pt x="132" y="112"/>
                    </a:lnTo>
                    <a:lnTo>
                      <a:pt x="136" y="112"/>
                    </a:lnTo>
                    <a:lnTo>
                      <a:pt x="142" y="116"/>
                    </a:lnTo>
                    <a:lnTo>
                      <a:pt x="146" y="116"/>
                    </a:lnTo>
                    <a:lnTo>
                      <a:pt x="150" y="120"/>
                    </a:lnTo>
                    <a:lnTo>
                      <a:pt x="154" y="120"/>
                    </a:lnTo>
                    <a:lnTo>
                      <a:pt x="154" y="122"/>
                    </a:lnTo>
                    <a:lnTo>
                      <a:pt x="158" y="126"/>
                    </a:lnTo>
                    <a:lnTo>
                      <a:pt x="162" y="126"/>
                    </a:lnTo>
                    <a:lnTo>
                      <a:pt x="162" y="130"/>
                    </a:lnTo>
                    <a:lnTo>
                      <a:pt x="166" y="130"/>
                    </a:lnTo>
                    <a:lnTo>
                      <a:pt x="168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68" y="142"/>
                    </a:lnTo>
                    <a:lnTo>
                      <a:pt x="166" y="142"/>
                    </a:lnTo>
                    <a:lnTo>
                      <a:pt x="162" y="142"/>
                    </a:lnTo>
                    <a:lnTo>
                      <a:pt x="162" y="138"/>
                    </a:lnTo>
                    <a:lnTo>
                      <a:pt x="162" y="134"/>
                    </a:lnTo>
                    <a:lnTo>
                      <a:pt x="158" y="134"/>
                    </a:lnTo>
                    <a:lnTo>
                      <a:pt x="154" y="134"/>
                    </a:lnTo>
                    <a:lnTo>
                      <a:pt x="150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6" y="134"/>
                    </a:lnTo>
                    <a:lnTo>
                      <a:pt x="142" y="138"/>
                    </a:lnTo>
                    <a:lnTo>
                      <a:pt x="142" y="142"/>
                    </a:lnTo>
                    <a:lnTo>
                      <a:pt x="142" y="146"/>
                    </a:lnTo>
                    <a:lnTo>
                      <a:pt x="146" y="146"/>
                    </a:lnTo>
                    <a:lnTo>
                      <a:pt x="146" y="150"/>
                    </a:lnTo>
                    <a:lnTo>
                      <a:pt x="150" y="150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0" y="160"/>
                    </a:lnTo>
                    <a:lnTo>
                      <a:pt x="146" y="160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68"/>
                    </a:lnTo>
                    <a:lnTo>
                      <a:pt x="142" y="172"/>
                    </a:lnTo>
                    <a:lnTo>
                      <a:pt x="138" y="172"/>
                    </a:lnTo>
                    <a:lnTo>
                      <a:pt x="136" y="176"/>
                    </a:lnTo>
                    <a:lnTo>
                      <a:pt x="136" y="178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6"/>
                    </a:lnTo>
                    <a:lnTo>
                      <a:pt x="132" y="172"/>
                    </a:lnTo>
                    <a:lnTo>
                      <a:pt x="132" y="168"/>
                    </a:lnTo>
                    <a:lnTo>
                      <a:pt x="132" y="164"/>
                    </a:lnTo>
                    <a:lnTo>
                      <a:pt x="136" y="164"/>
                    </a:lnTo>
                    <a:lnTo>
                      <a:pt x="138" y="164"/>
                    </a:lnTo>
                    <a:lnTo>
                      <a:pt x="138" y="160"/>
                    </a:lnTo>
                    <a:lnTo>
                      <a:pt x="136" y="160"/>
                    </a:lnTo>
                    <a:lnTo>
                      <a:pt x="136" y="156"/>
                    </a:lnTo>
                    <a:lnTo>
                      <a:pt x="136" y="152"/>
                    </a:lnTo>
                    <a:lnTo>
                      <a:pt x="136" y="150"/>
                    </a:lnTo>
                    <a:lnTo>
                      <a:pt x="132" y="150"/>
                    </a:lnTo>
                    <a:lnTo>
                      <a:pt x="132" y="146"/>
                    </a:lnTo>
                    <a:lnTo>
                      <a:pt x="132" y="142"/>
                    </a:lnTo>
                    <a:lnTo>
                      <a:pt x="128" y="138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0"/>
                    </a:lnTo>
                    <a:lnTo>
                      <a:pt x="116" y="126"/>
                    </a:lnTo>
                    <a:lnTo>
                      <a:pt x="112" y="126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0"/>
                    </a:lnTo>
                    <a:lnTo>
                      <a:pt x="106" y="116"/>
                    </a:lnTo>
                    <a:lnTo>
                      <a:pt x="102" y="116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0" y="116"/>
                    </a:lnTo>
                    <a:lnTo>
                      <a:pt x="90" y="112"/>
                    </a:lnTo>
                    <a:lnTo>
                      <a:pt x="86" y="112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4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0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60" y="82"/>
                    </a:lnTo>
                    <a:lnTo>
                      <a:pt x="56" y="82"/>
                    </a:lnTo>
                    <a:lnTo>
                      <a:pt x="56" y="80"/>
                    </a:lnTo>
                    <a:lnTo>
                      <a:pt x="56" y="76"/>
                    </a:lnTo>
                    <a:lnTo>
                      <a:pt x="54" y="72"/>
                    </a:lnTo>
                    <a:lnTo>
                      <a:pt x="54" y="68"/>
                    </a:lnTo>
                    <a:lnTo>
                      <a:pt x="54" y="64"/>
                    </a:lnTo>
                    <a:lnTo>
                      <a:pt x="50" y="60"/>
                    </a:lnTo>
                    <a:lnTo>
                      <a:pt x="46" y="60"/>
                    </a:lnTo>
                    <a:lnTo>
                      <a:pt x="42" y="56"/>
                    </a:lnTo>
                    <a:lnTo>
                      <a:pt x="38" y="56"/>
                    </a:lnTo>
                    <a:lnTo>
                      <a:pt x="30" y="52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8" y="46"/>
                    </a:lnTo>
                    <a:lnTo>
                      <a:pt x="4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4" y="24"/>
                    </a:lnTo>
                    <a:lnTo>
                      <a:pt x="34" y="26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38" y="16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50" y="16"/>
                    </a:lnTo>
                    <a:lnTo>
                      <a:pt x="54" y="16"/>
                    </a:lnTo>
                    <a:lnTo>
                      <a:pt x="50" y="12"/>
                    </a:lnTo>
                    <a:lnTo>
                      <a:pt x="50" y="8"/>
                    </a:lnTo>
                    <a:lnTo>
                      <a:pt x="54" y="8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98" y="16"/>
                    </a:lnTo>
                    <a:lnTo>
                      <a:pt x="98" y="20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98" y="24"/>
                    </a:lnTo>
                    <a:lnTo>
                      <a:pt x="102" y="24"/>
                    </a:lnTo>
                    <a:lnTo>
                      <a:pt x="102" y="26"/>
                    </a:lnTo>
                    <a:lnTo>
                      <a:pt x="106" y="26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26"/>
                    </a:lnTo>
                    <a:lnTo>
                      <a:pt x="98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6" y="30"/>
                    </a:lnTo>
                    <a:lnTo>
                      <a:pt x="82" y="34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82" y="30"/>
                    </a:lnTo>
                    <a:lnTo>
                      <a:pt x="82" y="34"/>
                    </a:lnTo>
                    <a:lnTo>
                      <a:pt x="80" y="34"/>
                    </a:lnTo>
                    <a:lnTo>
                      <a:pt x="80" y="38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2" y="46"/>
                    </a:lnTo>
                    <a:lnTo>
                      <a:pt x="80" y="50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4"/>
                    </a:lnTo>
                    <a:lnTo>
                      <a:pt x="86" y="64"/>
                    </a:lnTo>
                    <a:close/>
                    <a:moveTo>
                      <a:pt x="82" y="100"/>
                    </a:moveTo>
                    <a:lnTo>
                      <a:pt x="82" y="104"/>
                    </a:lnTo>
                    <a:lnTo>
                      <a:pt x="82" y="100"/>
                    </a:lnTo>
                    <a:lnTo>
                      <a:pt x="82" y="100"/>
                    </a:lnTo>
                    <a:lnTo>
                      <a:pt x="82" y="100"/>
                    </a:lnTo>
                    <a:close/>
                    <a:moveTo>
                      <a:pt x="82" y="64"/>
                    </a:moveTo>
                    <a:lnTo>
                      <a:pt x="82" y="60"/>
                    </a:lnTo>
                    <a:lnTo>
                      <a:pt x="82" y="64"/>
                    </a:lnTo>
                    <a:lnTo>
                      <a:pt x="82" y="64"/>
                    </a:lnTo>
                    <a:lnTo>
                      <a:pt x="82" y="64"/>
                    </a:lnTo>
                    <a:close/>
                    <a:moveTo>
                      <a:pt x="56" y="86"/>
                    </a:moveTo>
                    <a:lnTo>
                      <a:pt x="54" y="86"/>
                    </a:lnTo>
                    <a:lnTo>
                      <a:pt x="50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close/>
                    <a:moveTo>
                      <a:pt x="26" y="152"/>
                    </a:move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4" y="126"/>
                    </a:lnTo>
                    <a:lnTo>
                      <a:pt x="24" y="122"/>
                    </a:lnTo>
                    <a:lnTo>
                      <a:pt x="26" y="122"/>
                    </a:lnTo>
                    <a:lnTo>
                      <a:pt x="30" y="122"/>
                    </a:lnTo>
                    <a:lnTo>
                      <a:pt x="34" y="120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20"/>
                    </a:lnTo>
                    <a:lnTo>
                      <a:pt x="46" y="120"/>
                    </a:lnTo>
                    <a:lnTo>
                      <a:pt x="42" y="122"/>
                    </a:lnTo>
                    <a:lnTo>
                      <a:pt x="46" y="122"/>
                    </a:lnTo>
                    <a:lnTo>
                      <a:pt x="46" y="126"/>
                    </a:lnTo>
                    <a:lnTo>
                      <a:pt x="46" y="130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46" y="142"/>
                    </a:lnTo>
                    <a:lnTo>
                      <a:pt x="46" y="146"/>
                    </a:lnTo>
                    <a:lnTo>
                      <a:pt x="46" y="150"/>
                    </a:lnTo>
                    <a:lnTo>
                      <a:pt x="42" y="152"/>
                    </a:lnTo>
                    <a:lnTo>
                      <a:pt x="42" y="156"/>
                    </a:lnTo>
                    <a:lnTo>
                      <a:pt x="38" y="156"/>
                    </a:lnTo>
                    <a:lnTo>
                      <a:pt x="34" y="152"/>
                    </a:lnTo>
                    <a:lnTo>
                      <a:pt x="34" y="156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56"/>
                    </a:lnTo>
                    <a:lnTo>
                      <a:pt x="26" y="152"/>
                    </a:lnTo>
                    <a:lnTo>
                      <a:pt x="26" y="152"/>
                    </a:lnTo>
                    <a:lnTo>
                      <a:pt x="26" y="152"/>
                    </a:lnTo>
                    <a:close/>
                    <a:moveTo>
                      <a:pt x="120" y="206"/>
                    </a:move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4" y="186"/>
                    </a:lnTo>
                    <a:lnTo>
                      <a:pt x="90" y="186"/>
                    </a:lnTo>
                    <a:lnTo>
                      <a:pt x="86" y="186"/>
                    </a:lnTo>
                    <a:lnTo>
                      <a:pt x="82" y="186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6" y="176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0" y="176"/>
                    </a:lnTo>
                    <a:lnTo>
                      <a:pt x="94" y="176"/>
                    </a:lnTo>
                    <a:lnTo>
                      <a:pt x="98" y="176"/>
                    </a:lnTo>
                    <a:lnTo>
                      <a:pt x="102" y="178"/>
                    </a:lnTo>
                    <a:lnTo>
                      <a:pt x="106" y="178"/>
                    </a:lnTo>
                    <a:lnTo>
                      <a:pt x="110" y="178"/>
                    </a:lnTo>
                    <a:lnTo>
                      <a:pt x="112" y="178"/>
                    </a:lnTo>
                    <a:lnTo>
                      <a:pt x="116" y="176"/>
                    </a:lnTo>
                    <a:lnTo>
                      <a:pt x="120" y="176"/>
                    </a:lnTo>
                    <a:lnTo>
                      <a:pt x="124" y="176"/>
                    </a:lnTo>
                    <a:lnTo>
                      <a:pt x="128" y="172"/>
                    </a:lnTo>
                    <a:lnTo>
                      <a:pt x="128" y="176"/>
                    </a:lnTo>
                    <a:lnTo>
                      <a:pt x="128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4" y="186"/>
                    </a:lnTo>
                    <a:lnTo>
                      <a:pt x="120" y="186"/>
                    </a:lnTo>
                    <a:lnTo>
                      <a:pt x="120" y="190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20" y="206"/>
                    </a:lnTo>
                    <a:lnTo>
                      <a:pt x="120" y="206"/>
                    </a:lnTo>
                    <a:lnTo>
                      <a:pt x="120" y="20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0" name="Freeform 109">
                <a:extLst>
                  <a:ext uri="{FF2B5EF4-FFF2-40B4-BE49-F238E27FC236}">
                    <a16:creationId xmlns:a16="http://schemas.microsoft.com/office/drawing/2014/main" id="{C930E1D5-9734-4432-9137-ADCC39A5AB8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87825" y="2336868"/>
                <a:ext cx="28575" cy="12700"/>
              </a:xfrm>
              <a:custGeom>
                <a:avLst/>
                <a:gdLst>
                  <a:gd name="T0" fmla="*/ 2 w 18"/>
                  <a:gd name="T1" fmla="*/ 8 h 8"/>
                  <a:gd name="T2" fmla="*/ 2 w 18"/>
                  <a:gd name="T3" fmla="*/ 8 h 8"/>
                  <a:gd name="T4" fmla="*/ 2 w 18"/>
                  <a:gd name="T5" fmla="*/ 8 h 8"/>
                  <a:gd name="T6" fmla="*/ 0 w 18"/>
                  <a:gd name="T7" fmla="*/ 8 h 8"/>
                  <a:gd name="T8" fmla="*/ 0 w 18"/>
                  <a:gd name="T9" fmla="*/ 8 h 8"/>
                  <a:gd name="T10" fmla="*/ 2 w 18"/>
                  <a:gd name="T11" fmla="*/ 8 h 8"/>
                  <a:gd name="T12" fmla="*/ 2 w 18"/>
                  <a:gd name="T13" fmla="*/ 8 h 8"/>
                  <a:gd name="T14" fmla="*/ 2 w 18"/>
                  <a:gd name="T15" fmla="*/ 8 h 8"/>
                  <a:gd name="T16" fmla="*/ 6 w 18"/>
                  <a:gd name="T17" fmla="*/ 4 h 8"/>
                  <a:gd name="T18" fmla="*/ 6 w 18"/>
                  <a:gd name="T19" fmla="*/ 4 h 8"/>
                  <a:gd name="T20" fmla="*/ 10 w 18"/>
                  <a:gd name="T21" fmla="*/ 4 h 8"/>
                  <a:gd name="T22" fmla="*/ 10 w 18"/>
                  <a:gd name="T23" fmla="*/ 4 h 8"/>
                  <a:gd name="T24" fmla="*/ 10 w 18"/>
                  <a:gd name="T25" fmla="*/ 4 h 8"/>
                  <a:gd name="T26" fmla="*/ 10 w 18"/>
                  <a:gd name="T27" fmla="*/ 4 h 8"/>
                  <a:gd name="T28" fmla="*/ 10 w 18"/>
                  <a:gd name="T29" fmla="*/ 4 h 8"/>
                  <a:gd name="T30" fmla="*/ 10 w 18"/>
                  <a:gd name="T31" fmla="*/ 0 h 8"/>
                  <a:gd name="T32" fmla="*/ 10 w 18"/>
                  <a:gd name="T33" fmla="*/ 0 h 8"/>
                  <a:gd name="T34" fmla="*/ 10 w 18"/>
                  <a:gd name="T35" fmla="*/ 0 h 8"/>
                  <a:gd name="T36" fmla="*/ 10 w 18"/>
                  <a:gd name="T37" fmla="*/ 0 h 8"/>
                  <a:gd name="T38" fmla="*/ 14 w 18"/>
                  <a:gd name="T39" fmla="*/ 0 h 8"/>
                  <a:gd name="T40" fmla="*/ 14 w 18"/>
                  <a:gd name="T41" fmla="*/ 0 h 8"/>
                  <a:gd name="T42" fmla="*/ 18 w 18"/>
                  <a:gd name="T43" fmla="*/ 0 h 8"/>
                  <a:gd name="T44" fmla="*/ 18 w 18"/>
                  <a:gd name="T45" fmla="*/ 0 h 8"/>
                  <a:gd name="T46" fmla="*/ 18 w 18"/>
                  <a:gd name="T47" fmla="*/ 0 h 8"/>
                  <a:gd name="T48" fmla="*/ 18 w 18"/>
                  <a:gd name="T49" fmla="*/ 0 h 8"/>
                  <a:gd name="T50" fmla="*/ 18 w 18"/>
                  <a:gd name="T51" fmla="*/ 0 h 8"/>
                  <a:gd name="T52" fmla="*/ 18 w 18"/>
                  <a:gd name="T53" fmla="*/ 0 h 8"/>
                  <a:gd name="T54" fmla="*/ 18 w 18"/>
                  <a:gd name="T55" fmla="*/ 4 h 8"/>
                  <a:gd name="T56" fmla="*/ 18 w 18"/>
                  <a:gd name="T57" fmla="*/ 4 h 8"/>
                  <a:gd name="T58" fmla="*/ 18 w 18"/>
                  <a:gd name="T59" fmla="*/ 4 h 8"/>
                  <a:gd name="T60" fmla="*/ 14 w 18"/>
                  <a:gd name="T61" fmla="*/ 4 h 8"/>
                  <a:gd name="T62" fmla="*/ 14 w 18"/>
                  <a:gd name="T63" fmla="*/ 4 h 8"/>
                  <a:gd name="T64" fmla="*/ 10 w 18"/>
                  <a:gd name="T65" fmla="*/ 4 h 8"/>
                  <a:gd name="T66" fmla="*/ 10 w 18"/>
                  <a:gd name="T67" fmla="*/ 4 h 8"/>
                  <a:gd name="T68" fmla="*/ 10 w 18"/>
                  <a:gd name="T69" fmla="*/ 4 h 8"/>
                  <a:gd name="T70" fmla="*/ 10 w 18"/>
                  <a:gd name="T71" fmla="*/ 4 h 8"/>
                  <a:gd name="T72" fmla="*/ 10 w 18"/>
                  <a:gd name="T73" fmla="*/ 4 h 8"/>
                  <a:gd name="T74" fmla="*/ 10 w 18"/>
                  <a:gd name="T75" fmla="*/ 4 h 8"/>
                  <a:gd name="T76" fmla="*/ 6 w 18"/>
                  <a:gd name="T77" fmla="*/ 4 h 8"/>
                  <a:gd name="T78" fmla="*/ 6 w 18"/>
                  <a:gd name="T79" fmla="*/ 4 h 8"/>
                  <a:gd name="T80" fmla="*/ 6 w 18"/>
                  <a:gd name="T81" fmla="*/ 4 h 8"/>
                  <a:gd name="T82" fmla="*/ 2 w 18"/>
                  <a:gd name="T83" fmla="*/ 8 h 8"/>
                  <a:gd name="T84" fmla="*/ 2 w 18"/>
                  <a:gd name="T85" fmla="*/ 8 h 8"/>
                  <a:gd name="T86" fmla="*/ 2 w 18"/>
                  <a:gd name="T87" fmla="*/ 8 h 8"/>
                  <a:gd name="T88" fmla="*/ 2 w 18"/>
                  <a:gd name="T89" fmla="*/ 8 h 8"/>
                  <a:gd name="T90" fmla="*/ 2 w 18"/>
                  <a:gd name="T91" fmla="*/ 8 h 8"/>
                  <a:gd name="T92" fmla="*/ 2 w 18"/>
                  <a:gd name="T93" fmla="*/ 8 h 8"/>
                  <a:gd name="T94" fmla="*/ 2 w 18"/>
                  <a:gd name="T95" fmla="*/ 8 h 8"/>
                  <a:gd name="T96" fmla="*/ 2 w 18"/>
                  <a:gd name="T97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8" h="8">
                    <a:moveTo>
                      <a:pt x="2" y="8"/>
                    </a:moveTo>
                    <a:lnTo>
                      <a:pt x="2" y="8"/>
                    </a:ln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1" name="Freeform 110">
                <a:extLst>
                  <a:ext uri="{FF2B5EF4-FFF2-40B4-BE49-F238E27FC236}">
                    <a16:creationId xmlns:a16="http://schemas.microsoft.com/office/drawing/2014/main" id="{34A0A8A0-5893-4458-B2D7-D731F6DCFC2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67275" y="2835343"/>
                <a:ext cx="158750" cy="82550"/>
              </a:xfrm>
              <a:custGeom>
                <a:avLst/>
                <a:gdLst>
                  <a:gd name="T0" fmla="*/ 48 w 100"/>
                  <a:gd name="T1" fmla="*/ 4 h 52"/>
                  <a:gd name="T2" fmla="*/ 56 w 100"/>
                  <a:gd name="T3" fmla="*/ 0 h 52"/>
                  <a:gd name="T4" fmla="*/ 60 w 100"/>
                  <a:gd name="T5" fmla="*/ 0 h 52"/>
                  <a:gd name="T6" fmla="*/ 60 w 100"/>
                  <a:gd name="T7" fmla="*/ 0 h 52"/>
                  <a:gd name="T8" fmla="*/ 64 w 100"/>
                  <a:gd name="T9" fmla="*/ 4 h 52"/>
                  <a:gd name="T10" fmla="*/ 68 w 100"/>
                  <a:gd name="T11" fmla="*/ 4 h 52"/>
                  <a:gd name="T12" fmla="*/ 78 w 100"/>
                  <a:gd name="T13" fmla="*/ 10 h 52"/>
                  <a:gd name="T14" fmla="*/ 82 w 100"/>
                  <a:gd name="T15" fmla="*/ 10 h 52"/>
                  <a:gd name="T16" fmla="*/ 86 w 100"/>
                  <a:gd name="T17" fmla="*/ 10 h 52"/>
                  <a:gd name="T18" fmla="*/ 90 w 100"/>
                  <a:gd name="T19" fmla="*/ 10 h 52"/>
                  <a:gd name="T20" fmla="*/ 94 w 100"/>
                  <a:gd name="T21" fmla="*/ 14 h 52"/>
                  <a:gd name="T22" fmla="*/ 98 w 100"/>
                  <a:gd name="T23" fmla="*/ 18 h 52"/>
                  <a:gd name="T24" fmla="*/ 94 w 100"/>
                  <a:gd name="T25" fmla="*/ 26 h 52"/>
                  <a:gd name="T26" fmla="*/ 98 w 100"/>
                  <a:gd name="T27" fmla="*/ 30 h 52"/>
                  <a:gd name="T28" fmla="*/ 100 w 100"/>
                  <a:gd name="T29" fmla="*/ 36 h 52"/>
                  <a:gd name="T30" fmla="*/ 100 w 100"/>
                  <a:gd name="T31" fmla="*/ 40 h 52"/>
                  <a:gd name="T32" fmla="*/ 94 w 100"/>
                  <a:gd name="T33" fmla="*/ 48 h 52"/>
                  <a:gd name="T34" fmla="*/ 94 w 100"/>
                  <a:gd name="T35" fmla="*/ 52 h 52"/>
                  <a:gd name="T36" fmla="*/ 82 w 100"/>
                  <a:gd name="T37" fmla="*/ 48 h 52"/>
                  <a:gd name="T38" fmla="*/ 78 w 100"/>
                  <a:gd name="T39" fmla="*/ 52 h 52"/>
                  <a:gd name="T40" fmla="*/ 78 w 100"/>
                  <a:gd name="T41" fmla="*/ 52 h 52"/>
                  <a:gd name="T42" fmla="*/ 74 w 100"/>
                  <a:gd name="T43" fmla="*/ 52 h 52"/>
                  <a:gd name="T44" fmla="*/ 72 w 100"/>
                  <a:gd name="T45" fmla="*/ 48 h 52"/>
                  <a:gd name="T46" fmla="*/ 68 w 100"/>
                  <a:gd name="T47" fmla="*/ 44 h 52"/>
                  <a:gd name="T48" fmla="*/ 60 w 100"/>
                  <a:gd name="T49" fmla="*/ 40 h 52"/>
                  <a:gd name="T50" fmla="*/ 56 w 100"/>
                  <a:gd name="T51" fmla="*/ 40 h 52"/>
                  <a:gd name="T52" fmla="*/ 56 w 100"/>
                  <a:gd name="T53" fmla="*/ 36 h 52"/>
                  <a:gd name="T54" fmla="*/ 48 w 100"/>
                  <a:gd name="T55" fmla="*/ 40 h 52"/>
                  <a:gd name="T56" fmla="*/ 46 w 100"/>
                  <a:gd name="T57" fmla="*/ 40 h 52"/>
                  <a:gd name="T58" fmla="*/ 42 w 100"/>
                  <a:gd name="T59" fmla="*/ 40 h 52"/>
                  <a:gd name="T60" fmla="*/ 34 w 100"/>
                  <a:gd name="T61" fmla="*/ 36 h 52"/>
                  <a:gd name="T62" fmla="*/ 34 w 100"/>
                  <a:gd name="T63" fmla="*/ 36 h 52"/>
                  <a:gd name="T64" fmla="*/ 30 w 100"/>
                  <a:gd name="T65" fmla="*/ 40 h 52"/>
                  <a:gd name="T66" fmla="*/ 26 w 100"/>
                  <a:gd name="T67" fmla="*/ 36 h 52"/>
                  <a:gd name="T68" fmla="*/ 22 w 100"/>
                  <a:gd name="T69" fmla="*/ 36 h 52"/>
                  <a:gd name="T70" fmla="*/ 22 w 100"/>
                  <a:gd name="T71" fmla="*/ 36 h 52"/>
                  <a:gd name="T72" fmla="*/ 16 w 100"/>
                  <a:gd name="T73" fmla="*/ 36 h 52"/>
                  <a:gd name="T74" fmla="*/ 4 w 100"/>
                  <a:gd name="T75" fmla="*/ 40 h 52"/>
                  <a:gd name="T76" fmla="*/ 4 w 100"/>
                  <a:gd name="T77" fmla="*/ 40 h 52"/>
                  <a:gd name="T78" fmla="*/ 0 w 100"/>
                  <a:gd name="T79" fmla="*/ 44 h 52"/>
                  <a:gd name="T80" fmla="*/ 0 w 100"/>
                  <a:gd name="T81" fmla="*/ 40 h 52"/>
                  <a:gd name="T82" fmla="*/ 0 w 100"/>
                  <a:gd name="T83" fmla="*/ 32 h 52"/>
                  <a:gd name="T84" fmla="*/ 0 w 100"/>
                  <a:gd name="T85" fmla="*/ 32 h 52"/>
                  <a:gd name="T86" fmla="*/ 0 w 100"/>
                  <a:gd name="T87" fmla="*/ 30 h 52"/>
                  <a:gd name="T88" fmla="*/ 4 w 100"/>
                  <a:gd name="T89" fmla="*/ 26 h 52"/>
                  <a:gd name="T90" fmla="*/ 4 w 100"/>
                  <a:gd name="T91" fmla="*/ 22 h 52"/>
                  <a:gd name="T92" fmla="*/ 4 w 100"/>
                  <a:gd name="T93" fmla="*/ 18 h 52"/>
                  <a:gd name="T94" fmla="*/ 8 w 100"/>
                  <a:gd name="T95" fmla="*/ 10 h 52"/>
                  <a:gd name="T96" fmla="*/ 12 w 100"/>
                  <a:gd name="T97" fmla="*/ 10 h 52"/>
                  <a:gd name="T98" fmla="*/ 16 w 100"/>
                  <a:gd name="T99" fmla="*/ 10 h 52"/>
                  <a:gd name="T100" fmla="*/ 22 w 100"/>
                  <a:gd name="T101" fmla="*/ 6 h 52"/>
                  <a:gd name="T102" fmla="*/ 26 w 100"/>
                  <a:gd name="T103" fmla="*/ 14 h 52"/>
                  <a:gd name="T104" fmla="*/ 30 w 100"/>
                  <a:gd name="T105" fmla="*/ 14 h 52"/>
                  <a:gd name="T106" fmla="*/ 30 w 100"/>
                  <a:gd name="T107" fmla="*/ 22 h 52"/>
                  <a:gd name="T108" fmla="*/ 38 w 100"/>
                  <a:gd name="T109" fmla="*/ 26 h 52"/>
                  <a:gd name="T110" fmla="*/ 42 w 100"/>
                  <a:gd name="T111" fmla="*/ 22 h 52"/>
                  <a:gd name="T112" fmla="*/ 48 w 100"/>
                  <a:gd name="T113" fmla="*/ 18 h 52"/>
                  <a:gd name="T114" fmla="*/ 46 w 100"/>
                  <a:gd name="T115" fmla="*/ 6 h 52"/>
                  <a:gd name="T116" fmla="*/ 46 w 100"/>
                  <a:gd name="T117" fmla="*/ 4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0" h="52">
                    <a:moveTo>
                      <a:pt x="46" y="4"/>
                    </a:move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6"/>
                    </a:lnTo>
                    <a:lnTo>
                      <a:pt x="72" y="6"/>
                    </a:lnTo>
                    <a:lnTo>
                      <a:pt x="74" y="10"/>
                    </a:lnTo>
                    <a:lnTo>
                      <a:pt x="74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0" y="10"/>
                    </a:lnTo>
                    <a:lnTo>
                      <a:pt x="94" y="10"/>
                    </a:lnTo>
                    <a:lnTo>
                      <a:pt x="94" y="14"/>
                    </a:lnTo>
                    <a:lnTo>
                      <a:pt x="90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8" y="18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26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98" y="44"/>
                    </a:lnTo>
                    <a:lnTo>
                      <a:pt x="98" y="44"/>
                    </a:lnTo>
                    <a:lnTo>
                      <a:pt x="94" y="44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52"/>
                    </a:lnTo>
                    <a:lnTo>
                      <a:pt x="74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48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6" y="40"/>
                    </a:lnTo>
                    <a:lnTo>
                      <a:pt x="42" y="40"/>
                    </a:lnTo>
                    <a:lnTo>
                      <a:pt x="42" y="40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30" y="40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6" y="10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2" name="Freeform 111">
                <a:extLst>
                  <a:ext uri="{FF2B5EF4-FFF2-40B4-BE49-F238E27FC236}">
                    <a16:creationId xmlns:a16="http://schemas.microsoft.com/office/drawing/2014/main" id="{BD49EABA-709E-4447-86C7-DF05EEA56AD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0925" y="2892493"/>
                <a:ext cx="136525" cy="88900"/>
              </a:xfrm>
              <a:custGeom>
                <a:avLst/>
                <a:gdLst>
                  <a:gd name="T0" fmla="*/ 38 w 86"/>
                  <a:gd name="T1" fmla="*/ 50 h 56"/>
                  <a:gd name="T2" fmla="*/ 34 w 86"/>
                  <a:gd name="T3" fmla="*/ 46 h 56"/>
                  <a:gd name="T4" fmla="*/ 26 w 86"/>
                  <a:gd name="T5" fmla="*/ 46 h 56"/>
                  <a:gd name="T6" fmla="*/ 26 w 86"/>
                  <a:gd name="T7" fmla="*/ 42 h 56"/>
                  <a:gd name="T8" fmla="*/ 30 w 86"/>
                  <a:gd name="T9" fmla="*/ 38 h 56"/>
                  <a:gd name="T10" fmla="*/ 26 w 86"/>
                  <a:gd name="T11" fmla="*/ 30 h 56"/>
                  <a:gd name="T12" fmla="*/ 22 w 86"/>
                  <a:gd name="T13" fmla="*/ 30 h 56"/>
                  <a:gd name="T14" fmla="*/ 18 w 86"/>
                  <a:gd name="T15" fmla="*/ 30 h 56"/>
                  <a:gd name="T16" fmla="*/ 8 w 86"/>
                  <a:gd name="T17" fmla="*/ 26 h 56"/>
                  <a:gd name="T18" fmla="*/ 8 w 86"/>
                  <a:gd name="T19" fmla="*/ 26 h 56"/>
                  <a:gd name="T20" fmla="*/ 4 w 86"/>
                  <a:gd name="T21" fmla="*/ 16 h 56"/>
                  <a:gd name="T22" fmla="*/ 4 w 86"/>
                  <a:gd name="T23" fmla="*/ 12 h 56"/>
                  <a:gd name="T24" fmla="*/ 4 w 86"/>
                  <a:gd name="T25" fmla="*/ 8 h 56"/>
                  <a:gd name="T26" fmla="*/ 8 w 86"/>
                  <a:gd name="T27" fmla="*/ 8 h 56"/>
                  <a:gd name="T28" fmla="*/ 8 w 86"/>
                  <a:gd name="T29" fmla="*/ 4 h 56"/>
                  <a:gd name="T30" fmla="*/ 18 w 86"/>
                  <a:gd name="T31" fmla="*/ 0 h 56"/>
                  <a:gd name="T32" fmla="*/ 22 w 86"/>
                  <a:gd name="T33" fmla="*/ 0 h 56"/>
                  <a:gd name="T34" fmla="*/ 26 w 86"/>
                  <a:gd name="T35" fmla="*/ 0 h 56"/>
                  <a:gd name="T36" fmla="*/ 30 w 86"/>
                  <a:gd name="T37" fmla="*/ 0 h 56"/>
                  <a:gd name="T38" fmla="*/ 30 w 86"/>
                  <a:gd name="T39" fmla="*/ 0 h 56"/>
                  <a:gd name="T40" fmla="*/ 34 w 86"/>
                  <a:gd name="T41" fmla="*/ 0 h 56"/>
                  <a:gd name="T42" fmla="*/ 38 w 86"/>
                  <a:gd name="T43" fmla="*/ 0 h 56"/>
                  <a:gd name="T44" fmla="*/ 44 w 86"/>
                  <a:gd name="T45" fmla="*/ 0 h 56"/>
                  <a:gd name="T46" fmla="*/ 48 w 86"/>
                  <a:gd name="T47" fmla="*/ 4 h 56"/>
                  <a:gd name="T48" fmla="*/ 52 w 86"/>
                  <a:gd name="T49" fmla="*/ 4 h 56"/>
                  <a:gd name="T50" fmla="*/ 56 w 86"/>
                  <a:gd name="T51" fmla="*/ 0 h 56"/>
                  <a:gd name="T52" fmla="*/ 60 w 86"/>
                  <a:gd name="T53" fmla="*/ 0 h 56"/>
                  <a:gd name="T54" fmla="*/ 60 w 86"/>
                  <a:gd name="T55" fmla="*/ 4 h 56"/>
                  <a:gd name="T56" fmla="*/ 68 w 86"/>
                  <a:gd name="T57" fmla="*/ 8 h 56"/>
                  <a:gd name="T58" fmla="*/ 74 w 86"/>
                  <a:gd name="T59" fmla="*/ 12 h 56"/>
                  <a:gd name="T60" fmla="*/ 78 w 86"/>
                  <a:gd name="T61" fmla="*/ 16 h 56"/>
                  <a:gd name="T62" fmla="*/ 82 w 86"/>
                  <a:gd name="T63" fmla="*/ 16 h 56"/>
                  <a:gd name="T64" fmla="*/ 78 w 86"/>
                  <a:gd name="T65" fmla="*/ 24 h 56"/>
                  <a:gd name="T66" fmla="*/ 82 w 86"/>
                  <a:gd name="T67" fmla="*/ 24 h 56"/>
                  <a:gd name="T68" fmla="*/ 82 w 86"/>
                  <a:gd name="T69" fmla="*/ 26 h 56"/>
                  <a:gd name="T70" fmla="*/ 78 w 86"/>
                  <a:gd name="T71" fmla="*/ 30 h 56"/>
                  <a:gd name="T72" fmla="*/ 70 w 86"/>
                  <a:gd name="T73" fmla="*/ 34 h 56"/>
                  <a:gd name="T74" fmla="*/ 70 w 86"/>
                  <a:gd name="T75" fmla="*/ 38 h 56"/>
                  <a:gd name="T76" fmla="*/ 68 w 86"/>
                  <a:gd name="T77" fmla="*/ 42 h 56"/>
                  <a:gd name="T78" fmla="*/ 68 w 86"/>
                  <a:gd name="T79" fmla="*/ 46 h 56"/>
                  <a:gd name="T80" fmla="*/ 70 w 86"/>
                  <a:gd name="T81" fmla="*/ 50 h 56"/>
                  <a:gd name="T82" fmla="*/ 68 w 86"/>
                  <a:gd name="T83" fmla="*/ 50 h 56"/>
                  <a:gd name="T84" fmla="*/ 64 w 86"/>
                  <a:gd name="T85" fmla="*/ 50 h 56"/>
                  <a:gd name="T86" fmla="*/ 60 w 86"/>
                  <a:gd name="T87" fmla="*/ 50 h 56"/>
                  <a:gd name="T88" fmla="*/ 60 w 86"/>
                  <a:gd name="T89" fmla="*/ 50 h 56"/>
                  <a:gd name="T90" fmla="*/ 56 w 86"/>
                  <a:gd name="T91" fmla="*/ 52 h 56"/>
                  <a:gd name="T92" fmla="*/ 52 w 86"/>
                  <a:gd name="T93" fmla="*/ 52 h 56"/>
                  <a:gd name="T94" fmla="*/ 48 w 86"/>
                  <a:gd name="T95" fmla="*/ 52 h 56"/>
                  <a:gd name="T96" fmla="*/ 44 w 86"/>
                  <a:gd name="T97" fmla="*/ 52 h 56"/>
                  <a:gd name="T98" fmla="*/ 42 w 86"/>
                  <a:gd name="T99" fmla="*/ 52 h 56"/>
                  <a:gd name="T100" fmla="*/ 38 w 86"/>
                  <a:gd name="T101" fmla="*/ 52 h 56"/>
                  <a:gd name="T102" fmla="*/ 4 w 86"/>
                  <a:gd name="T103" fmla="*/ 24 h 56"/>
                  <a:gd name="T104" fmla="*/ 4 w 86"/>
                  <a:gd name="T105" fmla="*/ 20 h 56"/>
                  <a:gd name="T106" fmla="*/ 4 w 86"/>
                  <a:gd name="T107" fmla="*/ 16 h 56"/>
                  <a:gd name="T108" fmla="*/ 4 w 86"/>
                  <a:gd name="T109" fmla="*/ 26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6" h="56">
                    <a:moveTo>
                      <a:pt x="38" y="52"/>
                    </a:moveTo>
                    <a:lnTo>
                      <a:pt x="38" y="52"/>
                    </a:lnTo>
                    <a:lnTo>
                      <a:pt x="38" y="52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8" y="50"/>
                    </a:lnTo>
                    <a:lnTo>
                      <a:pt x="34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70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2" y="20"/>
                    </a:lnTo>
                    <a:lnTo>
                      <a:pt x="82" y="24"/>
                    </a:lnTo>
                    <a:lnTo>
                      <a:pt x="78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2" y="24"/>
                    </a:lnTo>
                    <a:lnTo>
                      <a:pt x="86" y="24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2" y="26"/>
                    </a:lnTo>
                    <a:lnTo>
                      <a:pt x="82" y="26"/>
                    </a:lnTo>
                    <a:lnTo>
                      <a:pt x="78" y="26"/>
                    </a:lnTo>
                    <a:lnTo>
                      <a:pt x="78" y="26"/>
                    </a:lnTo>
                    <a:lnTo>
                      <a:pt x="78" y="30"/>
                    </a:lnTo>
                    <a:lnTo>
                      <a:pt x="78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4" y="30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4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70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70" y="46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50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8" y="46"/>
                    </a:lnTo>
                    <a:lnTo>
                      <a:pt x="64" y="46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4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6" y="50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2"/>
                    </a:lnTo>
                    <a:close/>
                    <a:moveTo>
                      <a:pt x="4" y="26"/>
                    </a:moveTo>
                    <a:lnTo>
                      <a:pt x="0" y="26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3" name="Freeform 112">
                <a:extLst>
                  <a:ext uri="{FF2B5EF4-FFF2-40B4-BE49-F238E27FC236}">
                    <a16:creationId xmlns:a16="http://schemas.microsoft.com/office/drawing/2014/main" id="{D5E014B8-5BF4-49DD-8F13-32D4CC8EA8D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24375" y="3108393"/>
                <a:ext cx="15875" cy="22225"/>
              </a:xfrm>
              <a:custGeom>
                <a:avLst/>
                <a:gdLst>
                  <a:gd name="T0" fmla="*/ 6 w 10"/>
                  <a:gd name="T1" fmla="*/ 10 h 14"/>
                  <a:gd name="T2" fmla="*/ 6 w 10"/>
                  <a:gd name="T3" fmla="*/ 14 h 14"/>
                  <a:gd name="T4" fmla="*/ 6 w 10"/>
                  <a:gd name="T5" fmla="*/ 14 h 14"/>
                  <a:gd name="T6" fmla="*/ 6 w 10"/>
                  <a:gd name="T7" fmla="*/ 14 h 14"/>
                  <a:gd name="T8" fmla="*/ 6 w 10"/>
                  <a:gd name="T9" fmla="*/ 14 h 14"/>
                  <a:gd name="T10" fmla="*/ 6 w 10"/>
                  <a:gd name="T11" fmla="*/ 10 h 14"/>
                  <a:gd name="T12" fmla="*/ 6 w 10"/>
                  <a:gd name="T13" fmla="*/ 10 h 14"/>
                  <a:gd name="T14" fmla="*/ 4 w 10"/>
                  <a:gd name="T15" fmla="*/ 10 h 14"/>
                  <a:gd name="T16" fmla="*/ 4 w 10"/>
                  <a:gd name="T17" fmla="*/ 14 h 14"/>
                  <a:gd name="T18" fmla="*/ 4 w 10"/>
                  <a:gd name="T19" fmla="*/ 14 h 14"/>
                  <a:gd name="T20" fmla="*/ 4 w 10"/>
                  <a:gd name="T21" fmla="*/ 14 h 14"/>
                  <a:gd name="T22" fmla="*/ 0 w 10"/>
                  <a:gd name="T23" fmla="*/ 14 h 14"/>
                  <a:gd name="T24" fmla="*/ 0 w 10"/>
                  <a:gd name="T25" fmla="*/ 10 h 14"/>
                  <a:gd name="T26" fmla="*/ 0 w 10"/>
                  <a:gd name="T27" fmla="*/ 10 h 14"/>
                  <a:gd name="T28" fmla="*/ 0 w 10"/>
                  <a:gd name="T29" fmla="*/ 10 h 14"/>
                  <a:gd name="T30" fmla="*/ 0 w 10"/>
                  <a:gd name="T31" fmla="*/ 10 h 14"/>
                  <a:gd name="T32" fmla="*/ 0 w 10"/>
                  <a:gd name="T33" fmla="*/ 10 h 14"/>
                  <a:gd name="T34" fmla="*/ 0 w 10"/>
                  <a:gd name="T35" fmla="*/ 10 h 14"/>
                  <a:gd name="T36" fmla="*/ 0 w 10"/>
                  <a:gd name="T37" fmla="*/ 10 h 14"/>
                  <a:gd name="T38" fmla="*/ 0 w 10"/>
                  <a:gd name="T39" fmla="*/ 6 h 14"/>
                  <a:gd name="T40" fmla="*/ 0 w 10"/>
                  <a:gd name="T41" fmla="*/ 6 h 14"/>
                  <a:gd name="T42" fmla="*/ 0 w 10"/>
                  <a:gd name="T43" fmla="*/ 6 h 14"/>
                  <a:gd name="T44" fmla="*/ 0 w 10"/>
                  <a:gd name="T45" fmla="*/ 6 h 14"/>
                  <a:gd name="T46" fmla="*/ 0 w 10"/>
                  <a:gd name="T47" fmla="*/ 6 h 14"/>
                  <a:gd name="T48" fmla="*/ 0 w 10"/>
                  <a:gd name="T49" fmla="*/ 2 h 14"/>
                  <a:gd name="T50" fmla="*/ 0 w 10"/>
                  <a:gd name="T51" fmla="*/ 2 h 14"/>
                  <a:gd name="T52" fmla="*/ 0 w 10"/>
                  <a:gd name="T53" fmla="*/ 2 h 14"/>
                  <a:gd name="T54" fmla="*/ 0 w 10"/>
                  <a:gd name="T55" fmla="*/ 0 h 14"/>
                  <a:gd name="T56" fmla="*/ 0 w 10"/>
                  <a:gd name="T57" fmla="*/ 0 h 14"/>
                  <a:gd name="T58" fmla="*/ 4 w 10"/>
                  <a:gd name="T59" fmla="*/ 0 h 14"/>
                  <a:gd name="T60" fmla="*/ 4 w 10"/>
                  <a:gd name="T61" fmla="*/ 0 h 14"/>
                  <a:gd name="T62" fmla="*/ 4 w 10"/>
                  <a:gd name="T63" fmla="*/ 0 h 14"/>
                  <a:gd name="T64" fmla="*/ 4 w 10"/>
                  <a:gd name="T65" fmla="*/ 0 h 14"/>
                  <a:gd name="T66" fmla="*/ 4 w 10"/>
                  <a:gd name="T67" fmla="*/ 0 h 14"/>
                  <a:gd name="T68" fmla="*/ 4 w 10"/>
                  <a:gd name="T69" fmla="*/ 0 h 14"/>
                  <a:gd name="T70" fmla="*/ 4 w 10"/>
                  <a:gd name="T71" fmla="*/ 0 h 14"/>
                  <a:gd name="T72" fmla="*/ 4 w 10"/>
                  <a:gd name="T73" fmla="*/ 0 h 14"/>
                  <a:gd name="T74" fmla="*/ 4 w 10"/>
                  <a:gd name="T75" fmla="*/ 0 h 14"/>
                  <a:gd name="T76" fmla="*/ 4 w 10"/>
                  <a:gd name="T77" fmla="*/ 2 h 14"/>
                  <a:gd name="T78" fmla="*/ 4 w 10"/>
                  <a:gd name="T79" fmla="*/ 2 h 14"/>
                  <a:gd name="T80" fmla="*/ 4 w 10"/>
                  <a:gd name="T81" fmla="*/ 2 h 14"/>
                  <a:gd name="T82" fmla="*/ 6 w 10"/>
                  <a:gd name="T83" fmla="*/ 2 h 14"/>
                  <a:gd name="T84" fmla="*/ 6 w 10"/>
                  <a:gd name="T85" fmla="*/ 2 h 14"/>
                  <a:gd name="T86" fmla="*/ 6 w 10"/>
                  <a:gd name="T87" fmla="*/ 6 h 14"/>
                  <a:gd name="T88" fmla="*/ 6 w 10"/>
                  <a:gd name="T89" fmla="*/ 6 h 14"/>
                  <a:gd name="T90" fmla="*/ 6 w 10"/>
                  <a:gd name="T91" fmla="*/ 6 h 14"/>
                  <a:gd name="T92" fmla="*/ 6 w 10"/>
                  <a:gd name="T93" fmla="*/ 6 h 14"/>
                  <a:gd name="T94" fmla="*/ 10 w 10"/>
                  <a:gd name="T95" fmla="*/ 6 h 14"/>
                  <a:gd name="T96" fmla="*/ 10 w 10"/>
                  <a:gd name="T97" fmla="*/ 6 h 14"/>
                  <a:gd name="T98" fmla="*/ 10 w 10"/>
                  <a:gd name="T99" fmla="*/ 6 h 14"/>
                  <a:gd name="T100" fmla="*/ 10 w 10"/>
                  <a:gd name="T101" fmla="*/ 6 h 14"/>
                  <a:gd name="T102" fmla="*/ 6 w 10"/>
                  <a:gd name="T103" fmla="*/ 10 h 14"/>
                  <a:gd name="T104" fmla="*/ 6 w 10"/>
                  <a:gd name="T105" fmla="*/ 10 h 14"/>
                  <a:gd name="T106" fmla="*/ 6 w 10"/>
                  <a:gd name="T107" fmla="*/ 10 h 14"/>
                  <a:gd name="T108" fmla="*/ 6 w 10"/>
                  <a:gd name="T109" fmla="*/ 10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0" h="14">
                    <a:moveTo>
                      <a:pt x="6" y="10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6" y="2"/>
                    </a:lnTo>
                    <a:lnTo>
                      <a:pt x="6" y="2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lnTo>
                      <a:pt x="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4" name="Freeform 113">
                <a:extLst>
                  <a:ext uri="{FF2B5EF4-FFF2-40B4-BE49-F238E27FC236}">
                    <a16:creationId xmlns:a16="http://schemas.microsoft.com/office/drawing/2014/main" id="{DB4A1159-EBCB-436F-B02B-3A1C57AD0BC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54575" y="3352868"/>
                <a:ext cx="53975" cy="47625"/>
              </a:xfrm>
              <a:custGeom>
                <a:avLst/>
                <a:gdLst>
                  <a:gd name="T0" fmla="*/ 0 w 34"/>
                  <a:gd name="T1" fmla="*/ 12 h 30"/>
                  <a:gd name="T2" fmla="*/ 4 w 34"/>
                  <a:gd name="T3" fmla="*/ 12 h 30"/>
                  <a:gd name="T4" fmla="*/ 4 w 34"/>
                  <a:gd name="T5" fmla="*/ 8 h 30"/>
                  <a:gd name="T6" fmla="*/ 4 w 34"/>
                  <a:gd name="T7" fmla="*/ 8 h 30"/>
                  <a:gd name="T8" fmla="*/ 4 w 34"/>
                  <a:gd name="T9" fmla="*/ 4 h 30"/>
                  <a:gd name="T10" fmla="*/ 8 w 34"/>
                  <a:gd name="T11" fmla="*/ 4 h 30"/>
                  <a:gd name="T12" fmla="*/ 12 w 34"/>
                  <a:gd name="T13" fmla="*/ 4 h 30"/>
                  <a:gd name="T14" fmla="*/ 12 w 34"/>
                  <a:gd name="T15" fmla="*/ 4 h 30"/>
                  <a:gd name="T16" fmla="*/ 16 w 34"/>
                  <a:gd name="T17" fmla="*/ 4 h 30"/>
                  <a:gd name="T18" fmla="*/ 16 w 34"/>
                  <a:gd name="T19" fmla="*/ 4 h 30"/>
                  <a:gd name="T20" fmla="*/ 20 w 34"/>
                  <a:gd name="T21" fmla="*/ 0 h 30"/>
                  <a:gd name="T22" fmla="*/ 22 w 34"/>
                  <a:gd name="T23" fmla="*/ 0 h 30"/>
                  <a:gd name="T24" fmla="*/ 22 w 34"/>
                  <a:gd name="T25" fmla="*/ 0 h 30"/>
                  <a:gd name="T26" fmla="*/ 26 w 34"/>
                  <a:gd name="T27" fmla="*/ 0 h 30"/>
                  <a:gd name="T28" fmla="*/ 26 w 34"/>
                  <a:gd name="T29" fmla="*/ 4 h 30"/>
                  <a:gd name="T30" fmla="*/ 30 w 34"/>
                  <a:gd name="T31" fmla="*/ 4 h 30"/>
                  <a:gd name="T32" fmla="*/ 34 w 34"/>
                  <a:gd name="T33" fmla="*/ 8 h 30"/>
                  <a:gd name="T34" fmla="*/ 34 w 34"/>
                  <a:gd name="T35" fmla="*/ 12 h 30"/>
                  <a:gd name="T36" fmla="*/ 34 w 34"/>
                  <a:gd name="T37" fmla="*/ 12 h 30"/>
                  <a:gd name="T38" fmla="*/ 34 w 34"/>
                  <a:gd name="T39" fmla="*/ 12 h 30"/>
                  <a:gd name="T40" fmla="*/ 34 w 34"/>
                  <a:gd name="T41" fmla="*/ 16 h 30"/>
                  <a:gd name="T42" fmla="*/ 34 w 34"/>
                  <a:gd name="T43" fmla="*/ 16 h 30"/>
                  <a:gd name="T44" fmla="*/ 34 w 34"/>
                  <a:gd name="T45" fmla="*/ 20 h 30"/>
                  <a:gd name="T46" fmla="*/ 34 w 34"/>
                  <a:gd name="T47" fmla="*/ 20 h 30"/>
                  <a:gd name="T48" fmla="*/ 34 w 34"/>
                  <a:gd name="T49" fmla="*/ 20 h 30"/>
                  <a:gd name="T50" fmla="*/ 30 w 34"/>
                  <a:gd name="T51" fmla="*/ 24 h 30"/>
                  <a:gd name="T52" fmla="*/ 30 w 34"/>
                  <a:gd name="T53" fmla="*/ 24 h 30"/>
                  <a:gd name="T54" fmla="*/ 30 w 34"/>
                  <a:gd name="T55" fmla="*/ 26 h 30"/>
                  <a:gd name="T56" fmla="*/ 26 w 34"/>
                  <a:gd name="T57" fmla="*/ 26 h 30"/>
                  <a:gd name="T58" fmla="*/ 26 w 34"/>
                  <a:gd name="T59" fmla="*/ 24 h 30"/>
                  <a:gd name="T60" fmla="*/ 22 w 34"/>
                  <a:gd name="T61" fmla="*/ 24 h 30"/>
                  <a:gd name="T62" fmla="*/ 20 w 34"/>
                  <a:gd name="T63" fmla="*/ 26 h 30"/>
                  <a:gd name="T64" fmla="*/ 20 w 34"/>
                  <a:gd name="T65" fmla="*/ 30 h 30"/>
                  <a:gd name="T66" fmla="*/ 16 w 34"/>
                  <a:gd name="T67" fmla="*/ 30 h 30"/>
                  <a:gd name="T68" fmla="*/ 16 w 34"/>
                  <a:gd name="T69" fmla="*/ 30 h 30"/>
                  <a:gd name="T70" fmla="*/ 12 w 34"/>
                  <a:gd name="T71" fmla="*/ 30 h 30"/>
                  <a:gd name="T72" fmla="*/ 12 w 34"/>
                  <a:gd name="T73" fmla="*/ 30 h 30"/>
                  <a:gd name="T74" fmla="*/ 8 w 34"/>
                  <a:gd name="T75" fmla="*/ 30 h 30"/>
                  <a:gd name="T76" fmla="*/ 8 w 34"/>
                  <a:gd name="T77" fmla="*/ 30 h 30"/>
                  <a:gd name="T78" fmla="*/ 4 w 34"/>
                  <a:gd name="T79" fmla="*/ 30 h 30"/>
                  <a:gd name="T80" fmla="*/ 4 w 34"/>
                  <a:gd name="T81" fmla="*/ 30 h 30"/>
                  <a:gd name="T82" fmla="*/ 4 w 34"/>
                  <a:gd name="T83" fmla="*/ 30 h 30"/>
                  <a:gd name="T84" fmla="*/ 0 w 34"/>
                  <a:gd name="T85" fmla="*/ 26 h 30"/>
                  <a:gd name="T86" fmla="*/ 0 w 34"/>
                  <a:gd name="T87" fmla="*/ 24 h 30"/>
                  <a:gd name="T88" fmla="*/ 0 w 34"/>
                  <a:gd name="T89" fmla="*/ 20 h 30"/>
                  <a:gd name="T90" fmla="*/ 0 w 34"/>
                  <a:gd name="T91" fmla="*/ 20 h 30"/>
                  <a:gd name="T92" fmla="*/ 0 w 34"/>
                  <a:gd name="T93" fmla="*/ 20 h 30"/>
                  <a:gd name="T94" fmla="*/ 0 w 34"/>
                  <a:gd name="T95" fmla="*/ 20 h 30"/>
                  <a:gd name="T96" fmla="*/ 0 w 34"/>
                  <a:gd name="T97" fmla="*/ 16 h 30"/>
                  <a:gd name="T98" fmla="*/ 0 w 34"/>
                  <a:gd name="T99" fmla="*/ 12 h 30"/>
                  <a:gd name="T100" fmla="*/ 0 w 34"/>
                  <a:gd name="T101" fmla="*/ 12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30"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4"/>
                    </a:lnTo>
                    <a:lnTo>
                      <a:pt x="22" y="24"/>
                    </a:lnTo>
                    <a:lnTo>
                      <a:pt x="22" y="24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5" name="Freeform 114">
                <a:extLst>
                  <a:ext uri="{FF2B5EF4-FFF2-40B4-BE49-F238E27FC236}">
                    <a16:creationId xmlns:a16="http://schemas.microsoft.com/office/drawing/2014/main" id="{20A806FF-D017-42EE-BF6A-C3AA083D91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91100" y="3159193"/>
                <a:ext cx="76200" cy="101600"/>
              </a:xfrm>
              <a:custGeom>
                <a:avLst/>
                <a:gdLst>
                  <a:gd name="T0" fmla="*/ 22 w 48"/>
                  <a:gd name="T1" fmla="*/ 42 h 64"/>
                  <a:gd name="T2" fmla="*/ 22 w 48"/>
                  <a:gd name="T3" fmla="*/ 38 h 64"/>
                  <a:gd name="T4" fmla="*/ 22 w 48"/>
                  <a:gd name="T5" fmla="*/ 34 h 64"/>
                  <a:gd name="T6" fmla="*/ 20 w 48"/>
                  <a:gd name="T7" fmla="*/ 30 h 64"/>
                  <a:gd name="T8" fmla="*/ 16 w 48"/>
                  <a:gd name="T9" fmla="*/ 26 h 64"/>
                  <a:gd name="T10" fmla="*/ 16 w 48"/>
                  <a:gd name="T11" fmla="*/ 24 h 64"/>
                  <a:gd name="T12" fmla="*/ 12 w 48"/>
                  <a:gd name="T13" fmla="*/ 20 h 64"/>
                  <a:gd name="T14" fmla="*/ 8 w 48"/>
                  <a:gd name="T15" fmla="*/ 16 h 64"/>
                  <a:gd name="T16" fmla="*/ 4 w 48"/>
                  <a:gd name="T17" fmla="*/ 8 h 64"/>
                  <a:gd name="T18" fmla="*/ 0 w 48"/>
                  <a:gd name="T19" fmla="*/ 4 h 64"/>
                  <a:gd name="T20" fmla="*/ 4 w 48"/>
                  <a:gd name="T21" fmla="*/ 4 h 64"/>
                  <a:gd name="T22" fmla="*/ 16 w 48"/>
                  <a:gd name="T23" fmla="*/ 0 h 64"/>
                  <a:gd name="T24" fmla="*/ 20 w 48"/>
                  <a:gd name="T25" fmla="*/ 4 h 64"/>
                  <a:gd name="T26" fmla="*/ 20 w 48"/>
                  <a:gd name="T27" fmla="*/ 4 h 64"/>
                  <a:gd name="T28" fmla="*/ 22 w 48"/>
                  <a:gd name="T29" fmla="*/ 8 h 64"/>
                  <a:gd name="T30" fmla="*/ 26 w 48"/>
                  <a:gd name="T31" fmla="*/ 4 h 64"/>
                  <a:gd name="T32" fmla="*/ 26 w 48"/>
                  <a:gd name="T33" fmla="*/ 8 h 64"/>
                  <a:gd name="T34" fmla="*/ 30 w 48"/>
                  <a:gd name="T35" fmla="*/ 8 h 64"/>
                  <a:gd name="T36" fmla="*/ 34 w 48"/>
                  <a:gd name="T37" fmla="*/ 12 h 64"/>
                  <a:gd name="T38" fmla="*/ 34 w 48"/>
                  <a:gd name="T39" fmla="*/ 12 h 64"/>
                  <a:gd name="T40" fmla="*/ 34 w 48"/>
                  <a:gd name="T41" fmla="*/ 12 h 64"/>
                  <a:gd name="T42" fmla="*/ 36 w 48"/>
                  <a:gd name="T43" fmla="*/ 20 h 64"/>
                  <a:gd name="T44" fmla="*/ 36 w 48"/>
                  <a:gd name="T45" fmla="*/ 24 h 64"/>
                  <a:gd name="T46" fmla="*/ 36 w 48"/>
                  <a:gd name="T47" fmla="*/ 24 h 64"/>
                  <a:gd name="T48" fmla="*/ 40 w 48"/>
                  <a:gd name="T49" fmla="*/ 26 h 64"/>
                  <a:gd name="T50" fmla="*/ 40 w 48"/>
                  <a:gd name="T51" fmla="*/ 26 h 64"/>
                  <a:gd name="T52" fmla="*/ 40 w 48"/>
                  <a:gd name="T53" fmla="*/ 34 h 64"/>
                  <a:gd name="T54" fmla="*/ 48 w 48"/>
                  <a:gd name="T55" fmla="*/ 38 h 64"/>
                  <a:gd name="T56" fmla="*/ 48 w 48"/>
                  <a:gd name="T57" fmla="*/ 42 h 64"/>
                  <a:gd name="T58" fmla="*/ 48 w 48"/>
                  <a:gd name="T59" fmla="*/ 42 h 64"/>
                  <a:gd name="T60" fmla="*/ 48 w 48"/>
                  <a:gd name="T61" fmla="*/ 46 h 64"/>
                  <a:gd name="T62" fmla="*/ 44 w 48"/>
                  <a:gd name="T63" fmla="*/ 46 h 64"/>
                  <a:gd name="T64" fmla="*/ 40 w 48"/>
                  <a:gd name="T65" fmla="*/ 46 h 64"/>
                  <a:gd name="T66" fmla="*/ 36 w 48"/>
                  <a:gd name="T67" fmla="*/ 42 h 64"/>
                  <a:gd name="T68" fmla="*/ 36 w 48"/>
                  <a:gd name="T69" fmla="*/ 46 h 64"/>
                  <a:gd name="T70" fmla="*/ 36 w 48"/>
                  <a:gd name="T71" fmla="*/ 42 h 64"/>
                  <a:gd name="T72" fmla="*/ 34 w 48"/>
                  <a:gd name="T73" fmla="*/ 42 h 64"/>
                  <a:gd name="T74" fmla="*/ 34 w 48"/>
                  <a:gd name="T75" fmla="*/ 50 h 64"/>
                  <a:gd name="T76" fmla="*/ 30 w 48"/>
                  <a:gd name="T77" fmla="*/ 54 h 64"/>
                  <a:gd name="T78" fmla="*/ 30 w 48"/>
                  <a:gd name="T79" fmla="*/ 54 h 64"/>
                  <a:gd name="T80" fmla="*/ 26 w 48"/>
                  <a:gd name="T81" fmla="*/ 56 h 64"/>
                  <a:gd name="T82" fmla="*/ 26 w 48"/>
                  <a:gd name="T83" fmla="*/ 60 h 64"/>
                  <a:gd name="T84" fmla="*/ 22 w 48"/>
                  <a:gd name="T85" fmla="*/ 60 h 64"/>
                  <a:gd name="T86" fmla="*/ 22 w 48"/>
                  <a:gd name="T87" fmla="*/ 60 h 64"/>
                  <a:gd name="T88" fmla="*/ 22 w 48"/>
                  <a:gd name="T89" fmla="*/ 64 h 64"/>
                  <a:gd name="T90" fmla="*/ 22 w 48"/>
                  <a:gd name="T91" fmla="*/ 56 h 64"/>
                  <a:gd name="T92" fmla="*/ 22 w 48"/>
                  <a:gd name="T93" fmla="*/ 54 h 64"/>
                  <a:gd name="T94" fmla="*/ 22 w 48"/>
                  <a:gd name="T95" fmla="*/ 50 h 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8" h="64">
                    <a:moveTo>
                      <a:pt x="22" y="50"/>
                    </a:moveTo>
                    <a:lnTo>
                      <a:pt x="22" y="50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36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8" y="46"/>
                    </a:lnTo>
                    <a:lnTo>
                      <a:pt x="44" y="46"/>
                    </a:lnTo>
                    <a:lnTo>
                      <a:pt x="44" y="46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40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6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6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22" y="5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6" name="Freeform 115">
                <a:extLst>
                  <a:ext uri="{FF2B5EF4-FFF2-40B4-BE49-F238E27FC236}">
                    <a16:creationId xmlns:a16="http://schemas.microsoft.com/office/drawing/2014/main" id="{81BF4405-7760-46BC-8501-580F359337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70400" y="2994093"/>
                <a:ext cx="82550" cy="95250"/>
              </a:xfrm>
              <a:custGeom>
                <a:avLst/>
                <a:gdLst>
                  <a:gd name="T0" fmla="*/ 30 w 52"/>
                  <a:gd name="T1" fmla="*/ 26 h 60"/>
                  <a:gd name="T2" fmla="*/ 34 w 52"/>
                  <a:gd name="T3" fmla="*/ 22 h 60"/>
                  <a:gd name="T4" fmla="*/ 34 w 52"/>
                  <a:gd name="T5" fmla="*/ 16 h 60"/>
                  <a:gd name="T6" fmla="*/ 26 w 52"/>
                  <a:gd name="T7" fmla="*/ 8 h 60"/>
                  <a:gd name="T8" fmla="*/ 26 w 52"/>
                  <a:gd name="T9" fmla="*/ 16 h 60"/>
                  <a:gd name="T10" fmla="*/ 22 w 52"/>
                  <a:gd name="T11" fmla="*/ 18 h 60"/>
                  <a:gd name="T12" fmla="*/ 22 w 52"/>
                  <a:gd name="T13" fmla="*/ 22 h 60"/>
                  <a:gd name="T14" fmla="*/ 20 w 52"/>
                  <a:gd name="T15" fmla="*/ 18 h 60"/>
                  <a:gd name="T16" fmla="*/ 22 w 52"/>
                  <a:gd name="T17" fmla="*/ 12 h 60"/>
                  <a:gd name="T18" fmla="*/ 26 w 52"/>
                  <a:gd name="T19" fmla="*/ 8 h 60"/>
                  <a:gd name="T20" fmla="*/ 38 w 52"/>
                  <a:gd name="T21" fmla="*/ 0 h 60"/>
                  <a:gd name="T22" fmla="*/ 48 w 52"/>
                  <a:gd name="T23" fmla="*/ 0 h 60"/>
                  <a:gd name="T24" fmla="*/ 52 w 52"/>
                  <a:gd name="T25" fmla="*/ 12 h 60"/>
                  <a:gd name="T26" fmla="*/ 52 w 52"/>
                  <a:gd name="T27" fmla="*/ 18 h 60"/>
                  <a:gd name="T28" fmla="*/ 44 w 52"/>
                  <a:gd name="T29" fmla="*/ 18 h 60"/>
                  <a:gd name="T30" fmla="*/ 52 w 52"/>
                  <a:gd name="T31" fmla="*/ 26 h 60"/>
                  <a:gd name="T32" fmla="*/ 48 w 52"/>
                  <a:gd name="T33" fmla="*/ 30 h 60"/>
                  <a:gd name="T34" fmla="*/ 44 w 52"/>
                  <a:gd name="T35" fmla="*/ 34 h 60"/>
                  <a:gd name="T36" fmla="*/ 38 w 52"/>
                  <a:gd name="T37" fmla="*/ 42 h 60"/>
                  <a:gd name="T38" fmla="*/ 38 w 52"/>
                  <a:gd name="T39" fmla="*/ 48 h 60"/>
                  <a:gd name="T40" fmla="*/ 38 w 52"/>
                  <a:gd name="T41" fmla="*/ 56 h 60"/>
                  <a:gd name="T42" fmla="*/ 34 w 52"/>
                  <a:gd name="T43" fmla="*/ 56 h 60"/>
                  <a:gd name="T44" fmla="*/ 30 w 52"/>
                  <a:gd name="T45" fmla="*/ 56 h 60"/>
                  <a:gd name="T46" fmla="*/ 30 w 52"/>
                  <a:gd name="T47" fmla="*/ 48 h 60"/>
                  <a:gd name="T48" fmla="*/ 26 w 52"/>
                  <a:gd name="T49" fmla="*/ 44 h 60"/>
                  <a:gd name="T50" fmla="*/ 20 w 52"/>
                  <a:gd name="T51" fmla="*/ 44 h 60"/>
                  <a:gd name="T52" fmla="*/ 16 w 52"/>
                  <a:gd name="T53" fmla="*/ 44 h 60"/>
                  <a:gd name="T54" fmla="*/ 16 w 52"/>
                  <a:gd name="T55" fmla="*/ 44 h 60"/>
                  <a:gd name="T56" fmla="*/ 4 w 52"/>
                  <a:gd name="T57" fmla="*/ 44 h 60"/>
                  <a:gd name="T58" fmla="*/ 8 w 52"/>
                  <a:gd name="T59" fmla="*/ 42 h 60"/>
                  <a:gd name="T60" fmla="*/ 8 w 52"/>
                  <a:gd name="T61" fmla="*/ 42 h 60"/>
                  <a:gd name="T62" fmla="*/ 12 w 52"/>
                  <a:gd name="T63" fmla="*/ 42 h 60"/>
                  <a:gd name="T64" fmla="*/ 12 w 52"/>
                  <a:gd name="T65" fmla="*/ 42 h 60"/>
                  <a:gd name="T66" fmla="*/ 12 w 52"/>
                  <a:gd name="T67" fmla="*/ 38 h 60"/>
                  <a:gd name="T68" fmla="*/ 8 w 52"/>
                  <a:gd name="T69" fmla="*/ 38 h 60"/>
                  <a:gd name="T70" fmla="*/ 12 w 52"/>
                  <a:gd name="T71" fmla="*/ 34 h 60"/>
                  <a:gd name="T72" fmla="*/ 16 w 52"/>
                  <a:gd name="T73" fmla="*/ 22 h 60"/>
                  <a:gd name="T74" fmla="*/ 22 w 52"/>
                  <a:gd name="T75" fmla="*/ 26 h 60"/>
                  <a:gd name="T76" fmla="*/ 22 w 52"/>
                  <a:gd name="T77" fmla="*/ 18 h 60"/>
                  <a:gd name="T78" fmla="*/ 26 w 52"/>
                  <a:gd name="T79" fmla="*/ 18 h 60"/>
                  <a:gd name="T80" fmla="*/ 30 w 52"/>
                  <a:gd name="T81" fmla="*/ 22 h 60"/>
                  <a:gd name="T82" fmla="*/ 22 w 52"/>
                  <a:gd name="T83" fmla="*/ 22 h 60"/>
                  <a:gd name="T84" fmla="*/ 30 w 52"/>
                  <a:gd name="T85" fmla="*/ 26 h 60"/>
                  <a:gd name="T86" fmla="*/ 26 w 52"/>
                  <a:gd name="T87" fmla="*/ 26 h 60"/>
                  <a:gd name="T88" fmla="*/ 30 w 52"/>
                  <a:gd name="T89" fmla="*/ 22 h 60"/>
                  <a:gd name="T90" fmla="*/ 34 w 52"/>
                  <a:gd name="T91" fmla="*/ 22 h 60"/>
                  <a:gd name="T92" fmla="*/ 8 w 52"/>
                  <a:gd name="T93" fmla="*/ 38 h 60"/>
                  <a:gd name="T94" fmla="*/ 8 w 52"/>
                  <a:gd name="T95" fmla="*/ 42 h 60"/>
                  <a:gd name="T96" fmla="*/ 8 w 52"/>
                  <a:gd name="T97" fmla="*/ 38 h 60"/>
                  <a:gd name="T98" fmla="*/ 8 w 52"/>
                  <a:gd name="T99" fmla="*/ 44 h 60"/>
                  <a:gd name="T100" fmla="*/ 8 w 52"/>
                  <a:gd name="T101" fmla="*/ 48 h 60"/>
                  <a:gd name="T102" fmla="*/ 0 w 52"/>
                  <a:gd name="T103" fmla="*/ 48 h 60"/>
                  <a:gd name="T104" fmla="*/ 26 w 52"/>
                  <a:gd name="T105" fmla="*/ 4 h 60"/>
                  <a:gd name="T106" fmla="*/ 26 w 52"/>
                  <a:gd name="T107" fmla="*/ 4 h 60"/>
                  <a:gd name="T108" fmla="*/ 20 w 52"/>
                  <a:gd name="T109" fmla="*/ 12 h 60"/>
                  <a:gd name="T110" fmla="*/ 22 w 52"/>
                  <a:gd name="T111" fmla="*/ 8 h 60"/>
                  <a:gd name="T112" fmla="*/ 20 w 52"/>
                  <a:gd name="T113" fmla="*/ 12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52" h="6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26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52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2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38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38" y="42"/>
                    </a:lnTo>
                    <a:lnTo>
                      <a:pt x="42" y="42"/>
                    </a:lnTo>
                    <a:lnTo>
                      <a:pt x="42" y="42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8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2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2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4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0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  <a:moveTo>
                      <a:pt x="22" y="22"/>
                    </a:moveTo>
                    <a:lnTo>
                      <a:pt x="22" y="22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close/>
                    <a:moveTo>
                      <a:pt x="30" y="22"/>
                    </a:moveTo>
                    <a:lnTo>
                      <a:pt x="30" y="22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close/>
                    <a:moveTo>
                      <a:pt x="8" y="38"/>
                    </a:move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close/>
                    <a:moveTo>
                      <a:pt x="0" y="44"/>
                    </a:move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close/>
                    <a:moveTo>
                      <a:pt x="26" y="4"/>
                    </a:move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close/>
                    <a:moveTo>
                      <a:pt x="20" y="12"/>
                    </a:move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7" name="Freeform 116">
                <a:extLst>
                  <a:ext uri="{FF2B5EF4-FFF2-40B4-BE49-F238E27FC236}">
                    <a16:creationId xmlns:a16="http://schemas.microsoft.com/office/drawing/2014/main" id="{A73E8BD0-51CB-40FE-8D03-D7B748AE45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8975" y="2336868"/>
                <a:ext cx="593725" cy="504825"/>
              </a:xfrm>
              <a:custGeom>
                <a:avLst/>
                <a:gdLst>
                  <a:gd name="T0" fmla="*/ 104 w 374"/>
                  <a:gd name="T1" fmla="*/ 154 h 318"/>
                  <a:gd name="T2" fmla="*/ 120 w 374"/>
                  <a:gd name="T3" fmla="*/ 132 h 318"/>
                  <a:gd name="T4" fmla="*/ 120 w 374"/>
                  <a:gd name="T5" fmla="*/ 116 h 318"/>
                  <a:gd name="T6" fmla="*/ 142 w 374"/>
                  <a:gd name="T7" fmla="*/ 102 h 318"/>
                  <a:gd name="T8" fmla="*/ 150 w 374"/>
                  <a:gd name="T9" fmla="*/ 94 h 318"/>
                  <a:gd name="T10" fmla="*/ 146 w 374"/>
                  <a:gd name="T11" fmla="*/ 82 h 318"/>
                  <a:gd name="T12" fmla="*/ 164 w 374"/>
                  <a:gd name="T13" fmla="*/ 82 h 318"/>
                  <a:gd name="T14" fmla="*/ 184 w 374"/>
                  <a:gd name="T15" fmla="*/ 72 h 318"/>
                  <a:gd name="T16" fmla="*/ 180 w 374"/>
                  <a:gd name="T17" fmla="*/ 56 h 318"/>
                  <a:gd name="T18" fmla="*/ 202 w 374"/>
                  <a:gd name="T19" fmla="*/ 42 h 318"/>
                  <a:gd name="T20" fmla="*/ 232 w 374"/>
                  <a:gd name="T21" fmla="*/ 30 h 318"/>
                  <a:gd name="T22" fmla="*/ 254 w 374"/>
                  <a:gd name="T23" fmla="*/ 22 h 318"/>
                  <a:gd name="T24" fmla="*/ 276 w 374"/>
                  <a:gd name="T25" fmla="*/ 8 h 318"/>
                  <a:gd name="T26" fmla="*/ 296 w 374"/>
                  <a:gd name="T27" fmla="*/ 22 h 318"/>
                  <a:gd name="T28" fmla="*/ 318 w 374"/>
                  <a:gd name="T29" fmla="*/ 8 h 318"/>
                  <a:gd name="T30" fmla="*/ 332 w 374"/>
                  <a:gd name="T31" fmla="*/ 22 h 318"/>
                  <a:gd name="T32" fmla="*/ 374 w 374"/>
                  <a:gd name="T33" fmla="*/ 22 h 318"/>
                  <a:gd name="T34" fmla="*/ 358 w 374"/>
                  <a:gd name="T35" fmla="*/ 34 h 318"/>
                  <a:gd name="T36" fmla="*/ 348 w 374"/>
                  <a:gd name="T37" fmla="*/ 38 h 318"/>
                  <a:gd name="T38" fmla="*/ 296 w 374"/>
                  <a:gd name="T39" fmla="*/ 56 h 318"/>
                  <a:gd name="T40" fmla="*/ 232 w 374"/>
                  <a:gd name="T41" fmla="*/ 52 h 318"/>
                  <a:gd name="T42" fmla="*/ 168 w 374"/>
                  <a:gd name="T43" fmla="*/ 90 h 318"/>
                  <a:gd name="T44" fmla="*/ 128 w 374"/>
                  <a:gd name="T45" fmla="*/ 162 h 318"/>
                  <a:gd name="T46" fmla="*/ 112 w 374"/>
                  <a:gd name="T47" fmla="*/ 236 h 318"/>
                  <a:gd name="T48" fmla="*/ 90 w 374"/>
                  <a:gd name="T49" fmla="*/ 292 h 318"/>
                  <a:gd name="T50" fmla="*/ 72 w 374"/>
                  <a:gd name="T51" fmla="*/ 294 h 318"/>
                  <a:gd name="T52" fmla="*/ 12 w 374"/>
                  <a:gd name="T53" fmla="*/ 292 h 318"/>
                  <a:gd name="T54" fmla="*/ 14 w 374"/>
                  <a:gd name="T55" fmla="*/ 284 h 318"/>
                  <a:gd name="T56" fmla="*/ 30 w 374"/>
                  <a:gd name="T57" fmla="*/ 262 h 318"/>
                  <a:gd name="T58" fmla="*/ 14 w 374"/>
                  <a:gd name="T59" fmla="*/ 258 h 318"/>
                  <a:gd name="T60" fmla="*/ 34 w 374"/>
                  <a:gd name="T61" fmla="*/ 246 h 318"/>
                  <a:gd name="T62" fmla="*/ 8 w 374"/>
                  <a:gd name="T63" fmla="*/ 238 h 318"/>
                  <a:gd name="T64" fmla="*/ 8 w 374"/>
                  <a:gd name="T65" fmla="*/ 228 h 318"/>
                  <a:gd name="T66" fmla="*/ 30 w 374"/>
                  <a:gd name="T67" fmla="*/ 224 h 318"/>
                  <a:gd name="T68" fmla="*/ 44 w 374"/>
                  <a:gd name="T69" fmla="*/ 210 h 318"/>
                  <a:gd name="T70" fmla="*/ 52 w 374"/>
                  <a:gd name="T71" fmla="*/ 206 h 318"/>
                  <a:gd name="T72" fmla="*/ 64 w 374"/>
                  <a:gd name="T73" fmla="*/ 192 h 318"/>
                  <a:gd name="T74" fmla="*/ 86 w 374"/>
                  <a:gd name="T75" fmla="*/ 180 h 318"/>
                  <a:gd name="T76" fmla="*/ 284 w 374"/>
                  <a:gd name="T77" fmla="*/ 4 h 318"/>
                  <a:gd name="T78" fmla="*/ 206 w 374"/>
                  <a:gd name="T79" fmla="*/ 26 h 318"/>
                  <a:gd name="T80" fmla="*/ 354 w 374"/>
                  <a:gd name="T81" fmla="*/ 38 h 318"/>
                  <a:gd name="T82" fmla="*/ 176 w 374"/>
                  <a:gd name="T83" fmla="*/ 60 h 318"/>
                  <a:gd name="T84" fmla="*/ 124 w 374"/>
                  <a:gd name="T85" fmla="*/ 76 h 318"/>
                  <a:gd name="T86" fmla="*/ 130 w 374"/>
                  <a:gd name="T87" fmla="*/ 106 h 318"/>
                  <a:gd name="T88" fmla="*/ 104 w 374"/>
                  <a:gd name="T89" fmla="*/ 154 h 318"/>
                  <a:gd name="T90" fmla="*/ 52 w 374"/>
                  <a:gd name="T91" fmla="*/ 194 h 318"/>
                  <a:gd name="T92" fmla="*/ 42 w 374"/>
                  <a:gd name="T93" fmla="*/ 202 h 318"/>
                  <a:gd name="T94" fmla="*/ 12 w 374"/>
                  <a:gd name="T95" fmla="*/ 222 h 318"/>
                  <a:gd name="T96" fmla="*/ 12 w 374"/>
                  <a:gd name="T97" fmla="*/ 262 h 318"/>
                  <a:gd name="T98" fmla="*/ 248 w 374"/>
                  <a:gd name="T99" fmla="*/ 16 h 318"/>
                  <a:gd name="T100" fmla="*/ 270 w 374"/>
                  <a:gd name="T101" fmla="*/ 16 h 318"/>
                  <a:gd name="T102" fmla="*/ 228 w 374"/>
                  <a:gd name="T103" fmla="*/ 30 h 318"/>
                  <a:gd name="T104" fmla="*/ 194 w 374"/>
                  <a:gd name="T105" fmla="*/ 38 h 318"/>
                  <a:gd name="T106" fmla="*/ 176 w 374"/>
                  <a:gd name="T107" fmla="*/ 42 h 318"/>
                  <a:gd name="T108" fmla="*/ 154 w 374"/>
                  <a:gd name="T109" fmla="*/ 56 h 318"/>
                  <a:gd name="T110" fmla="*/ 146 w 374"/>
                  <a:gd name="T111" fmla="*/ 60 h 318"/>
                  <a:gd name="T112" fmla="*/ 158 w 374"/>
                  <a:gd name="T113" fmla="*/ 56 h 318"/>
                  <a:gd name="T114" fmla="*/ 134 w 374"/>
                  <a:gd name="T115" fmla="*/ 76 h 318"/>
                  <a:gd name="T116" fmla="*/ 108 w 374"/>
                  <a:gd name="T117" fmla="*/ 132 h 318"/>
                  <a:gd name="T118" fmla="*/ 44 w 374"/>
                  <a:gd name="T119" fmla="*/ 194 h 318"/>
                  <a:gd name="T120" fmla="*/ 8 w 374"/>
                  <a:gd name="T121" fmla="*/ 262 h 318"/>
                  <a:gd name="T122" fmla="*/ 8 w 374"/>
                  <a:gd name="T123" fmla="*/ 280 h 3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74" h="318">
                    <a:moveTo>
                      <a:pt x="82" y="168"/>
                    </a:moveTo>
                    <a:lnTo>
                      <a:pt x="86" y="168"/>
                    </a:lnTo>
                    <a:lnTo>
                      <a:pt x="82" y="168"/>
                    </a:lnTo>
                    <a:lnTo>
                      <a:pt x="86" y="164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4" y="164"/>
                    </a:lnTo>
                    <a:lnTo>
                      <a:pt x="98" y="164"/>
                    </a:lnTo>
                    <a:lnTo>
                      <a:pt x="102" y="164"/>
                    </a:lnTo>
                    <a:lnTo>
                      <a:pt x="98" y="164"/>
                    </a:lnTo>
                    <a:lnTo>
                      <a:pt x="94" y="164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102" y="162"/>
                    </a:lnTo>
                    <a:lnTo>
                      <a:pt x="102" y="158"/>
                    </a:lnTo>
                    <a:lnTo>
                      <a:pt x="98" y="158"/>
                    </a:lnTo>
                    <a:lnTo>
                      <a:pt x="102" y="158"/>
                    </a:lnTo>
                    <a:lnTo>
                      <a:pt x="104" y="154"/>
                    </a:lnTo>
                    <a:lnTo>
                      <a:pt x="102" y="154"/>
                    </a:lnTo>
                    <a:lnTo>
                      <a:pt x="102" y="158"/>
                    </a:lnTo>
                    <a:lnTo>
                      <a:pt x="94" y="162"/>
                    </a:lnTo>
                    <a:lnTo>
                      <a:pt x="94" y="158"/>
                    </a:lnTo>
                    <a:lnTo>
                      <a:pt x="98" y="158"/>
                    </a:lnTo>
                    <a:lnTo>
                      <a:pt x="94" y="158"/>
                    </a:lnTo>
                    <a:lnTo>
                      <a:pt x="98" y="154"/>
                    </a:lnTo>
                    <a:lnTo>
                      <a:pt x="102" y="154"/>
                    </a:lnTo>
                    <a:lnTo>
                      <a:pt x="104" y="154"/>
                    </a:lnTo>
                    <a:lnTo>
                      <a:pt x="108" y="154"/>
                    </a:lnTo>
                    <a:lnTo>
                      <a:pt x="112" y="150"/>
                    </a:lnTo>
                    <a:lnTo>
                      <a:pt x="116" y="146"/>
                    </a:lnTo>
                    <a:lnTo>
                      <a:pt x="112" y="150"/>
                    </a:lnTo>
                    <a:lnTo>
                      <a:pt x="108" y="150"/>
                    </a:lnTo>
                    <a:lnTo>
                      <a:pt x="112" y="150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4" y="150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8" y="136"/>
                    </a:lnTo>
                    <a:lnTo>
                      <a:pt x="112" y="136"/>
                    </a:lnTo>
                    <a:lnTo>
                      <a:pt x="112" y="138"/>
                    </a:lnTo>
                    <a:lnTo>
                      <a:pt x="116" y="138"/>
                    </a:lnTo>
                    <a:lnTo>
                      <a:pt x="112" y="138"/>
                    </a:lnTo>
                    <a:lnTo>
                      <a:pt x="112" y="136"/>
                    </a:lnTo>
                    <a:lnTo>
                      <a:pt x="112" y="132"/>
                    </a:lnTo>
                    <a:lnTo>
                      <a:pt x="116" y="132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32"/>
                    </a:lnTo>
                    <a:lnTo>
                      <a:pt x="116" y="132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20" y="128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8" y="124"/>
                    </a:lnTo>
                    <a:lnTo>
                      <a:pt x="130" y="124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0" y="124"/>
                    </a:lnTo>
                    <a:lnTo>
                      <a:pt x="128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20" y="124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16" y="116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30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8" y="112"/>
                    </a:lnTo>
                    <a:lnTo>
                      <a:pt x="124" y="112"/>
                    </a:lnTo>
                    <a:lnTo>
                      <a:pt x="124" y="108"/>
                    </a:lnTo>
                    <a:lnTo>
                      <a:pt x="128" y="108"/>
                    </a:lnTo>
                    <a:lnTo>
                      <a:pt x="130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8" y="106"/>
                    </a:lnTo>
                    <a:lnTo>
                      <a:pt x="130" y="108"/>
                    </a:lnTo>
                    <a:lnTo>
                      <a:pt x="134" y="106"/>
                    </a:lnTo>
                    <a:lnTo>
                      <a:pt x="138" y="106"/>
                    </a:lnTo>
                    <a:lnTo>
                      <a:pt x="134" y="106"/>
                    </a:lnTo>
                    <a:lnTo>
                      <a:pt x="134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38" y="102"/>
                    </a:lnTo>
                    <a:lnTo>
                      <a:pt x="142" y="102"/>
                    </a:lnTo>
                    <a:lnTo>
                      <a:pt x="146" y="102"/>
                    </a:lnTo>
                    <a:lnTo>
                      <a:pt x="150" y="102"/>
                    </a:lnTo>
                    <a:lnTo>
                      <a:pt x="154" y="106"/>
                    </a:lnTo>
                    <a:lnTo>
                      <a:pt x="154" y="102"/>
                    </a:lnTo>
                    <a:lnTo>
                      <a:pt x="150" y="102"/>
                    </a:lnTo>
                    <a:lnTo>
                      <a:pt x="154" y="102"/>
                    </a:lnTo>
                    <a:lnTo>
                      <a:pt x="158" y="102"/>
                    </a:lnTo>
                    <a:lnTo>
                      <a:pt x="150" y="102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98"/>
                    </a:lnTo>
                    <a:lnTo>
                      <a:pt x="150" y="98"/>
                    </a:lnTo>
                    <a:lnTo>
                      <a:pt x="146" y="98"/>
                    </a:lnTo>
                    <a:lnTo>
                      <a:pt x="142" y="98"/>
                    </a:lnTo>
                    <a:lnTo>
                      <a:pt x="142" y="102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8" y="98"/>
                    </a:lnTo>
                    <a:lnTo>
                      <a:pt x="138" y="94"/>
                    </a:lnTo>
                    <a:lnTo>
                      <a:pt x="142" y="94"/>
                    </a:lnTo>
                    <a:lnTo>
                      <a:pt x="146" y="94"/>
                    </a:lnTo>
                    <a:lnTo>
                      <a:pt x="142" y="94"/>
                    </a:lnTo>
                    <a:lnTo>
                      <a:pt x="146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98"/>
                    </a:lnTo>
                    <a:lnTo>
                      <a:pt x="154" y="98"/>
                    </a:lnTo>
                    <a:lnTo>
                      <a:pt x="154" y="94"/>
                    </a:lnTo>
                    <a:lnTo>
                      <a:pt x="158" y="94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50" y="86"/>
                    </a:lnTo>
                    <a:lnTo>
                      <a:pt x="154" y="90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54" y="86"/>
                    </a:lnTo>
                    <a:lnTo>
                      <a:pt x="158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0" y="86"/>
                    </a:lnTo>
                    <a:lnTo>
                      <a:pt x="146" y="90"/>
                    </a:lnTo>
                    <a:lnTo>
                      <a:pt x="142" y="90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82"/>
                    </a:lnTo>
                    <a:lnTo>
                      <a:pt x="142" y="86"/>
                    </a:lnTo>
                    <a:lnTo>
                      <a:pt x="142" y="82"/>
                    </a:lnTo>
                    <a:lnTo>
                      <a:pt x="146" y="82"/>
                    </a:lnTo>
                    <a:lnTo>
                      <a:pt x="150" y="82"/>
                    </a:lnTo>
                    <a:lnTo>
                      <a:pt x="154" y="82"/>
                    </a:lnTo>
                    <a:lnTo>
                      <a:pt x="158" y="82"/>
                    </a:lnTo>
                    <a:lnTo>
                      <a:pt x="160" y="78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0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4" y="76"/>
                    </a:lnTo>
                    <a:lnTo>
                      <a:pt x="158" y="76"/>
                    </a:lnTo>
                    <a:lnTo>
                      <a:pt x="158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76"/>
                    </a:lnTo>
                    <a:lnTo>
                      <a:pt x="160" y="76"/>
                    </a:lnTo>
                    <a:lnTo>
                      <a:pt x="160" y="78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86"/>
                    </a:lnTo>
                    <a:lnTo>
                      <a:pt x="168" y="86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8" y="82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8" y="78"/>
                    </a:lnTo>
                    <a:lnTo>
                      <a:pt x="164" y="78"/>
                    </a:lnTo>
                    <a:lnTo>
                      <a:pt x="164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72"/>
                    </a:lnTo>
                    <a:lnTo>
                      <a:pt x="168" y="76"/>
                    </a:lnTo>
                    <a:lnTo>
                      <a:pt x="172" y="78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4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80" y="76"/>
                    </a:lnTo>
                    <a:lnTo>
                      <a:pt x="180" y="72"/>
                    </a:lnTo>
                    <a:lnTo>
                      <a:pt x="176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4" y="72"/>
                    </a:lnTo>
                    <a:lnTo>
                      <a:pt x="184" y="68"/>
                    </a:lnTo>
                    <a:lnTo>
                      <a:pt x="180" y="68"/>
                    </a:lnTo>
                    <a:lnTo>
                      <a:pt x="176" y="68"/>
                    </a:lnTo>
                    <a:lnTo>
                      <a:pt x="176" y="72"/>
                    </a:lnTo>
                    <a:lnTo>
                      <a:pt x="176" y="68"/>
                    </a:lnTo>
                    <a:lnTo>
                      <a:pt x="172" y="68"/>
                    </a:lnTo>
                    <a:lnTo>
                      <a:pt x="168" y="72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84" y="56"/>
                    </a:lnTo>
                    <a:lnTo>
                      <a:pt x="180" y="56"/>
                    </a:lnTo>
                    <a:lnTo>
                      <a:pt x="184" y="52"/>
                    </a:lnTo>
                    <a:lnTo>
                      <a:pt x="188" y="52"/>
                    </a:lnTo>
                    <a:lnTo>
                      <a:pt x="190" y="52"/>
                    </a:lnTo>
                    <a:lnTo>
                      <a:pt x="188" y="50"/>
                    </a:lnTo>
                    <a:lnTo>
                      <a:pt x="190" y="50"/>
                    </a:lnTo>
                    <a:lnTo>
                      <a:pt x="190" y="46"/>
                    </a:lnTo>
                    <a:lnTo>
                      <a:pt x="190" y="42"/>
                    </a:lnTo>
                    <a:lnTo>
                      <a:pt x="194" y="46"/>
                    </a:lnTo>
                    <a:lnTo>
                      <a:pt x="194" y="50"/>
                    </a:lnTo>
                    <a:lnTo>
                      <a:pt x="198" y="50"/>
                    </a:lnTo>
                    <a:lnTo>
                      <a:pt x="202" y="50"/>
                    </a:lnTo>
                    <a:lnTo>
                      <a:pt x="198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10" y="50"/>
                    </a:lnTo>
                    <a:lnTo>
                      <a:pt x="206" y="50"/>
                    </a:lnTo>
                    <a:lnTo>
                      <a:pt x="210" y="50"/>
                    </a:lnTo>
                    <a:lnTo>
                      <a:pt x="210" y="46"/>
                    </a:lnTo>
                    <a:lnTo>
                      <a:pt x="206" y="46"/>
                    </a:lnTo>
                    <a:lnTo>
                      <a:pt x="202" y="46"/>
                    </a:lnTo>
                    <a:lnTo>
                      <a:pt x="202" y="42"/>
                    </a:lnTo>
                    <a:lnTo>
                      <a:pt x="206" y="42"/>
                    </a:lnTo>
                    <a:lnTo>
                      <a:pt x="202" y="42"/>
                    </a:lnTo>
                    <a:lnTo>
                      <a:pt x="202" y="38"/>
                    </a:lnTo>
                    <a:lnTo>
                      <a:pt x="206" y="38"/>
                    </a:lnTo>
                    <a:lnTo>
                      <a:pt x="206" y="34"/>
                    </a:lnTo>
                    <a:lnTo>
                      <a:pt x="214" y="34"/>
                    </a:lnTo>
                    <a:lnTo>
                      <a:pt x="214" y="38"/>
                    </a:lnTo>
                    <a:lnTo>
                      <a:pt x="214" y="42"/>
                    </a:lnTo>
                    <a:lnTo>
                      <a:pt x="210" y="42"/>
                    </a:lnTo>
                    <a:lnTo>
                      <a:pt x="210" y="46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4" y="38"/>
                    </a:lnTo>
                    <a:lnTo>
                      <a:pt x="218" y="34"/>
                    </a:lnTo>
                    <a:lnTo>
                      <a:pt x="218" y="30"/>
                    </a:lnTo>
                    <a:lnTo>
                      <a:pt x="220" y="30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0" y="42"/>
                    </a:lnTo>
                    <a:lnTo>
                      <a:pt x="220" y="46"/>
                    </a:lnTo>
                    <a:lnTo>
                      <a:pt x="218" y="46"/>
                    </a:lnTo>
                    <a:lnTo>
                      <a:pt x="218" y="50"/>
                    </a:lnTo>
                    <a:lnTo>
                      <a:pt x="220" y="46"/>
                    </a:lnTo>
                    <a:lnTo>
                      <a:pt x="224" y="42"/>
                    </a:lnTo>
                    <a:lnTo>
                      <a:pt x="228" y="42"/>
                    </a:lnTo>
                    <a:lnTo>
                      <a:pt x="224" y="42"/>
                    </a:lnTo>
                    <a:lnTo>
                      <a:pt x="224" y="38"/>
                    </a:lnTo>
                    <a:lnTo>
                      <a:pt x="228" y="34"/>
                    </a:lnTo>
                    <a:lnTo>
                      <a:pt x="232" y="30"/>
                    </a:lnTo>
                    <a:lnTo>
                      <a:pt x="232" y="34"/>
                    </a:lnTo>
                    <a:lnTo>
                      <a:pt x="228" y="34"/>
                    </a:lnTo>
                    <a:lnTo>
                      <a:pt x="232" y="34"/>
                    </a:lnTo>
                    <a:lnTo>
                      <a:pt x="236" y="30"/>
                    </a:lnTo>
                    <a:lnTo>
                      <a:pt x="240" y="30"/>
                    </a:lnTo>
                    <a:lnTo>
                      <a:pt x="240" y="34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8" y="38"/>
                    </a:lnTo>
                    <a:lnTo>
                      <a:pt x="248" y="34"/>
                    </a:lnTo>
                    <a:lnTo>
                      <a:pt x="244" y="30"/>
                    </a:lnTo>
                    <a:lnTo>
                      <a:pt x="248" y="30"/>
                    </a:lnTo>
                    <a:lnTo>
                      <a:pt x="248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0" y="30"/>
                    </a:lnTo>
                    <a:lnTo>
                      <a:pt x="236" y="26"/>
                    </a:lnTo>
                    <a:lnTo>
                      <a:pt x="236" y="22"/>
                    </a:lnTo>
                    <a:lnTo>
                      <a:pt x="240" y="22"/>
                    </a:lnTo>
                    <a:lnTo>
                      <a:pt x="244" y="22"/>
                    </a:lnTo>
                    <a:lnTo>
                      <a:pt x="248" y="22"/>
                    </a:lnTo>
                    <a:lnTo>
                      <a:pt x="250" y="22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22"/>
                    </a:lnTo>
                    <a:lnTo>
                      <a:pt x="254" y="22"/>
                    </a:lnTo>
                    <a:lnTo>
                      <a:pt x="258" y="26"/>
                    </a:lnTo>
                    <a:lnTo>
                      <a:pt x="254" y="26"/>
                    </a:lnTo>
                    <a:lnTo>
                      <a:pt x="250" y="26"/>
                    </a:lnTo>
                    <a:lnTo>
                      <a:pt x="250" y="30"/>
                    </a:lnTo>
                    <a:lnTo>
                      <a:pt x="250" y="26"/>
                    </a:lnTo>
                    <a:lnTo>
                      <a:pt x="254" y="26"/>
                    </a:lnTo>
                    <a:lnTo>
                      <a:pt x="258" y="26"/>
                    </a:lnTo>
                    <a:lnTo>
                      <a:pt x="258" y="30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2" y="30"/>
                    </a:lnTo>
                    <a:lnTo>
                      <a:pt x="262" y="26"/>
                    </a:lnTo>
                    <a:lnTo>
                      <a:pt x="266" y="26"/>
                    </a:lnTo>
                    <a:lnTo>
                      <a:pt x="266" y="22"/>
                    </a:lnTo>
                    <a:lnTo>
                      <a:pt x="270" y="20"/>
                    </a:lnTo>
                    <a:lnTo>
                      <a:pt x="274" y="20"/>
                    </a:lnTo>
                    <a:lnTo>
                      <a:pt x="274" y="16"/>
                    </a:lnTo>
                    <a:lnTo>
                      <a:pt x="276" y="20"/>
                    </a:lnTo>
                    <a:lnTo>
                      <a:pt x="276" y="16"/>
                    </a:lnTo>
                    <a:lnTo>
                      <a:pt x="276" y="12"/>
                    </a:lnTo>
                    <a:lnTo>
                      <a:pt x="280" y="12"/>
                    </a:lnTo>
                    <a:lnTo>
                      <a:pt x="280" y="16"/>
                    </a:lnTo>
                    <a:lnTo>
                      <a:pt x="284" y="16"/>
                    </a:lnTo>
                    <a:lnTo>
                      <a:pt x="284" y="12"/>
                    </a:lnTo>
                    <a:lnTo>
                      <a:pt x="280" y="12"/>
                    </a:lnTo>
                    <a:lnTo>
                      <a:pt x="276" y="12"/>
                    </a:lnTo>
                    <a:lnTo>
                      <a:pt x="276" y="8"/>
                    </a:lnTo>
                    <a:lnTo>
                      <a:pt x="280" y="8"/>
                    </a:lnTo>
                    <a:lnTo>
                      <a:pt x="280" y="12"/>
                    </a:lnTo>
                    <a:lnTo>
                      <a:pt x="284" y="8"/>
                    </a:lnTo>
                    <a:lnTo>
                      <a:pt x="280" y="8"/>
                    </a:lnTo>
                    <a:lnTo>
                      <a:pt x="280" y="4"/>
                    </a:lnTo>
                    <a:lnTo>
                      <a:pt x="284" y="4"/>
                    </a:lnTo>
                    <a:lnTo>
                      <a:pt x="284" y="8"/>
                    </a:lnTo>
                    <a:lnTo>
                      <a:pt x="288" y="8"/>
                    </a:lnTo>
                    <a:lnTo>
                      <a:pt x="288" y="4"/>
                    </a:lnTo>
                    <a:lnTo>
                      <a:pt x="288" y="8"/>
                    </a:lnTo>
                    <a:lnTo>
                      <a:pt x="292" y="8"/>
                    </a:lnTo>
                    <a:lnTo>
                      <a:pt x="292" y="4"/>
                    </a:lnTo>
                    <a:lnTo>
                      <a:pt x="296" y="4"/>
                    </a:lnTo>
                    <a:lnTo>
                      <a:pt x="296" y="8"/>
                    </a:lnTo>
                    <a:lnTo>
                      <a:pt x="300" y="8"/>
                    </a:lnTo>
                    <a:lnTo>
                      <a:pt x="296" y="12"/>
                    </a:lnTo>
                    <a:lnTo>
                      <a:pt x="292" y="16"/>
                    </a:lnTo>
                    <a:lnTo>
                      <a:pt x="288" y="16"/>
                    </a:lnTo>
                    <a:lnTo>
                      <a:pt x="292" y="16"/>
                    </a:lnTo>
                    <a:lnTo>
                      <a:pt x="292" y="20"/>
                    </a:lnTo>
                    <a:lnTo>
                      <a:pt x="288" y="20"/>
                    </a:lnTo>
                    <a:lnTo>
                      <a:pt x="288" y="22"/>
                    </a:lnTo>
                    <a:lnTo>
                      <a:pt x="288" y="26"/>
                    </a:lnTo>
                    <a:lnTo>
                      <a:pt x="288" y="30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2"/>
                    </a:lnTo>
                    <a:lnTo>
                      <a:pt x="296" y="20"/>
                    </a:lnTo>
                    <a:lnTo>
                      <a:pt x="300" y="16"/>
                    </a:lnTo>
                    <a:lnTo>
                      <a:pt x="304" y="16"/>
                    </a:lnTo>
                    <a:lnTo>
                      <a:pt x="306" y="12"/>
                    </a:lnTo>
                    <a:lnTo>
                      <a:pt x="306" y="8"/>
                    </a:lnTo>
                    <a:lnTo>
                      <a:pt x="310" y="8"/>
                    </a:lnTo>
                    <a:lnTo>
                      <a:pt x="310" y="4"/>
                    </a:lnTo>
                    <a:lnTo>
                      <a:pt x="310" y="8"/>
                    </a:lnTo>
                    <a:lnTo>
                      <a:pt x="310" y="12"/>
                    </a:lnTo>
                    <a:lnTo>
                      <a:pt x="306" y="12"/>
                    </a:lnTo>
                    <a:lnTo>
                      <a:pt x="306" y="16"/>
                    </a:lnTo>
                    <a:lnTo>
                      <a:pt x="306" y="12"/>
                    </a:lnTo>
                    <a:lnTo>
                      <a:pt x="310" y="12"/>
                    </a:lnTo>
                    <a:lnTo>
                      <a:pt x="310" y="16"/>
                    </a:lnTo>
                    <a:lnTo>
                      <a:pt x="310" y="20"/>
                    </a:lnTo>
                    <a:lnTo>
                      <a:pt x="310" y="22"/>
                    </a:lnTo>
                    <a:lnTo>
                      <a:pt x="310" y="20"/>
                    </a:lnTo>
                    <a:lnTo>
                      <a:pt x="314" y="20"/>
                    </a:lnTo>
                    <a:lnTo>
                      <a:pt x="318" y="20"/>
                    </a:lnTo>
                    <a:lnTo>
                      <a:pt x="314" y="16"/>
                    </a:lnTo>
                    <a:lnTo>
                      <a:pt x="318" y="16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6" y="8"/>
                    </a:lnTo>
                    <a:lnTo>
                      <a:pt x="322" y="8"/>
                    </a:lnTo>
                    <a:lnTo>
                      <a:pt x="318" y="8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26" y="0"/>
                    </a:lnTo>
                    <a:lnTo>
                      <a:pt x="326" y="4"/>
                    </a:lnTo>
                    <a:lnTo>
                      <a:pt x="330" y="4"/>
                    </a:lnTo>
                    <a:lnTo>
                      <a:pt x="332" y="4"/>
                    </a:lnTo>
                    <a:lnTo>
                      <a:pt x="336" y="4"/>
                    </a:lnTo>
                    <a:lnTo>
                      <a:pt x="336" y="8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2"/>
                    </a:lnTo>
                    <a:lnTo>
                      <a:pt x="330" y="12"/>
                    </a:lnTo>
                    <a:lnTo>
                      <a:pt x="332" y="12"/>
                    </a:lnTo>
                    <a:lnTo>
                      <a:pt x="330" y="12"/>
                    </a:lnTo>
                    <a:lnTo>
                      <a:pt x="326" y="16"/>
                    </a:lnTo>
                    <a:lnTo>
                      <a:pt x="330" y="16"/>
                    </a:lnTo>
                    <a:lnTo>
                      <a:pt x="332" y="12"/>
                    </a:lnTo>
                    <a:lnTo>
                      <a:pt x="332" y="16"/>
                    </a:lnTo>
                    <a:lnTo>
                      <a:pt x="330" y="16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0" y="20"/>
                    </a:lnTo>
                    <a:lnTo>
                      <a:pt x="332" y="20"/>
                    </a:lnTo>
                    <a:lnTo>
                      <a:pt x="332" y="16"/>
                    </a:lnTo>
                    <a:lnTo>
                      <a:pt x="336" y="20"/>
                    </a:lnTo>
                    <a:lnTo>
                      <a:pt x="332" y="20"/>
                    </a:lnTo>
                    <a:lnTo>
                      <a:pt x="332" y="22"/>
                    </a:lnTo>
                    <a:lnTo>
                      <a:pt x="332" y="26"/>
                    </a:lnTo>
                    <a:lnTo>
                      <a:pt x="330" y="30"/>
                    </a:lnTo>
                    <a:lnTo>
                      <a:pt x="332" y="30"/>
                    </a:lnTo>
                    <a:lnTo>
                      <a:pt x="332" y="26"/>
                    </a:lnTo>
                    <a:lnTo>
                      <a:pt x="332" y="22"/>
                    </a:lnTo>
                    <a:lnTo>
                      <a:pt x="332" y="20"/>
                    </a:lnTo>
                    <a:lnTo>
                      <a:pt x="336" y="20"/>
                    </a:lnTo>
                    <a:lnTo>
                      <a:pt x="336" y="16"/>
                    </a:lnTo>
                    <a:lnTo>
                      <a:pt x="336" y="12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8" y="8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2" y="16"/>
                    </a:lnTo>
                    <a:lnTo>
                      <a:pt x="358" y="16"/>
                    </a:lnTo>
                    <a:lnTo>
                      <a:pt x="362" y="16"/>
                    </a:lnTo>
                    <a:lnTo>
                      <a:pt x="366" y="16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2"/>
                    </a:lnTo>
                    <a:lnTo>
                      <a:pt x="370" y="22"/>
                    </a:lnTo>
                    <a:lnTo>
                      <a:pt x="366" y="22"/>
                    </a:lnTo>
                    <a:lnTo>
                      <a:pt x="362" y="26"/>
                    </a:lnTo>
                    <a:lnTo>
                      <a:pt x="358" y="26"/>
                    </a:lnTo>
                    <a:lnTo>
                      <a:pt x="358" y="30"/>
                    </a:lnTo>
                    <a:lnTo>
                      <a:pt x="354" y="30"/>
                    </a:lnTo>
                    <a:lnTo>
                      <a:pt x="354" y="26"/>
                    </a:lnTo>
                    <a:lnTo>
                      <a:pt x="350" y="26"/>
                    </a:lnTo>
                    <a:lnTo>
                      <a:pt x="348" y="26"/>
                    </a:lnTo>
                    <a:lnTo>
                      <a:pt x="344" y="26"/>
                    </a:lnTo>
                    <a:lnTo>
                      <a:pt x="340" y="26"/>
                    </a:lnTo>
                    <a:lnTo>
                      <a:pt x="344" y="30"/>
                    </a:lnTo>
                    <a:lnTo>
                      <a:pt x="348" y="30"/>
                    </a:lnTo>
                    <a:lnTo>
                      <a:pt x="350" y="30"/>
                    </a:lnTo>
                    <a:lnTo>
                      <a:pt x="354" y="30"/>
                    </a:lnTo>
                    <a:lnTo>
                      <a:pt x="350" y="30"/>
                    </a:lnTo>
                    <a:lnTo>
                      <a:pt x="350" y="34"/>
                    </a:lnTo>
                    <a:lnTo>
                      <a:pt x="348" y="34"/>
                    </a:lnTo>
                    <a:lnTo>
                      <a:pt x="350" y="34"/>
                    </a:lnTo>
                    <a:lnTo>
                      <a:pt x="354" y="34"/>
                    </a:lnTo>
                    <a:lnTo>
                      <a:pt x="350" y="38"/>
                    </a:lnTo>
                    <a:lnTo>
                      <a:pt x="354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38"/>
                    </a:lnTo>
                    <a:lnTo>
                      <a:pt x="358" y="34"/>
                    </a:lnTo>
                    <a:lnTo>
                      <a:pt x="362" y="34"/>
                    </a:lnTo>
                    <a:lnTo>
                      <a:pt x="362" y="38"/>
                    </a:lnTo>
                    <a:lnTo>
                      <a:pt x="366" y="38"/>
                    </a:lnTo>
                    <a:lnTo>
                      <a:pt x="366" y="34"/>
                    </a:lnTo>
                    <a:lnTo>
                      <a:pt x="370" y="34"/>
                    </a:lnTo>
                    <a:lnTo>
                      <a:pt x="370" y="38"/>
                    </a:lnTo>
                    <a:lnTo>
                      <a:pt x="370" y="42"/>
                    </a:lnTo>
                    <a:lnTo>
                      <a:pt x="366" y="42"/>
                    </a:lnTo>
                    <a:lnTo>
                      <a:pt x="362" y="42"/>
                    </a:lnTo>
                    <a:lnTo>
                      <a:pt x="362" y="38"/>
                    </a:lnTo>
                    <a:lnTo>
                      <a:pt x="358" y="38"/>
                    </a:lnTo>
                    <a:lnTo>
                      <a:pt x="362" y="42"/>
                    </a:lnTo>
                    <a:lnTo>
                      <a:pt x="358" y="42"/>
                    </a:lnTo>
                    <a:lnTo>
                      <a:pt x="354" y="46"/>
                    </a:lnTo>
                    <a:lnTo>
                      <a:pt x="350" y="46"/>
                    </a:lnTo>
                    <a:lnTo>
                      <a:pt x="348" y="50"/>
                    </a:lnTo>
                    <a:lnTo>
                      <a:pt x="348" y="52"/>
                    </a:lnTo>
                    <a:lnTo>
                      <a:pt x="344" y="52"/>
                    </a:lnTo>
                    <a:lnTo>
                      <a:pt x="344" y="56"/>
                    </a:lnTo>
                    <a:lnTo>
                      <a:pt x="344" y="52"/>
                    </a:lnTo>
                    <a:lnTo>
                      <a:pt x="340" y="52"/>
                    </a:lnTo>
                    <a:lnTo>
                      <a:pt x="340" y="50"/>
                    </a:lnTo>
                    <a:lnTo>
                      <a:pt x="344" y="50"/>
                    </a:lnTo>
                    <a:lnTo>
                      <a:pt x="344" y="46"/>
                    </a:lnTo>
                    <a:lnTo>
                      <a:pt x="348" y="46"/>
                    </a:lnTo>
                    <a:lnTo>
                      <a:pt x="348" y="42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0" y="38"/>
                    </a:lnTo>
                    <a:lnTo>
                      <a:pt x="336" y="34"/>
                    </a:lnTo>
                    <a:lnTo>
                      <a:pt x="332" y="34"/>
                    </a:lnTo>
                    <a:lnTo>
                      <a:pt x="332" y="30"/>
                    </a:lnTo>
                    <a:lnTo>
                      <a:pt x="330" y="30"/>
                    </a:lnTo>
                    <a:lnTo>
                      <a:pt x="330" y="26"/>
                    </a:lnTo>
                    <a:lnTo>
                      <a:pt x="326" y="26"/>
                    </a:lnTo>
                    <a:lnTo>
                      <a:pt x="322" y="30"/>
                    </a:lnTo>
                    <a:lnTo>
                      <a:pt x="318" y="30"/>
                    </a:lnTo>
                    <a:lnTo>
                      <a:pt x="318" y="34"/>
                    </a:lnTo>
                    <a:lnTo>
                      <a:pt x="314" y="30"/>
                    </a:lnTo>
                    <a:lnTo>
                      <a:pt x="310" y="30"/>
                    </a:lnTo>
                    <a:lnTo>
                      <a:pt x="306" y="30"/>
                    </a:lnTo>
                    <a:lnTo>
                      <a:pt x="306" y="34"/>
                    </a:lnTo>
                    <a:lnTo>
                      <a:pt x="304" y="38"/>
                    </a:lnTo>
                    <a:lnTo>
                      <a:pt x="300" y="38"/>
                    </a:lnTo>
                    <a:lnTo>
                      <a:pt x="304" y="38"/>
                    </a:lnTo>
                    <a:lnTo>
                      <a:pt x="304" y="42"/>
                    </a:lnTo>
                    <a:lnTo>
                      <a:pt x="300" y="42"/>
                    </a:lnTo>
                    <a:lnTo>
                      <a:pt x="300" y="46"/>
                    </a:lnTo>
                    <a:lnTo>
                      <a:pt x="300" y="50"/>
                    </a:lnTo>
                    <a:lnTo>
                      <a:pt x="300" y="52"/>
                    </a:lnTo>
                    <a:lnTo>
                      <a:pt x="300" y="56"/>
                    </a:lnTo>
                    <a:lnTo>
                      <a:pt x="296" y="56"/>
                    </a:lnTo>
                    <a:lnTo>
                      <a:pt x="296" y="60"/>
                    </a:lnTo>
                    <a:lnTo>
                      <a:pt x="296" y="56"/>
                    </a:lnTo>
                    <a:lnTo>
                      <a:pt x="292" y="56"/>
                    </a:lnTo>
                    <a:lnTo>
                      <a:pt x="292" y="60"/>
                    </a:lnTo>
                    <a:lnTo>
                      <a:pt x="288" y="60"/>
                    </a:lnTo>
                    <a:lnTo>
                      <a:pt x="288" y="64"/>
                    </a:lnTo>
                    <a:lnTo>
                      <a:pt x="288" y="68"/>
                    </a:lnTo>
                    <a:lnTo>
                      <a:pt x="284" y="64"/>
                    </a:lnTo>
                    <a:lnTo>
                      <a:pt x="280" y="64"/>
                    </a:lnTo>
                    <a:lnTo>
                      <a:pt x="276" y="64"/>
                    </a:lnTo>
                    <a:lnTo>
                      <a:pt x="276" y="60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70" y="64"/>
                    </a:lnTo>
                    <a:lnTo>
                      <a:pt x="266" y="64"/>
                    </a:lnTo>
                    <a:lnTo>
                      <a:pt x="262" y="64"/>
                    </a:lnTo>
                    <a:lnTo>
                      <a:pt x="258" y="64"/>
                    </a:lnTo>
                    <a:lnTo>
                      <a:pt x="254" y="60"/>
                    </a:lnTo>
                    <a:lnTo>
                      <a:pt x="250" y="64"/>
                    </a:lnTo>
                    <a:lnTo>
                      <a:pt x="250" y="60"/>
                    </a:lnTo>
                    <a:lnTo>
                      <a:pt x="248" y="56"/>
                    </a:lnTo>
                    <a:lnTo>
                      <a:pt x="248" y="52"/>
                    </a:lnTo>
                    <a:lnTo>
                      <a:pt x="244" y="52"/>
                    </a:lnTo>
                    <a:lnTo>
                      <a:pt x="240" y="50"/>
                    </a:lnTo>
                    <a:lnTo>
                      <a:pt x="236" y="50"/>
                    </a:lnTo>
                    <a:lnTo>
                      <a:pt x="232" y="50"/>
                    </a:lnTo>
                    <a:lnTo>
                      <a:pt x="232" y="52"/>
                    </a:lnTo>
                    <a:lnTo>
                      <a:pt x="232" y="56"/>
                    </a:lnTo>
                    <a:lnTo>
                      <a:pt x="232" y="52"/>
                    </a:lnTo>
                    <a:lnTo>
                      <a:pt x="228" y="52"/>
                    </a:lnTo>
                    <a:lnTo>
                      <a:pt x="224" y="52"/>
                    </a:lnTo>
                    <a:lnTo>
                      <a:pt x="218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18" y="68"/>
                    </a:lnTo>
                    <a:lnTo>
                      <a:pt x="220" y="68"/>
                    </a:lnTo>
                    <a:lnTo>
                      <a:pt x="218" y="72"/>
                    </a:lnTo>
                    <a:lnTo>
                      <a:pt x="214" y="72"/>
                    </a:lnTo>
                    <a:lnTo>
                      <a:pt x="210" y="72"/>
                    </a:lnTo>
                    <a:lnTo>
                      <a:pt x="202" y="68"/>
                    </a:lnTo>
                    <a:lnTo>
                      <a:pt x="198" y="68"/>
                    </a:lnTo>
                    <a:lnTo>
                      <a:pt x="194" y="68"/>
                    </a:lnTo>
                    <a:lnTo>
                      <a:pt x="190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6"/>
                    </a:lnTo>
                    <a:lnTo>
                      <a:pt x="188" y="78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68" y="82"/>
                    </a:lnTo>
                    <a:lnTo>
                      <a:pt x="168" y="86"/>
                    </a:lnTo>
                    <a:lnTo>
                      <a:pt x="168" y="90"/>
                    </a:lnTo>
                    <a:lnTo>
                      <a:pt x="164" y="94"/>
                    </a:lnTo>
                    <a:lnTo>
                      <a:pt x="160" y="94"/>
                    </a:lnTo>
                    <a:lnTo>
                      <a:pt x="160" y="98"/>
                    </a:lnTo>
                    <a:lnTo>
                      <a:pt x="164" y="98"/>
                    </a:lnTo>
                    <a:lnTo>
                      <a:pt x="164" y="102"/>
                    </a:lnTo>
                    <a:lnTo>
                      <a:pt x="164" y="106"/>
                    </a:lnTo>
                    <a:lnTo>
                      <a:pt x="160" y="108"/>
                    </a:lnTo>
                    <a:lnTo>
                      <a:pt x="158" y="112"/>
                    </a:lnTo>
                    <a:lnTo>
                      <a:pt x="154" y="116"/>
                    </a:lnTo>
                    <a:lnTo>
                      <a:pt x="150" y="116"/>
                    </a:lnTo>
                    <a:lnTo>
                      <a:pt x="150" y="120"/>
                    </a:lnTo>
                    <a:lnTo>
                      <a:pt x="154" y="124"/>
                    </a:lnTo>
                    <a:lnTo>
                      <a:pt x="146" y="128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38" y="132"/>
                    </a:lnTo>
                    <a:lnTo>
                      <a:pt x="142" y="136"/>
                    </a:lnTo>
                    <a:lnTo>
                      <a:pt x="138" y="136"/>
                    </a:lnTo>
                    <a:lnTo>
                      <a:pt x="138" y="138"/>
                    </a:lnTo>
                    <a:lnTo>
                      <a:pt x="138" y="142"/>
                    </a:lnTo>
                    <a:lnTo>
                      <a:pt x="138" y="146"/>
                    </a:lnTo>
                    <a:lnTo>
                      <a:pt x="134" y="150"/>
                    </a:lnTo>
                    <a:lnTo>
                      <a:pt x="134" y="154"/>
                    </a:lnTo>
                    <a:lnTo>
                      <a:pt x="130" y="154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28" y="162"/>
                    </a:lnTo>
                    <a:lnTo>
                      <a:pt x="128" y="164"/>
                    </a:lnTo>
                    <a:lnTo>
                      <a:pt x="130" y="164"/>
                    </a:lnTo>
                    <a:lnTo>
                      <a:pt x="134" y="164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0" y="176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12" y="180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4" y="192"/>
                    </a:lnTo>
                    <a:lnTo>
                      <a:pt x="104" y="194"/>
                    </a:lnTo>
                    <a:lnTo>
                      <a:pt x="102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4" y="206"/>
                    </a:lnTo>
                    <a:lnTo>
                      <a:pt x="104" y="210"/>
                    </a:lnTo>
                    <a:lnTo>
                      <a:pt x="104" y="214"/>
                    </a:lnTo>
                    <a:lnTo>
                      <a:pt x="104" y="218"/>
                    </a:lnTo>
                    <a:lnTo>
                      <a:pt x="108" y="218"/>
                    </a:lnTo>
                    <a:lnTo>
                      <a:pt x="108" y="222"/>
                    </a:lnTo>
                    <a:lnTo>
                      <a:pt x="104" y="224"/>
                    </a:lnTo>
                    <a:lnTo>
                      <a:pt x="104" y="228"/>
                    </a:lnTo>
                    <a:lnTo>
                      <a:pt x="104" y="232"/>
                    </a:lnTo>
                    <a:lnTo>
                      <a:pt x="108" y="236"/>
                    </a:lnTo>
                    <a:lnTo>
                      <a:pt x="112" y="236"/>
                    </a:lnTo>
                    <a:lnTo>
                      <a:pt x="112" y="238"/>
                    </a:lnTo>
                    <a:lnTo>
                      <a:pt x="116" y="238"/>
                    </a:lnTo>
                    <a:lnTo>
                      <a:pt x="116" y="242"/>
                    </a:lnTo>
                    <a:lnTo>
                      <a:pt x="112" y="242"/>
                    </a:lnTo>
                    <a:lnTo>
                      <a:pt x="112" y="246"/>
                    </a:lnTo>
                    <a:lnTo>
                      <a:pt x="108" y="246"/>
                    </a:lnTo>
                    <a:lnTo>
                      <a:pt x="104" y="246"/>
                    </a:lnTo>
                    <a:lnTo>
                      <a:pt x="108" y="250"/>
                    </a:lnTo>
                    <a:lnTo>
                      <a:pt x="108" y="254"/>
                    </a:lnTo>
                    <a:lnTo>
                      <a:pt x="108" y="258"/>
                    </a:lnTo>
                    <a:lnTo>
                      <a:pt x="112" y="258"/>
                    </a:lnTo>
                    <a:lnTo>
                      <a:pt x="112" y="262"/>
                    </a:lnTo>
                    <a:lnTo>
                      <a:pt x="108" y="264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4" y="272"/>
                    </a:lnTo>
                    <a:lnTo>
                      <a:pt x="102" y="272"/>
                    </a:lnTo>
                    <a:lnTo>
                      <a:pt x="102" y="276"/>
                    </a:lnTo>
                    <a:lnTo>
                      <a:pt x="102" y="280"/>
                    </a:lnTo>
                    <a:lnTo>
                      <a:pt x="98" y="280"/>
                    </a:lnTo>
                    <a:lnTo>
                      <a:pt x="102" y="284"/>
                    </a:lnTo>
                    <a:lnTo>
                      <a:pt x="102" y="288"/>
                    </a:lnTo>
                    <a:lnTo>
                      <a:pt x="102" y="292"/>
                    </a:lnTo>
                    <a:lnTo>
                      <a:pt x="98" y="294"/>
                    </a:lnTo>
                    <a:lnTo>
                      <a:pt x="94" y="294"/>
                    </a:lnTo>
                    <a:lnTo>
                      <a:pt x="94" y="292"/>
                    </a:lnTo>
                    <a:lnTo>
                      <a:pt x="90" y="292"/>
                    </a:lnTo>
                    <a:lnTo>
                      <a:pt x="86" y="292"/>
                    </a:lnTo>
                    <a:lnTo>
                      <a:pt x="86" y="288"/>
                    </a:lnTo>
                    <a:lnTo>
                      <a:pt x="82" y="284"/>
                    </a:lnTo>
                    <a:lnTo>
                      <a:pt x="86" y="284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82" y="272"/>
                    </a:lnTo>
                    <a:lnTo>
                      <a:pt x="86" y="276"/>
                    </a:lnTo>
                    <a:lnTo>
                      <a:pt x="86" y="272"/>
                    </a:lnTo>
                    <a:lnTo>
                      <a:pt x="82" y="272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82" y="276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78" y="288"/>
                    </a:lnTo>
                    <a:lnTo>
                      <a:pt x="78" y="292"/>
                    </a:lnTo>
                    <a:lnTo>
                      <a:pt x="74" y="292"/>
                    </a:lnTo>
                    <a:lnTo>
                      <a:pt x="74" y="294"/>
                    </a:lnTo>
                    <a:lnTo>
                      <a:pt x="72" y="294"/>
                    </a:lnTo>
                    <a:lnTo>
                      <a:pt x="72" y="292"/>
                    </a:lnTo>
                    <a:lnTo>
                      <a:pt x="68" y="292"/>
                    </a:lnTo>
                    <a:lnTo>
                      <a:pt x="72" y="292"/>
                    </a:lnTo>
                    <a:lnTo>
                      <a:pt x="72" y="294"/>
                    </a:lnTo>
                    <a:lnTo>
                      <a:pt x="68" y="294"/>
                    </a:lnTo>
                    <a:lnTo>
                      <a:pt x="64" y="298"/>
                    </a:lnTo>
                    <a:lnTo>
                      <a:pt x="64" y="302"/>
                    </a:lnTo>
                    <a:lnTo>
                      <a:pt x="60" y="302"/>
                    </a:lnTo>
                    <a:lnTo>
                      <a:pt x="60" y="306"/>
                    </a:lnTo>
                    <a:lnTo>
                      <a:pt x="56" y="306"/>
                    </a:lnTo>
                    <a:lnTo>
                      <a:pt x="52" y="310"/>
                    </a:lnTo>
                    <a:lnTo>
                      <a:pt x="48" y="310"/>
                    </a:lnTo>
                    <a:lnTo>
                      <a:pt x="48" y="314"/>
                    </a:lnTo>
                    <a:lnTo>
                      <a:pt x="44" y="314"/>
                    </a:lnTo>
                    <a:lnTo>
                      <a:pt x="42" y="314"/>
                    </a:lnTo>
                    <a:lnTo>
                      <a:pt x="38" y="314"/>
                    </a:lnTo>
                    <a:lnTo>
                      <a:pt x="34" y="314"/>
                    </a:lnTo>
                    <a:lnTo>
                      <a:pt x="34" y="318"/>
                    </a:lnTo>
                    <a:lnTo>
                      <a:pt x="30" y="314"/>
                    </a:lnTo>
                    <a:lnTo>
                      <a:pt x="26" y="314"/>
                    </a:lnTo>
                    <a:lnTo>
                      <a:pt x="26" y="310"/>
                    </a:lnTo>
                    <a:lnTo>
                      <a:pt x="30" y="310"/>
                    </a:lnTo>
                    <a:lnTo>
                      <a:pt x="26" y="310"/>
                    </a:lnTo>
                    <a:lnTo>
                      <a:pt x="22" y="310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4" y="306"/>
                    </a:lnTo>
                    <a:lnTo>
                      <a:pt x="12" y="302"/>
                    </a:lnTo>
                    <a:lnTo>
                      <a:pt x="12" y="298"/>
                    </a:lnTo>
                    <a:lnTo>
                      <a:pt x="12" y="294"/>
                    </a:lnTo>
                    <a:lnTo>
                      <a:pt x="12" y="292"/>
                    </a:lnTo>
                    <a:lnTo>
                      <a:pt x="14" y="294"/>
                    </a:lnTo>
                    <a:lnTo>
                      <a:pt x="18" y="294"/>
                    </a:lnTo>
                    <a:lnTo>
                      <a:pt x="18" y="298"/>
                    </a:lnTo>
                    <a:lnTo>
                      <a:pt x="22" y="294"/>
                    </a:lnTo>
                    <a:lnTo>
                      <a:pt x="18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6" y="292"/>
                    </a:lnTo>
                    <a:lnTo>
                      <a:pt x="22" y="292"/>
                    </a:lnTo>
                    <a:lnTo>
                      <a:pt x="18" y="294"/>
                    </a:lnTo>
                    <a:lnTo>
                      <a:pt x="18" y="292"/>
                    </a:lnTo>
                    <a:lnTo>
                      <a:pt x="14" y="292"/>
                    </a:lnTo>
                    <a:lnTo>
                      <a:pt x="18" y="292"/>
                    </a:lnTo>
                    <a:lnTo>
                      <a:pt x="18" y="288"/>
                    </a:lnTo>
                    <a:lnTo>
                      <a:pt x="22" y="288"/>
                    </a:lnTo>
                    <a:lnTo>
                      <a:pt x="26" y="288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22" y="284"/>
                    </a:lnTo>
                    <a:lnTo>
                      <a:pt x="22" y="280"/>
                    </a:lnTo>
                    <a:lnTo>
                      <a:pt x="26" y="280"/>
                    </a:lnTo>
                    <a:lnTo>
                      <a:pt x="22" y="280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8" y="284"/>
                    </a:lnTo>
                    <a:lnTo>
                      <a:pt x="14" y="284"/>
                    </a:lnTo>
                    <a:lnTo>
                      <a:pt x="14" y="288"/>
                    </a:lnTo>
                    <a:lnTo>
                      <a:pt x="12" y="288"/>
                    </a:lnTo>
                    <a:lnTo>
                      <a:pt x="12" y="284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0"/>
                    </a:lnTo>
                    <a:lnTo>
                      <a:pt x="12" y="276"/>
                    </a:lnTo>
                    <a:lnTo>
                      <a:pt x="12" y="280"/>
                    </a:lnTo>
                    <a:lnTo>
                      <a:pt x="12" y="276"/>
                    </a:lnTo>
                    <a:lnTo>
                      <a:pt x="14" y="276"/>
                    </a:lnTo>
                    <a:lnTo>
                      <a:pt x="18" y="276"/>
                    </a:lnTo>
                    <a:lnTo>
                      <a:pt x="22" y="272"/>
                    </a:lnTo>
                    <a:lnTo>
                      <a:pt x="18" y="276"/>
                    </a:lnTo>
                    <a:lnTo>
                      <a:pt x="14" y="276"/>
                    </a:lnTo>
                    <a:lnTo>
                      <a:pt x="14" y="272"/>
                    </a:lnTo>
                    <a:lnTo>
                      <a:pt x="18" y="272"/>
                    </a:lnTo>
                    <a:lnTo>
                      <a:pt x="18" y="268"/>
                    </a:lnTo>
                    <a:lnTo>
                      <a:pt x="18" y="264"/>
                    </a:lnTo>
                    <a:lnTo>
                      <a:pt x="22" y="264"/>
                    </a:lnTo>
                    <a:lnTo>
                      <a:pt x="22" y="262"/>
                    </a:lnTo>
                    <a:lnTo>
                      <a:pt x="26" y="262"/>
                    </a:lnTo>
                    <a:lnTo>
                      <a:pt x="26" y="264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2"/>
                    </a:lnTo>
                    <a:lnTo>
                      <a:pt x="30" y="262"/>
                    </a:lnTo>
                    <a:lnTo>
                      <a:pt x="30" y="258"/>
                    </a:lnTo>
                    <a:lnTo>
                      <a:pt x="34" y="262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34" y="258"/>
                    </a:lnTo>
                    <a:lnTo>
                      <a:pt x="30" y="258"/>
                    </a:lnTo>
                    <a:lnTo>
                      <a:pt x="26" y="262"/>
                    </a:lnTo>
                    <a:lnTo>
                      <a:pt x="22" y="262"/>
                    </a:lnTo>
                    <a:lnTo>
                      <a:pt x="18" y="262"/>
                    </a:lnTo>
                    <a:lnTo>
                      <a:pt x="18" y="264"/>
                    </a:lnTo>
                    <a:lnTo>
                      <a:pt x="14" y="268"/>
                    </a:lnTo>
                    <a:lnTo>
                      <a:pt x="14" y="272"/>
                    </a:lnTo>
                    <a:lnTo>
                      <a:pt x="14" y="268"/>
                    </a:lnTo>
                    <a:lnTo>
                      <a:pt x="12" y="268"/>
                    </a:lnTo>
                    <a:lnTo>
                      <a:pt x="12" y="26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8" y="262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12" y="262"/>
                    </a:lnTo>
                    <a:lnTo>
                      <a:pt x="14" y="262"/>
                    </a:lnTo>
                    <a:lnTo>
                      <a:pt x="14" y="258"/>
                    </a:lnTo>
                    <a:lnTo>
                      <a:pt x="14" y="254"/>
                    </a:lnTo>
                    <a:lnTo>
                      <a:pt x="12" y="254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8"/>
                    </a:lnTo>
                    <a:lnTo>
                      <a:pt x="4" y="254"/>
                    </a:lnTo>
                    <a:lnTo>
                      <a:pt x="8" y="254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8" y="254"/>
                    </a:lnTo>
                    <a:lnTo>
                      <a:pt x="8" y="250"/>
                    </a:lnTo>
                    <a:lnTo>
                      <a:pt x="12" y="250"/>
                    </a:lnTo>
                    <a:lnTo>
                      <a:pt x="8" y="250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8" y="246"/>
                    </a:lnTo>
                    <a:lnTo>
                      <a:pt x="12" y="246"/>
                    </a:lnTo>
                    <a:lnTo>
                      <a:pt x="14" y="246"/>
                    </a:lnTo>
                    <a:lnTo>
                      <a:pt x="18" y="246"/>
                    </a:lnTo>
                    <a:lnTo>
                      <a:pt x="22" y="246"/>
                    </a:lnTo>
                    <a:lnTo>
                      <a:pt x="26" y="246"/>
                    </a:lnTo>
                    <a:lnTo>
                      <a:pt x="26" y="242"/>
                    </a:lnTo>
                    <a:lnTo>
                      <a:pt x="30" y="242"/>
                    </a:lnTo>
                    <a:lnTo>
                      <a:pt x="30" y="246"/>
                    </a:lnTo>
                    <a:lnTo>
                      <a:pt x="34" y="246"/>
                    </a:lnTo>
                    <a:lnTo>
                      <a:pt x="34" y="250"/>
                    </a:lnTo>
                    <a:lnTo>
                      <a:pt x="34" y="246"/>
                    </a:lnTo>
                    <a:lnTo>
                      <a:pt x="38" y="246"/>
                    </a:lnTo>
                    <a:lnTo>
                      <a:pt x="38" y="242"/>
                    </a:lnTo>
                    <a:lnTo>
                      <a:pt x="38" y="238"/>
                    </a:lnTo>
                    <a:lnTo>
                      <a:pt x="42" y="238"/>
                    </a:lnTo>
                    <a:lnTo>
                      <a:pt x="42" y="236"/>
                    </a:lnTo>
                    <a:lnTo>
                      <a:pt x="38" y="238"/>
                    </a:lnTo>
                    <a:lnTo>
                      <a:pt x="38" y="242"/>
                    </a:lnTo>
                    <a:lnTo>
                      <a:pt x="34" y="242"/>
                    </a:lnTo>
                    <a:lnTo>
                      <a:pt x="30" y="246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6" y="242"/>
                    </a:lnTo>
                    <a:lnTo>
                      <a:pt x="22" y="246"/>
                    </a:lnTo>
                    <a:lnTo>
                      <a:pt x="22" y="242"/>
                    </a:lnTo>
                    <a:lnTo>
                      <a:pt x="18" y="242"/>
                    </a:lnTo>
                    <a:lnTo>
                      <a:pt x="14" y="242"/>
                    </a:lnTo>
                    <a:lnTo>
                      <a:pt x="12" y="242"/>
                    </a:lnTo>
                    <a:lnTo>
                      <a:pt x="12" y="246"/>
                    </a:lnTo>
                    <a:lnTo>
                      <a:pt x="8" y="246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4" y="242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8" y="238"/>
                    </a:lnTo>
                    <a:lnTo>
                      <a:pt x="4" y="238"/>
                    </a:lnTo>
                    <a:lnTo>
                      <a:pt x="8" y="236"/>
                    </a:lnTo>
                    <a:lnTo>
                      <a:pt x="8" y="238"/>
                    </a:lnTo>
                    <a:lnTo>
                      <a:pt x="12" y="238"/>
                    </a:lnTo>
                    <a:lnTo>
                      <a:pt x="14" y="238"/>
                    </a:lnTo>
                    <a:lnTo>
                      <a:pt x="14" y="236"/>
                    </a:lnTo>
                    <a:lnTo>
                      <a:pt x="12" y="236"/>
                    </a:lnTo>
                    <a:lnTo>
                      <a:pt x="12" y="238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30" y="228"/>
                    </a:lnTo>
                    <a:lnTo>
                      <a:pt x="26" y="228"/>
                    </a:lnTo>
                    <a:lnTo>
                      <a:pt x="22" y="228"/>
                    </a:lnTo>
                    <a:lnTo>
                      <a:pt x="18" y="228"/>
                    </a:lnTo>
                    <a:lnTo>
                      <a:pt x="14" y="228"/>
                    </a:lnTo>
                    <a:lnTo>
                      <a:pt x="12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8" y="224"/>
                    </a:lnTo>
                    <a:lnTo>
                      <a:pt x="8" y="222"/>
                    </a:lnTo>
                    <a:lnTo>
                      <a:pt x="4" y="222"/>
                    </a:lnTo>
                    <a:lnTo>
                      <a:pt x="8" y="222"/>
                    </a:lnTo>
                    <a:lnTo>
                      <a:pt x="12" y="224"/>
                    </a:lnTo>
                    <a:lnTo>
                      <a:pt x="12" y="222"/>
                    </a:lnTo>
                    <a:lnTo>
                      <a:pt x="8" y="222"/>
                    </a:lnTo>
                    <a:lnTo>
                      <a:pt x="12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22" y="224"/>
                    </a:lnTo>
                    <a:lnTo>
                      <a:pt x="18" y="224"/>
                    </a:lnTo>
                    <a:lnTo>
                      <a:pt x="18" y="222"/>
                    </a:lnTo>
                    <a:lnTo>
                      <a:pt x="14" y="222"/>
                    </a:lnTo>
                    <a:lnTo>
                      <a:pt x="18" y="222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6" y="222"/>
                    </a:lnTo>
                    <a:lnTo>
                      <a:pt x="26" y="218"/>
                    </a:lnTo>
                    <a:lnTo>
                      <a:pt x="22" y="218"/>
                    </a:lnTo>
                    <a:lnTo>
                      <a:pt x="26" y="214"/>
                    </a:lnTo>
                    <a:lnTo>
                      <a:pt x="30" y="218"/>
                    </a:lnTo>
                    <a:lnTo>
                      <a:pt x="34" y="218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0" y="224"/>
                    </a:lnTo>
                    <a:lnTo>
                      <a:pt x="34" y="224"/>
                    </a:lnTo>
                    <a:lnTo>
                      <a:pt x="34" y="222"/>
                    </a:lnTo>
                    <a:lnTo>
                      <a:pt x="30" y="222"/>
                    </a:lnTo>
                    <a:lnTo>
                      <a:pt x="34" y="222"/>
                    </a:lnTo>
                    <a:lnTo>
                      <a:pt x="34" y="218"/>
                    </a:lnTo>
                    <a:lnTo>
                      <a:pt x="38" y="218"/>
                    </a:lnTo>
                    <a:lnTo>
                      <a:pt x="38" y="222"/>
                    </a:lnTo>
                    <a:lnTo>
                      <a:pt x="38" y="218"/>
                    </a:lnTo>
                    <a:lnTo>
                      <a:pt x="34" y="218"/>
                    </a:lnTo>
                    <a:lnTo>
                      <a:pt x="30" y="218"/>
                    </a:lnTo>
                    <a:lnTo>
                      <a:pt x="30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6" y="214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30" y="210"/>
                    </a:lnTo>
                    <a:lnTo>
                      <a:pt x="34" y="210"/>
                    </a:lnTo>
                    <a:lnTo>
                      <a:pt x="38" y="210"/>
                    </a:lnTo>
                    <a:lnTo>
                      <a:pt x="42" y="214"/>
                    </a:lnTo>
                    <a:lnTo>
                      <a:pt x="42" y="210"/>
                    </a:lnTo>
                    <a:lnTo>
                      <a:pt x="42" y="214"/>
                    </a:lnTo>
                    <a:lnTo>
                      <a:pt x="38" y="214"/>
                    </a:lnTo>
                    <a:lnTo>
                      <a:pt x="38" y="210"/>
                    </a:lnTo>
                    <a:lnTo>
                      <a:pt x="42" y="210"/>
                    </a:lnTo>
                    <a:lnTo>
                      <a:pt x="44" y="210"/>
                    </a:lnTo>
                    <a:lnTo>
                      <a:pt x="44" y="206"/>
                    </a:lnTo>
                    <a:lnTo>
                      <a:pt x="48" y="210"/>
                    </a:lnTo>
                    <a:lnTo>
                      <a:pt x="48" y="206"/>
                    </a:lnTo>
                    <a:lnTo>
                      <a:pt x="44" y="206"/>
                    </a:lnTo>
                    <a:lnTo>
                      <a:pt x="42" y="210"/>
                    </a:lnTo>
                    <a:lnTo>
                      <a:pt x="38" y="210"/>
                    </a:lnTo>
                    <a:lnTo>
                      <a:pt x="38" y="206"/>
                    </a:lnTo>
                    <a:lnTo>
                      <a:pt x="42" y="206"/>
                    </a:lnTo>
                    <a:lnTo>
                      <a:pt x="38" y="206"/>
                    </a:lnTo>
                    <a:lnTo>
                      <a:pt x="34" y="206"/>
                    </a:lnTo>
                    <a:lnTo>
                      <a:pt x="30" y="210"/>
                    </a:lnTo>
                    <a:lnTo>
                      <a:pt x="30" y="206"/>
                    </a:lnTo>
                    <a:lnTo>
                      <a:pt x="34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2" y="202"/>
                    </a:lnTo>
                    <a:lnTo>
                      <a:pt x="44" y="202"/>
                    </a:lnTo>
                    <a:lnTo>
                      <a:pt x="48" y="202"/>
                    </a:lnTo>
                    <a:lnTo>
                      <a:pt x="48" y="206"/>
                    </a:lnTo>
                    <a:lnTo>
                      <a:pt x="52" y="206"/>
                    </a:lnTo>
                    <a:lnTo>
                      <a:pt x="52" y="210"/>
                    </a:lnTo>
                    <a:lnTo>
                      <a:pt x="56" y="210"/>
                    </a:lnTo>
                    <a:lnTo>
                      <a:pt x="52" y="210"/>
                    </a:lnTo>
                    <a:lnTo>
                      <a:pt x="52" y="206"/>
                    </a:lnTo>
                    <a:lnTo>
                      <a:pt x="48" y="206"/>
                    </a:lnTo>
                    <a:lnTo>
                      <a:pt x="48" y="202"/>
                    </a:lnTo>
                    <a:lnTo>
                      <a:pt x="44" y="202"/>
                    </a:lnTo>
                    <a:lnTo>
                      <a:pt x="44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52" y="202"/>
                    </a:lnTo>
                    <a:lnTo>
                      <a:pt x="52" y="206"/>
                    </a:lnTo>
                    <a:lnTo>
                      <a:pt x="52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48" y="202"/>
                    </a:lnTo>
                    <a:lnTo>
                      <a:pt x="48" y="198"/>
                    </a:lnTo>
                    <a:lnTo>
                      <a:pt x="52" y="198"/>
                    </a:lnTo>
                    <a:lnTo>
                      <a:pt x="56" y="198"/>
                    </a:lnTo>
                    <a:lnTo>
                      <a:pt x="60" y="198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6" y="194"/>
                    </a:lnTo>
                    <a:lnTo>
                      <a:pt x="56" y="192"/>
                    </a:lnTo>
                    <a:lnTo>
                      <a:pt x="60" y="192"/>
                    </a:lnTo>
                    <a:lnTo>
                      <a:pt x="64" y="192"/>
                    </a:lnTo>
                    <a:lnTo>
                      <a:pt x="64" y="194"/>
                    </a:lnTo>
                    <a:lnTo>
                      <a:pt x="68" y="194"/>
                    </a:lnTo>
                    <a:lnTo>
                      <a:pt x="68" y="192"/>
                    </a:lnTo>
                    <a:lnTo>
                      <a:pt x="64" y="194"/>
                    </a:lnTo>
                    <a:lnTo>
                      <a:pt x="64" y="192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4" y="192"/>
                    </a:lnTo>
                    <a:lnTo>
                      <a:pt x="74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4" y="192"/>
                    </a:lnTo>
                    <a:lnTo>
                      <a:pt x="78" y="192"/>
                    </a:lnTo>
                    <a:lnTo>
                      <a:pt x="82" y="192"/>
                    </a:lnTo>
                    <a:lnTo>
                      <a:pt x="86" y="192"/>
                    </a:lnTo>
                    <a:lnTo>
                      <a:pt x="86" y="188"/>
                    </a:lnTo>
                    <a:lnTo>
                      <a:pt x="82" y="188"/>
                    </a:lnTo>
                    <a:lnTo>
                      <a:pt x="86" y="188"/>
                    </a:lnTo>
                    <a:lnTo>
                      <a:pt x="86" y="184"/>
                    </a:lnTo>
                    <a:lnTo>
                      <a:pt x="90" y="184"/>
                    </a:lnTo>
                    <a:lnTo>
                      <a:pt x="94" y="184"/>
                    </a:lnTo>
                    <a:lnTo>
                      <a:pt x="94" y="180"/>
                    </a:lnTo>
                    <a:lnTo>
                      <a:pt x="90" y="180"/>
                    </a:lnTo>
                    <a:lnTo>
                      <a:pt x="94" y="180"/>
                    </a:lnTo>
                    <a:lnTo>
                      <a:pt x="98" y="176"/>
                    </a:lnTo>
                    <a:lnTo>
                      <a:pt x="94" y="176"/>
                    </a:lnTo>
                    <a:lnTo>
                      <a:pt x="90" y="176"/>
                    </a:lnTo>
                    <a:lnTo>
                      <a:pt x="90" y="180"/>
                    </a:lnTo>
                    <a:lnTo>
                      <a:pt x="86" y="180"/>
                    </a:lnTo>
                    <a:lnTo>
                      <a:pt x="82" y="184"/>
                    </a:lnTo>
                    <a:lnTo>
                      <a:pt x="86" y="180"/>
                    </a:lnTo>
                    <a:lnTo>
                      <a:pt x="90" y="180"/>
                    </a:lnTo>
                    <a:lnTo>
                      <a:pt x="90" y="184"/>
                    </a:lnTo>
                    <a:lnTo>
                      <a:pt x="86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88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2" y="184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2" y="180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74" y="180"/>
                    </a:lnTo>
                    <a:lnTo>
                      <a:pt x="74" y="176"/>
                    </a:lnTo>
                    <a:lnTo>
                      <a:pt x="78" y="172"/>
                    </a:lnTo>
                    <a:lnTo>
                      <a:pt x="82" y="168"/>
                    </a:lnTo>
                    <a:lnTo>
                      <a:pt x="82" y="168"/>
                    </a:lnTo>
                    <a:lnTo>
                      <a:pt x="82" y="168"/>
                    </a:lnTo>
                    <a:close/>
                    <a:moveTo>
                      <a:pt x="284" y="4"/>
                    </a:moveTo>
                    <a:lnTo>
                      <a:pt x="284" y="0"/>
                    </a:lnTo>
                    <a:lnTo>
                      <a:pt x="284" y="4"/>
                    </a:lnTo>
                    <a:lnTo>
                      <a:pt x="284" y="4"/>
                    </a:lnTo>
                    <a:lnTo>
                      <a:pt x="284" y="4"/>
                    </a:lnTo>
                    <a:close/>
                    <a:moveTo>
                      <a:pt x="270" y="16"/>
                    </a:moveTo>
                    <a:lnTo>
                      <a:pt x="270" y="12"/>
                    </a:lnTo>
                    <a:lnTo>
                      <a:pt x="274" y="12"/>
                    </a:lnTo>
                    <a:lnTo>
                      <a:pt x="276" y="16"/>
                    </a:lnTo>
                    <a:lnTo>
                      <a:pt x="274" y="16"/>
                    </a:lnTo>
                    <a:lnTo>
                      <a:pt x="270" y="16"/>
                    </a:lnTo>
                    <a:lnTo>
                      <a:pt x="270" y="16"/>
                    </a:lnTo>
                    <a:lnTo>
                      <a:pt x="270" y="16"/>
                    </a:lnTo>
                    <a:close/>
                    <a:moveTo>
                      <a:pt x="258" y="22"/>
                    </a:moveTo>
                    <a:lnTo>
                      <a:pt x="254" y="22"/>
                    </a:lnTo>
                    <a:lnTo>
                      <a:pt x="250" y="22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2"/>
                    </a:lnTo>
                    <a:lnTo>
                      <a:pt x="258" y="22"/>
                    </a:lnTo>
                    <a:lnTo>
                      <a:pt x="258" y="22"/>
                    </a:lnTo>
                    <a:close/>
                    <a:moveTo>
                      <a:pt x="244" y="22"/>
                    </a:moveTo>
                    <a:lnTo>
                      <a:pt x="240" y="22"/>
                    </a:lnTo>
                    <a:lnTo>
                      <a:pt x="240" y="20"/>
                    </a:lnTo>
                    <a:lnTo>
                      <a:pt x="244" y="20"/>
                    </a:lnTo>
                    <a:lnTo>
                      <a:pt x="244" y="22"/>
                    </a:lnTo>
                    <a:lnTo>
                      <a:pt x="244" y="22"/>
                    </a:lnTo>
                    <a:lnTo>
                      <a:pt x="244" y="22"/>
                    </a:lnTo>
                    <a:close/>
                    <a:moveTo>
                      <a:pt x="206" y="26"/>
                    </a:moveTo>
                    <a:lnTo>
                      <a:pt x="202" y="26"/>
                    </a:lnTo>
                    <a:lnTo>
                      <a:pt x="206" y="22"/>
                    </a:lnTo>
                    <a:lnTo>
                      <a:pt x="206" y="26"/>
                    </a:lnTo>
                    <a:lnTo>
                      <a:pt x="206" y="26"/>
                    </a:lnTo>
                    <a:lnTo>
                      <a:pt x="206" y="26"/>
                    </a:lnTo>
                    <a:close/>
                    <a:moveTo>
                      <a:pt x="198" y="30"/>
                    </a:moveTo>
                    <a:lnTo>
                      <a:pt x="198" y="26"/>
                    </a:lnTo>
                    <a:lnTo>
                      <a:pt x="202" y="26"/>
                    </a:lnTo>
                    <a:lnTo>
                      <a:pt x="202" y="30"/>
                    </a:lnTo>
                    <a:lnTo>
                      <a:pt x="198" y="30"/>
                    </a:lnTo>
                    <a:lnTo>
                      <a:pt x="198" y="30"/>
                    </a:lnTo>
                    <a:lnTo>
                      <a:pt x="198" y="30"/>
                    </a:lnTo>
                    <a:close/>
                    <a:moveTo>
                      <a:pt x="228" y="30"/>
                    </a:moveTo>
                    <a:lnTo>
                      <a:pt x="232" y="30"/>
                    </a:lnTo>
                    <a:lnTo>
                      <a:pt x="228" y="30"/>
                    </a:lnTo>
                    <a:lnTo>
                      <a:pt x="228" y="30"/>
                    </a:lnTo>
                    <a:lnTo>
                      <a:pt x="228" y="30"/>
                    </a:lnTo>
                    <a:close/>
                    <a:moveTo>
                      <a:pt x="210" y="34"/>
                    </a:moveTo>
                    <a:lnTo>
                      <a:pt x="214" y="30"/>
                    </a:lnTo>
                    <a:lnTo>
                      <a:pt x="218" y="30"/>
                    </a:lnTo>
                    <a:lnTo>
                      <a:pt x="214" y="34"/>
                    </a:lnTo>
                    <a:lnTo>
                      <a:pt x="210" y="34"/>
                    </a:lnTo>
                    <a:lnTo>
                      <a:pt x="210" y="34"/>
                    </a:lnTo>
                    <a:lnTo>
                      <a:pt x="210" y="34"/>
                    </a:lnTo>
                    <a:close/>
                    <a:moveTo>
                      <a:pt x="354" y="38"/>
                    </a:moveTo>
                    <a:lnTo>
                      <a:pt x="354" y="34"/>
                    </a:lnTo>
                    <a:lnTo>
                      <a:pt x="358" y="34"/>
                    </a:lnTo>
                    <a:lnTo>
                      <a:pt x="354" y="38"/>
                    </a:lnTo>
                    <a:lnTo>
                      <a:pt x="354" y="38"/>
                    </a:lnTo>
                    <a:lnTo>
                      <a:pt x="354" y="38"/>
                    </a:lnTo>
                    <a:close/>
                    <a:moveTo>
                      <a:pt x="224" y="34"/>
                    </a:moveTo>
                    <a:lnTo>
                      <a:pt x="228" y="34"/>
                    </a:lnTo>
                    <a:lnTo>
                      <a:pt x="224" y="34"/>
                    </a:lnTo>
                    <a:lnTo>
                      <a:pt x="224" y="34"/>
                    </a:lnTo>
                    <a:lnTo>
                      <a:pt x="224" y="34"/>
                    </a:lnTo>
                    <a:close/>
                    <a:moveTo>
                      <a:pt x="202" y="42"/>
                    </a:moveTo>
                    <a:lnTo>
                      <a:pt x="202" y="38"/>
                    </a:lnTo>
                    <a:lnTo>
                      <a:pt x="202" y="42"/>
                    </a:lnTo>
                    <a:lnTo>
                      <a:pt x="202" y="42"/>
                    </a:lnTo>
                    <a:lnTo>
                      <a:pt x="202" y="42"/>
                    </a:lnTo>
                    <a:close/>
                    <a:moveTo>
                      <a:pt x="180" y="56"/>
                    </a:moveTo>
                    <a:lnTo>
                      <a:pt x="180" y="52"/>
                    </a:lnTo>
                    <a:lnTo>
                      <a:pt x="184" y="52"/>
                    </a:lnTo>
                    <a:lnTo>
                      <a:pt x="180" y="56"/>
                    </a:lnTo>
                    <a:lnTo>
                      <a:pt x="180" y="56"/>
                    </a:lnTo>
                    <a:lnTo>
                      <a:pt x="180" y="56"/>
                    </a:lnTo>
                    <a:close/>
                    <a:moveTo>
                      <a:pt x="168" y="60"/>
                    </a:moveTo>
                    <a:lnTo>
                      <a:pt x="164" y="56"/>
                    </a:lnTo>
                    <a:lnTo>
                      <a:pt x="168" y="56"/>
                    </a:lnTo>
                    <a:lnTo>
                      <a:pt x="168" y="60"/>
                    </a:lnTo>
                    <a:lnTo>
                      <a:pt x="168" y="60"/>
                    </a:lnTo>
                    <a:lnTo>
                      <a:pt x="168" y="60"/>
                    </a:lnTo>
                    <a:close/>
                    <a:moveTo>
                      <a:pt x="176" y="60"/>
                    </a:moveTo>
                    <a:lnTo>
                      <a:pt x="176" y="56"/>
                    </a:lnTo>
                    <a:lnTo>
                      <a:pt x="180" y="56"/>
                    </a:lnTo>
                    <a:lnTo>
                      <a:pt x="180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6" y="60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60" y="72"/>
                    </a:moveTo>
                    <a:lnTo>
                      <a:pt x="160" y="68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60" y="72"/>
                    </a:lnTo>
                    <a:close/>
                    <a:moveTo>
                      <a:pt x="134" y="76"/>
                    </a:moveTo>
                    <a:lnTo>
                      <a:pt x="130" y="76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0" y="82"/>
                    </a:moveTo>
                    <a:lnTo>
                      <a:pt x="120" y="78"/>
                    </a:lnTo>
                    <a:lnTo>
                      <a:pt x="120" y="76"/>
                    </a:lnTo>
                    <a:lnTo>
                      <a:pt x="124" y="76"/>
                    </a:lnTo>
                    <a:lnTo>
                      <a:pt x="124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close/>
                    <a:moveTo>
                      <a:pt x="116" y="86"/>
                    </a:moveTo>
                    <a:lnTo>
                      <a:pt x="116" y="82"/>
                    </a:lnTo>
                    <a:lnTo>
                      <a:pt x="116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close/>
                    <a:moveTo>
                      <a:pt x="154" y="82"/>
                    </a:moveTo>
                    <a:lnTo>
                      <a:pt x="154" y="78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4" y="82"/>
                    </a:lnTo>
                    <a:lnTo>
                      <a:pt x="154" y="82"/>
                    </a:lnTo>
                    <a:close/>
                    <a:moveTo>
                      <a:pt x="146" y="82"/>
                    </a:moveTo>
                    <a:lnTo>
                      <a:pt x="150" y="82"/>
                    </a:lnTo>
                    <a:lnTo>
                      <a:pt x="146" y="82"/>
                    </a:lnTo>
                    <a:lnTo>
                      <a:pt x="146" y="82"/>
                    </a:lnTo>
                    <a:lnTo>
                      <a:pt x="146" y="82"/>
                    </a:lnTo>
                    <a:close/>
                    <a:moveTo>
                      <a:pt x="134" y="106"/>
                    </a:moveTo>
                    <a:lnTo>
                      <a:pt x="130" y="106"/>
                    </a:lnTo>
                    <a:lnTo>
                      <a:pt x="130" y="102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4" y="106"/>
                    </a:lnTo>
                    <a:lnTo>
                      <a:pt x="134" y="106"/>
                    </a:lnTo>
                    <a:close/>
                    <a:moveTo>
                      <a:pt x="102" y="138"/>
                    </a:moveTo>
                    <a:lnTo>
                      <a:pt x="104" y="138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38"/>
                    </a:lnTo>
                    <a:close/>
                    <a:moveTo>
                      <a:pt x="104" y="150"/>
                    </a:moveTo>
                    <a:lnTo>
                      <a:pt x="104" y="146"/>
                    </a:lnTo>
                    <a:lnTo>
                      <a:pt x="104" y="142"/>
                    </a:lnTo>
                    <a:lnTo>
                      <a:pt x="104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4" y="150"/>
                    </a:lnTo>
                    <a:lnTo>
                      <a:pt x="104" y="150"/>
                    </a:lnTo>
                    <a:lnTo>
                      <a:pt x="104" y="150"/>
                    </a:lnTo>
                    <a:close/>
                    <a:moveTo>
                      <a:pt x="104" y="154"/>
                    </a:moveTo>
                    <a:lnTo>
                      <a:pt x="102" y="154"/>
                    </a:lnTo>
                    <a:lnTo>
                      <a:pt x="104" y="150"/>
                    </a:lnTo>
                    <a:lnTo>
                      <a:pt x="108" y="150"/>
                    </a:lnTo>
                    <a:lnTo>
                      <a:pt x="108" y="154"/>
                    </a:lnTo>
                    <a:lnTo>
                      <a:pt x="104" y="154"/>
                    </a:lnTo>
                    <a:lnTo>
                      <a:pt x="104" y="154"/>
                    </a:lnTo>
                    <a:lnTo>
                      <a:pt x="104" y="154"/>
                    </a:lnTo>
                    <a:close/>
                    <a:moveTo>
                      <a:pt x="86" y="158"/>
                    </a:moveTo>
                    <a:lnTo>
                      <a:pt x="90" y="154"/>
                    </a:lnTo>
                    <a:lnTo>
                      <a:pt x="86" y="158"/>
                    </a:lnTo>
                    <a:lnTo>
                      <a:pt x="86" y="158"/>
                    </a:lnTo>
                    <a:lnTo>
                      <a:pt x="86" y="158"/>
                    </a:lnTo>
                    <a:close/>
                    <a:moveTo>
                      <a:pt x="90" y="158"/>
                    </a:moveTo>
                    <a:lnTo>
                      <a:pt x="86" y="158"/>
                    </a:lnTo>
                    <a:lnTo>
                      <a:pt x="90" y="154"/>
                    </a:lnTo>
                    <a:lnTo>
                      <a:pt x="94" y="158"/>
                    </a:lnTo>
                    <a:lnTo>
                      <a:pt x="90" y="158"/>
                    </a:lnTo>
                    <a:lnTo>
                      <a:pt x="90" y="158"/>
                    </a:lnTo>
                    <a:lnTo>
                      <a:pt x="90" y="158"/>
                    </a:lnTo>
                    <a:close/>
                    <a:moveTo>
                      <a:pt x="94" y="164"/>
                    </a:moveTo>
                    <a:lnTo>
                      <a:pt x="90" y="164"/>
                    </a:lnTo>
                    <a:lnTo>
                      <a:pt x="90" y="162"/>
                    </a:lnTo>
                    <a:lnTo>
                      <a:pt x="94" y="164"/>
                    </a:lnTo>
                    <a:lnTo>
                      <a:pt x="94" y="164"/>
                    </a:lnTo>
                    <a:lnTo>
                      <a:pt x="94" y="164"/>
                    </a:lnTo>
                    <a:close/>
                    <a:moveTo>
                      <a:pt x="52" y="194"/>
                    </a:moveTo>
                    <a:lnTo>
                      <a:pt x="52" y="192"/>
                    </a:lnTo>
                    <a:lnTo>
                      <a:pt x="56" y="192"/>
                    </a:lnTo>
                    <a:lnTo>
                      <a:pt x="56" y="194"/>
                    </a:lnTo>
                    <a:lnTo>
                      <a:pt x="52" y="194"/>
                    </a:lnTo>
                    <a:lnTo>
                      <a:pt x="52" y="194"/>
                    </a:lnTo>
                    <a:lnTo>
                      <a:pt x="52" y="194"/>
                    </a:lnTo>
                    <a:close/>
                    <a:moveTo>
                      <a:pt x="52" y="198"/>
                    </a:moveTo>
                    <a:lnTo>
                      <a:pt x="48" y="194"/>
                    </a:lnTo>
                    <a:lnTo>
                      <a:pt x="52" y="194"/>
                    </a:lnTo>
                    <a:lnTo>
                      <a:pt x="56" y="198"/>
                    </a:lnTo>
                    <a:lnTo>
                      <a:pt x="52" y="198"/>
                    </a:lnTo>
                    <a:lnTo>
                      <a:pt x="52" y="198"/>
                    </a:lnTo>
                    <a:lnTo>
                      <a:pt x="52" y="198"/>
                    </a:lnTo>
                    <a:close/>
                    <a:moveTo>
                      <a:pt x="44" y="198"/>
                    </a:moveTo>
                    <a:lnTo>
                      <a:pt x="48" y="194"/>
                    </a:lnTo>
                    <a:lnTo>
                      <a:pt x="48" y="198"/>
                    </a:lnTo>
                    <a:lnTo>
                      <a:pt x="44" y="198"/>
                    </a:lnTo>
                    <a:lnTo>
                      <a:pt x="44" y="198"/>
                    </a:lnTo>
                    <a:lnTo>
                      <a:pt x="44" y="198"/>
                    </a:lnTo>
                    <a:close/>
                    <a:moveTo>
                      <a:pt x="44" y="202"/>
                    </a:moveTo>
                    <a:lnTo>
                      <a:pt x="42" y="202"/>
                    </a:lnTo>
                    <a:lnTo>
                      <a:pt x="42" y="198"/>
                    </a:lnTo>
                    <a:lnTo>
                      <a:pt x="44" y="198"/>
                    </a:lnTo>
                    <a:lnTo>
                      <a:pt x="44" y="202"/>
                    </a:lnTo>
                    <a:lnTo>
                      <a:pt x="44" y="202"/>
                    </a:lnTo>
                    <a:lnTo>
                      <a:pt x="44" y="202"/>
                    </a:lnTo>
                    <a:close/>
                    <a:moveTo>
                      <a:pt x="42" y="202"/>
                    </a:moveTo>
                    <a:lnTo>
                      <a:pt x="38" y="202"/>
                    </a:lnTo>
                    <a:lnTo>
                      <a:pt x="38" y="198"/>
                    </a:lnTo>
                    <a:lnTo>
                      <a:pt x="42" y="198"/>
                    </a:lnTo>
                    <a:lnTo>
                      <a:pt x="42" y="202"/>
                    </a:lnTo>
                    <a:lnTo>
                      <a:pt x="42" y="202"/>
                    </a:lnTo>
                    <a:lnTo>
                      <a:pt x="42" y="202"/>
                    </a:lnTo>
                    <a:close/>
                    <a:moveTo>
                      <a:pt x="26" y="210"/>
                    </a:moveTo>
                    <a:lnTo>
                      <a:pt x="30" y="206"/>
                    </a:lnTo>
                    <a:lnTo>
                      <a:pt x="30" y="210"/>
                    </a:lnTo>
                    <a:lnTo>
                      <a:pt x="26" y="210"/>
                    </a:lnTo>
                    <a:lnTo>
                      <a:pt x="26" y="210"/>
                    </a:lnTo>
                    <a:lnTo>
                      <a:pt x="26" y="210"/>
                    </a:lnTo>
                    <a:close/>
                    <a:moveTo>
                      <a:pt x="22" y="218"/>
                    </a:moveTo>
                    <a:lnTo>
                      <a:pt x="18" y="218"/>
                    </a:lnTo>
                    <a:lnTo>
                      <a:pt x="18" y="214"/>
                    </a:lnTo>
                    <a:lnTo>
                      <a:pt x="22" y="214"/>
                    </a:lnTo>
                    <a:lnTo>
                      <a:pt x="22" y="218"/>
                    </a:lnTo>
                    <a:lnTo>
                      <a:pt x="22" y="218"/>
                    </a:lnTo>
                    <a:lnTo>
                      <a:pt x="22" y="218"/>
                    </a:lnTo>
                    <a:close/>
                    <a:moveTo>
                      <a:pt x="14" y="222"/>
                    </a:moveTo>
                    <a:lnTo>
                      <a:pt x="14" y="218"/>
                    </a:lnTo>
                    <a:lnTo>
                      <a:pt x="14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4" y="222"/>
                    </a:lnTo>
                    <a:lnTo>
                      <a:pt x="14" y="222"/>
                    </a:lnTo>
                    <a:close/>
                    <a:moveTo>
                      <a:pt x="12" y="222"/>
                    </a:moveTo>
                    <a:lnTo>
                      <a:pt x="12" y="218"/>
                    </a:lnTo>
                    <a:lnTo>
                      <a:pt x="14" y="218"/>
                    </a:lnTo>
                    <a:lnTo>
                      <a:pt x="14" y="222"/>
                    </a:lnTo>
                    <a:lnTo>
                      <a:pt x="12" y="222"/>
                    </a:lnTo>
                    <a:lnTo>
                      <a:pt x="12" y="222"/>
                    </a:lnTo>
                    <a:lnTo>
                      <a:pt x="12" y="222"/>
                    </a:lnTo>
                    <a:close/>
                    <a:moveTo>
                      <a:pt x="4" y="232"/>
                    </a:moveTo>
                    <a:lnTo>
                      <a:pt x="4" y="228"/>
                    </a:ln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4" y="228"/>
                    </a:lnTo>
                    <a:lnTo>
                      <a:pt x="4" y="232"/>
                    </a:lnTo>
                    <a:lnTo>
                      <a:pt x="4" y="232"/>
                    </a:lnTo>
                    <a:lnTo>
                      <a:pt x="4" y="232"/>
                    </a:lnTo>
                    <a:close/>
                    <a:moveTo>
                      <a:pt x="0" y="246"/>
                    </a:moveTo>
                    <a:lnTo>
                      <a:pt x="0" y="242"/>
                    </a:lnTo>
                    <a:lnTo>
                      <a:pt x="4" y="242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0" y="246"/>
                    </a:lnTo>
                    <a:lnTo>
                      <a:pt x="0" y="246"/>
                    </a:lnTo>
                    <a:close/>
                    <a:moveTo>
                      <a:pt x="12" y="262"/>
                    </a:moveTo>
                    <a:lnTo>
                      <a:pt x="8" y="258"/>
                    </a:lnTo>
                    <a:lnTo>
                      <a:pt x="12" y="258"/>
                    </a:lnTo>
                    <a:lnTo>
                      <a:pt x="12" y="254"/>
                    </a:lnTo>
                    <a:lnTo>
                      <a:pt x="14" y="254"/>
                    </a:lnTo>
                    <a:lnTo>
                      <a:pt x="14" y="262"/>
                    </a:lnTo>
                    <a:lnTo>
                      <a:pt x="12" y="262"/>
                    </a:lnTo>
                    <a:lnTo>
                      <a:pt x="12" y="262"/>
                    </a:lnTo>
                    <a:lnTo>
                      <a:pt x="12" y="262"/>
                    </a:lnTo>
                    <a:close/>
                    <a:moveTo>
                      <a:pt x="296" y="8"/>
                    </a:moveTo>
                    <a:lnTo>
                      <a:pt x="292" y="4"/>
                    </a:lnTo>
                    <a:lnTo>
                      <a:pt x="296" y="4"/>
                    </a:lnTo>
                    <a:lnTo>
                      <a:pt x="292" y="4"/>
                    </a:lnTo>
                    <a:lnTo>
                      <a:pt x="296" y="0"/>
                    </a:lnTo>
                    <a:lnTo>
                      <a:pt x="300" y="0"/>
                    </a:lnTo>
                    <a:lnTo>
                      <a:pt x="304" y="0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304" y="4"/>
                    </a:lnTo>
                    <a:lnTo>
                      <a:pt x="300" y="4"/>
                    </a:lnTo>
                    <a:lnTo>
                      <a:pt x="296" y="8"/>
                    </a:lnTo>
                    <a:lnTo>
                      <a:pt x="296" y="8"/>
                    </a:lnTo>
                    <a:lnTo>
                      <a:pt x="296" y="8"/>
                    </a:lnTo>
                    <a:close/>
                    <a:moveTo>
                      <a:pt x="274" y="8"/>
                    </a:moveTo>
                    <a:lnTo>
                      <a:pt x="274" y="4"/>
                    </a:lnTo>
                    <a:lnTo>
                      <a:pt x="276" y="4"/>
                    </a:lnTo>
                    <a:lnTo>
                      <a:pt x="276" y="8"/>
                    </a:lnTo>
                    <a:lnTo>
                      <a:pt x="274" y="8"/>
                    </a:lnTo>
                    <a:lnTo>
                      <a:pt x="274" y="8"/>
                    </a:lnTo>
                    <a:lnTo>
                      <a:pt x="274" y="8"/>
                    </a:lnTo>
                    <a:close/>
                    <a:moveTo>
                      <a:pt x="248" y="20"/>
                    </a:moveTo>
                    <a:lnTo>
                      <a:pt x="248" y="16"/>
                    </a:lnTo>
                    <a:lnTo>
                      <a:pt x="244" y="16"/>
                    </a:lnTo>
                    <a:lnTo>
                      <a:pt x="244" y="12"/>
                    </a:lnTo>
                    <a:lnTo>
                      <a:pt x="248" y="12"/>
                    </a:lnTo>
                    <a:lnTo>
                      <a:pt x="248" y="16"/>
                    </a:lnTo>
                    <a:lnTo>
                      <a:pt x="250" y="12"/>
                    </a:lnTo>
                    <a:lnTo>
                      <a:pt x="254" y="12"/>
                    </a:lnTo>
                    <a:lnTo>
                      <a:pt x="254" y="16"/>
                    </a:lnTo>
                    <a:lnTo>
                      <a:pt x="258" y="16"/>
                    </a:lnTo>
                    <a:lnTo>
                      <a:pt x="258" y="12"/>
                    </a:lnTo>
                    <a:lnTo>
                      <a:pt x="254" y="12"/>
                    </a:lnTo>
                    <a:lnTo>
                      <a:pt x="258" y="12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66" y="8"/>
                    </a:lnTo>
                    <a:lnTo>
                      <a:pt x="262" y="8"/>
                    </a:lnTo>
                    <a:lnTo>
                      <a:pt x="266" y="8"/>
                    </a:lnTo>
                    <a:lnTo>
                      <a:pt x="266" y="12"/>
                    </a:lnTo>
                    <a:lnTo>
                      <a:pt x="262" y="12"/>
                    </a:lnTo>
                    <a:lnTo>
                      <a:pt x="262" y="16"/>
                    </a:lnTo>
                    <a:lnTo>
                      <a:pt x="258" y="16"/>
                    </a:lnTo>
                    <a:lnTo>
                      <a:pt x="254" y="16"/>
                    </a:lnTo>
                    <a:lnTo>
                      <a:pt x="250" y="20"/>
                    </a:lnTo>
                    <a:lnTo>
                      <a:pt x="248" y="16"/>
                    </a:lnTo>
                    <a:lnTo>
                      <a:pt x="248" y="20"/>
                    </a:lnTo>
                    <a:lnTo>
                      <a:pt x="248" y="20"/>
                    </a:lnTo>
                    <a:lnTo>
                      <a:pt x="248" y="20"/>
                    </a:lnTo>
                    <a:close/>
                    <a:moveTo>
                      <a:pt x="262" y="22"/>
                    </a:moveTo>
                    <a:lnTo>
                      <a:pt x="258" y="20"/>
                    </a:lnTo>
                    <a:lnTo>
                      <a:pt x="262" y="16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0" y="20"/>
                    </a:lnTo>
                    <a:lnTo>
                      <a:pt x="266" y="20"/>
                    </a:lnTo>
                    <a:lnTo>
                      <a:pt x="266" y="22"/>
                    </a:lnTo>
                    <a:lnTo>
                      <a:pt x="262" y="22"/>
                    </a:lnTo>
                    <a:lnTo>
                      <a:pt x="262" y="22"/>
                    </a:lnTo>
                    <a:lnTo>
                      <a:pt x="262" y="22"/>
                    </a:lnTo>
                    <a:close/>
                    <a:moveTo>
                      <a:pt x="218" y="30"/>
                    </a:moveTo>
                    <a:lnTo>
                      <a:pt x="214" y="30"/>
                    </a:lnTo>
                    <a:lnTo>
                      <a:pt x="214" y="26"/>
                    </a:lnTo>
                    <a:lnTo>
                      <a:pt x="214" y="22"/>
                    </a:lnTo>
                    <a:lnTo>
                      <a:pt x="210" y="22"/>
                    </a:lnTo>
                    <a:lnTo>
                      <a:pt x="214" y="22"/>
                    </a:lnTo>
                    <a:lnTo>
                      <a:pt x="214" y="26"/>
                    </a:lnTo>
                    <a:lnTo>
                      <a:pt x="218" y="26"/>
                    </a:lnTo>
                    <a:lnTo>
                      <a:pt x="218" y="30"/>
                    </a:lnTo>
                    <a:lnTo>
                      <a:pt x="218" y="30"/>
                    </a:lnTo>
                    <a:lnTo>
                      <a:pt x="218" y="30"/>
                    </a:lnTo>
                    <a:close/>
                    <a:moveTo>
                      <a:pt x="224" y="30"/>
                    </a:move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26"/>
                    </a:lnTo>
                    <a:lnTo>
                      <a:pt x="220" y="26"/>
                    </a:lnTo>
                    <a:lnTo>
                      <a:pt x="224" y="26"/>
                    </a:lnTo>
                    <a:lnTo>
                      <a:pt x="224" y="22"/>
                    </a:lnTo>
                    <a:lnTo>
                      <a:pt x="228" y="22"/>
                    </a:lnTo>
                    <a:lnTo>
                      <a:pt x="228" y="26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4" y="30"/>
                    </a:lnTo>
                    <a:lnTo>
                      <a:pt x="224" y="30"/>
                    </a:lnTo>
                    <a:close/>
                    <a:moveTo>
                      <a:pt x="210" y="26"/>
                    </a:moveTo>
                    <a:lnTo>
                      <a:pt x="206" y="26"/>
                    </a:lnTo>
                    <a:lnTo>
                      <a:pt x="210" y="26"/>
                    </a:lnTo>
                    <a:lnTo>
                      <a:pt x="210" y="26"/>
                    </a:lnTo>
                    <a:lnTo>
                      <a:pt x="210" y="26"/>
                    </a:lnTo>
                    <a:close/>
                    <a:moveTo>
                      <a:pt x="206" y="34"/>
                    </a:moveTo>
                    <a:lnTo>
                      <a:pt x="202" y="34"/>
                    </a:lnTo>
                    <a:lnTo>
                      <a:pt x="198" y="34"/>
                    </a:lnTo>
                    <a:lnTo>
                      <a:pt x="198" y="30"/>
                    </a:lnTo>
                    <a:lnTo>
                      <a:pt x="202" y="30"/>
                    </a:lnTo>
                    <a:lnTo>
                      <a:pt x="206" y="30"/>
                    </a:lnTo>
                    <a:lnTo>
                      <a:pt x="206" y="26"/>
                    </a:lnTo>
                    <a:lnTo>
                      <a:pt x="206" y="30"/>
                    </a:lnTo>
                    <a:lnTo>
                      <a:pt x="210" y="30"/>
                    </a:lnTo>
                    <a:lnTo>
                      <a:pt x="214" y="30"/>
                    </a:lnTo>
                    <a:lnTo>
                      <a:pt x="210" y="34"/>
                    </a:lnTo>
                    <a:lnTo>
                      <a:pt x="206" y="34"/>
                    </a:lnTo>
                    <a:lnTo>
                      <a:pt x="206" y="34"/>
                    </a:lnTo>
                    <a:lnTo>
                      <a:pt x="206" y="34"/>
                    </a:lnTo>
                    <a:close/>
                    <a:moveTo>
                      <a:pt x="194" y="38"/>
                    </a:moveTo>
                    <a:lnTo>
                      <a:pt x="198" y="38"/>
                    </a:lnTo>
                    <a:lnTo>
                      <a:pt x="194" y="38"/>
                    </a:lnTo>
                    <a:lnTo>
                      <a:pt x="194" y="34"/>
                    </a:lnTo>
                    <a:lnTo>
                      <a:pt x="194" y="38"/>
                    </a:lnTo>
                    <a:lnTo>
                      <a:pt x="198" y="38"/>
                    </a:lnTo>
                    <a:lnTo>
                      <a:pt x="198" y="34"/>
                    </a:lnTo>
                    <a:lnTo>
                      <a:pt x="202" y="34"/>
                    </a:lnTo>
                    <a:lnTo>
                      <a:pt x="202" y="38"/>
                    </a:lnTo>
                    <a:lnTo>
                      <a:pt x="198" y="38"/>
                    </a:lnTo>
                    <a:lnTo>
                      <a:pt x="198" y="42"/>
                    </a:lnTo>
                    <a:lnTo>
                      <a:pt x="202" y="42"/>
                    </a:lnTo>
                    <a:lnTo>
                      <a:pt x="198" y="42"/>
                    </a:lnTo>
                    <a:lnTo>
                      <a:pt x="194" y="42"/>
                    </a:lnTo>
                    <a:lnTo>
                      <a:pt x="190" y="42"/>
                    </a:lnTo>
                    <a:lnTo>
                      <a:pt x="188" y="42"/>
                    </a:lnTo>
                    <a:lnTo>
                      <a:pt x="190" y="38"/>
                    </a:lnTo>
                    <a:lnTo>
                      <a:pt x="190" y="42"/>
                    </a:lnTo>
                    <a:lnTo>
                      <a:pt x="190" y="38"/>
                    </a:lnTo>
                    <a:lnTo>
                      <a:pt x="194" y="38"/>
                    </a:lnTo>
                    <a:lnTo>
                      <a:pt x="194" y="38"/>
                    </a:lnTo>
                    <a:lnTo>
                      <a:pt x="194" y="38"/>
                    </a:lnTo>
                    <a:close/>
                    <a:moveTo>
                      <a:pt x="172" y="50"/>
                    </a:moveTo>
                    <a:lnTo>
                      <a:pt x="176" y="50"/>
                    </a:lnTo>
                    <a:lnTo>
                      <a:pt x="172" y="50"/>
                    </a:lnTo>
                    <a:lnTo>
                      <a:pt x="176" y="50"/>
                    </a:lnTo>
                    <a:lnTo>
                      <a:pt x="176" y="46"/>
                    </a:lnTo>
                    <a:lnTo>
                      <a:pt x="172" y="46"/>
                    </a:lnTo>
                    <a:lnTo>
                      <a:pt x="176" y="46"/>
                    </a:lnTo>
                    <a:lnTo>
                      <a:pt x="180" y="46"/>
                    </a:lnTo>
                    <a:lnTo>
                      <a:pt x="176" y="46"/>
                    </a:lnTo>
                    <a:lnTo>
                      <a:pt x="176" y="42"/>
                    </a:lnTo>
                    <a:lnTo>
                      <a:pt x="180" y="46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4" y="46"/>
                    </a:lnTo>
                    <a:lnTo>
                      <a:pt x="184" y="42"/>
                    </a:lnTo>
                    <a:lnTo>
                      <a:pt x="180" y="42"/>
                    </a:lnTo>
                    <a:lnTo>
                      <a:pt x="184" y="42"/>
                    </a:lnTo>
                    <a:lnTo>
                      <a:pt x="188" y="42"/>
                    </a:lnTo>
                    <a:lnTo>
                      <a:pt x="190" y="46"/>
                    </a:lnTo>
                    <a:lnTo>
                      <a:pt x="188" y="46"/>
                    </a:lnTo>
                    <a:lnTo>
                      <a:pt x="188" y="50"/>
                    </a:lnTo>
                    <a:lnTo>
                      <a:pt x="188" y="52"/>
                    </a:lnTo>
                    <a:lnTo>
                      <a:pt x="184" y="52"/>
                    </a:lnTo>
                    <a:lnTo>
                      <a:pt x="180" y="50"/>
                    </a:lnTo>
                    <a:lnTo>
                      <a:pt x="180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2"/>
                    </a:lnTo>
                    <a:lnTo>
                      <a:pt x="172" y="52"/>
                    </a:lnTo>
                    <a:lnTo>
                      <a:pt x="176" y="52"/>
                    </a:lnTo>
                    <a:lnTo>
                      <a:pt x="176" y="50"/>
                    </a:lnTo>
                    <a:lnTo>
                      <a:pt x="176" y="52"/>
                    </a:lnTo>
                    <a:lnTo>
                      <a:pt x="172" y="50"/>
                    </a:lnTo>
                    <a:lnTo>
                      <a:pt x="172" y="50"/>
                    </a:lnTo>
                    <a:lnTo>
                      <a:pt x="172" y="50"/>
                    </a:lnTo>
                    <a:close/>
                    <a:moveTo>
                      <a:pt x="154" y="60"/>
                    </a:moveTo>
                    <a:lnTo>
                      <a:pt x="154" y="56"/>
                    </a:lnTo>
                    <a:lnTo>
                      <a:pt x="154" y="52"/>
                    </a:lnTo>
                    <a:lnTo>
                      <a:pt x="158" y="52"/>
                    </a:lnTo>
                    <a:lnTo>
                      <a:pt x="158" y="50"/>
                    </a:lnTo>
                    <a:lnTo>
                      <a:pt x="160" y="50"/>
                    </a:lnTo>
                    <a:lnTo>
                      <a:pt x="160" y="52"/>
                    </a:lnTo>
                    <a:lnTo>
                      <a:pt x="158" y="52"/>
                    </a:lnTo>
                    <a:lnTo>
                      <a:pt x="158" y="56"/>
                    </a:lnTo>
                    <a:lnTo>
                      <a:pt x="154" y="56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54" y="60"/>
                    </a:lnTo>
                    <a:close/>
                    <a:moveTo>
                      <a:pt x="138" y="64"/>
                    </a:moveTo>
                    <a:lnTo>
                      <a:pt x="138" y="60"/>
                    </a:lnTo>
                    <a:lnTo>
                      <a:pt x="142" y="60"/>
                    </a:lnTo>
                    <a:lnTo>
                      <a:pt x="146" y="60"/>
                    </a:lnTo>
                    <a:lnTo>
                      <a:pt x="150" y="60"/>
                    </a:lnTo>
                    <a:lnTo>
                      <a:pt x="146" y="60"/>
                    </a:lnTo>
                    <a:lnTo>
                      <a:pt x="146" y="56"/>
                    </a:lnTo>
                    <a:lnTo>
                      <a:pt x="150" y="56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8"/>
                    </a:lnTo>
                    <a:lnTo>
                      <a:pt x="142" y="68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8" y="64"/>
                    </a:lnTo>
                    <a:lnTo>
                      <a:pt x="138" y="64"/>
                    </a:lnTo>
                    <a:close/>
                    <a:moveTo>
                      <a:pt x="168" y="68"/>
                    </a:moveTo>
                    <a:lnTo>
                      <a:pt x="164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8" y="72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54" y="72"/>
                    </a:lnTo>
                    <a:lnTo>
                      <a:pt x="154" y="68"/>
                    </a:lnTo>
                    <a:lnTo>
                      <a:pt x="154" y="72"/>
                    </a:lnTo>
                    <a:lnTo>
                      <a:pt x="150" y="72"/>
                    </a:lnTo>
                    <a:lnTo>
                      <a:pt x="146" y="76"/>
                    </a:lnTo>
                    <a:lnTo>
                      <a:pt x="146" y="72"/>
                    </a:lnTo>
                    <a:lnTo>
                      <a:pt x="150" y="68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64"/>
                    </a:lnTo>
                    <a:lnTo>
                      <a:pt x="154" y="60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60" y="60"/>
                    </a:lnTo>
                    <a:lnTo>
                      <a:pt x="160" y="64"/>
                    </a:lnTo>
                    <a:lnTo>
                      <a:pt x="158" y="64"/>
                    </a:lnTo>
                    <a:lnTo>
                      <a:pt x="158" y="68"/>
                    </a:lnTo>
                    <a:lnTo>
                      <a:pt x="158" y="64"/>
                    </a:lnTo>
                    <a:lnTo>
                      <a:pt x="160" y="64"/>
                    </a:lnTo>
                    <a:lnTo>
                      <a:pt x="160" y="60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close/>
                    <a:moveTo>
                      <a:pt x="134" y="76"/>
                    </a:moveTo>
                    <a:lnTo>
                      <a:pt x="134" y="72"/>
                    </a:lnTo>
                    <a:lnTo>
                      <a:pt x="138" y="72"/>
                    </a:lnTo>
                    <a:lnTo>
                      <a:pt x="142" y="72"/>
                    </a:lnTo>
                    <a:lnTo>
                      <a:pt x="146" y="72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46" y="72"/>
                    </a:lnTo>
                    <a:lnTo>
                      <a:pt x="142" y="76"/>
                    </a:lnTo>
                    <a:lnTo>
                      <a:pt x="138" y="76"/>
                    </a:lnTo>
                    <a:lnTo>
                      <a:pt x="134" y="76"/>
                    </a:lnTo>
                    <a:lnTo>
                      <a:pt x="134" y="76"/>
                    </a:lnTo>
                    <a:lnTo>
                      <a:pt x="134" y="76"/>
                    </a:lnTo>
                    <a:close/>
                    <a:moveTo>
                      <a:pt x="124" y="78"/>
                    </a:moveTo>
                    <a:lnTo>
                      <a:pt x="124" y="76"/>
                    </a:lnTo>
                    <a:lnTo>
                      <a:pt x="128" y="76"/>
                    </a:lnTo>
                    <a:lnTo>
                      <a:pt x="130" y="76"/>
                    </a:lnTo>
                    <a:lnTo>
                      <a:pt x="134" y="76"/>
                    </a:lnTo>
                    <a:lnTo>
                      <a:pt x="130" y="76"/>
                    </a:lnTo>
                    <a:lnTo>
                      <a:pt x="130" y="78"/>
                    </a:lnTo>
                    <a:lnTo>
                      <a:pt x="128" y="78"/>
                    </a:lnTo>
                    <a:lnTo>
                      <a:pt x="124" y="78"/>
                    </a:lnTo>
                    <a:lnTo>
                      <a:pt x="124" y="78"/>
                    </a:lnTo>
                    <a:lnTo>
                      <a:pt x="124" y="78"/>
                    </a:lnTo>
                    <a:close/>
                    <a:moveTo>
                      <a:pt x="108" y="132"/>
                    </a:moveTo>
                    <a:lnTo>
                      <a:pt x="108" y="128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108" y="132"/>
                    </a:moveTo>
                    <a:lnTo>
                      <a:pt x="112" y="132"/>
                    </a:lnTo>
                    <a:lnTo>
                      <a:pt x="112" y="128"/>
                    </a:lnTo>
                    <a:lnTo>
                      <a:pt x="116" y="128"/>
                    </a:lnTo>
                    <a:lnTo>
                      <a:pt x="116" y="132"/>
                    </a:lnTo>
                    <a:lnTo>
                      <a:pt x="112" y="132"/>
                    </a:lnTo>
                    <a:lnTo>
                      <a:pt x="108" y="132"/>
                    </a:lnTo>
                    <a:lnTo>
                      <a:pt x="108" y="132"/>
                    </a:lnTo>
                    <a:lnTo>
                      <a:pt x="108" y="132"/>
                    </a:lnTo>
                    <a:close/>
                    <a:moveTo>
                      <a:pt x="52" y="188"/>
                    </a:moveTo>
                    <a:lnTo>
                      <a:pt x="48" y="188"/>
                    </a:lnTo>
                    <a:lnTo>
                      <a:pt x="48" y="184"/>
                    </a:lnTo>
                    <a:lnTo>
                      <a:pt x="52" y="184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56" y="184"/>
                    </a:lnTo>
                    <a:lnTo>
                      <a:pt x="56" y="188"/>
                    </a:lnTo>
                    <a:lnTo>
                      <a:pt x="52" y="188"/>
                    </a:lnTo>
                    <a:lnTo>
                      <a:pt x="52" y="188"/>
                    </a:lnTo>
                    <a:lnTo>
                      <a:pt x="52" y="188"/>
                    </a:lnTo>
                    <a:close/>
                    <a:moveTo>
                      <a:pt x="52" y="192"/>
                    </a:moveTo>
                    <a:lnTo>
                      <a:pt x="48" y="192"/>
                    </a:lnTo>
                    <a:lnTo>
                      <a:pt x="52" y="192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60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52" y="192"/>
                    </a:lnTo>
                    <a:lnTo>
                      <a:pt x="52" y="192"/>
                    </a:lnTo>
                    <a:close/>
                    <a:moveTo>
                      <a:pt x="44" y="194"/>
                    </a:moveTo>
                    <a:lnTo>
                      <a:pt x="44" y="192"/>
                    </a:lnTo>
                    <a:lnTo>
                      <a:pt x="48" y="192"/>
                    </a:lnTo>
                    <a:lnTo>
                      <a:pt x="48" y="194"/>
                    </a:lnTo>
                    <a:lnTo>
                      <a:pt x="44" y="194"/>
                    </a:lnTo>
                    <a:lnTo>
                      <a:pt x="44" y="194"/>
                    </a:lnTo>
                    <a:lnTo>
                      <a:pt x="44" y="194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4" y="254"/>
                    </a:lnTo>
                    <a:lnTo>
                      <a:pt x="0" y="254"/>
                    </a:lnTo>
                    <a:lnTo>
                      <a:pt x="4" y="254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58"/>
                    </a:moveTo>
                    <a:lnTo>
                      <a:pt x="4" y="258"/>
                    </a:lnTo>
                    <a:lnTo>
                      <a:pt x="8" y="258"/>
                    </a:lnTo>
                    <a:lnTo>
                      <a:pt x="8" y="258"/>
                    </a:lnTo>
                    <a:lnTo>
                      <a:pt x="8" y="258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4" y="258"/>
                    </a:lnTo>
                    <a:lnTo>
                      <a:pt x="8" y="258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4" y="264"/>
                    </a:moveTo>
                    <a:lnTo>
                      <a:pt x="4" y="262"/>
                    </a:lnTo>
                    <a:lnTo>
                      <a:pt x="4" y="264"/>
                    </a:lnTo>
                    <a:lnTo>
                      <a:pt x="4" y="264"/>
                    </a:lnTo>
                    <a:lnTo>
                      <a:pt x="4" y="264"/>
                    </a:lnTo>
                    <a:close/>
                    <a:moveTo>
                      <a:pt x="12" y="272"/>
                    </a:moveTo>
                    <a:lnTo>
                      <a:pt x="8" y="272"/>
                    </a:lnTo>
                    <a:lnTo>
                      <a:pt x="12" y="268"/>
                    </a:lnTo>
                    <a:lnTo>
                      <a:pt x="12" y="272"/>
                    </a:lnTo>
                    <a:lnTo>
                      <a:pt x="12" y="272"/>
                    </a:lnTo>
                    <a:lnTo>
                      <a:pt x="12" y="272"/>
                    </a:lnTo>
                    <a:close/>
                    <a:moveTo>
                      <a:pt x="8" y="276"/>
                    </a:moveTo>
                    <a:lnTo>
                      <a:pt x="8" y="272"/>
                    </a:lnTo>
                    <a:lnTo>
                      <a:pt x="12" y="272"/>
                    </a:lnTo>
                    <a:lnTo>
                      <a:pt x="12" y="276"/>
                    </a:lnTo>
                    <a:lnTo>
                      <a:pt x="8" y="276"/>
                    </a:lnTo>
                    <a:lnTo>
                      <a:pt x="8" y="276"/>
                    </a:lnTo>
                    <a:lnTo>
                      <a:pt x="8" y="276"/>
                    </a:lnTo>
                    <a:close/>
                    <a:moveTo>
                      <a:pt x="8" y="280"/>
                    </a:moveTo>
                    <a:lnTo>
                      <a:pt x="4" y="280"/>
                    </a:lnTo>
                    <a:lnTo>
                      <a:pt x="4" y="276"/>
                    </a:lnTo>
                    <a:lnTo>
                      <a:pt x="4" y="272"/>
                    </a:lnTo>
                    <a:lnTo>
                      <a:pt x="8" y="272"/>
                    </a:lnTo>
                    <a:lnTo>
                      <a:pt x="8" y="276"/>
                    </a:lnTo>
                    <a:lnTo>
                      <a:pt x="8" y="280"/>
                    </a:lnTo>
                    <a:lnTo>
                      <a:pt x="8" y="280"/>
                    </a:lnTo>
                    <a:lnTo>
                      <a:pt x="8" y="280"/>
                    </a:lnTo>
                    <a:close/>
                    <a:moveTo>
                      <a:pt x="8" y="292"/>
                    </a:moveTo>
                    <a:lnTo>
                      <a:pt x="4" y="288"/>
                    </a:lnTo>
                    <a:lnTo>
                      <a:pt x="8" y="288"/>
                    </a:lnTo>
                    <a:lnTo>
                      <a:pt x="8" y="284"/>
                    </a:lnTo>
                    <a:lnTo>
                      <a:pt x="8" y="288"/>
                    </a:lnTo>
                    <a:lnTo>
                      <a:pt x="8" y="292"/>
                    </a:lnTo>
                    <a:lnTo>
                      <a:pt x="8" y="292"/>
                    </a:lnTo>
                    <a:lnTo>
                      <a:pt x="8" y="29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8" name="Freeform 117">
                <a:extLst>
                  <a:ext uri="{FF2B5EF4-FFF2-40B4-BE49-F238E27FC236}">
                    <a16:creationId xmlns:a16="http://schemas.microsoft.com/office/drawing/2014/main" id="{532082B2-0810-410A-890F-5FEC8B572C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14875" y="2946468"/>
                <a:ext cx="225425" cy="196850"/>
              </a:xfrm>
              <a:custGeom>
                <a:avLst/>
                <a:gdLst>
                  <a:gd name="T0" fmla="*/ 118 w 142"/>
                  <a:gd name="T1" fmla="*/ 120 h 124"/>
                  <a:gd name="T2" fmla="*/ 116 w 142"/>
                  <a:gd name="T3" fmla="*/ 124 h 124"/>
                  <a:gd name="T4" fmla="*/ 104 w 142"/>
                  <a:gd name="T5" fmla="*/ 116 h 124"/>
                  <a:gd name="T6" fmla="*/ 96 w 142"/>
                  <a:gd name="T7" fmla="*/ 120 h 124"/>
                  <a:gd name="T8" fmla="*/ 90 w 142"/>
                  <a:gd name="T9" fmla="*/ 116 h 124"/>
                  <a:gd name="T10" fmla="*/ 78 w 142"/>
                  <a:gd name="T11" fmla="*/ 120 h 124"/>
                  <a:gd name="T12" fmla="*/ 74 w 142"/>
                  <a:gd name="T13" fmla="*/ 112 h 124"/>
                  <a:gd name="T14" fmla="*/ 66 w 142"/>
                  <a:gd name="T15" fmla="*/ 116 h 124"/>
                  <a:gd name="T16" fmla="*/ 62 w 142"/>
                  <a:gd name="T17" fmla="*/ 108 h 124"/>
                  <a:gd name="T18" fmla="*/ 56 w 142"/>
                  <a:gd name="T19" fmla="*/ 104 h 124"/>
                  <a:gd name="T20" fmla="*/ 48 w 142"/>
                  <a:gd name="T21" fmla="*/ 102 h 124"/>
                  <a:gd name="T22" fmla="*/ 40 w 142"/>
                  <a:gd name="T23" fmla="*/ 98 h 124"/>
                  <a:gd name="T24" fmla="*/ 36 w 142"/>
                  <a:gd name="T25" fmla="*/ 98 h 124"/>
                  <a:gd name="T26" fmla="*/ 36 w 142"/>
                  <a:gd name="T27" fmla="*/ 102 h 124"/>
                  <a:gd name="T28" fmla="*/ 30 w 142"/>
                  <a:gd name="T29" fmla="*/ 98 h 124"/>
                  <a:gd name="T30" fmla="*/ 26 w 142"/>
                  <a:gd name="T31" fmla="*/ 90 h 124"/>
                  <a:gd name="T32" fmla="*/ 14 w 142"/>
                  <a:gd name="T33" fmla="*/ 86 h 124"/>
                  <a:gd name="T34" fmla="*/ 10 w 142"/>
                  <a:gd name="T35" fmla="*/ 86 h 124"/>
                  <a:gd name="T36" fmla="*/ 10 w 142"/>
                  <a:gd name="T37" fmla="*/ 78 h 124"/>
                  <a:gd name="T38" fmla="*/ 6 w 142"/>
                  <a:gd name="T39" fmla="*/ 72 h 124"/>
                  <a:gd name="T40" fmla="*/ 6 w 142"/>
                  <a:gd name="T41" fmla="*/ 64 h 124"/>
                  <a:gd name="T42" fmla="*/ 4 w 142"/>
                  <a:gd name="T43" fmla="*/ 56 h 124"/>
                  <a:gd name="T44" fmla="*/ 6 w 142"/>
                  <a:gd name="T45" fmla="*/ 48 h 124"/>
                  <a:gd name="T46" fmla="*/ 0 w 142"/>
                  <a:gd name="T47" fmla="*/ 46 h 124"/>
                  <a:gd name="T48" fmla="*/ 4 w 142"/>
                  <a:gd name="T49" fmla="*/ 34 h 124"/>
                  <a:gd name="T50" fmla="*/ 4 w 142"/>
                  <a:gd name="T51" fmla="*/ 26 h 124"/>
                  <a:gd name="T52" fmla="*/ 0 w 142"/>
                  <a:gd name="T53" fmla="*/ 20 h 124"/>
                  <a:gd name="T54" fmla="*/ 4 w 142"/>
                  <a:gd name="T55" fmla="*/ 20 h 124"/>
                  <a:gd name="T56" fmla="*/ 14 w 142"/>
                  <a:gd name="T57" fmla="*/ 16 h 124"/>
                  <a:gd name="T58" fmla="*/ 26 w 142"/>
                  <a:gd name="T59" fmla="*/ 16 h 124"/>
                  <a:gd name="T60" fmla="*/ 32 w 142"/>
                  <a:gd name="T61" fmla="*/ 8 h 124"/>
                  <a:gd name="T62" fmla="*/ 44 w 142"/>
                  <a:gd name="T63" fmla="*/ 4 h 124"/>
                  <a:gd name="T64" fmla="*/ 52 w 142"/>
                  <a:gd name="T65" fmla="*/ 0 h 124"/>
                  <a:gd name="T66" fmla="*/ 62 w 142"/>
                  <a:gd name="T67" fmla="*/ 4 h 124"/>
                  <a:gd name="T68" fmla="*/ 60 w 142"/>
                  <a:gd name="T69" fmla="*/ 4 h 124"/>
                  <a:gd name="T70" fmla="*/ 66 w 142"/>
                  <a:gd name="T71" fmla="*/ 12 h 124"/>
                  <a:gd name="T72" fmla="*/ 74 w 142"/>
                  <a:gd name="T73" fmla="*/ 8 h 124"/>
                  <a:gd name="T74" fmla="*/ 74 w 142"/>
                  <a:gd name="T75" fmla="*/ 12 h 124"/>
                  <a:gd name="T76" fmla="*/ 78 w 142"/>
                  <a:gd name="T77" fmla="*/ 12 h 124"/>
                  <a:gd name="T78" fmla="*/ 90 w 142"/>
                  <a:gd name="T79" fmla="*/ 12 h 124"/>
                  <a:gd name="T80" fmla="*/ 100 w 142"/>
                  <a:gd name="T81" fmla="*/ 12 h 124"/>
                  <a:gd name="T82" fmla="*/ 112 w 142"/>
                  <a:gd name="T83" fmla="*/ 12 h 124"/>
                  <a:gd name="T84" fmla="*/ 122 w 142"/>
                  <a:gd name="T85" fmla="*/ 12 h 124"/>
                  <a:gd name="T86" fmla="*/ 130 w 142"/>
                  <a:gd name="T87" fmla="*/ 20 h 124"/>
                  <a:gd name="T88" fmla="*/ 134 w 142"/>
                  <a:gd name="T89" fmla="*/ 26 h 124"/>
                  <a:gd name="T90" fmla="*/ 138 w 142"/>
                  <a:gd name="T91" fmla="*/ 38 h 124"/>
                  <a:gd name="T92" fmla="*/ 138 w 142"/>
                  <a:gd name="T93" fmla="*/ 48 h 124"/>
                  <a:gd name="T94" fmla="*/ 130 w 142"/>
                  <a:gd name="T95" fmla="*/ 52 h 124"/>
                  <a:gd name="T96" fmla="*/ 130 w 142"/>
                  <a:gd name="T97" fmla="*/ 56 h 124"/>
                  <a:gd name="T98" fmla="*/ 130 w 142"/>
                  <a:gd name="T99" fmla="*/ 68 h 124"/>
                  <a:gd name="T100" fmla="*/ 134 w 142"/>
                  <a:gd name="T101" fmla="*/ 74 h 124"/>
                  <a:gd name="T102" fmla="*/ 138 w 142"/>
                  <a:gd name="T103" fmla="*/ 86 h 124"/>
                  <a:gd name="T104" fmla="*/ 138 w 142"/>
                  <a:gd name="T105" fmla="*/ 90 h 124"/>
                  <a:gd name="T106" fmla="*/ 134 w 142"/>
                  <a:gd name="T107" fmla="*/ 94 h 124"/>
                  <a:gd name="T108" fmla="*/ 130 w 142"/>
                  <a:gd name="T109" fmla="*/ 102 h 124"/>
                  <a:gd name="T110" fmla="*/ 118 w 142"/>
                  <a:gd name="T111" fmla="*/ 11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42" h="124">
                    <a:moveTo>
                      <a:pt x="118" y="112"/>
                    </a:moveTo>
                    <a:lnTo>
                      <a:pt x="118" y="116"/>
                    </a:lnTo>
                    <a:lnTo>
                      <a:pt x="118" y="120"/>
                    </a:lnTo>
                    <a:lnTo>
                      <a:pt x="122" y="124"/>
                    </a:lnTo>
                    <a:lnTo>
                      <a:pt x="118" y="124"/>
                    </a:lnTo>
                    <a:lnTo>
                      <a:pt x="116" y="124"/>
                    </a:lnTo>
                    <a:lnTo>
                      <a:pt x="112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20"/>
                    </a:lnTo>
                    <a:lnTo>
                      <a:pt x="92" y="120"/>
                    </a:lnTo>
                    <a:lnTo>
                      <a:pt x="92" y="116"/>
                    </a:lnTo>
                    <a:lnTo>
                      <a:pt x="90" y="116"/>
                    </a:lnTo>
                    <a:lnTo>
                      <a:pt x="86" y="116"/>
                    </a:lnTo>
                    <a:lnTo>
                      <a:pt x="82" y="120"/>
                    </a:lnTo>
                    <a:lnTo>
                      <a:pt x="78" y="120"/>
                    </a:lnTo>
                    <a:lnTo>
                      <a:pt x="78" y="116"/>
                    </a:lnTo>
                    <a:lnTo>
                      <a:pt x="74" y="116"/>
                    </a:lnTo>
                    <a:lnTo>
                      <a:pt x="74" y="112"/>
                    </a:lnTo>
                    <a:lnTo>
                      <a:pt x="70" y="112"/>
                    </a:lnTo>
                    <a:lnTo>
                      <a:pt x="70" y="116"/>
                    </a:lnTo>
                    <a:lnTo>
                      <a:pt x="66" y="116"/>
                    </a:lnTo>
                    <a:lnTo>
                      <a:pt x="66" y="112"/>
                    </a:lnTo>
                    <a:lnTo>
                      <a:pt x="62" y="112"/>
                    </a:lnTo>
                    <a:lnTo>
                      <a:pt x="62" y="108"/>
                    </a:lnTo>
                    <a:lnTo>
                      <a:pt x="62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2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6" y="94"/>
                    </a:lnTo>
                    <a:lnTo>
                      <a:pt x="36" y="98"/>
                    </a:lnTo>
                    <a:lnTo>
                      <a:pt x="40" y="102"/>
                    </a:lnTo>
                    <a:lnTo>
                      <a:pt x="36" y="98"/>
                    </a:lnTo>
                    <a:lnTo>
                      <a:pt x="36" y="102"/>
                    </a:lnTo>
                    <a:lnTo>
                      <a:pt x="32" y="102"/>
                    </a:lnTo>
                    <a:lnTo>
                      <a:pt x="32" y="98"/>
                    </a:lnTo>
                    <a:lnTo>
                      <a:pt x="30" y="98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6"/>
                    </a:lnTo>
                    <a:lnTo>
                      <a:pt x="6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4"/>
                    </a:lnTo>
                    <a:lnTo>
                      <a:pt x="10" y="72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4" y="64"/>
                    </a:lnTo>
                    <a:lnTo>
                      <a:pt x="6" y="64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2" y="4"/>
                    </a:lnTo>
                    <a:lnTo>
                      <a:pt x="62" y="8"/>
                    </a:lnTo>
                    <a:lnTo>
                      <a:pt x="62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2" y="12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4" y="8"/>
                    </a:lnTo>
                    <a:lnTo>
                      <a:pt x="74" y="12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16"/>
                    </a:lnTo>
                    <a:lnTo>
                      <a:pt x="130" y="20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4" y="26"/>
                    </a:lnTo>
                    <a:lnTo>
                      <a:pt x="134" y="30"/>
                    </a:lnTo>
                    <a:lnTo>
                      <a:pt x="134" y="34"/>
                    </a:lnTo>
                    <a:lnTo>
                      <a:pt x="138" y="38"/>
                    </a:lnTo>
                    <a:lnTo>
                      <a:pt x="138" y="42"/>
                    </a:lnTo>
                    <a:lnTo>
                      <a:pt x="138" y="46"/>
                    </a:lnTo>
                    <a:lnTo>
                      <a:pt x="138" y="48"/>
                    </a:lnTo>
                    <a:lnTo>
                      <a:pt x="134" y="48"/>
                    </a:lnTo>
                    <a:lnTo>
                      <a:pt x="130" y="48"/>
                    </a:lnTo>
                    <a:lnTo>
                      <a:pt x="130" y="52"/>
                    </a:lnTo>
                    <a:lnTo>
                      <a:pt x="126" y="52"/>
                    </a:lnTo>
                    <a:lnTo>
                      <a:pt x="126" y="56"/>
                    </a:lnTo>
                    <a:lnTo>
                      <a:pt x="130" y="56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4" y="72"/>
                    </a:lnTo>
                    <a:lnTo>
                      <a:pt x="134" y="74"/>
                    </a:lnTo>
                    <a:lnTo>
                      <a:pt x="134" y="78"/>
                    </a:lnTo>
                    <a:lnTo>
                      <a:pt x="138" y="82"/>
                    </a:lnTo>
                    <a:lnTo>
                      <a:pt x="138" y="86"/>
                    </a:lnTo>
                    <a:lnTo>
                      <a:pt x="142" y="86"/>
                    </a:lnTo>
                    <a:lnTo>
                      <a:pt x="138" y="86"/>
                    </a:lnTo>
                    <a:lnTo>
                      <a:pt x="138" y="90"/>
                    </a:lnTo>
                    <a:lnTo>
                      <a:pt x="142" y="94"/>
                    </a:lnTo>
                    <a:lnTo>
                      <a:pt x="138" y="94"/>
                    </a:lnTo>
                    <a:lnTo>
                      <a:pt x="134" y="94"/>
                    </a:lnTo>
                    <a:lnTo>
                      <a:pt x="134" y="98"/>
                    </a:lnTo>
                    <a:lnTo>
                      <a:pt x="130" y="98"/>
                    </a:lnTo>
                    <a:lnTo>
                      <a:pt x="130" y="102"/>
                    </a:lnTo>
                    <a:lnTo>
                      <a:pt x="126" y="102"/>
                    </a:lnTo>
                    <a:lnTo>
                      <a:pt x="126" y="104"/>
                    </a:lnTo>
                    <a:lnTo>
                      <a:pt x="118" y="112"/>
                    </a:lnTo>
                    <a:lnTo>
                      <a:pt x="118" y="112"/>
                    </a:lnTo>
                    <a:lnTo>
                      <a:pt x="118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79" name="Freeform 118">
                <a:extLst>
                  <a:ext uri="{FF2B5EF4-FFF2-40B4-BE49-F238E27FC236}">
                    <a16:creationId xmlns:a16="http://schemas.microsoft.com/office/drawing/2014/main" id="{FB13DD27-D07E-4015-842B-1C5B3B1BF5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8225" y="3165543"/>
                <a:ext cx="212725" cy="149225"/>
              </a:xfrm>
              <a:custGeom>
                <a:avLst/>
                <a:gdLst>
                  <a:gd name="T0" fmla="*/ 56 w 134"/>
                  <a:gd name="T1" fmla="*/ 94 h 94"/>
                  <a:gd name="T2" fmla="*/ 46 w 134"/>
                  <a:gd name="T3" fmla="*/ 90 h 94"/>
                  <a:gd name="T4" fmla="*/ 42 w 134"/>
                  <a:gd name="T5" fmla="*/ 90 h 94"/>
                  <a:gd name="T6" fmla="*/ 38 w 134"/>
                  <a:gd name="T7" fmla="*/ 86 h 94"/>
                  <a:gd name="T8" fmla="*/ 38 w 134"/>
                  <a:gd name="T9" fmla="*/ 86 h 94"/>
                  <a:gd name="T10" fmla="*/ 34 w 134"/>
                  <a:gd name="T11" fmla="*/ 82 h 94"/>
                  <a:gd name="T12" fmla="*/ 34 w 134"/>
                  <a:gd name="T13" fmla="*/ 78 h 94"/>
                  <a:gd name="T14" fmla="*/ 34 w 134"/>
                  <a:gd name="T15" fmla="*/ 76 h 94"/>
                  <a:gd name="T16" fmla="*/ 26 w 134"/>
                  <a:gd name="T17" fmla="*/ 76 h 94"/>
                  <a:gd name="T18" fmla="*/ 24 w 134"/>
                  <a:gd name="T19" fmla="*/ 76 h 94"/>
                  <a:gd name="T20" fmla="*/ 20 w 134"/>
                  <a:gd name="T21" fmla="*/ 72 h 94"/>
                  <a:gd name="T22" fmla="*/ 20 w 134"/>
                  <a:gd name="T23" fmla="*/ 72 h 94"/>
                  <a:gd name="T24" fmla="*/ 16 w 134"/>
                  <a:gd name="T25" fmla="*/ 68 h 94"/>
                  <a:gd name="T26" fmla="*/ 16 w 134"/>
                  <a:gd name="T27" fmla="*/ 64 h 94"/>
                  <a:gd name="T28" fmla="*/ 8 w 134"/>
                  <a:gd name="T29" fmla="*/ 52 h 94"/>
                  <a:gd name="T30" fmla="*/ 4 w 134"/>
                  <a:gd name="T31" fmla="*/ 50 h 94"/>
                  <a:gd name="T32" fmla="*/ 4 w 134"/>
                  <a:gd name="T33" fmla="*/ 46 h 94"/>
                  <a:gd name="T34" fmla="*/ 8 w 134"/>
                  <a:gd name="T35" fmla="*/ 42 h 94"/>
                  <a:gd name="T36" fmla="*/ 12 w 134"/>
                  <a:gd name="T37" fmla="*/ 42 h 94"/>
                  <a:gd name="T38" fmla="*/ 16 w 134"/>
                  <a:gd name="T39" fmla="*/ 34 h 94"/>
                  <a:gd name="T40" fmla="*/ 20 w 134"/>
                  <a:gd name="T41" fmla="*/ 30 h 94"/>
                  <a:gd name="T42" fmla="*/ 24 w 134"/>
                  <a:gd name="T43" fmla="*/ 24 h 94"/>
                  <a:gd name="T44" fmla="*/ 26 w 134"/>
                  <a:gd name="T45" fmla="*/ 20 h 94"/>
                  <a:gd name="T46" fmla="*/ 26 w 134"/>
                  <a:gd name="T47" fmla="*/ 16 h 94"/>
                  <a:gd name="T48" fmla="*/ 34 w 134"/>
                  <a:gd name="T49" fmla="*/ 12 h 94"/>
                  <a:gd name="T50" fmla="*/ 42 w 134"/>
                  <a:gd name="T51" fmla="*/ 8 h 94"/>
                  <a:gd name="T52" fmla="*/ 42 w 134"/>
                  <a:gd name="T53" fmla="*/ 8 h 94"/>
                  <a:gd name="T54" fmla="*/ 52 w 134"/>
                  <a:gd name="T55" fmla="*/ 8 h 94"/>
                  <a:gd name="T56" fmla="*/ 60 w 134"/>
                  <a:gd name="T57" fmla="*/ 8 h 94"/>
                  <a:gd name="T58" fmla="*/ 64 w 134"/>
                  <a:gd name="T59" fmla="*/ 12 h 94"/>
                  <a:gd name="T60" fmla="*/ 68 w 134"/>
                  <a:gd name="T61" fmla="*/ 12 h 94"/>
                  <a:gd name="T62" fmla="*/ 72 w 134"/>
                  <a:gd name="T63" fmla="*/ 8 h 94"/>
                  <a:gd name="T64" fmla="*/ 80 w 134"/>
                  <a:gd name="T65" fmla="*/ 8 h 94"/>
                  <a:gd name="T66" fmla="*/ 86 w 134"/>
                  <a:gd name="T67" fmla="*/ 4 h 94"/>
                  <a:gd name="T68" fmla="*/ 94 w 134"/>
                  <a:gd name="T69" fmla="*/ 4 h 94"/>
                  <a:gd name="T70" fmla="*/ 102 w 134"/>
                  <a:gd name="T71" fmla="*/ 16 h 94"/>
                  <a:gd name="T72" fmla="*/ 106 w 134"/>
                  <a:gd name="T73" fmla="*/ 24 h 94"/>
                  <a:gd name="T74" fmla="*/ 112 w 134"/>
                  <a:gd name="T75" fmla="*/ 30 h 94"/>
                  <a:gd name="T76" fmla="*/ 112 w 134"/>
                  <a:gd name="T77" fmla="*/ 38 h 94"/>
                  <a:gd name="T78" fmla="*/ 112 w 134"/>
                  <a:gd name="T79" fmla="*/ 52 h 94"/>
                  <a:gd name="T80" fmla="*/ 112 w 134"/>
                  <a:gd name="T81" fmla="*/ 60 h 94"/>
                  <a:gd name="T82" fmla="*/ 120 w 134"/>
                  <a:gd name="T83" fmla="*/ 64 h 94"/>
                  <a:gd name="T84" fmla="*/ 130 w 134"/>
                  <a:gd name="T85" fmla="*/ 60 h 94"/>
                  <a:gd name="T86" fmla="*/ 130 w 134"/>
                  <a:gd name="T87" fmla="*/ 64 h 94"/>
                  <a:gd name="T88" fmla="*/ 126 w 134"/>
                  <a:gd name="T89" fmla="*/ 72 h 94"/>
                  <a:gd name="T90" fmla="*/ 122 w 134"/>
                  <a:gd name="T91" fmla="*/ 68 h 94"/>
                  <a:gd name="T92" fmla="*/ 122 w 134"/>
                  <a:gd name="T93" fmla="*/ 72 h 94"/>
                  <a:gd name="T94" fmla="*/ 122 w 134"/>
                  <a:gd name="T95" fmla="*/ 76 h 94"/>
                  <a:gd name="T96" fmla="*/ 122 w 134"/>
                  <a:gd name="T97" fmla="*/ 76 h 94"/>
                  <a:gd name="T98" fmla="*/ 122 w 134"/>
                  <a:gd name="T99" fmla="*/ 78 h 94"/>
                  <a:gd name="T100" fmla="*/ 120 w 134"/>
                  <a:gd name="T101" fmla="*/ 86 h 94"/>
                  <a:gd name="T102" fmla="*/ 116 w 134"/>
                  <a:gd name="T103" fmla="*/ 94 h 94"/>
                  <a:gd name="T104" fmla="*/ 108 w 134"/>
                  <a:gd name="T105" fmla="*/ 90 h 94"/>
                  <a:gd name="T106" fmla="*/ 106 w 134"/>
                  <a:gd name="T107" fmla="*/ 86 h 94"/>
                  <a:gd name="T108" fmla="*/ 98 w 134"/>
                  <a:gd name="T109" fmla="*/ 86 h 94"/>
                  <a:gd name="T110" fmla="*/ 94 w 134"/>
                  <a:gd name="T111" fmla="*/ 86 h 94"/>
                  <a:gd name="T112" fmla="*/ 86 w 134"/>
                  <a:gd name="T113" fmla="*/ 86 h 94"/>
                  <a:gd name="T114" fmla="*/ 80 w 134"/>
                  <a:gd name="T115" fmla="*/ 94 h 94"/>
                  <a:gd name="T116" fmla="*/ 72 w 134"/>
                  <a:gd name="T117" fmla="*/ 94 h 94"/>
                  <a:gd name="T118" fmla="*/ 60 w 134"/>
                  <a:gd name="T119" fmla="*/ 94 h 94"/>
                  <a:gd name="T120" fmla="*/ 56 w 134"/>
                  <a:gd name="T121" fmla="*/ 94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34" h="94">
                    <a:moveTo>
                      <a:pt x="56" y="94"/>
                    </a:move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0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8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4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30" y="76"/>
                    </a:lnTo>
                    <a:lnTo>
                      <a:pt x="26" y="76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0" y="64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0" y="50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0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4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12"/>
                    </a:lnTo>
                    <a:lnTo>
                      <a:pt x="98" y="12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16"/>
                    </a:lnTo>
                    <a:lnTo>
                      <a:pt x="102" y="20"/>
                    </a:lnTo>
                    <a:lnTo>
                      <a:pt x="106" y="20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0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4"/>
                    </a:lnTo>
                    <a:lnTo>
                      <a:pt x="112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46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0"/>
                    </a:lnTo>
                    <a:lnTo>
                      <a:pt x="112" y="52"/>
                    </a:lnTo>
                    <a:lnTo>
                      <a:pt x="112" y="52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0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0" y="60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4"/>
                    </a:lnTo>
                    <a:lnTo>
                      <a:pt x="134" y="64"/>
                    </a:lnTo>
                    <a:lnTo>
                      <a:pt x="130" y="64"/>
                    </a:lnTo>
                    <a:lnTo>
                      <a:pt x="130" y="64"/>
                    </a:lnTo>
                    <a:lnTo>
                      <a:pt x="134" y="64"/>
                    </a:lnTo>
                    <a:lnTo>
                      <a:pt x="130" y="68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30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2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2" y="76"/>
                    </a:lnTo>
                    <a:lnTo>
                      <a:pt x="122" y="76"/>
                    </a:lnTo>
                    <a:lnTo>
                      <a:pt x="122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16" y="90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6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4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8" y="90"/>
                    </a:lnTo>
                    <a:lnTo>
                      <a:pt x="106" y="90"/>
                    </a:lnTo>
                    <a:lnTo>
                      <a:pt x="106" y="90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6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102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8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4" y="86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2" y="90"/>
                    </a:lnTo>
                    <a:lnTo>
                      <a:pt x="80" y="90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80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6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72" y="94"/>
                    </a:lnTo>
                    <a:lnTo>
                      <a:pt x="68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4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0" name="Freeform 119">
                <a:extLst>
                  <a:ext uri="{FF2B5EF4-FFF2-40B4-BE49-F238E27FC236}">
                    <a16:creationId xmlns:a16="http://schemas.microsoft.com/office/drawing/2014/main" id="{3A4B23C5-C725-408A-BF80-FD4C2D9B3E7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06950" y="3235393"/>
                <a:ext cx="101600" cy="136525"/>
              </a:xfrm>
              <a:custGeom>
                <a:avLst/>
                <a:gdLst>
                  <a:gd name="T0" fmla="*/ 0 w 64"/>
                  <a:gd name="T1" fmla="*/ 68 h 86"/>
                  <a:gd name="T2" fmla="*/ 0 w 64"/>
                  <a:gd name="T3" fmla="*/ 64 h 86"/>
                  <a:gd name="T4" fmla="*/ 4 w 64"/>
                  <a:gd name="T5" fmla="*/ 60 h 86"/>
                  <a:gd name="T6" fmla="*/ 8 w 64"/>
                  <a:gd name="T7" fmla="*/ 58 h 86"/>
                  <a:gd name="T8" fmla="*/ 8 w 64"/>
                  <a:gd name="T9" fmla="*/ 54 h 86"/>
                  <a:gd name="T10" fmla="*/ 12 w 64"/>
                  <a:gd name="T11" fmla="*/ 54 h 86"/>
                  <a:gd name="T12" fmla="*/ 16 w 64"/>
                  <a:gd name="T13" fmla="*/ 50 h 86"/>
                  <a:gd name="T14" fmla="*/ 12 w 64"/>
                  <a:gd name="T15" fmla="*/ 46 h 86"/>
                  <a:gd name="T16" fmla="*/ 16 w 64"/>
                  <a:gd name="T17" fmla="*/ 46 h 86"/>
                  <a:gd name="T18" fmla="*/ 12 w 64"/>
                  <a:gd name="T19" fmla="*/ 38 h 86"/>
                  <a:gd name="T20" fmla="*/ 12 w 64"/>
                  <a:gd name="T21" fmla="*/ 30 h 86"/>
                  <a:gd name="T22" fmla="*/ 12 w 64"/>
                  <a:gd name="T23" fmla="*/ 28 h 86"/>
                  <a:gd name="T24" fmla="*/ 8 w 64"/>
                  <a:gd name="T25" fmla="*/ 24 h 86"/>
                  <a:gd name="T26" fmla="*/ 12 w 64"/>
                  <a:gd name="T27" fmla="*/ 20 h 86"/>
                  <a:gd name="T28" fmla="*/ 12 w 64"/>
                  <a:gd name="T29" fmla="*/ 20 h 86"/>
                  <a:gd name="T30" fmla="*/ 12 w 64"/>
                  <a:gd name="T31" fmla="*/ 16 h 86"/>
                  <a:gd name="T32" fmla="*/ 8 w 64"/>
                  <a:gd name="T33" fmla="*/ 12 h 86"/>
                  <a:gd name="T34" fmla="*/ 8 w 64"/>
                  <a:gd name="T35" fmla="*/ 12 h 86"/>
                  <a:gd name="T36" fmla="*/ 4 w 64"/>
                  <a:gd name="T37" fmla="*/ 4 h 86"/>
                  <a:gd name="T38" fmla="*/ 12 w 64"/>
                  <a:gd name="T39" fmla="*/ 4 h 86"/>
                  <a:gd name="T40" fmla="*/ 16 w 64"/>
                  <a:gd name="T41" fmla="*/ 0 h 86"/>
                  <a:gd name="T42" fmla="*/ 24 w 64"/>
                  <a:gd name="T43" fmla="*/ 0 h 86"/>
                  <a:gd name="T44" fmla="*/ 26 w 64"/>
                  <a:gd name="T45" fmla="*/ 4 h 86"/>
                  <a:gd name="T46" fmla="*/ 34 w 64"/>
                  <a:gd name="T47" fmla="*/ 8 h 86"/>
                  <a:gd name="T48" fmla="*/ 34 w 64"/>
                  <a:gd name="T49" fmla="*/ 12 h 86"/>
                  <a:gd name="T50" fmla="*/ 42 w 64"/>
                  <a:gd name="T51" fmla="*/ 20 h 86"/>
                  <a:gd name="T52" fmla="*/ 42 w 64"/>
                  <a:gd name="T53" fmla="*/ 24 h 86"/>
                  <a:gd name="T54" fmla="*/ 46 w 64"/>
                  <a:gd name="T55" fmla="*/ 28 h 86"/>
                  <a:gd name="T56" fmla="*/ 42 w 64"/>
                  <a:gd name="T57" fmla="*/ 28 h 86"/>
                  <a:gd name="T58" fmla="*/ 46 w 64"/>
                  <a:gd name="T59" fmla="*/ 28 h 86"/>
                  <a:gd name="T60" fmla="*/ 50 w 64"/>
                  <a:gd name="T61" fmla="*/ 30 h 86"/>
                  <a:gd name="T62" fmla="*/ 52 w 64"/>
                  <a:gd name="T63" fmla="*/ 34 h 86"/>
                  <a:gd name="T64" fmla="*/ 56 w 64"/>
                  <a:gd name="T65" fmla="*/ 30 h 86"/>
                  <a:gd name="T66" fmla="*/ 60 w 64"/>
                  <a:gd name="T67" fmla="*/ 30 h 86"/>
                  <a:gd name="T68" fmla="*/ 60 w 64"/>
                  <a:gd name="T69" fmla="*/ 34 h 86"/>
                  <a:gd name="T70" fmla="*/ 56 w 64"/>
                  <a:gd name="T71" fmla="*/ 34 h 86"/>
                  <a:gd name="T72" fmla="*/ 60 w 64"/>
                  <a:gd name="T73" fmla="*/ 38 h 86"/>
                  <a:gd name="T74" fmla="*/ 60 w 64"/>
                  <a:gd name="T75" fmla="*/ 42 h 86"/>
                  <a:gd name="T76" fmla="*/ 60 w 64"/>
                  <a:gd name="T77" fmla="*/ 54 h 86"/>
                  <a:gd name="T78" fmla="*/ 64 w 64"/>
                  <a:gd name="T79" fmla="*/ 58 h 86"/>
                  <a:gd name="T80" fmla="*/ 60 w 64"/>
                  <a:gd name="T81" fmla="*/ 64 h 86"/>
                  <a:gd name="T82" fmla="*/ 56 w 64"/>
                  <a:gd name="T83" fmla="*/ 72 h 86"/>
                  <a:gd name="T84" fmla="*/ 56 w 64"/>
                  <a:gd name="T85" fmla="*/ 76 h 86"/>
                  <a:gd name="T86" fmla="*/ 52 w 64"/>
                  <a:gd name="T87" fmla="*/ 76 h 86"/>
                  <a:gd name="T88" fmla="*/ 46 w 64"/>
                  <a:gd name="T89" fmla="*/ 78 h 86"/>
                  <a:gd name="T90" fmla="*/ 42 w 64"/>
                  <a:gd name="T91" fmla="*/ 78 h 86"/>
                  <a:gd name="T92" fmla="*/ 34 w 64"/>
                  <a:gd name="T93" fmla="*/ 82 h 86"/>
                  <a:gd name="T94" fmla="*/ 30 w 64"/>
                  <a:gd name="T95" fmla="*/ 86 h 86"/>
                  <a:gd name="T96" fmla="*/ 30 w 64"/>
                  <a:gd name="T97" fmla="*/ 78 h 86"/>
                  <a:gd name="T98" fmla="*/ 26 w 64"/>
                  <a:gd name="T99" fmla="*/ 76 h 86"/>
                  <a:gd name="T100" fmla="*/ 20 w 64"/>
                  <a:gd name="T101" fmla="*/ 76 h 86"/>
                  <a:gd name="T102" fmla="*/ 20 w 64"/>
                  <a:gd name="T103" fmla="*/ 72 h 86"/>
                  <a:gd name="T104" fmla="*/ 12 w 64"/>
                  <a:gd name="T105" fmla="*/ 78 h 86"/>
                  <a:gd name="T106" fmla="*/ 12 w 64"/>
                  <a:gd name="T107" fmla="*/ 82 h 86"/>
                  <a:gd name="T108" fmla="*/ 12 w 64"/>
                  <a:gd name="T109" fmla="*/ 82 h 86"/>
                  <a:gd name="T110" fmla="*/ 8 w 64"/>
                  <a:gd name="T111" fmla="*/ 78 h 86"/>
                  <a:gd name="T112" fmla="*/ 4 w 64"/>
                  <a:gd name="T113" fmla="*/ 76 h 86"/>
                  <a:gd name="T114" fmla="*/ 4 w 64"/>
                  <a:gd name="T115" fmla="*/ 76 h 86"/>
                  <a:gd name="T116" fmla="*/ 0 w 64"/>
                  <a:gd name="T117" fmla="*/ 72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64" h="86"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4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2" y="46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2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46" y="24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2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28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0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56" y="34"/>
                    </a:lnTo>
                    <a:lnTo>
                      <a:pt x="56" y="34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38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60" y="42"/>
                    </a:lnTo>
                    <a:lnTo>
                      <a:pt x="56" y="42"/>
                    </a:lnTo>
                    <a:lnTo>
                      <a:pt x="56" y="46"/>
                    </a:lnTo>
                    <a:lnTo>
                      <a:pt x="56" y="50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4" y="58"/>
                    </a:lnTo>
                    <a:lnTo>
                      <a:pt x="64" y="58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0" y="76"/>
                    </a:lnTo>
                    <a:lnTo>
                      <a:pt x="50" y="76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38" y="78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6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4" y="72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6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1" name="Freeform 120">
                <a:extLst>
                  <a:ext uri="{FF2B5EF4-FFF2-40B4-BE49-F238E27FC236}">
                    <a16:creationId xmlns:a16="http://schemas.microsoft.com/office/drawing/2014/main" id="{9C875024-1883-47C2-8E7E-613005BAF89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72025" y="3124268"/>
                <a:ext cx="130175" cy="60325"/>
              </a:xfrm>
              <a:custGeom>
                <a:avLst/>
                <a:gdLst>
                  <a:gd name="T0" fmla="*/ 30 w 82"/>
                  <a:gd name="T1" fmla="*/ 30 h 38"/>
                  <a:gd name="T2" fmla="*/ 26 w 82"/>
                  <a:gd name="T3" fmla="*/ 34 h 38"/>
                  <a:gd name="T4" fmla="*/ 30 w 82"/>
                  <a:gd name="T5" fmla="*/ 38 h 38"/>
                  <a:gd name="T6" fmla="*/ 26 w 82"/>
                  <a:gd name="T7" fmla="*/ 38 h 38"/>
                  <a:gd name="T8" fmla="*/ 22 w 82"/>
                  <a:gd name="T9" fmla="*/ 38 h 38"/>
                  <a:gd name="T10" fmla="*/ 22 w 82"/>
                  <a:gd name="T11" fmla="*/ 38 h 38"/>
                  <a:gd name="T12" fmla="*/ 20 w 82"/>
                  <a:gd name="T13" fmla="*/ 38 h 38"/>
                  <a:gd name="T14" fmla="*/ 16 w 82"/>
                  <a:gd name="T15" fmla="*/ 38 h 38"/>
                  <a:gd name="T16" fmla="*/ 8 w 82"/>
                  <a:gd name="T17" fmla="*/ 34 h 38"/>
                  <a:gd name="T18" fmla="*/ 8 w 82"/>
                  <a:gd name="T19" fmla="*/ 34 h 38"/>
                  <a:gd name="T20" fmla="*/ 4 w 82"/>
                  <a:gd name="T21" fmla="*/ 34 h 38"/>
                  <a:gd name="T22" fmla="*/ 4 w 82"/>
                  <a:gd name="T23" fmla="*/ 30 h 38"/>
                  <a:gd name="T24" fmla="*/ 0 w 82"/>
                  <a:gd name="T25" fmla="*/ 26 h 38"/>
                  <a:gd name="T26" fmla="*/ 0 w 82"/>
                  <a:gd name="T27" fmla="*/ 22 h 38"/>
                  <a:gd name="T28" fmla="*/ 0 w 82"/>
                  <a:gd name="T29" fmla="*/ 18 h 38"/>
                  <a:gd name="T30" fmla="*/ 4 w 82"/>
                  <a:gd name="T31" fmla="*/ 14 h 38"/>
                  <a:gd name="T32" fmla="*/ 8 w 82"/>
                  <a:gd name="T33" fmla="*/ 14 h 38"/>
                  <a:gd name="T34" fmla="*/ 12 w 82"/>
                  <a:gd name="T35" fmla="*/ 14 h 38"/>
                  <a:gd name="T36" fmla="*/ 16 w 82"/>
                  <a:gd name="T37" fmla="*/ 12 h 38"/>
                  <a:gd name="T38" fmla="*/ 20 w 82"/>
                  <a:gd name="T39" fmla="*/ 8 h 38"/>
                  <a:gd name="T40" fmla="*/ 20 w 82"/>
                  <a:gd name="T41" fmla="*/ 8 h 38"/>
                  <a:gd name="T42" fmla="*/ 22 w 82"/>
                  <a:gd name="T43" fmla="*/ 4 h 38"/>
                  <a:gd name="T44" fmla="*/ 30 w 82"/>
                  <a:gd name="T45" fmla="*/ 0 h 38"/>
                  <a:gd name="T46" fmla="*/ 30 w 82"/>
                  <a:gd name="T47" fmla="*/ 4 h 38"/>
                  <a:gd name="T48" fmla="*/ 34 w 82"/>
                  <a:gd name="T49" fmla="*/ 0 h 38"/>
                  <a:gd name="T50" fmla="*/ 38 w 82"/>
                  <a:gd name="T51" fmla="*/ 0 h 38"/>
                  <a:gd name="T52" fmla="*/ 42 w 82"/>
                  <a:gd name="T53" fmla="*/ 4 h 38"/>
                  <a:gd name="T54" fmla="*/ 42 w 82"/>
                  <a:gd name="T55" fmla="*/ 8 h 38"/>
                  <a:gd name="T56" fmla="*/ 42 w 82"/>
                  <a:gd name="T57" fmla="*/ 8 h 38"/>
                  <a:gd name="T58" fmla="*/ 46 w 82"/>
                  <a:gd name="T59" fmla="*/ 8 h 38"/>
                  <a:gd name="T60" fmla="*/ 46 w 82"/>
                  <a:gd name="T61" fmla="*/ 8 h 38"/>
                  <a:gd name="T62" fmla="*/ 48 w 82"/>
                  <a:gd name="T63" fmla="*/ 4 h 38"/>
                  <a:gd name="T64" fmla="*/ 56 w 82"/>
                  <a:gd name="T65" fmla="*/ 4 h 38"/>
                  <a:gd name="T66" fmla="*/ 60 w 82"/>
                  <a:gd name="T67" fmla="*/ 8 h 38"/>
                  <a:gd name="T68" fmla="*/ 64 w 82"/>
                  <a:gd name="T69" fmla="*/ 4 h 38"/>
                  <a:gd name="T70" fmla="*/ 68 w 82"/>
                  <a:gd name="T71" fmla="*/ 4 h 38"/>
                  <a:gd name="T72" fmla="*/ 72 w 82"/>
                  <a:gd name="T73" fmla="*/ 4 h 38"/>
                  <a:gd name="T74" fmla="*/ 74 w 82"/>
                  <a:gd name="T75" fmla="*/ 8 h 38"/>
                  <a:gd name="T76" fmla="*/ 82 w 82"/>
                  <a:gd name="T77" fmla="*/ 12 h 38"/>
                  <a:gd name="T78" fmla="*/ 78 w 82"/>
                  <a:gd name="T79" fmla="*/ 14 h 38"/>
                  <a:gd name="T80" fmla="*/ 74 w 82"/>
                  <a:gd name="T81" fmla="*/ 22 h 38"/>
                  <a:gd name="T82" fmla="*/ 74 w 82"/>
                  <a:gd name="T83" fmla="*/ 26 h 38"/>
                  <a:gd name="T84" fmla="*/ 72 w 82"/>
                  <a:gd name="T85" fmla="*/ 26 h 38"/>
                  <a:gd name="T86" fmla="*/ 68 w 82"/>
                  <a:gd name="T87" fmla="*/ 26 h 38"/>
                  <a:gd name="T88" fmla="*/ 64 w 82"/>
                  <a:gd name="T89" fmla="*/ 22 h 38"/>
                  <a:gd name="T90" fmla="*/ 60 w 82"/>
                  <a:gd name="T91" fmla="*/ 22 h 38"/>
                  <a:gd name="T92" fmla="*/ 56 w 82"/>
                  <a:gd name="T93" fmla="*/ 22 h 38"/>
                  <a:gd name="T94" fmla="*/ 52 w 82"/>
                  <a:gd name="T95" fmla="*/ 22 h 38"/>
                  <a:gd name="T96" fmla="*/ 48 w 82"/>
                  <a:gd name="T97" fmla="*/ 26 h 38"/>
                  <a:gd name="T98" fmla="*/ 48 w 82"/>
                  <a:gd name="T99" fmla="*/ 26 h 38"/>
                  <a:gd name="T100" fmla="*/ 46 w 82"/>
                  <a:gd name="T101" fmla="*/ 30 h 38"/>
                  <a:gd name="T102" fmla="*/ 46 w 82"/>
                  <a:gd name="T103" fmla="*/ 30 h 38"/>
                  <a:gd name="T104" fmla="*/ 42 w 82"/>
                  <a:gd name="T105" fmla="*/ 30 h 38"/>
                  <a:gd name="T106" fmla="*/ 38 w 82"/>
                  <a:gd name="T107" fmla="*/ 30 h 38"/>
                  <a:gd name="T108" fmla="*/ 30 w 82"/>
                  <a:gd name="T109" fmla="*/ 3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82" h="38">
                    <a:moveTo>
                      <a:pt x="30" y="30"/>
                    </a:move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2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2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6" y="14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4" y="8"/>
                    </a:lnTo>
                    <a:lnTo>
                      <a:pt x="78" y="12"/>
                    </a:lnTo>
                    <a:lnTo>
                      <a:pt x="78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78" y="18"/>
                    </a:lnTo>
                    <a:lnTo>
                      <a:pt x="74" y="18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4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72" y="26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6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2" name="Freeform 121">
                <a:extLst>
                  <a:ext uri="{FF2B5EF4-FFF2-40B4-BE49-F238E27FC236}">
                    <a16:creationId xmlns:a16="http://schemas.microsoft.com/office/drawing/2014/main" id="{7F09617E-0A47-47F1-8F79-D276D97016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213168"/>
                <a:ext cx="69850" cy="47625"/>
              </a:xfrm>
              <a:custGeom>
                <a:avLst/>
                <a:gdLst>
                  <a:gd name="T0" fmla="*/ 26 w 44"/>
                  <a:gd name="T1" fmla="*/ 26 h 30"/>
                  <a:gd name="T2" fmla="*/ 26 w 44"/>
                  <a:gd name="T3" fmla="*/ 30 h 30"/>
                  <a:gd name="T4" fmla="*/ 22 w 44"/>
                  <a:gd name="T5" fmla="*/ 26 h 30"/>
                  <a:gd name="T6" fmla="*/ 18 w 44"/>
                  <a:gd name="T7" fmla="*/ 26 h 30"/>
                  <a:gd name="T8" fmla="*/ 14 w 44"/>
                  <a:gd name="T9" fmla="*/ 22 h 30"/>
                  <a:gd name="T10" fmla="*/ 14 w 44"/>
                  <a:gd name="T11" fmla="*/ 26 h 30"/>
                  <a:gd name="T12" fmla="*/ 12 w 44"/>
                  <a:gd name="T13" fmla="*/ 30 h 30"/>
                  <a:gd name="T14" fmla="*/ 8 w 44"/>
                  <a:gd name="T15" fmla="*/ 30 h 30"/>
                  <a:gd name="T16" fmla="*/ 4 w 44"/>
                  <a:gd name="T17" fmla="*/ 30 h 30"/>
                  <a:gd name="T18" fmla="*/ 4 w 44"/>
                  <a:gd name="T19" fmla="*/ 26 h 30"/>
                  <a:gd name="T20" fmla="*/ 4 w 44"/>
                  <a:gd name="T21" fmla="*/ 26 h 30"/>
                  <a:gd name="T22" fmla="*/ 8 w 44"/>
                  <a:gd name="T23" fmla="*/ 26 h 30"/>
                  <a:gd name="T24" fmla="*/ 4 w 44"/>
                  <a:gd name="T25" fmla="*/ 22 h 30"/>
                  <a:gd name="T26" fmla="*/ 4 w 44"/>
                  <a:gd name="T27" fmla="*/ 20 h 30"/>
                  <a:gd name="T28" fmla="*/ 4 w 44"/>
                  <a:gd name="T29" fmla="*/ 20 h 30"/>
                  <a:gd name="T30" fmla="*/ 0 w 44"/>
                  <a:gd name="T31" fmla="*/ 20 h 30"/>
                  <a:gd name="T32" fmla="*/ 0 w 44"/>
                  <a:gd name="T33" fmla="*/ 20 h 30"/>
                  <a:gd name="T34" fmla="*/ 0 w 44"/>
                  <a:gd name="T35" fmla="*/ 16 h 30"/>
                  <a:gd name="T36" fmla="*/ 4 w 44"/>
                  <a:gd name="T37" fmla="*/ 16 h 30"/>
                  <a:gd name="T38" fmla="*/ 0 w 44"/>
                  <a:gd name="T39" fmla="*/ 12 h 30"/>
                  <a:gd name="T40" fmla="*/ 0 w 44"/>
                  <a:gd name="T41" fmla="*/ 12 h 30"/>
                  <a:gd name="T42" fmla="*/ 4 w 44"/>
                  <a:gd name="T43" fmla="*/ 8 h 30"/>
                  <a:gd name="T44" fmla="*/ 4 w 44"/>
                  <a:gd name="T45" fmla="*/ 8 h 30"/>
                  <a:gd name="T46" fmla="*/ 8 w 44"/>
                  <a:gd name="T47" fmla="*/ 8 h 30"/>
                  <a:gd name="T48" fmla="*/ 12 w 44"/>
                  <a:gd name="T49" fmla="*/ 8 h 30"/>
                  <a:gd name="T50" fmla="*/ 14 w 44"/>
                  <a:gd name="T51" fmla="*/ 8 h 30"/>
                  <a:gd name="T52" fmla="*/ 18 w 44"/>
                  <a:gd name="T53" fmla="*/ 8 h 30"/>
                  <a:gd name="T54" fmla="*/ 22 w 44"/>
                  <a:gd name="T55" fmla="*/ 4 h 30"/>
                  <a:gd name="T56" fmla="*/ 26 w 44"/>
                  <a:gd name="T57" fmla="*/ 4 h 30"/>
                  <a:gd name="T58" fmla="*/ 34 w 44"/>
                  <a:gd name="T59" fmla="*/ 4 h 30"/>
                  <a:gd name="T60" fmla="*/ 38 w 44"/>
                  <a:gd name="T61" fmla="*/ 0 h 30"/>
                  <a:gd name="T62" fmla="*/ 38 w 44"/>
                  <a:gd name="T63" fmla="*/ 0 h 30"/>
                  <a:gd name="T64" fmla="*/ 42 w 44"/>
                  <a:gd name="T65" fmla="*/ 0 h 30"/>
                  <a:gd name="T66" fmla="*/ 42 w 44"/>
                  <a:gd name="T67" fmla="*/ 0 h 30"/>
                  <a:gd name="T68" fmla="*/ 42 w 44"/>
                  <a:gd name="T69" fmla="*/ 4 h 30"/>
                  <a:gd name="T70" fmla="*/ 42 w 44"/>
                  <a:gd name="T71" fmla="*/ 4 h 30"/>
                  <a:gd name="T72" fmla="*/ 44 w 44"/>
                  <a:gd name="T73" fmla="*/ 8 h 30"/>
                  <a:gd name="T74" fmla="*/ 44 w 44"/>
                  <a:gd name="T75" fmla="*/ 8 h 30"/>
                  <a:gd name="T76" fmla="*/ 42 w 44"/>
                  <a:gd name="T77" fmla="*/ 8 h 30"/>
                  <a:gd name="T78" fmla="*/ 42 w 44"/>
                  <a:gd name="T79" fmla="*/ 8 h 30"/>
                  <a:gd name="T80" fmla="*/ 38 w 44"/>
                  <a:gd name="T81" fmla="*/ 12 h 30"/>
                  <a:gd name="T82" fmla="*/ 38 w 44"/>
                  <a:gd name="T83" fmla="*/ 12 h 30"/>
                  <a:gd name="T84" fmla="*/ 30 w 44"/>
                  <a:gd name="T85" fmla="*/ 12 h 30"/>
                  <a:gd name="T86" fmla="*/ 30 w 44"/>
                  <a:gd name="T87" fmla="*/ 16 h 30"/>
                  <a:gd name="T88" fmla="*/ 34 w 44"/>
                  <a:gd name="T89" fmla="*/ 16 h 30"/>
                  <a:gd name="T90" fmla="*/ 30 w 44"/>
                  <a:gd name="T91" fmla="*/ 22 h 30"/>
                  <a:gd name="T92" fmla="*/ 30 w 44"/>
                  <a:gd name="T93" fmla="*/ 22 h 30"/>
                  <a:gd name="T94" fmla="*/ 26 w 44"/>
                  <a:gd name="T95" fmla="*/ 22 h 30"/>
                  <a:gd name="T96" fmla="*/ 26 w 44"/>
                  <a:gd name="T97" fmla="*/ 26 h 30"/>
                  <a:gd name="T98" fmla="*/ 26 w 44"/>
                  <a:gd name="T99" fmla="*/ 26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44" h="30">
                    <a:moveTo>
                      <a:pt x="26" y="26"/>
                    </a:move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0" y="12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3" name="Freeform 122">
                <a:extLst>
                  <a:ext uri="{FF2B5EF4-FFF2-40B4-BE49-F238E27FC236}">
                    <a16:creationId xmlns:a16="http://schemas.microsoft.com/office/drawing/2014/main" id="{3296DFA6-B213-4F1A-9391-B7821EAD51A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29150" y="1917768"/>
                <a:ext cx="520700" cy="282575"/>
              </a:xfrm>
              <a:custGeom>
                <a:avLst/>
                <a:gdLst>
                  <a:gd name="T0" fmla="*/ 154 w 328"/>
                  <a:gd name="T1" fmla="*/ 4 h 178"/>
                  <a:gd name="T2" fmla="*/ 198 w 328"/>
                  <a:gd name="T3" fmla="*/ 10 h 178"/>
                  <a:gd name="T4" fmla="*/ 112 w 328"/>
                  <a:gd name="T5" fmla="*/ 14 h 178"/>
                  <a:gd name="T6" fmla="*/ 328 w 328"/>
                  <a:gd name="T7" fmla="*/ 14 h 178"/>
                  <a:gd name="T8" fmla="*/ 250 w 328"/>
                  <a:gd name="T9" fmla="*/ 18 h 178"/>
                  <a:gd name="T10" fmla="*/ 8 w 328"/>
                  <a:gd name="T11" fmla="*/ 30 h 178"/>
                  <a:gd name="T12" fmla="*/ 136 w 328"/>
                  <a:gd name="T13" fmla="*/ 40 h 178"/>
                  <a:gd name="T14" fmla="*/ 142 w 328"/>
                  <a:gd name="T15" fmla="*/ 52 h 178"/>
                  <a:gd name="T16" fmla="*/ 268 w 328"/>
                  <a:gd name="T17" fmla="*/ 56 h 178"/>
                  <a:gd name="T18" fmla="*/ 228 w 328"/>
                  <a:gd name="T19" fmla="*/ 64 h 178"/>
                  <a:gd name="T20" fmla="*/ 228 w 328"/>
                  <a:gd name="T21" fmla="*/ 64 h 178"/>
                  <a:gd name="T22" fmla="*/ 120 w 328"/>
                  <a:gd name="T23" fmla="*/ 174 h 178"/>
                  <a:gd name="T24" fmla="*/ 222 w 328"/>
                  <a:gd name="T25" fmla="*/ 34 h 178"/>
                  <a:gd name="T26" fmla="*/ 196 w 328"/>
                  <a:gd name="T27" fmla="*/ 44 h 178"/>
                  <a:gd name="T28" fmla="*/ 162 w 328"/>
                  <a:gd name="T29" fmla="*/ 40 h 178"/>
                  <a:gd name="T30" fmla="*/ 138 w 328"/>
                  <a:gd name="T31" fmla="*/ 34 h 178"/>
                  <a:gd name="T32" fmla="*/ 166 w 328"/>
                  <a:gd name="T33" fmla="*/ 30 h 178"/>
                  <a:gd name="T34" fmla="*/ 128 w 328"/>
                  <a:gd name="T35" fmla="*/ 30 h 178"/>
                  <a:gd name="T36" fmla="*/ 108 w 328"/>
                  <a:gd name="T37" fmla="*/ 18 h 178"/>
                  <a:gd name="T38" fmla="*/ 124 w 328"/>
                  <a:gd name="T39" fmla="*/ 10 h 178"/>
                  <a:gd name="T40" fmla="*/ 142 w 328"/>
                  <a:gd name="T41" fmla="*/ 10 h 178"/>
                  <a:gd name="T42" fmla="*/ 168 w 328"/>
                  <a:gd name="T43" fmla="*/ 22 h 178"/>
                  <a:gd name="T44" fmla="*/ 184 w 328"/>
                  <a:gd name="T45" fmla="*/ 10 h 178"/>
                  <a:gd name="T46" fmla="*/ 196 w 328"/>
                  <a:gd name="T47" fmla="*/ 14 h 178"/>
                  <a:gd name="T48" fmla="*/ 218 w 328"/>
                  <a:gd name="T49" fmla="*/ 18 h 178"/>
                  <a:gd name="T50" fmla="*/ 50 w 328"/>
                  <a:gd name="T51" fmla="*/ 96 h 178"/>
                  <a:gd name="T52" fmla="*/ 82 w 328"/>
                  <a:gd name="T53" fmla="*/ 92 h 178"/>
                  <a:gd name="T54" fmla="*/ 82 w 328"/>
                  <a:gd name="T55" fmla="*/ 86 h 178"/>
                  <a:gd name="T56" fmla="*/ 68 w 328"/>
                  <a:gd name="T57" fmla="*/ 82 h 178"/>
                  <a:gd name="T58" fmla="*/ 52 w 328"/>
                  <a:gd name="T59" fmla="*/ 78 h 178"/>
                  <a:gd name="T60" fmla="*/ 76 w 328"/>
                  <a:gd name="T61" fmla="*/ 70 h 178"/>
                  <a:gd name="T62" fmla="*/ 82 w 328"/>
                  <a:gd name="T63" fmla="*/ 66 h 178"/>
                  <a:gd name="T64" fmla="*/ 68 w 328"/>
                  <a:gd name="T65" fmla="*/ 66 h 178"/>
                  <a:gd name="T66" fmla="*/ 56 w 328"/>
                  <a:gd name="T67" fmla="*/ 66 h 178"/>
                  <a:gd name="T68" fmla="*/ 38 w 328"/>
                  <a:gd name="T69" fmla="*/ 74 h 178"/>
                  <a:gd name="T70" fmla="*/ 26 w 328"/>
                  <a:gd name="T71" fmla="*/ 64 h 178"/>
                  <a:gd name="T72" fmla="*/ 26 w 328"/>
                  <a:gd name="T73" fmla="*/ 52 h 178"/>
                  <a:gd name="T74" fmla="*/ 12 w 328"/>
                  <a:gd name="T75" fmla="*/ 48 h 178"/>
                  <a:gd name="T76" fmla="*/ 12 w 328"/>
                  <a:gd name="T77" fmla="*/ 30 h 178"/>
                  <a:gd name="T78" fmla="*/ 22 w 328"/>
                  <a:gd name="T79" fmla="*/ 26 h 178"/>
                  <a:gd name="T80" fmla="*/ 38 w 328"/>
                  <a:gd name="T81" fmla="*/ 30 h 178"/>
                  <a:gd name="T82" fmla="*/ 42 w 328"/>
                  <a:gd name="T83" fmla="*/ 36 h 178"/>
                  <a:gd name="T84" fmla="*/ 64 w 328"/>
                  <a:gd name="T85" fmla="*/ 34 h 178"/>
                  <a:gd name="T86" fmla="*/ 82 w 328"/>
                  <a:gd name="T87" fmla="*/ 52 h 178"/>
                  <a:gd name="T88" fmla="*/ 80 w 328"/>
                  <a:gd name="T89" fmla="*/ 26 h 178"/>
                  <a:gd name="T90" fmla="*/ 108 w 328"/>
                  <a:gd name="T91" fmla="*/ 30 h 178"/>
                  <a:gd name="T92" fmla="*/ 120 w 328"/>
                  <a:gd name="T93" fmla="*/ 40 h 178"/>
                  <a:gd name="T94" fmla="*/ 154 w 328"/>
                  <a:gd name="T95" fmla="*/ 56 h 178"/>
                  <a:gd name="T96" fmla="*/ 128 w 328"/>
                  <a:gd name="T97" fmla="*/ 64 h 178"/>
                  <a:gd name="T98" fmla="*/ 112 w 328"/>
                  <a:gd name="T99" fmla="*/ 86 h 178"/>
                  <a:gd name="T100" fmla="*/ 90 w 328"/>
                  <a:gd name="T101" fmla="*/ 110 h 178"/>
                  <a:gd name="T102" fmla="*/ 76 w 328"/>
                  <a:gd name="T103" fmla="*/ 110 h 178"/>
                  <a:gd name="T104" fmla="*/ 64 w 328"/>
                  <a:gd name="T105" fmla="*/ 104 h 178"/>
                  <a:gd name="T106" fmla="*/ 8 w 328"/>
                  <a:gd name="T107" fmla="*/ 64 h 178"/>
                  <a:gd name="T108" fmla="*/ 22 w 328"/>
                  <a:gd name="T109" fmla="*/ 70 h 178"/>
                  <a:gd name="T110" fmla="*/ 166 w 328"/>
                  <a:gd name="T111" fmla="*/ 64 h 178"/>
                  <a:gd name="T112" fmla="*/ 146 w 328"/>
                  <a:gd name="T113" fmla="*/ 74 h 178"/>
                  <a:gd name="T114" fmla="*/ 168 w 328"/>
                  <a:gd name="T115" fmla="*/ 92 h 178"/>
                  <a:gd name="T116" fmla="*/ 154 w 328"/>
                  <a:gd name="T117" fmla="*/ 86 h 178"/>
                  <a:gd name="T118" fmla="*/ 176 w 328"/>
                  <a:gd name="T119" fmla="*/ 74 h 178"/>
                  <a:gd name="T120" fmla="*/ 192 w 328"/>
                  <a:gd name="T121" fmla="*/ 82 h 178"/>
                  <a:gd name="T122" fmla="*/ 180 w 328"/>
                  <a:gd name="T123" fmla="*/ 96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328" h="178">
                    <a:moveTo>
                      <a:pt x="146" y="4"/>
                    </a:moveTo>
                    <a:lnTo>
                      <a:pt x="146" y="0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0" y="4"/>
                    </a:lnTo>
                    <a:lnTo>
                      <a:pt x="146" y="4"/>
                    </a:lnTo>
                    <a:lnTo>
                      <a:pt x="146" y="4"/>
                    </a:lnTo>
                    <a:lnTo>
                      <a:pt x="146" y="4"/>
                    </a:lnTo>
                    <a:close/>
                    <a:moveTo>
                      <a:pt x="150" y="4"/>
                    </a:moveTo>
                    <a:lnTo>
                      <a:pt x="154" y="0"/>
                    </a:lnTo>
                    <a:lnTo>
                      <a:pt x="154" y="4"/>
                    </a:lnTo>
                    <a:lnTo>
                      <a:pt x="150" y="4"/>
                    </a:lnTo>
                    <a:lnTo>
                      <a:pt x="150" y="4"/>
                    </a:lnTo>
                    <a:lnTo>
                      <a:pt x="150" y="4"/>
                    </a:lnTo>
                    <a:close/>
                    <a:moveTo>
                      <a:pt x="136" y="6"/>
                    </a:moveTo>
                    <a:lnTo>
                      <a:pt x="132" y="6"/>
                    </a:lnTo>
                    <a:lnTo>
                      <a:pt x="136" y="6"/>
                    </a:lnTo>
                    <a:lnTo>
                      <a:pt x="136" y="6"/>
                    </a:lnTo>
                    <a:lnTo>
                      <a:pt x="136" y="6"/>
                    </a:lnTo>
                    <a:close/>
                    <a:moveTo>
                      <a:pt x="196" y="10"/>
                    </a:moveTo>
                    <a:lnTo>
                      <a:pt x="196" y="6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6" y="10"/>
                    </a:lnTo>
                    <a:lnTo>
                      <a:pt x="196" y="10"/>
                    </a:lnTo>
                    <a:lnTo>
                      <a:pt x="196" y="10"/>
                    </a:lnTo>
                    <a:close/>
                    <a:moveTo>
                      <a:pt x="112" y="14"/>
                    </a:moveTo>
                    <a:lnTo>
                      <a:pt x="108" y="14"/>
                    </a:lnTo>
                    <a:lnTo>
                      <a:pt x="108" y="10"/>
                    </a:lnTo>
                    <a:lnTo>
                      <a:pt x="112" y="10"/>
                    </a:lnTo>
                    <a:lnTo>
                      <a:pt x="116" y="10"/>
                    </a:lnTo>
                    <a:lnTo>
                      <a:pt x="116" y="14"/>
                    </a:lnTo>
                    <a:lnTo>
                      <a:pt x="112" y="14"/>
                    </a:lnTo>
                    <a:lnTo>
                      <a:pt x="112" y="14"/>
                    </a:lnTo>
                    <a:lnTo>
                      <a:pt x="112" y="14"/>
                    </a:lnTo>
                    <a:close/>
                    <a:moveTo>
                      <a:pt x="298" y="18"/>
                    </a:moveTo>
                    <a:lnTo>
                      <a:pt x="296" y="18"/>
                    </a:lnTo>
                    <a:lnTo>
                      <a:pt x="298" y="18"/>
                    </a:lnTo>
                    <a:lnTo>
                      <a:pt x="302" y="18"/>
                    </a:lnTo>
                    <a:lnTo>
                      <a:pt x="306" y="18"/>
                    </a:lnTo>
                    <a:lnTo>
                      <a:pt x="310" y="18"/>
                    </a:lnTo>
                    <a:lnTo>
                      <a:pt x="314" y="18"/>
                    </a:lnTo>
                    <a:lnTo>
                      <a:pt x="318" y="18"/>
                    </a:lnTo>
                    <a:lnTo>
                      <a:pt x="318" y="14"/>
                    </a:lnTo>
                    <a:lnTo>
                      <a:pt x="322" y="14"/>
                    </a:lnTo>
                    <a:lnTo>
                      <a:pt x="326" y="14"/>
                    </a:lnTo>
                    <a:lnTo>
                      <a:pt x="328" y="14"/>
                    </a:lnTo>
                    <a:lnTo>
                      <a:pt x="326" y="14"/>
                    </a:lnTo>
                    <a:lnTo>
                      <a:pt x="326" y="18"/>
                    </a:lnTo>
                    <a:lnTo>
                      <a:pt x="322" y="18"/>
                    </a:lnTo>
                    <a:lnTo>
                      <a:pt x="318" y="18"/>
                    </a:lnTo>
                    <a:lnTo>
                      <a:pt x="314" y="18"/>
                    </a:lnTo>
                    <a:lnTo>
                      <a:pt x="310" y="18"/>
                    </a:lnTo>
                    <a:lnTo>
                      <a:pt x="306" y="18"/>
                    </a:lnTo>
                    <a:lnTo>
                      <a:pt x="298" y="18"/>
                    </a:lnTo>
                    <a:lnTo>
                      <a:pt x="298" y="18"/>
                    </a:lnTo>
                    <a:lnTo>
                      <a:pt x="298" y="18"/>
                    </a:lnTo>
                    <a:close/>
                    <a:moveTo>
                      <a:pt x="248" y="18"/>
                    </a:moveTo>
                    <a:lnTo>
                      <a:pt x="250" y="18"/>
                    </a:lnTo>
                    <a:lnTo>
                      <a:pt x="248" y="18"/>
                    </a:lnTo>
                    <a:lnTo>
                      <a:pt x="244" y="18"/>
                    </a:lnTo>
                    <a:lnTo>
                      <a:pt x="248" y="18"/>
                    </a:lnTo>
                    <a:lnTo>
                      <a:pt x="248" y="18"/>
                    </a:lnTo>
                    <a:lnTo>
                      <a:pt x="248" y="18"/>
                    </a:lnTo>
                    <a:close/>
                    <a:moveTo>
                      <a:pt x="8" y="30"/>
                    </a:moveTo>
                    <a:lnTo>
                      <a:pt x="4" y="30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  <a:moveTo>
                      <a:pt x="4" y="34"/>
                    </a:moveTo>
                    <a:lnTo>
                      <a:pt x="4" y="30"/>
                    </a:lnTo>
                    <a:lnTo>
                      <a:pt x="8" y="30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136" y="40"/>
                    </a:moveTo>
                    <a:lnTo>
                      <a:pt x="132" y="40"/>
                    </a:lnTo>
                    <a:lnTo>
                      <a:pt x="128" y="40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8" y="40"/>
                    </a:lnTo>
                    <a:lnTo>
                      <a:pt x="136" y="40"/>
                    </a:lnTo>
                    <a:lnTo>
                      <a:pt x="136" y="40"/>
                    </a:lnTo>
                    <a:lnTo>
                      <a:pt x="136" y="40"/>
                    </a:lnTo>
                    <a:close/>
                    <a:moveTo>
                      <a:pt x="138" y="52"/>
                    </a:moveTo>
                    <a:lnTo>
                      <a:pt x="136" y="52"/>
                    </a:lnTo>
                    <a:lnTo>
                      <a:pt x="136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6" y="48"/>
                    </a:lnTo>
                    <a:lnTo>
                      <a:pt x="146" y="52"/>
                    </a:lnTo>
                    <a:lnTo>
                      <a:pt x="142" y="52"/>
                    </a:lnTo>
                    <a:lnTo>
                      <a:pt x="138" y="52"/>
                    </a:lnTo>
                    <a:lnTo>
                      <a:pt x="138" y="52"/>
                    </a:lnTo>
                    <a:lnTo>
                      <a:pt x="138" y="52"/>
                    </a:lnTo>
                    <a:close/>
                    <a:moveTo>
                      <a:pt x="250" y="56"/>
                    </a:moveTo>
                    <a:lnTo>
                      <a:pt x="248" y="56"/>
                    </a:lnTo>
                    <a:lnTo>
                      <a:pt x="250" y="52"/>
                    </a:lnTo>
                    <a:lnTo>
                      <a:pt x="254" y="52"/>
                    </a:lnTo>
                    <a:lnTo>
                      <a:pt x="258" y="52"/>
                    </a:lnTo>
                    <a:lnTo>
                      <a:pt x="262" y="52"/>
                    </a:lnTo>
                    <a:lnTo>
                      <a:pt x="262" y="56"/>
                    </a:lnTo>
                    <a:lnTo>
                      <a:pt x="266" y="56"/>
                    </a:lnTo>
                    <a:lnTo>
                      <a:pt x="268" y="56"/>
                    </a:lnTo>
                    <a:lnTo>
                      <a:pt x="268" y="52"/>
                    </a:lnTo>
                    <a:lnTo>
                      <a:pt x="272" y="52"/>
                    </a:lnTo>
                    <a:lnTo>
                      <a:pt x="272" y="56"/>
                    </a:lnTo>
                    <a:lnTo>
                      <a:pt x="268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8" y="56"/>
                    </a:lnTo>
                    <a:lnTo>
                      <a:pt x="254" y="56"/>
                    </a:lnTo>
                    <a:lnTo>
                      <a:pt x="250" y="56"/>
                    </a:lnTo>
                    <a:lnTo>
                      <a:pt x="250" y="56"/>
                    </a:lnTo>
                    <a:lnTo>
                      <a:pt x="250" y="56"/>
                    </a:lnTo>
                    <a:close/>
                    <a:moveTo>
                      <a:pt x="228" y="64"/>
                    </a:moveTo>
                    <a:lnTo>
                      <a:pt x="228" y="60"/>
                    </a:lnTo>
                    <a:lnTo>
                      <a:pt x="224" y="60"/>
                    </a:lnTo>
                    <a:lnTo>
                      <a:pt x="224" y="56"/>
                    </a:lnTo>
                    <a:lnTo>
                      <a:pt x="228" y="56"/>
                    </a:lnTo>
                    <a:lnTo>
                      <a:pt x="228" y="60"/>
                    </a:lnTo>
                    <a:lnTo>
                      <a:pt x="232" y="60"/>
                    </a:lnTo>
                    <a:lnTo>
                      <a:pt x="236" y="60"/>
                    </a:lnTo>
                    <a:lnTo>
                      <a:pt x="232" y="60"/>
                    </a:lnTo>
                    <a:lnTo>
                      <a:pt x="232" y="64"/>
                    </a:lnTo>
                    <a:lnTo>
                      <a:pt x="228" y="64"/>
                    </a:lnTo>
                    <a:lnTo>
                      <a:pt x="228" y="64"/>
                    </a:lnTo>
                    <a:lnTo>
                      <a:pt x="228" y="64"/>
                    </a:lnTo>
                    <a:close/>
                    <a:moveTo>
                      <a:pt x="206" y="122"/>
                    </a:moveTo>
                    <a:lnTo>
                      <a:pt x="206" y="118"/>
                    </a:lnTo>
                    <a:lnTo>
                      <a:pt x="210" y="118"/>
                    </a:lnTo>
                    <a:lnTo>
                      <a:pt x="210" y="114"/>
                    </a:lnTo>
                    <a:lnTo>
                      <a:pt x="214" y="114"/>
                    </a:lnTo>
                    <a:lnTo>
                      <a:pt x="210" y="118"/>
                    </a:lnTo>
                    <a:lnTo>
                      <a:pt x="206" y="122"/>
                    </a:lnTo>
                    <a:lnTo>
                      <a:pt x="206" y="122"/>
                    </a:lnTo>
                    <a:lnTo>
                      <a:pt x="206" y="122"/>
                    </a:lnTo>
                    <a:close/>
                    <a:moveTo>
                      <a:pt x="120" y="178"/>
                    </a:moveTo>
                    <a:lnTo>
                      <a:pt x="116" y="174"/>
                    </a:lnTo>
                    <a:lnTo>
                      <a:pt x="120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78"/>
                    </a:lnTo>
                    <a:lnTo>
                      <a:pt x="120" y="178"/>
                    </a:lnTo>
                    <a:close/>
                    <a:moveTo>
                      <a:pt x="236" y="22"/>
                    </a:moveTo>
                    <a:lnTo>
                      <a:pt x="236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24" y="30"/>
                    </a:lnTo>
                    <a:lnTo>
                      <a:pt x="222" y="34"/>
                    </a:lnTo>
                    <a:lnTo>
                      <a:pt x="218" y="34"/>
                    </a:lnTo>
                    <a:lnTo>
                      <a:pt x="218" y="36"/>
                    </a:lnTo>
                    <a:lnTo>
                      <a:pt x="222" y="36"/>
                    </a:lnTo>
                    <a:lnTo>
                      <a:pt x="218" y="36"/>
                    </a:lnTo>
                    <a:lnTo>
                      <a:pt x="218" y="40"/>
                    </a:lnTo>
                    <a:lnTo>
                      <a:pt x="214" y="40"/>
                    </a:lnTo>
                    <a:lnTo>
                      <a:pt x="210" y="40"/>
                    </a:lnTo>
                    <a:lnTo>
                      <a:pt x="206" y="40"/>
                    </a:lnTo>
                    <a:lnTo>
                      <a:pt x="202" y="40"/>
                    </a:lnTo>
                    <a:lnTo>
                      <a:pt x="198" y="40"/>
                    </a:lnTo>
                    <a:lnTo>
                      <a:pt x="196" y="40"/>
                    </a:lnTo>
                    <a:lnTo>
                      <a:pt x="196" y="44"/>
                    </a:lnTo>
                    <a:lnTo>
                      <a:pt x="192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80" y="44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2" y="40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58" y="40"/>
                    </a:lnTo>
                    <a:lnTo>
                      <a:pt x="154" y="40"/>
                    </a:lnTo>
                    <a:lnTo>
                      <a:pt x="150" y="40"/>
                    </a:lnTo>
                    <a:lnTo>
                      <a:pt x="146" y="40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38" y="36"/>
                    </a:lnTo>
                    <a:lnTo>
                      <a:pt x="136" y="36"/>
                    </a:lnTo>
                    <a:lnTo>
                      <a:pt x="132" y="36"/>
                    </a:lnTo>
                    <a:lnTo>
                      <a:pt x="132" y="34"/>
                    </a:lnTo>
                    <a:lnTo>
                      <a:pt x="136" y="34"/>
                    </a:lnTo>
                    <a:lnTo>
                      <a:pt x="138" y="34"/>
                    </a:lnTo>
                    <a:lnTo>
                      <a:pt x="142" y="34"/>
                    </a:lnTo>
                    <a:lnTo>
                      <a:pt x="146" y="34"/>
                    </a:lnTo>
                    <a:lnTo>
                      <a:pt x="150" y="34"/>
                    </a:lnTo>
                    <a:lnTo>
                      <a:pt x="146" y="34"/>
                    </a:lnTo>
                    <a:lnTo>
                      <a:pt x="142" y="34"/>
                    </a:lnTo>
                    <a:lnTo>
                      <a:pt x="150" y="30"/>
                    </a:lnTo>
                    <a:lnTo>
                      <a:pt x="154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8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58" y="30"/>
                    </a:lnTo>
                    <a:lnTo>
                      <a:pt x="162" y="30"/>
                    </a:lnTo>
                    <a:lnTo>
                      <a:pt x="162" y="26"/>
                    </a:lnTo>
                    <a:lnTo>
                      <a:pt x="158" y="26"/>
                    </a:lnTo>
                    <a:lnTo>
                      <a:pt x="154" y="26"/>
                    </a:lnTo>
                    <a:lnTo>
                      <a:pt x="150" y="26"/>
                    </a:lnTo>
                    <a:lnTo>
                      <a:pt x="146" y="30"/>
                    </a:lnTo>
                    <a:lnTo>
                      <a:pt x="142" y="30"/>
                    </a:lnTo>
                    <a:lnTo>
                      <a:pt x="138" y="30"/>
                    </a:lnTo>
                    <a:lnTo>
                      <a:pt x="136" y="30"/>
                    </a:lnTo>
                    <a:lnTo>
                      <a:pt x="128" y="30"/>
                    </a:lnTo>
                    <a:lnTo>
                      <a:pt x="120" y="30"/>
                    </a:lnTo>
                    <a:lnTo>
                      <a:pt x="116" y="30"/>
                    </a:lnTo>
                    <a:lnTo>
                      <a:pt x="112" y="30"/>
                    </a:lnTo>
                    <a:lnTo>
                      <a:pt x="108" y="26"/>
                    </a:lnTo>
                    <a:lnTo>
                      <a:pt x="112" y="22"/>
                    </a:lnTo>
                    <a:lnTo>
                      <a:pt x="116" y="22"/>
                    </a:lnTo>
                    <a:lnTo>
                      <a:pt x="112" y="22"/>
                    </a:lnTo>
                    <a:lnTo>
                      <a:pt x="108" y="22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08" y="18"/>
                    </a:lnTo>
                    <a:lnTo>
                      <a:pt x="106" y="18"/>
                    </a:lnTo>
                    <a:lnTo>
                      <a:pt x="108" y="18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20" y="18"/>
                    </a:lnTo>
                    <a:lnTo>
                      <a:pt x="124" y="18"/>
                    </a:lnTo>
                    <a:lnTo>
                      <a:pt x="128" y="18"/>
                    </a:lnTo>
                    <a:lnTo>
                      <a:pt x="124" y="18"/>
                    </a:lnTo>
                    <a:lnTo>
                      <a:pt x="124" y="14"/>
                    </a:lnTo>
                    <a:lnTo>
                      <a:pt x="120" y="14"/>
                    </a:lnTo>
                    <a:lnTo>
                      <a:pt x="120" y="10"/>
                    </a:lnTo>
                    <a:lnTo>
                      <a:pt x="124" y="10"/>
                    </a:lnTo>
                    <a:lnTo>
                      <a:pt x="128" y="14"/>
                    </a:lnTo>
                    <a:lnTo>
                      <a:pt x="132" y="14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32" y="10"/>
                    </a:lnTo>
                    <a:lnTo>
                      <a:pt x="128" y="10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6" y="10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4" y="14"/>
                    </a:lnTo>
                    <a:lnTo>
                      <a:pt x="158" y="14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58" y="18"/>
                    </a:lnTo>
                    <a:lnTo>
                      <a:pt x="162" y="18"/>
                    </a:lnTo>
                    <a:lnTo>
                      <a:pt x="166" y="18"/>
                    </a:lnTo>
                    <a:lnTo>
                      <a:pt x="166" y="22"/>
                    </a:lnTo>
                    <a:lnTo>
                      <a:pt x="168" y="22"/>
                    </a:lnTo>
                    <a:lnTo>
                      <a:pt x="168" y="18"/>
                    </a:lnTo>
                    <a:lnTo>
                      <a:pt x="168" y="14"/>
                    </a:lnTo>
                    <a:lnTo>
                      <a:pt x="172" y="14"/>
                    </a:lnTo>
                    <a:lnTo>
                      <a:pt x="168" y="14"/>
                    </a:lnTo>
                    <a:lnTo>
                      <a:pt x="168" y="10"/>
                    </a:lnTo>
                    <a:lnTo>
                      <a:pt x="172" y="10"/>
                    </a:lnTo>
                    <a:lnTo>
                      <a:pt x="172" y="14"/>
                    </a:lnTo>
                    <a:lnTo>
                      <a:pt x="176" y="10"/>
                    </a:lnTo>
                    <a:lnTo>
                      <a:pt x="176" y="6"/>
                    </a:lnTo>
                    <a:lnTo>
                      <a:pt x="180" y="6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0"/>
                    </a:lnTo>
                    <a:lnTo>
                      <a:pt x="184" y="10"/>
                    </a:lnTo>
                    <a:lnTo>
                      <a:pt x="180" y="14"/>
                    </a:lnTo>
                    <a:lnTo>
                      <a:pt x="176" y="14"/>
                    </a:lnTo>
                    <a:lnTo>
                      <a:pt x="176" y="18"/>
                    </a:lnTo>
                    <a:lnTo>
                      <a:pt x="180" y="18"/>
                    </a:lnTo>
                    <a:lnTo>
                      <a:pt x="184" y="14"/>
                    </a:lnTo>
                    <a:lnTo>
                      <a:pt x="184" y="18"/>
                    </a:lnTo>
                    <a:lnTo>
                      <a:pt x="188" y="18"/>
                    </a:lnTo>
                    <a:lnTo>
                      <a:pt x="188" y="14"/>
                    </a:lnTo>
                    <a:lnTo>
                      <a:pt x="192" y="14"/>
                    </a:lnTo>
                    <a:lnTo>
                      <a:pt x="196" y="14"/>
                    </a:lnTo>
                    <a:lnTo>
                      <a:pt x="198" y="14"/>
                    </a:lnTo>
                    <a:lnTo>
                      <a:pt x="196" y="10"/>
                    </a:lnTo>
                    <a:lnTo>
                      <a:pt x="198" y="10"/>
                    </a:lnTo>
                    <a:lnTo>
                      <a:pt x="198" y="14"/>
                    </a:lnTo>
                    <a:lnTo>
                      <a:pt x="202" y="14"/>
                    </a:lnTo>
                    <a:lnTo>
                      <a:pt x="202" y="10"/>
                    </a:lnTo>
                    <a:lnTo>
                      <a:pt x="202" y="14"/>
                    </a:lnTo>
                    <a:lnTo>
                      <a:pt x="206" y="14"/>
                    </a:lnTo>
                    <a:lnTo>
                      <a:pt x="210" y="14"/>
                    </a:lnTo>
                    <a:lnTo>
                      <a:pt x="214" y="14"/>
                    </a:lnTo>
                    <a:lnTo>
                      <a:pt x="218" y="14"/>
                    </a:lnTo>
                    <a:lnTo>
                      <a:pt x="218" y="18"/>
                    </a:lnTo>
                    <a:lnTo>
                      <a:pt x="222" y="18"/>
                    </a:lnTo>
                    <a:lnTo>
                      <a:pt x="224" y="18"/>
                    </a:lnTo>
                    <a:lnTo>
                      <a:pt x="228" y="18"/>
                    </a:lnTo>
                    <a:lnTo>
                      <a:pt x="232" y="18"/>
                    </a:lnTo>
                    <a:lnTo>
                      <a:pt x="236" y="18"/>
                    </a:lnTo>
                    <a:lnTo>
                      <a:pt x="236" y="22"/>
                    </a:lnTo>
                    <a:lnTo>
                      <a:pt x="236" y="22"/>
                    </a:lnTo>
                    <a:lnTo>
                      <a:pt x="236" y="22"/>
                    </a:lnTo>
                    <a:close/>
                    <a:moveTo>
                      <a:pt x="56" y="104"/>
                    </a:moveTo>
                    <a:lnTo>
                      <a:pt x="52" y="100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2" y="92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6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2" y="96"/>
                    </a:lnTo>
                    <a:lnTo>
                      <a:pt x="82" y="92"/>
                    </a:lnTo>
                    <a:lnTo>
                      <a:pt x="80" y="92"/>
                    </a:lnTo>
                    <a:lnTo>
                      <a:pt x="76" y="92"/>
                    </a:lnTo>
                    <a:lnTo>
                      <a:pt x="72" y="92"/>
                    </a:lnTo>
                    <a:lnTo>
                      <a:pt x="68" y="88"/>
                    </a:lnTo>
                    <a:lnTo>
                      <a:pt x="64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8" y="88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80" y="86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2"/>
                    </a:lnTo>
                    <a:lnTo>
                      <a:pt x="94" y="82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6"/>
                    </a:lnTo>
                    <a:lnTo>
                      <a:pt x="76" y="86"/>
                    </a:lnTo>
                    <a:lnTo>
                      <a:pt x="72" y="82"/>
                    </a:lnTo>
                    <a:lnTo>
                      <a:pt x="68" y="82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0" y="86"/>
                    </a:lnTo>
                    <a:lnTo>
                      <a:pt x="50" y="88"/>
                    </a:lnTo>
                    <a:lnTo>
                      <a:pt x="46" y="86"/>
                    </a:lnTo>
                    <a:lnTo>
                      <a:pt x="46" y="82"/>
                    </a:lnTo>
                    <a:lnTo>
                      <a:pt x="46" y="78"/>
                    </a:lnTo>
                    <a:lnTo>
                      <a:pt x="50" y="78"/>
                    </a:lnTo>
                    <a:lnTo>
                      <a:pt x="52" y="78"/>
                    </a:lnTo>
                    <a:lnTo>
                      <a:pt x="52" y="82"/>
                    </a:lnTo>
                    <a:lnTo>
                      <a:pt x="56" y="82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8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2" y="70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0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4" y="70"/>
                    </a:lnTo>
                    <a:lnTo>
                      <a:pt x="98" y="66"/>
                    </a:lnTo>
                    <a:lnTo>
                      <a:pt x="94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66"/>
                    </a:lnTo>
                    <a:lnTo>
                      <a:pt x="86" y="66"/>
                    </a:lnTo>
                    <a:lnTo>
                      <a:pt x="82" y="66"/>
                    </a:lnTo>
                    <a:lnTo>
                      <a:pt x="82" y="64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86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0" y="64"/>
                    </a:lnTo>
                    <a:lnTo>
                      <a:pt x="80" y="66"/>
                    </a:lnTo>
                    <a:lnTo>
                      <a:pt x="76" y="66"/>
                    </a:lnTo>
                    <a:lnTo>
                      <a:pt x="72" y="66"/>
                    </a:lnTo>
                    <a:lnTo>
                      <a:pt x="68" y="66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8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6"/>
                    </a:lnTo>
                    <a:lnTo>
                      <a:pt x="60" y="66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66"/>
                    </a:lnTo>
                    <a:lnTo>
                      <a:pt x="52" y="70"/>
                    </a:lnTo>
                    <a:lnTo>
                      <a:pt x="50" y="70"/>
                    </a:lnTo>
                    <a:lnTo>
                      <a:pt x="46" y="70"/>
                    </a:lnTo>
                    <a:lnTo>
                      <a:pt x="46" y="74"/>
                    </a:lnTo>
                    <a:lnTo>
                      <a:pt x="50" y="74"/>
                    </a:lnTo>
                    <a:lnTo>
                      <a:pt x="46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6"/>
                    </a:lnTo>
                    <a:lnTo>
                      <a:pt x="26" y="66"/>
                    </a:lnTo>
                    <a:lnTo>
                      <a:pt x="30" y="66"/>
                    </a:lnTo>
                    <a:lnTo>
                      <a:pt x="34" y="66"/>
                    </a:lnTo>
                    <a:lnTo>
                      <a:pt x="38" y="66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20" y="52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2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50" y="26"/>
                    </a:lnTo>
                    <a:lnTo>
                      <a:pt x="50" y="30"/>
                    </a:lnTo>
                    <a:lnTo>
                      <a:pt x="46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4" y="30"/>
                    </a:lnTo>
                    <a:lnTo>
                      <a:pt x="34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6"/>
                    </a:lnTo>
                    <a:lnTo>
                      <a:pt x="30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42" y="34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42" y="36"/>
                    </a:lnTo>
                    <a:lnTo>
                      <a:pt x="46" y="36"/>
                    </a:lnTo>
                    <a:lnTo>
                      <a:pt x="50" y="40"/>
                    </a:lnTo>
                    <a:lnTo>
                      <a:pt x="50" y="44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0" y="36"/>
                    </a:lnTo>
                    <a:lnTo>
                      <a:pt x="50" y="34"/>
                    </a:lnTo>
                    <a:lnTo>
                      <a:pt x="52" y="34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48"/>
                    </a:lnTo>
                    <a:lnTo>
                      <a:pt x="80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4"/>
                    </a:lnTo>
                    <a:lnTo>
                      <a:pt x="76" y="30"/>
                    </a:lnTo>
                    <a:lnTo>
                      <a:pt x="72" y="30"/>
                    </a:lnTo>
                    <a:lnTo>
                      <a:pt x="72" y="26"/>
                    </a:lnTo>
                    <a:lnTo>
                      <a:pt x="76" y="26"/>
                    </a:lnTo>
                    <a:lnTo>
                      <a:pt x="80" y="26"/>
                    </a:lnTo>
                    <a:lnTo>
                      <a:pt x="80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0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8" y="26"/>
                    </a:lnTo>
                    <a:lnTo>
                      <a:pt x="102" y="26"/>
                    </a:lnTo>
                    <a:lnTo>
                      <a:pt x="106" y="30"/>
                    </a:lnTo>
                    <a:lnTo>
                      <a:pt x="108" y="30"/>
                    </a:lnTo>
                    <a:lnTo>
                      <a:pt x="106" y="30"/>
                    </a:lnTo>
                    <a:lnTo>
                      <a:pt x="106" y="34"/>
                    </a:lnTo>
                    <a:lnTo>
                      <a:pt x="102" y="36"/>
                    </a:lnTo>
                    <a:lnTo>
                      <a:pt x="102" y="40"/>
                    </a:lnTo>
                    <a:lnTo>
                      <a:pt x="106" y="40"/>
                    </a:lnTo>
                    <a:lnTo>
                      <a:pt x="106" y="36"/>
                    </a:lnTo>
                    <a:lnTo>
                      <a:pt x="108" y="34"/>
                    </a:lnTo>
                    <a:lnTo>
                      <a:pt x="112" y="34"/>
                    </a:lnTo>
                    <a:lnTo>
                      <a:pt x="116" y="34"/>
                    </a:lnTo>
                    <a:lnTo>
                      <a:pt x="116" y="36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4"/>
                    </a:lnTo>
                    <a:lnTo>
                      <a:pt x="132" y="48"/>
                    </a:lnTo>
                    <a:lnTo>
                      <a:pt x="136" y="52"/>
                    </a:lnTo>
                    <a:lnTo>
                      <a:pt x="138" y="52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2"/>
                    </a:lnTo>
                    <a:lnTo>
                      <a:pt x="150" y="56"/>
                    </a:lnTo>
                    <a:lnTo>
                      <a:pt x="154" y="56"/>
                    </a:lnTo>
                    <a:lnTo>
                      <a:pt x="158" y="56"/>
                    </a:lnTo>
                    <a:lnTo>
                      <a:pt x="158" y="60"/>
                    </a:lnTo>
                    <a:lnTo>
                      <a:pt x="154" y="60"/>
                    </a:lnTo>
                    <a:lnTo>
                      <a:pt x="150" y="60"/>
                    </a:lnTo>
                    <a:lnTo>
                      <a:pt x="150" y="64"/>
                    </a:lnTo>
                    <a:lnTo>
                      <a:pt x="146" y="60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38" y="64"/>
                    </a:lnTo>
                    <a:lnTo>
                      <a:pt x="136" y="64"/>
                    </a:lnTo>
                    <a:lnTo>
                      <a:pt x="132" y="64"/>
                    </a:lnTo>
                    <a:lnTo>
                      <a:pt x="128" y="64"/>
                    </a:lnTo>
                    <a:lnTo>
                      <a:pt x="132" y="64"/>
                    </a:lnTo>
                    <a:lnTo>
                      <a:pt x="132" y="66"/>
                    </a:lnTo>
                    <a:lnTo>
                      <a:pt x="128" y="66"/>
                    </a:lnTo>
                    <a:lnTo>
                      <a:pt x="124" y="66"/>
                    </a:lnTo>
                    <a:lnTo>
                      <a:pt x="120" y="66"/>
                    </a:lnTo>
                    <a:lnTo>
                      <a:pt x="120" y="70"/>
                    </a:lnTo>
                    <a:lnTo>
                      <a:pt x="120" y="74"/>
                    </a:lnTo>
                    <a:lnTo>
                      <a:pt x="120" y="78"/>
                    </a:lnTo>
                    <a:lnTo>
                      <a:pt x="116" y="78"/>
                    </a:lnTo>
                    <a:lnTo>
                      <a:pt x="112" y="78"/>
                    </a:lnTo>
                    <a:lnTo>
                      <a:pt x="112" y="82"/>
                    </a:lnTo>
                    <a:lnTo>
                      <a:pt x="112" y="86"/>
                    </a:lnTo>
                    <a:lnTo>
                      <a:pt x="112" y="88"/>
                    </a:lnTo>
                    <a:lnTo>
                      <a:pt x="108" y="92"/>
                    </a:lnTo>
                    <a:lnTo>
                      <a:pt x="106" y="92"/>
                    </a:lnTo>
                    <a:lnTo>
                      <a:pt x="102" y="92"/>
                    </a:lnTo>
                    <a:lnTo>
                      <a:pt x="102" y="96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4" y="108"/>
                    </a:lnTo>
                    <a:lnTo>
                      <a:pt x="98" y="108"/>
                    </a:lnTo>
                    <a:lnTo>
                      <a:pt x="94" y="110"/>
                    </a:lnTo>
                    <a:lnTo>
                      <a:pt x="90" y="110"/>
                    </a:lnTo>
                    <a:lnTo>
                      <a:pt x="90" y="114"/>
                    </a:lnTo>
                    <a:lnTo>
                      <a:pt x="94" y="114"/>
                    </a:lnTo>
                    <a:lnTo>
                      <a:pt x="94" y="118"/>
                    </a:lnTo>
                    <a:lnTo>
                      <a:pt x="90" y="118"/>
                    </a:lnTo>
                    <a:lnTo>
                      <a:pt x="86" y="118"/>
                    </a:lnTo>
                    <a:lnTo>
                      <a:pt x="82" y="118"/>
                    </a:lnTo>
                    <a:lnTo>
                      <a:pt x="82" y="114"/>
                    </a:lnTo>
                    <a:lnTo>
                      <a:pt x="80" y="114"/>
                    </a:lnTo>
                    <a:lnTo>
                      <a:pt x="76" y="114"/>
                    </a:lnTo>
                    <a:lnTo>
                      <a:pt x="76" y="110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6" y="108"/>
                    </a:lnTo>
                    <a:lnTo>
                      <a:pt x="82" y="108"/>
                    </a:lnTo>
                    <a:lnTo>
                      <a:pt x="80" y="108"/>
                    </a:lnTo>
                    <a:lnTo>
                      <a:pt x="80" y="104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close/>
                    <a:moveTo>
                      <a:pt x="22" y="74"/>
                    </a:moveTo>
                    <a:lnTo>
                      <a:pt x="20" y="74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16" y="66"/>
                    </a:lnTo>
                    <a:lnTo>
                      <a:pt x="12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60"/>
                    </a:lnTo>
                    <a:lnTo>
                      <a:pt x="12" y="64"/>
                    </a:lnTo>
                    <a:lnTo>
                      <a:pt x="16" y="64"/>
                    </a:lnTo>
                    <a:lnTo>
                      <a:pt x="16" y="66"/>
                    </a:lnTo>
                    <a:lnTo>
                      <a:pt x="20" y="66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close/>
                    <a:moveTo>
                      <a:pt x="136" y="66"/>
                    </a:moveTo>
                    <a:lnTo>
                      <a:pt x="138" y="66"/>
                    </a:lnTo>
                    <a:lnTo>
                      <a:pt x="142" y="64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4" y="64"/>
                    </a:lnTo>
                    <a:lnTo>
                      <a:pt x="158" y="64"/>
                    </a:lnTo>
                    <a:lnTo>
                      <a:pt x="162" y="64"/>
                    </a:lnTo>
                    <a:lnTo>
                      <a:pt x="166" y="64"/>
                    </a:lnTo>
                    <a:lnTo>
                      <a:pt x="166" y="66"/>
                    </a:lnTo>
                    <a:lnTo>
                      <a:pt x="166" y="70"/>
                    </a:lnTo>
                    <a:lnTo>
                      <a:pt x="168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62" y="70"/>
                    </a:lnTo>
                    <a:lnTo>
                      <a:pt x="158" y="74"/>
                    </a:lnTo>
                    <a:lnTo>
                      <a:pt x="154" y="74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2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0"/>
                    </a:lnTo>
                    <a:lnTo>
                      <a:pt x="142" y="66"/>
                    </a:lnTo>
                    <a:lnTo>
                      <a:pt x="138" y="66"/>
                    </a:lnTo>
                    <a:lnTo>
                      <a:pt x="136" y="66"/>
                    </a:lnTo>
                    <a:lnTo>
                      <a:pt x="136" y="66"/>
                    </a:lnTo>
                    <a:lnTo>
                      <a:pt x="136" y="66"/>
                    </a:lnTo>
                    <a:close/>
                    <a:moveTo>
                      <a:pt x="172" y="100"/>
                    </a:moveTo>
                    <a:lnTo>
                      <a:pt x="168" y="100"/>
                    </a:lnTo>
                    <a:lnTo>
                      <a:pt x="168" y="96"/>
                    </a:lnTo>
                    <a:lnTo>
                      <a:pt x="172" y="92"/>
                    </a:lnTo>
                    <a:lnTo>
                      <a:pt x="168" y="92"/>
                    </a:lnTo>
                    <a:lnTo>
                      <a:pt x="166" y="92"/>
                    </a:lnTo>
                    <a:lnTo>
                      <a:pt x="162" y="92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4" y="96"/>
                    </a:lnTo>
                    <a:lnTo>
                      <a:pt x="150" y="96"/>
                    </a:lnTo>
                    <a:lnTo>
                      <a:pt x="146" y="96"/>
                    </a:lnTo>
                    <a:lnTo>
                      <a:pt x="146" y="92"/>
                    </a:lnTo>
                    <a:lnTo>
                      <a:pt x="150" y="92"/>
                    </a:lnTo>
                    <a:lnTo>
                      <a:pt x="150" y="88"/>
                    </a:lnTo>
                    <a:lnTo>
                      <a:pt x="154" y="88"/>
                    </a:lnTo>
                    <a:lnTo>
                      <a:pt x="154" y="86"/>
                    </a:lnTo>
                    <a:lnTo>
                      <a:pt x="158" y="82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46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4" y="74"/>
                    </a:lnTo>
                    <a:lnTo>
                      <a:pt x="158" y="74"/>
                    </a:lnTo>
                    <a:lnTo>
                      <a:pt x="162" y="74"/>
                    </a:lnTo>
                    <a:lnTo>
                      <a:pt x="166" y="74"/>
                    </a:lnTo>
                    <a:lnTo>
                      <a:pt x="168" y="74"/>
                    </a:lnTo>
                    <a:lnTo>
                      <a:pt x="176" y="74"/>
                    </a:lnTo>
                    <a:lnTo>
                      <a:pt x="180" y="74"/>
                    </a:lnTo>
                    <a:lnTo>
                      <a:pt x="184" y="74"/>
                    </a:lnTo>
                    <a:lnTo>
                      <a:pt x="184" y="78"/>
                    </a:lnTo>
                    <a:lnTo>
                      <a:pt x="180" y="78"/>
                    </a:lnTo>
                    <a:lnTo>
                      <a:pt x="176" y="78"/>
                    </a:lnTo>
                    <a:lnTo>
                      <a:pt x="180" y="78"/>
                    </a:lnTo>
                    <a:lnTo>
                      <a:pt x="180" y="82"/>
                    </a:lnTo>
                    <a:lnTo>
                      <a:pt x="184" y="82"/>
                    </a:lnTo>
                    <a:lnTo>
                      <a:pt x="188" y="82"/>
                    </a:lnTo>
                    <a:lnTo>
                      <a:pt x="188" y="86"/>
                    </a:lnTo>
                    <a:lnTo>
                      <a:pt x="192" y="86"/>
                    </a:lnTo>
                    <a:lnTo>
                      <a:pt x="192" y="82"/>
                    </a:lnTo>
                    <a:lnTo>
                      <a:pt x="196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2" y="86"/>
                    </a:lnTo>
                    <a:lnTo>
                      <a:pt x="198" y="88"/>
                    </a:lnTo>
                    <a:lnTo>
                      <a:pt x="196" y="88"/>
                    </a:lnTo>
                    <a:lnTo>
                      <a:pt x="192" y="88"/>
                    </a:lnTo>
                    <a:lnTo>
                      <a:pt x="192" y="92"/>
                    </a:lnTo>
                    <a:lnTo>
                      <a:pt x="188" y="96"/>
                    </a:lnTo>
                    <a:lnTo>
                      <a:pt x="184" y="96"/>
                    </a:lnTo>
                    <a:lnTo>
                      <a:pt x="180" y="96"/>
                    </a:lnTo>
                    <a:lnTo>
                      <a:pt x="176" y="96"/>
                    </a:lnTo>
                    <a:lnTo>
                      <a:pt x="176" y="100"/>
                    </a:lnTo>
                    <a:lnTo>
                      <a:pt x="172" y="100"/>
                    </a:lnTo>
                    <a:lnTo>
                      <a:pt x="172" y="100"/>
                    </a:lnTo>
                    <a:lnTo>
                      <a:pt x="172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4" name="Freeform 123">
                <a:extLst>
                  <a:ext uri="{FF2B5EF4-FFF2-40B4-BE49-F238E27FC236}">
                    <a16:creationId xmlns:a16="http://schemas.microsoft.com/office/drawing/2014/main" id="{EE492D65-935D-41BD-BAD2-E98362324A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41850" y="2419418"/>
                <a:ext cx="298450" cy="508000"/>
              </a:xfrm>
              <a:custGeom>
                <a:avLst/>
                <a:gdLst>
                  <a:gd name="T0" fmla="*/ 106 w 188"/>
                  <a:gd name="T1" fmla="*/ 232 h 320"/>
                  <a:gd name="T2" fmla="*/ 98 w 188"/>
                  <a:gd name="T3" fmla="*/ 238 h 320"/>
                  <a:gd name="T4" fmla="*/ 78 w 188"/>
                  <a:gd name="T5" fmla="*/ 250 h 320"/>
                  <a:gd name="T6" fmla="*/ 76 w 188"/>
                  <a:gd name="T7" fmla="*/ 254 h 320"/>
                  <a:gd name="T8" fmla="*/ 82 w 188"/>
                  <a:gd name="T9" fmla="*/ 264 h 320"/>
                  <a:gd name="T10" fmla="*/ 76 w 188"/>
                  <a:gd name="T11" fmla="*/ 280 h 320"/>
                  <a:gd name="T12" fmla="*/ 64 w 188"/>
                  <a:gd name="T13" fmla="*/ 302 h 320"/>
                  <a:gd name="T14" fmla="*/ 46 w 188"/>
                  <a:gd name="T15" fmla="*/ 314 h 320"/>
                  <a:gd name="T16" fmla="*/ 30 w 188"/>
                  <a:gd name="T17" fmla="*/ 320 h 320"/>
                  <a:gd name="T18" fmla="*/ 26 w 188"/>
                  <a:gd name="T19" fmla="*/ 302 h 320"/>
                  <a:gd name="T20" fmla="*/ 18 w 188"/>
                  <a:gd name="T21" fmla="*/ 284 h 320"/>
                  <a:gd name="T22" fmla="*/ 8 w 188"/>
                  <a:gd name="T23" fmla="*/ 264 h 320"/>
                  <a:gd name="T24" fmla="*/ 4 w 188"/>
                  <a:gd name="T25" fmla="*/ 246 h 320"/>
                  <a:gd name="T26" fmla="*/ 8 w 188"/>
                  <a:gd name="T27" fmla="*/ 242 h 320"/>
                  <a:gd name="T28" fmla="*/ 16 w 188"/>
                  <a:gd name="T29" fmla="*/ 220 h 320"/>
                  <a:gd name="T30" fmla="*/ 18 w 188"/>
                  <a:gd name="T31" fmla="*/ 198 h 320"/>
                  <a:gd name="T32" fmla="*/ 22 w 188"/>
                  <a:gd name="T33" fmla="*/ 182 h 320"/>
                  <a:gd name="T34" fmla="*/ 16 w 188"/>
                  <a:gd name="T35" fmla="*/ 162 h 320"/>
                  <a:gd name="T36" fmla="*/ 16 w 188"/>
                  <a:gd name="T37" fmla="*/ 134 h 320"/>
                  <a:gd name="T38" fmla="*/ 46 w 188"/>
                  <a:gd name="T39" fmla="*/ 112 h 320"/>
                  <a:gd name="T40" fmla="*/ 46 w 188"/>
                  <a:gd name="T41" fmla="*/ 98 h 320"/>
                  <a:gd name="T42" fmla="*/ 52 w 188"/>
                  <a:gd name="T43" fmla="*/ 76 h 320"/>
                  <a:gd name="T44" fmla="*/ 76 w 188"/>
                  <a:gd name="T45" fmla="*/ 52 h 320"/>
                  <a:gd name="T46" fmla="*/ 78 w 188"/>
                  <a:gd name="T47" fmla="*/ 30 h 320"/>
                  <a:gd name="T48" fmla="*/ 102 w 188"/>
                  <a:gd name="T49" fmla="*/ 20 h 320"/>
                  <a:gd name="T50" fmla="*/ 128 w 188"/>
                  <a:gd name="T51" fmla="*/ 20 h 320"/>
                  <a:gd name="T52" fmla="*/ 138 w 188"/>
                  <a:gd name="T53" fmla="*/ 4 h 320"/>
                  <a:gd name="T54" fmla="*/ 162 w 188"/>
                  <a:gd name="T55" fmla="*/ 16 h 320"/>
                  <a:gd name="T56" fmla="*/ 176 w 188"/>
                  <a:gd name="T57" fmla="*/ 42 h 320"/>
                  <a:gd name="T58" fmla="*/ 180 w 188"/>
                  <a:gd name="T59" fmla="*/ 64 h 320"/>
                  <a:gd name="T60" fmla="*/ 176 w 188"/>
                  <a:gd name="T61" fmla="*/ 82 h 320"/>
                  <a:gd name="T62" fmla="*/ 158 w 188"/>
                  <a:gd name="T63" fmla="*/ 86 h 320"/>
                  <a:gd name="T64" fmla="*/ 158 w 188"/>
                  <a:gd name="T65" fmla="*/ 90 h 320"/>
                  <a:gd name="T66" fmla="*/ 150 w 188"/>
                  <a:gd name="T67" fmla="*/ 98 h 320"/>
                  <a:gd name="T68" fmla="*/ 142 w 188"/>
                  <a:gd name="T69" fmla="*/ 108 h 320"/>
                  <a:gd name="T70" fmla="*/ 146 w 188"/>
                  <a:gd name="T71" fmla="*/ 120 h 320"/>
                  <a:gd name="T72" fmla="*/ 124 w 188"/>
                  <a:gd name="T73" fmla="*/ 134 h 320"/>
                  <a:gd name="T74" fmla="*/ 116 w 188"/>
                  <a:gd name="T75" fmla="*/ 142 h 320"/>
                  <a:gd name="T76" fmla="*/ 106 w 188"/>
                  <a:gd name="T77" fmla="*/ 150 h 320"/>
                  <a:gd name="T78" fmla="*/ 98 w 188"/>
                  <a:gd name="T79" fmla="*/ 150 h 320"/>
                  <a:gd name="T80" fmla="*/ 90 w 188"/>
                  <a:gd name="T81" fmla="*/ 168 h 320"/>
                  <a:gd name="T82" fmla="*/ 86 w 188"/>
                  <a:gd name="T83" fmla="*/ 178 h 320"/>
                  <a:gd name="T84" fmla="*/ 90 w 188"/>
                  <a:gd name="T85" fmla="*/ 206 h 320"/>
                  <a:gd name="T86" fmla="*/ 108 w 188"/>
                  <a:gd name="T87" fmla="*/ 212 h 320"/>
                  <a:gd name="T88" fmla="*/ 106 w 188"/>
                  <a:gd name="T89" fmla="*/ 232 h 320"/>
                  <a:gd name="T90" fmla="*/ 94 w 188"/>
                  <a:gd name="T91" fmla="*/ 224 h 320"/>
                  <a:gd name="T92" fmla="*/ 94 w 188"/>
                  <a:gd name="T93" fmla="*/ 228 h 320"/>
                  <a:gd name="T94" fmla="*/ 78 w 188"/>
                  <a:gd name="T95" fmla="*/ 228 h 320"/>
                  <a:gd name="T96" fmla="*/ 86 w 188"/>
                  <a:gd name="T97" fmla="*/ 232 h 320"/>
                  <a:gd name="T98" fmla="*/ 90 w 188"/>
                  <a:gd name="T99" fmla="*/ 162 h 320"/>
                  <a:gd name="T100" fmla="*/ 86 w 188"/>
                  <a:gd name="T101" fmla="*/ 232 h 320"/>
                  <a:gd name="T102" fmla="*/ 94 w 188"/>
                  <a:gd name="T103" fmla="*/ 234 h 320"/>
                  <a:gd name="T104" fmla="*/ 106 w 188"/>
                  <a:gd name="T105" fmla="*/ 206 h 320"/>
                  <a:gd name="T106" fmla="*/ 12 w 188"/>
                  <a:gd name="T107" fmla="*/ 258 h 320"/>
                  <a:gd name="T108" fmla="*/ 12 w 188"/>
                  <a:gd name="T109" fmla="*/ 264 h 320"/>
                  <a:gd name="T110" fmla="*/ 108 w 188"/>
                  <a:gd name="T111" fmla="*/ 276 h 320"/>
                  <a:gd name="T112" fmla="*/ 102 w 188"/>
                  <a:gd name="T113" fmla="*/ 272 h 320"/>
                  <a:gd name="T114" fmla="*/ 76 w 188"/>
                  <a:gd name="T115" fmla="*/ 294 h 320"/>
                  <a:gd name="T116" fmla="*/ 86 w 188"/>
                  <a:gd name="T117" fmla="*/ 284 h 320"/>
                  <a:gd name="T118" fmla="*/ 76 w 188"/>
                  <a:gd name="T119" fmla="*/ 302 h 3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8" h="320">
                    <a:moveTo>
                      <a:pt x="90" y="234"/>
                    </a:moveTo>
                    <a:lnTo>
                      <a:pt x="94" y="234"/>
                    </a:lnTo>
                    <a:lnTo>
                      <a:pt x="98" y="234"/>
                    </a:lnTo>
                    <a:lnTo>
                      <a:pt x="98" y="232"/>
                    </a:lnTo>
                    <a:lnTo>
                      <a:pt x="98" y="234"/>
                    </a:lnTo>
                    <a:lnTo>
                      <a:pt x="102" y="234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6" y="234"/>
                    </a:lnTo>
                    <a:lnTo>
                      <a:pt x="106" y="232"/>
                    </a:lnTo>
                    <a:lnTo>
                      <a:pt x="108" y="232"/>
                    </a:lnTo>
                    <a:lnTo>
                      <a:pt x="108" y="234"/>
                    </a:lnTo>
                    <a:lnTo>
                      <a:pt x="106" y="234"/>
                    </a:lnTo>
                    <a:lnTo>
                      <a:pt x="102" y="234"/>
                    </a:lnTo>
                    <a:lnTo>
                      <a:pt x="102" y="238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4" y="238"/>
                    </a:lnTo>
                    <a:lnTo>
                      <a:pt x="94" y="242"/>
                    </a:lnTo>
                    <a:lnTo>
                      <a:pt x="90" y="246"/>
                    </a:lnTo>
                    <a:lnTo>
                      <a:pt x="86" y="246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6" y="250"/>
                    </a:lnTo>
                    <a:lnTo>
                      <a:pt x="72" y="250"/>
                    </a:lnTo>
                    <a:lnTo>
                      <a:pt x="76" y="250"/>
                    </a:lnTo>
                    <a:lnTo>
                      <a:pt x="78" y="250"/>
                    </a:lnTo>
                    <a:lnTo>
                      <a:pt x="82" y="250"/>
                    </a:lnTo>
                    <a:lnTo>
                      <a:pt x="82" y="254"/>
                    </a:lnTo>
                    <a:lnTo>
                      <a:pt x="78" y="254"/>
                    </a:lnTo>
                    <a:lnTo>
                      <a:pt x="76" y="254"/>
                    </a:lnTo>
                    <a:lnTo>
                      <a:pt x="78" y="254"/>
                    </a:lnTo>
                    <a:lnTo>
                      <a:pt x="82" y="254"/>
                    </a:lnTo>
                    <a:lnTo>
                      <a:pt x="82" y="258"/>
                    </a:lnTo>
                    <a:lnTo>
                      <a:pt x="82" y="262"/>
                    </a:lnTo>
                    <a:lnTo>
                      <a:pt x="78" y="262"/>
                    </a:lnTo>
                    <a:lnTo>
                      <a:pt x="82" y="262"/>
                    </a:lnTo>
                    <a:lnTo>
                      <a:pt x="78" y="264"/>
                    </a:lnTo>
                    <a:lnTo>
                      <a:pt x="82" y="264"/>
                    </a:lnTo>
                    <a:lnTo>
                      <a:pt x="78" y="264"/>
                    </a:lnTo>
                    <a:lnTo>
                      <a:pt x="78" y="268"/>
                    </a:lnTo>
                    <a:lnTo>
                      <a:pt x="76" y="264"/>
                    </a:lnTo>
                    <a:lnTo>
                      <a:pt x="78" y="268"/>
                    </a:lnTo>
                    <a:lnTo>
                      <a:pt x="78" y="272"/>
                    </a:lnTo>
                    <a:lnTo>
                      <a:pt x="78" y="276"/>
                    </a:lnTo>
                    <a:lnTo>
                      <a:pt x="78" y="280"/>
                    </a:lnTo>
                    <a:lnTo>
                      <a:pt x="76" y="280"/>
                    </a:lnTo>
                    <a:lnTo>
                      <a:pt x="78" y="284"/>
                    </a:lnTo>
                    <a:lnTo>
                      <a:pt x="76" y="288"/>
                    </a:lnTo>
                    <a:lnTo>
                      <a:pt x="76" y="292"/>
                    </a:lnTo>
                    <a:lnTo>
                      <a:pt x="76" y="294"/>
                    </a:lnTo>
                    <a:lnTo>
                      <a:pt x="72" y="298"/>
                    </a:lnTo>
                    <a:lnTo>
                      <a:pt x="72" y="302"/>
                    </a:lnTo>
                    <a:lnTo>
                      <a:pt x="68" y="306"/>
                    </a:lnTo>
                    <a:lnTo>
                      <a:pt x="64" y="302"/>
                    </a:lnTo>
                    <a:lnTo>
                      <a:pt x="60" y="306"/>
                    </a:lnTo>
                    <a:lnTo>
                      <a:pt x="56" y="302"/>
                    </a:lnTo>
                    <a:lnTo>
                      <a:pt x="52" y="302"/>
                    </a:lnTo>
                    <a:lnTo>
                      <a:pt x="52" y="306"/>
                    </a:lnTo>
                    <a:lnTo>
                      <a:pt x="48" y="306"/>
                    </a:lnTo>
                    <a:lnTo>
                      <a:pt x="48" y="310"/>
                    </a:lnTo>
                    <a:lnTo>
                      <a:pt x="46" y="310"/>
                    </a:lnTo>
                    <a:lnTo>
                      <a:pt x="46" y="314"/>
                    </a:lnTo>
                    <a:lnTo>
                      <a:pt x="46" y="318"/>
                    </a:lnTo>
                    <a:lnTo>
                      <a:pt x="48" y="318"/>
                    </a:lnTo>
                    <a:lnTo>
                      <a:pt x="46" y="318"/>
                    </a:lnTo>
                    <a:lnTo>
                      <a:pt x="46" y="320"/>
                    </a:lnTo>
                    <a:lnTo>
                      <a:pt x="42" y="320"/>
                    </a:lnTo>
                    <a:lnTo>
                      <a:pt x="38" y="320"/>
                    </a:lnTo>
                    <a:lnTo>
                      <a:pt x="34" y="320"/>
                    </a:lnTo>
                    <a:lnTo>
                      <a:pt x="30" y="320"/>
                    </a:lnTo>
                    <a:lnTo>
                      <a:pt x="26" y="320"/>
                    </a:lnTo>
                    <a:lnTo>
                      <a:pt x="26" y="318"/>
                    </a:lnTo>
                    <a:lnTo>
                      <a:pt x="30" y="314"/>
                    </a:lnTo>
                    <a:lnTo>
                      <a:pt x="26" y="310"/>
                    </a:lnTo>
                    <a:lnTo>
                      <a:pt x="22" y="306"/>
                    </a:lnTo>
                    <a:lnTo>
                      <a:pt x="18" y="302"/>
                    </a:lnTo>
                    <a:lnTo>
                      <a:pt x="22" y="302"/>
                    </a:lnTo>
                    <a:lnTo>
                      <a:pt x="26" y="302"/>
                    </a:lnTo>
                    <a:lnTo>
                      <a:pt x="22" y="298"/>
                    </a:lnTo>
                    <a:lnTo>
                      <a:pt x="26" y="298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2"/>
                    </a:lnTo>
                    <a:lnTo>
                      <a:pt x="22" y="288"/>
                    </a:lnTo>
                    <a:lnTo>
                      <a:pt x="18" y="288"/>
                    </a:lnTo>
                    <a:lnTo>
                      <a:pt x="18" y="284"/>
                    </a:lnTo>
                    <a:lnTo>
                      <a:pt x="16" y="284"/>
                    </a:lnTo>
                    <a:lnTo>
                      <a:pt x="16" y="280"/>
                    </a:lnTo>
                    <a:lnTo>
                      <a:pt x="16" y="276"/>
                    </a:lnTo>
                    <a:lnTo>
                      <a:pt x="12" y="276"/>
                    </a:lnTo>
                    <a:lnTo>
                      <a:pt x="12" y="272"/>
                    </a:lnTo>
                    <a:lnTo>
                      <a:pt x="12" y="268"/>
                    </a:lnTo>
                    <a:lnTo>
                      <a:pt x="8" y="268"/>
                    </a:lnTo>
                    <a:lnTo>
                      <a:pt x="8" y="264"/>
                    </a:lnTo>
                    <a:lnTo>
                      <a:pt x="12" y="264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8" y="258"/>
                    </a:lnTo>
                    <a:lnTo>
                      <a:pt x="4" y="258"/>
                    </a:lnTo>
                    <a:lnTo>
                      <a:pt x="4" y="254"/>
                    </a:lnTo>
                    <a:lnTo>
                      <a:pt x="4" y="250"/>
                    </a:lnTo>
                    <a:lnTo>
                      <a:pt x="4" y="246"/>
                    </a:lnTo>
                    <a:lnTo>
                      <a:pt x="0" y="246"/>
                    </a:lnTo>
                    <a:lnTo>
                      <a:pt x="4" y="246"/>
                    </a:lnTo>
                    <a:lnTo>
                      <a:pt x="4" y="242"/>
                    </a:lnTo>
                    <a:lnTo>
                      <a:pt x="0" y="242"/>
                    </a:lnTo>
                    <a:lnTo>
                      <a:pt x="0" y="238"/>
                    </a:lnTo>
                    <a:lnTo>
                      <a:pt x="4" y="238"/>
                    </a:lnTo>
                    <a:lnTo>
                      <a:pt x="4" y="242"/>
                    </a:lnTo>
                    <a:lnTo>
                      <a:pt x="8" y="242"/>
                    </a:lnTo>
                    <a:lnTo>
                      <a:pt x="12" y="238"/>
                    </a:lnTo>
                    <a:lnTo>
                      <a:pt x="12" y="234"/>
                    </a:lnTo>
                    <a:lnTo>
                      <a:pt x="12" y="232"/>
                    </a:lnTo>
                    <a:lnTo>
                      <a:pt x="8" y="228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8" y="220"/>
                    </a:lnTo>
                    <a:lnTo>
                      <a:pt x="18" y="216"/>
                    </a:lnTo>
                    <a:lnTo>
                      <a:pt x="18" y="212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18" y="206"/>
                    </a:lnTo>
                    <a:lnTo>
                      <a:pt x="18" y="202"/>
                    </a:lnTo>
                    <a:lnTo>
                      <a:pt x="18" y="198"/>
                    </a:lnTo>
                    <a:lnTo>
                      <a:pt x="16" y="194"/>
                    </a:lnTo>
                    <a:lnTo>
                      <a:pt x="18" y="194"/>
                    </a:lnTo>
                    <a:lnTo>
                      <a:pt x="22" y="194"/>
                    </a:lnTo>
                    <a:lnTo>
                      <a:pt x="22" y="190"/>
                    </a:lnTo>
                    <a:lnTo>
                      <a:pt x="26" y="190"/>
                    </a:lnTo>
                    <a:lnTo>
                      <a:pt x="26" y="186"/>
                    </a:lnTo>
                    <a:lnTo>
                      <a:pt x="22" y="186"/>
                    </a:lnTo>
                    <a:lnTo>
                      <a:pt x="22" y="182"/>
                    </a:lnTo>
                    <a:lnTo>
                      <a:pt x="18" y="182"/>
                    </a:lnTo>
                    <a:lnTo>
                      <a:pt x="16" y="178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16" y="164"/>
                    </a:lnTo>
                    <a:lnTo>
                      <a:pt x="16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46"/>
                    </a:lnTo>
                    <a:lnTo>
                      <a:pt x="12" y="142"/>
                    </a:lnTo>
                    <a:lnTo>
                      <a:pt x="16" y="142"/>
                    </a:lnTo>
                    <a:lnTo>
                      <a:pt x="16" y="138"/>
                    </a:lnTo>
                    <a:lnTo>
                      <a:pt x="16" y="134"/>
                    </a:lnTo>
                    <a:lnTo>
                      <a:pt x="18" y="132"/>
                    </a:lnTo>
                    <a:lnTo>
                      <a:pt x="22" y="128"/>
                    </a:lnTo>
                    <a:lnTo>
                      <a:pt x="26" y="124"/>
                    </a:lnTo>
                    <a:lnTo>
                      <a:pt x="30" y="124"/>
                    </a:lnTo>
                    <a:lnTo>
                      <a:pt x="42" y="124"/>
                    </a:lnTo>
                    <a:lnTo>
                      <a:pt x="46" y="120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42" y="108"/>
                    </a:lnTo>
                    <a:lnTo>
                      <a:pt x="42" y="106"/>
                    </a:lnTo>
                    <a:lnTo>
                      <a:pt x="42" y="102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52" y="82"/>
                    </a:lnTo>
                    <a:lnTo>
                      <a:pt x="48" y="78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64" y="72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0"/>
                    </a:lnTo>
                    <a:lnTo>
                      <a:pt x="72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76" y="46"/>
                    </a:lnTo>
                    <a:lnTo>
                      <a:pt x="72" y="46"/>
                    </a:lnTo>
                    <a:lnTo>
                      <a:pt x="72" y="42"/>
                    </a:lnTo>
                    <a:lnTo>
                      <a:pt x="76" y="42"/>
                    </a:lnTo>
                    <a:lnTo>
                      <a:pt x="78" y="38"/>
                    </a:lnTo>
                    <a:lnTo>
                      <a:pt x="78" y="34"/>
                    </a:lnTo>
                    <a:lnTo>
                      <a:pt x="78" y="30"/>
                    </a:lnTo>
                    <a:lnTo>
                      <a:pt x="86" y="26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102" y="22"/>
                    </a:lnTo>
                    <a:lnTo>
                      <a:pt x="102" y="20"/>
                    </a:lnTo>
                    <a:lnTo>
                      <a:pt x="98" y="20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20" y="20"/>
                    </a:lnTo>
                    <a:lnTo>
                      <a:pt x="124" y="20"/>
                    </a:lnTo>
                    <a:lnTo>
                      <a:pt x="128" y="20"/>
                    </a:lnTo>
                    <a:lnTo>
                      <a:pt x="132" y="16"/>
                    </a:lnTo>
                    <a:lnTo>
                      <a:pt x="128" y="16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2" y="4"/>
                    </a:lnTo>
                    <a:lnTo>
                      <a:pt x="128" y="0"/>
                    </a:lnTo>
                    <a:lnTo>
                      <a:pt x="134" y="0"/>
                    </a:lnTo>
                    <a:lnTo>
                      <a:pt x="138" y="4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50" y="12"/>
                    </a:lnTo>
                    <a:lnTo>
                      <a:pt x="150" y="16"/>
                    </a:lnTo>
                    <a:lnTo>
                      <a:pt x="154" y="16"/>
                    </a:lnTo>
                    <a:lnTo>
                      <a:pt x="158" y="16"/>
                    </a:lnTo>
                    <a:lnTo>
                      <a:pt x="162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76" y="26"/>
                    </a:lnTo>
                    <a:lnTo>
                      <a:pt x="180" y="30"/>
                    </a:lnTo>
                    <a:lnTo>
                      <a:pt x="176" y="30"/>
                    </a:lnTo>
                    <a:lnTo>
                      <a:pt x="176" y="34"/>
                    </a:lnTo>
                    <a:lnTo>
                      <a:pt x="176" y="38"/>
                    </a:lnTo>
                    <a:lnTo>
                      <a:pt x="176" y="42"/>
                    </a:lnTo>
                    <a:lnTo>
                      <a:pt x="180" y="42"/>
                    </a:lnTo>
                    <a:lnTo>
                      <a:pt x="180" y="46"/>
                    </a:lnTo>
                    <a:lnTo>
                      <a:pt x="176" y="48"/>
                    </a:lnTo>
                    <a:lnTo>
                      <a:pt x="180" y="52"/>
                    </a:lnTo>
                    <a:lnTo>
                      <a:pt x="184" y="56"/>
                    </a:lnTo>
                    <a:lnTo>
                      <a:pt x="184" y="60"/>
                    </a:lnTo>
                    <a:lnTo>
                      <a:pt x="184" y="64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8" y="82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6"/>
                    </a:lnTo>
                    <a:lnTo>
                      <a:pt x="168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4" y="82"/>
                    </a:lnTo>
                    <a:lnTo>
                      <a:pt x="162" y="82"/>
                    </a:lnTo>
                    <a:lnTo>
                      <a:pt x="158" y="86"/>
                    </a:lnTo>
                    <a:lnTo>
                      <a:pt x="162" y="86"/>
                    </a:lnTo>
                    <a:lnTo>
                      <a:pt x="162" y="90"/>
                    </a:lnTo>
                    <a:lnTo>
                      <a:pt x="158" y="86"/>
                    </a:lnTo>
                    <a:lnTo>
                      <a:pt x="154" y="86"/>
                    </a:lnTo>
                    <a:lnTo>
                      <a:pt x="154" y="82"/>
                    </a:lnTo>
                    <a:lnTo>
                      <a:pt x="154" y="86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4" y="90"/>
                    </a:lnTo>
                    <a:lnTo>
                      <a:pt x="158" y="90"/>
                    </a:lnTo>
                    <a:lnTo>
                      <a:pt x="154" y="94"/>
                    </a:lnTo>
                    <a:lnTo>
                      <a:pt x="150" y="94"/>
                    </a:lnTo>
                    <a:lnTo>
                      <a:pt x="150" y="90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94"/>
                    </a:lnTo>
                    <a:lnTo>
                      <a:pt x="146" y="94"/>
                    </a:lnTo>
                    <a:lnTo>
                      <a:pt x="150" y="94"/>
                    </a:lnTo>
                    <a:lnTo>
                      <a:pt x="150" y="98"/>
                    </a:lnTo>
                    <a:lnTo>
                      <a:pt x="150" y="102"/>
                    </a:lnTo>
                    <a:lnTo>
                      <a:pt x="146" y="102"/>
                    </a:lnTo>
                    <a:lnTo>
                      <a:pt x="142" y="106"/>
                    </a:lnTo>
                    <a:lnTo>
                      <a:pt x="142" y="108"/>
                    </a:lnTo>
                    <a:lnTo>
                      <a:pt x="146" y="106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6" y="112"/>
                    </a:lnTo>
                    <a:lnTo>
                      <a:pt x="150" y="112"/>
                    </a:lnTo>
                    <a:lnTo>
                      <a:pt x="150" y="116"/>
                    </a:lnTo>
                    <a:lnTo>
                      <a:pt x="146" y="116"/>
                    </a:lnTo>
                    <a:lnTo>
                      <a:pt x="146" y="120"/>
                    </a:lnTo>
                    <a:lnTo>
                      <a:pt x="142" y="124"/>
                    </a:lnTo>
                    <a:lnTo>
                      <a:pt x="138" y="124"/>
                    </a:lnTo>
                    <a:lnTo>
                      <a:pt x="138" y="128"/>
                    </a:lnTo>
                    <a:lnTo>
                      <a:pt x="134" y="132"/>
                    </a:lnTo>
                    <a:lnTo>
                      <a:pt x="132" y="132"/>
                    </a:lnTo>
                    <a:lnTo>
                      <a:pt x="132" y="134"/>
                    </a:lnTo>
                    <a:lnTo>
                      <a:pt x="128" y="134"/>
                    </a:lnTo>
                    <a:lnTo>
                      <a:pt x="124" y="134"/>
                    </a:lnTo>
                    <a:lnTo>
                      <a:pt x="124" y="138"/>
                    </a:lnTo>
                    <a:lnTo>
                      <a:pt x="120" y="138"/>
                    </a:lnTo>
                    <a:lnTo>
                      <a:pt x="120" y="134"/>
                    </a:lnTo>
                    <a:lnTo>
                      <a:pt x="120" y="138"/>
                    </a:lnTo>
                    <a:lnTo>
                      <a:pt x="116" y="138"/>
                    </a:lnTo>
                    <a:lnTo>
                      <a:pt x="116" y="142"/>
                    </a:lnTo>
                    <a:lnTo>
                      <a:pt x="112" y="142"/>
                    </a:lnTo>
                    <a:lnTo>
                      <a:pt x="116" y="142"/>
                    </a:lnTo>
                    <a:lnTo>
                      <a:pt x="112" y="146"/>
                    </a:lnTo>
                    <a:lnTo>
                      <a:pt x="112" y="142"/>
                    </a:lnTo>
                    <a:lnTo>
                      <a:pt x="108" y="142"/>
                    </a:lnTo>
                    <a:lnTo>
                      <a:pt x="112" y="142"/>
                    </a:lnTo>
                    <a:lnTo>
                      <a:pt x="112" y="146"/>
                    </a:lnTo>
                    <a:lnTo>
                      <a:pt x="108" y="146"/>
                    </a:lnTo>
                    <a:lnTo>
                      <a:pt x="106" y="146"/>
                    </a:lnTo>
                    <a:lnTo>
                      <a:pt x="106" y="150"/>
                    </a:lnTo>
                    <a:lnTo>
                      <a:pt x="102" y="150"/>
                    </a:lnTo>
                    <a:lnTo>
                      <a:pt x="106" y="150"/>
                    </a:lnTo>
                    <a:lnTo>
                      <a:pt x="106" y="154"/>
                    </a:lnTo>
                    <a:lnTo>
                      <a:pt x="102" y="154"/>
                    </a:lnTo>
                    <a:lnTo>
                      <a:pt x="98" y="154"/>
                    </a:lnTo>
                    <a:lnTo>
                      <a:pt x="98" y="150"/>
                    </a:lnTo>
                    <a:lnTo>
                      <a:pt x="94" y="150"/>
                    </a:lnTo>
                    <a:lnTo>
                      <a:pt x="98" y="150"/>
                    </a:lnTo>
                    <a:lnTo>
                      <a:pt x="98" y="154"/>
                    </a:lnTo>
                    <a:lnTo>
                      <a:pt x="98" y="158"/>
                    </a:lnTo>
                    <a:lnTo>
                      <a:pt x="98" y="162"/>
                    </a:lnTo>
                    <a:lnTo>
                      <a:pt x="94" y="162"/>
                    </a:ln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8"/>
                    </a:lnTo>
                    <a:lnTo>
                      <a:pt x="90" y="168"/>
                    </a:lnTo>
                    <a:lnTo>
                      <a:pt x="90" y="172"/>
                    </a:lnTo>
                    <a:lnTo>
                      <a:pt x="90" y="176"/>
                    </a:lnTo>
                    <a:lnTo>
                      <a:pt x="90" y="178"/>
                    </a:lnTo>
                    <a:lnTo>
                      <a:pt x="94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90" y="178"/>
                    </a:lnTo>
                    <a:lnTo>
                      <a:pt x="86" y="178"/>
                    </a:lnTo>
                    <a:lnTo>
                      <a:pt x="86" y="182"/>
                    </a:lnTo>
                    <a:lnTo>
                      <a:pt x="86" y="186"/>
                    </a:lnTo>
                    <a:lnTo>
                      <a:pt x="86" y="190"/>
                    </a:lnTo>
                    <a:lnTo>
                      <a:pt x="86" y="194"/>
                    </a:lnTo>
                    <a:lnTo>
                      <a:pt x="86" y="198"/>
                    </a:lnTo>
                    <a:lnTo>
                      <a:pt x="90" y="198"/>
                    </a:lnTo>
                    <a:lnTo>
                      <a:pt x="90" y="202"/>
                    </a:lnTo>
                    <a:lnTo>
                      <a:pt x="90" y="206"/>
                    </a:lnTo>
                    <a:lnTo>
                      <a:pt x="90" y="202"/>
                    </a:lnTo>
                    <a:lnTo>
                      <a:pt x="94" y="202"/>
                    </a:lnTo>
                    <a:lnTo>
                      <a:pt x="94" y="206"/>
                    </a:lnTo>
                    <a:lnTo>
                      <a:pt x="98" y="206"/>
                    </a:lnTo>
                    <a:lnTo>
                      <a:pt x="102" y="208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8" y="212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8" y="216"/>
                    </a:lnTo>
                    <a:lnTo>
                      <a:pt x="112" y="220"/>
                    </a:lnTo>
                    <a:lnTo>
                      <a:pt x="112" y="224"/>
                    </a:lnTo>
                    <a:lnTo>
                      <a:pt x="108" y="224"/>
                    </a:lnTo>
                    <a:lnTo>
                      <a:pt x="108" y="228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106" y="232"/>
                    </a:lnTo>
                    <a:lnTo>
                      <a:pt x="102" y="232"/>
                    </a:lnTo>
                    <a:lnTo>
                      <a:pt x="98" y="232"/>
                    </a:lnTo>
                    <a:lnTo>
                      <a:pt x="94" y="232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24"/>
                    </a:lnTo>
                    <a:lnTo>
                      <a:pt x="94" y="224"/>
                    </a:lnTo>
                    <a:lnTo>
                      <a:pt x="94" y="228"/>
                    </a:lnTo>
                    <a:lnTo>
                      <a:pt x="94" y="232"/>
                    </a:lnTo>
                    <a:lnTo>
                      <a:pt x="90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90" y="232"/>
                    </a:lnTo>
                    <a:lnTo>
                      <a:pt x="86" y="228"/>
                    </a:lnTo>
                    <a:lnTo>
                      <a:pt x="82" y="228"/>
                    </a:lnTo>
                    <a:lnTo>
                      <a:pt x="78" y="228"/>
                    </a:lnTo>
                    <a:lnTo>
                      <a:pt x="76" y="232"/>
                    </a:lnTo>
                    <a:lnTo>
                      <a:pt x="72" y="232"/>
                    </a:lnTo>
                    <a:lnTo>
                      <a:pt x="76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78" y="232"/>
                    </a:lnTo>
                    <a:lnTo>
                      <a:pt x="82" y="232"/>
                    </a:lnTo>
                    <a:lnTo>
                      <a:pt x="86" y="232"/>
                    </a:lnTo>
                    <a:lnTo>
                      <a:pt x="90" y="232"/>
                    </a:lnTo>
                    <a:lnTo>
                      <a:pt x="90" y="234"/>
                    </a:lnTo>
                    <a:lnTo>
                      <a:pt x="86" y="234"/>
                    </a:lnTo>
                    <a:lnTo>
                      <a:pt x="90" y="234"/>
                    </a:lnTo>
                    <a:lnTo>
                      <a:pt x="90" y="234"/>
                    </a:lnTo>
                    <a:lnTo>
                      <a:pt x="90" y="234"/>
                    </a:lnTo>
                    <a:close/>
                    <a:moveTo>
                      <a:pt x="90" y="164"/>
                    </a:moveTo>
                    <a:lnTo>
                      <a:pt x="90" y="162"/>
                    </a:lnTo>
                    <a:lnTo>
                      <a:pt x="90" y="164"/>
                    </a:lnTo>
                    <a:lnTo>
                      <a:pt x="94" y="164"/>
                    </a:lnTo>
                    <a:lnTo>
                      <a:pt x="90" y="164"/>
                    </a:lnTo>
                    <a:lnTo>
                      <a:pt x="90" y="164"/>
                    </a:lnTo>
                    <a:lnTo>
                      <a:pt x="90" y="164"/>
                    </a:lnTo>
                    <a:close/>
                    <a:moveTo>
                      <a:pt x="86" y="232"/>
                    </a:moveTo>
                    <a:lnTo>
                      <a:pt x="90" y="232"/>
                    </a:lnTo>
                    <a:lnTo>
                      <a:pt x="86" y="232"/>
                    </a:lnTo>
                    <a:lnTo>
                      <a:pt x="86" y="232"/>
                    </a:lnTo>
                    <a:lnTo>
                      <a:pt x="86" y="232"/>
                    </a:lnTo>
                    <a:close/>
                    <a:moveTo>
                      <a:pt x="94" y="234"/>
                    </a:moveTo>
                    <a:lnTo>
                      <a:pt x="94" y="232"/>
                    </a:lnTo>
                    <a:lnTo>
                      <a:pt x="98" y="234"/>
                    </a:lnTo>
                    <a:lnTo>
                      <a:pt x="94" y="234"/>
                    </a:lnTo>
                    <a:lnTo>
                      <a:pt x="94" y="234"/>
                    </a:lnTo>
                    <a:lnTo>
                      <a:pt x="94" y="234"/>
                    </a:lnTo>
                    <a:close/>
                    <a:moveTo>
                      <a:pt x="116" y="264"/>
                    </a:moveTo>
                    <a:lnTo>
                      <a:pt x="112" y="264"/>
                    </a:lnTo>
                    <a:lnTo>
                      <a:pt x="116" y="264"/>
                    </a:lnTo>
                    <a:lnTo>
                      <a:pt x="116" y="264"/>
                    </a:lnTo>
                    <a:lnTo>
                      <a:pt x="116" y="264"/>
                    </a:lnTo>
                    <a:close/>
                    <a:moveTo>
                      <a:pt x="106" y="212"/>
                    </a:moveTo>
                    <a:lnTo>
                      <a:pt x="106" y="208"/>
                    </a:lnTo>
                    <a:lnTo>
                      <a:pt x="106" y="206"/>
                    </a:lnTo>
                    <a:lnTo>
                      <a:pt x="106" y="208"/>
                    </a:lnTo>
                    <a:lnTo>
                      <a:pt x="106" y="212"/>
                    </a:lnTo>
                    <a:lnTo>
                      <a:pt x="106" y="212"/>
                    </a:lnTo>
                    <a:lnTo>
                      <a:pt x="106" y="212"/>
                    </a:lnTo>
                    <a:close/>
                    <a:moveTo>
                      <a:pt x="8" y="262"/>
                    </a:moveTo>
                    <a:lnTo>
                      <a:pt x="4" y="262"/>
                    </a:lnTo>
                    <a:lnTo>
                      <a:pt x="8" y="258"/>
                    </a:lnTo>
                    <a:lnTo>
                      <a:pt x="12" y="258"/>
                    </a:lnTo>
                    <a:lnTo>
                      <a:pt x="12" y="262"/>
                    </a:lnTo>
                    <a:lnTo>
                      <a:pt x="8" y="262"/>
                    </a:lnTo>
                    <a:lnTo>
                      <a:pt x="8" y="262"/>
                    </a:lnTo>
                    <a:lnTo>
                      <a:pt x="8" y="262"/>
                    </a:lnTo>
                    <a:close/>
                    <a:moveTo>
                      <a:pt x="8" y="264"/>
                    </a:moveTo>
                    <a:lnTo>
                      <a:pt x="8" y="262"/>
                    </a:lnTo>
                    <a:lnTo>
                      <a:pt x="12" y="262"/>
                    </a:lnTo>
                    <a:lnTo>
                      <a:pt x="12" y="264"/>
                    </a:lnTo>
                    <a:lnTo>
                      <a:pt x="8" y="264"/>
                    </a:lnTo>
                    <a:lnTo>
                      <a:pt x="8" y="264"/>
                    </a:lnTo>
                    <a:lnTo>
                      <a:pt x="8" y="264"/>
                    </a:lnTo>
                    <a:close/>
                    <a:moveTo>
                      <a:pt x="112" y="264"/>
                    </a:moveTo>
                    <a:lnTo>
                      <a:pt x="112" y="268"/>
                    </a:lnTo>
                    <a:lnTo>
                      <a:pt x="108" y="268"/>
                    </a:lnTo>
                    <a:lnTo>
                      <a:pt x="108" y="272"/>
                    </a:lnTo>
                    <a:lnTo>
                      <a:pt x="108" y="276"/>
                    </a:lnTo>
                    <a:lnTo>
                      <a:pt x="108" y="280"/>
                    </a:lnTo>
                    <a:lnTo>
                      <a:pt x="106" y="280"/>
                    </a:lnTo>
                    <a:lnTo>
                      <a:pt x="106" y="284"/>
                    </a:lnTo>
                    <a:lnTo>
                      <a:pt x="102" y="288"/>
                    </a:lnTo>
                    <a:lnTo>
                      <a:pt x="102" y="284"/>
                    </a:lnTo>
                    <a:lnTo>
                      <a:pt x="102" y="280"/>
                    </a:lnTo>
                    <a:lnTo>
                      <a:pt x="102" y="276"/>
                    </a:lnTo>
                    <a:lnTo>
                      <a:pt x="102" y="272"/>
                    </a:lnTo>
                    <a:lnTo>
                      <a:pt x="106" y="268"/>
                    </a:lnTo>
                    <a:lnTo>
                      <a:pt x="108" y="264"/>
                    </a:lnTo>
                    <a:lnTo>
                      <a:pt x="112" y="264"/>
                    </a:lnTo>
                    <a:lnTo>
                      <a:pt x="112" y="264"/>
                    </a:lnTo>
                    <a:lnTo>
                      <a:pt x="112" y="264"/>
                    </a:lnTo>
                    <a:close/>
                    <a:moveTo>
                      <a:pt x="76" y="302"/>
                    </a:moveTo>
                    <a:lnTo>
                      <a:pt x="76" y="298"/>
                    </a:lnTo>
                    <a:lnTo>
                      <a:pt x="76" y="294"/>
                    </a:lnTo>
                    <a:lnTo>
                      <a:pt x="78" y="292"/>
                    </a:lnTo>
                    <a:lnTo>
                      <a:pt x="78" y="288"/>
                    </a:lnTo>
                    <a:lnTo>
                      <a:pt x="82" y="288"/>
                    </a:lnTo>
                    <a:lnTo>
                      <a:pt x="82" y="284"/>
                    </a:lnTo>
                    <a:lnTo>
                      <a:pt x="82" y="280"/>
                    </a:lnTo>
                    <a:lnTo>
                      <a:pt x="86" y="276"/>
                    </a:lnTo>
                    <a:lnTo>
                      <a:pt x="86" y="280"/>
                    </a:lnTo>
                    <a:lnTo>
                      <a:pt x="86" y="284"/>
                    </a:lnTo>
                    <a:lnTo>
                      <a:pt x="82" y="284"/>
                    </a:lnTo>
                    <a:lnTo>
                      <a:pt x="82" y="288"/>
                    </a:lnTo>
                    <a:lnTo>
                      <a:pt x="82" y="292"/>
                    </a:lnTo>
                    <a:lnTo>
                      <a:pt x="78" y="292"/>
                    </a:lnTo>
                    <a:lnTo>
                      <a:pt x="78" y="294"/>
                    </a:lnTo>
                    <a:lnTo>
                      <a:pt x="78" y="298"/>
                    </a:lnTo>
                    <a:lnTo>
                      <a:pt x="78" y="302"/>
                    </a:lnTo>
                    <a:lnTo>
                      <a:pt x="76" y="302"/>
                    </a:lnTo>
                    <a:lnTo>
                      <a:pt x="76" y="302"/>
                    </a:lnTo>
                    <a:lnTo>
                      <a:pt x="76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5" name="Freeform 124">
                <a:extLst>
                  <a:ext uri="{FF2B5EF4-FFF2-40B4-BE49-F238E27FC236}">
                    <a16:creationId xmlns:a16="http://schemas.microsoft.com/office/drawing/2014/main" id="{C3581C8C-5E3F-4936-A7E0-A441A7ECC9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30725" y="3184593"/>
                <a:ext cx="98425" cy="63500"/>
              </a:xfrm>
              <a:custGeom>
                <a:avLst/>
                <a:gdLst>
                  <a:gd name="T0" fmla="*/ 6 w 62"/>
                  <a:gd name="T1" fmla="*/ 14 h 40"/>
                  <a:gd name="T2" fmla="*/ 10 w 62"/>
                  <a:gd name="T3" fmla="*/ 10 h 40"/>
                  <a:gd name="T4" fmla="*/ 10 w 62"/>
                  <a:gd name="T5" fmla="*/ 6 h 40"/>
                  <a:gd name="T6" fmla="*/ 18 w 62"/>
                  <a:gd name="T7" fmla="*/ 6 h 40"/>
                  <a:gd name="T8" fmla="*/ 18 w 62"/>
                  <a:gd name="T9" fmla="*/ 6 h 40"/>
                  <a:gd name="T10" fmla="*/ 18 w 62"/>
                  <a:gd name="T11" fmla="*/ 6 h 40"/>
                  <a:gd name="T12" fmla="*/ 22 w 62"/>
                  <a:gd name="T13" fmla="*/ 4 h 40"/>
                  <a:gd name="T14" fmla="*/ 22 w 62"/>
                  <a:gd name="T15" fmla="*/ 4 h 40"/>
                  <a:gd name="T16" fmla="*/ 26 w 62"/>
                  <a:gd name="T17" fmla="*/ 4 h 40"/>
                  <a:gd name="T18" fmla="*/ 28 w 62"/>
                  <a:gd name="T19" fmla="*/ 4 h 40"/>
                  <a:gd name="T20" fmla="*/ 32 w 62"/>
                  <a:gd name="T21" fmla="*/ 4 h 40"/>
                  <a:gd name="T22" fmla="*/ 36 w 62"/>
                  <a:gd name="T23" fmla="*/ 4 h 40"/>
                  <a:gd name="T24" fmla="*/ 32 w 62"/>
                  <a:gd name="T25" fmla="*/ 4 h 40"/>
                  <a:gd name="T26" fmla="*/ 36 w 62"/>
                  <a:gd name="T27" fmla="*/ 0 h 40"/>
                  <a:gd name="T28" fmla="*/ 36 w 62"/>
                  <a:gd name="T29" fmla="*/ 0 h 40"/>
                  <a:gd name="T30" fmla="*/ 40 w 62"/>
                  <a:gd name="T31" fmla="*/ 0 h 40"/>
                  <a:gd name="T32" fmla="*/ 40 w 62"/>
                  <a:gd name="T33" fmla="*/ 4 h 40"/>
                  <a:gd name="T34" fmla="*/ 48 w 62"/>
                  <a:gd name="T35" fmla="*/ 4 h 40"/>
                  <a:gd name="T36" fmla="*/ 52 w 62"/>
                  <a:gd name="T37" fmla="*/ 6 h 40"/>
                  <a:gd name="T38" fmla="*/ 48 w 62"/>
                  <a:gd name="T39" fmla="*/ 10 h 40"/>
                  <a:gd name="T40" fmla="*/ 48 w 62"/>
                  <a:gd name="T41" fmla="*/ 14 h 40"/>
                  <a:gd name="T42" fmla="*/ 52 w 62"/>
                  <a:gd name="T43" fmla="*/ 14 h 40"/>
                  <a:gd name="T44" fmla="*/ 52 w 62"/>
                  <a:gd name="T45" fmla="*/ 18 h 40"/>
                  <a:gd name="T46" fmla="*/ 56 w 62"/>
                  <a:gd name="T47" fmla="*/ 18 h 40"/>
                  <a:gd name="T48" fmla="*/ 58 w 62"/>
                  <a:gd name="T49" fmla="*/ 14 h 40"/>
                  <a:gd name="T50" fmla="*/ 62 w 62"/>
                  <a:gd name="T51" fmla="*/ 22 h 40"/>
                  <a:gd name="T52" fmla="*/ 62 w 62"/>
                  <a:gd name="T53" fmla="*/ 26 h 40"/>
                  <a:gd name="T54" fmla="*/ 58 w 62"/>
                  <a:gd name="T55" fmla="*/ 22 h 40"/>
                  <a:gd name="T56" fmla="*/ 56 w 62"/>
                  <a:gd name="T57" fmla="*/ 26 h 40"/>
                  <a:gd name="T58" fmla="*/ 56 w 62"/>
                  <a:gd name="T59" fmla="*/ 30 h 40"/>
                  <a:gd name="T60" fmla="*/ 56 w 62"/>
                  <a:gd name="T61" fmla="*/ 30 h 40"/>
                  <a:gd name="T62" fmla="*/ 52 w 62"/>
                  <a:gd name="T63" fmla="*/ 30 h 40"/>
                  <a:gd name="T64" fmla="*/ 48 w 62"/>
                  <a:gd name="T65" fmla="*/ 30 h 40"/>
                  <a:gd name="T66" fmla="*/ 44 w 62"/>
                  <a:gd name="T67" fmla="*/ 26 h 40"/>
                  <a:gd name="T68" fmla="*/ 44 w 62"/>
                  <a:gd name="T69" fmla="*/ 30 h 40"/>
                  <a:gd name="T70" fmla="*/ 40 w 62"/>
                  <a:gd name="T71" fmla="*/ 34 h 40"/>
                  <a:gd name="T72" fmla="*/ 40 w 62"/>
                  <a:gd name="T73" fmla="*/ 36 h 40"/>
                  <a:gd name="T74" fmla="*/ 40 w 62"/>
                  <a:gd name="T75" fmla="*/ 36 h 40"/>
                  <a:gd name="T76" fmla="*/ 40 w 62"/>
                  <a:gd name="T77" fmla="*/ 34 h 40"/>
                  <a:gd name="T78" fmla="*/ 36 w 62"/>
                  <a:gd name="T79" fmla="*/ 34 h 40"/>
                  <a:gd name="T80" fmla="*/ 32 w 62"/>
                  <a:gd name="T81" fmla="*/ 30 h 40"/>
                  <a:gd name="T82" fmla="*/ 32 w 62"/>
                  <a:gd name="T83" fmla="*/ 26 h 40"/>
                  <a:gd name="T84" fmla="*/ 26 w 62"/>
                  <a:gd name="T85" fmla="*/ 36 h 40"/>
                  <a:gd name="T86" fmla="*/ 26 w 62"/>
                  <a:gd name="T87" fmla="*/ 36 h 40"/>
                  <a:gd name="T88" fmla="*/ 22 w 62"/>
                  <a:gd name="T89" fmla="*/ 36 h 40"/>
                  <a:gd name="T90" fmla="*/ 18 w 62"/>
                  <a:gd name="T91" fmla="*/ 36 h 40"/>
                  <a:gd name="T92" fmla="*/ 14 w 62"/>
                  <a:gd name="T93" fmla="*/ 36 h 40"/>
                  <a:gd name="T94" fmla="*/ 10 w 62"/>
                  <a:gd name="T95" fmla="*/ 34 h 40"/>
                  <a:gd name="T96" fmla="*/ 10 w 62"/>
                  <a:gd name="T97" fmla="*/ 26 h 40"/>
                  <a:gd name="T98" fmla="*/ 2 w 62"/>
                  <a:gd name="T99" fmla="*/ 26 h 40"/>
                  <a:gd name="T100" fmla="*/ 2 w 62"/>
                  <a:gd name="T101" fmla="*/ 30 h 40"/>
                  <a:gd name="T102" fmla="*/ 0 w 62"/>
                  <a:gd name="T103" fmla="*/ 34 h 40"/>
                  <a:gd name="T104" fmla="*/ 0 w 62"/>
                  <a:gd name="T105" fmla="*/ 30 h 40"/>
                  <a:gd name="T106" fmla="*/ 0 w 62"/>
                  <a:gd name="T107" fmla="*/ 26 h 40"/>
                  <a:gd name="T108" fmla="*/ 2 w 62"/>
                  <a:gd name="T109" fmla="*/ 22 h 40"/>
                  <a:gd name="T110" fmla="*/ 2 w 62"/>
                  <a:gd name="T111" fmla="*/ 18 h 40"/>
                  <a:gd name="T112" fmla="*/ 36 w 62"/>
                  <a:gd name="T113" fmla="*/ 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62" h="40">
                    <a:moveTo>
                      <a:pt x="2" y="18"/>
                    </a:moveTo>
                    <a:lnTo>
                      <a:pt x="6" y="18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10" y="14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0" y="10"/>
                    </a:lnTo>
                    <a:lnTo>
                      <a:pt x="14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4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48" y="6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2" y="14"/>
                    </a:lnTo>
                    <a:lnTo>
                      <a:pt x="52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8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8"/>
                    </a:lnTo>
                    <a:lnTo>
                      <a:pt x="62" y="18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2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62" y="26"/>
                    </a:lnTo>
                    <a:lnTo>
                      <a:pt x="58" y="26"/>
                    </a:lnTo>
                    <a:lnTo>
                      <a:pt x="58" y="26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8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8" y="30"/>
                    </a:lnTo>
                    <a:lnTo>
                      <a:pt x="58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40" y="34"/>
                    </a:lnTo>
                    <a:lnTo>
                      <a:pt x="40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30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28" y="34"/>
                    </a:lnTo>
                    <a:lnTo>
                      <a:pt x="28" y="34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22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4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2" y="26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18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36" y="0"/>
                    </a:move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6" name="Freeform 125">
                <a:extLst>
                  <a:ext uri="{FF2B5EF4-FFF2-40B4-BE49-F238E27FC236}">
                    <a16:creationId xmlns:a16="http://schemas.microsoft.com/office/drawing/2014/main" id="{86928F68-7A00-461D-8C1F-1100C1F60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9500" y="3029018"/>
                <a:ext cx="403225" cy="260350"/>
              </a:xfrm>
              <a:custGeom>
                <a:avLst/>
                <a:gdLst>
                  <a:gd name="T0" fmla="*/ 96 w 254"/>
                  <a:gd name="T1" fmla="*/ 134 h 164"/>
                  <a:gd name="T2" fmla="*/ 104 w 254"/>
                  <a:gd name="T3" fmla="*/ 124 h 164"/>
                  <a:gd name="T4" fmla="*/ 108 w 254"/>
                  <a:gd name="T5" fmla="*/ 124 h 164"/>
                  <a:gd name="T6" fmla="*/ 104 w 254"/>
                  <a:gd name="T7" fmla="*/ 108 h 164"/>
                  <a:gd name="T8" fmla="*/ 100 w 254"/>
                  <a:gd name="T9" fmla="*/ 98 h 164"/>
                  <a:gd name="T10" fmla="*/ 86 w 254"/>
                  <a:gd name="T11" fmla="*/ 90 h 164"/>
                  <a:gd name="T12" fmla="*/ 64 w 254"/>
                  <a:gd name="T13" fmla="*/ 86 h 164"/>
                  <a:gd name="T14" fmla="*/ 46 w 254"/>
                  <a:gd name="T15" fmla="*/ 98 h 164"/>
                  <a:gd name="T16" fmla="*/ 24 w 254"/>
                  <a:gd name="T17" fmla="*/ 94 h 164"/>
                  <a:gd name="T18" fmla="*/ 8 w 254"/>
                  <a:gd name="T19" fmla="*/ 90 h 164"/>
                  <a:gd name="T20" fmla="*/ 4 w 254"/>
                  <a:gd name="T21" fmla="*/ 74 h 164"/>
                  <a:gd name="T22" fmla="*/ 16 w 254"/>
                  <a:gd name="T23" fmla="*/ 48 h 164"/>
                  <a:gd name="T24" fmla="*/ 26 w 254"/>
                  <a:gd name="T25" fmla="*/ 38 h 164"/>
                  <a:gd name="T26" fmla="*/ 24 w 254"/>
                  <a:gd name="T27" fmla="*/ 18 h 164"/>
                  <a:gd name="T28" fmla="*/ 42 w 254"/>
                  <a:gd name="T29" fmla="*/ 12 h 164"/>
                  <a:gd name="T30" fmla="*/ 64 w 254"/>
                  <a:gd name="T31" fmla="*/ 16 h 164"/>
                  <a:gd name="T32" fmla="*/ 82 w 254"/>
                  <a:gd name="T33" fmla="*/ 18 h 164"/>
                  <a:gd name="T34" fmla="*/ 94 w 254"/>
                  <a:gd name="T35" fmla="*/ 18 h 164"/>
                  <a:gd name="T36" fmla="*/ 108 w 254"/>
                  <a:gd name="T37" fmla="*/ 22 h 164"/>
                  <a:gd name="T38" fmla="*/ 120 w 254"/>
                  <a:gd name="T39" fmla="*/ 18 h 164"/>
                  <a:gd name="T40" fmla="*/ 134 w 254"/>
                  <a:gd name="T41" fmla="*/ 8 h 164"/>
                  <a:gd name="T42" fmla="*/ 156 w 254"/>
                  <a:gd name="T43" fmla="*/ 0 h 164"/>
                  <a:gd name="T44" fmla="*/ 172 w 254"/>
                  <a:gd name="T45" fmla="*/ 12 h 164"/>
                  <a:gd name="T46" fmla="*/ 176 w 254"/>
                  <a:gd name="T47" fmla="*/ 26 h 164"/>
                  <a:gd name="T48" fmla="*/ 190 w 254"/>
                  <a:gd name="T49" fmla="*/ 38 h 164"/>
                  <a:gd name="T50" fmla="*/ 198 w 254"/>
                  <a:gd name="T51" fmla="*/ 42 h 164"/>
                  <a:gd name="T52" fmla="*/ 212 w 254"/>
                  <a:gd name="T53" fmla="*/ 46 h 164"/>
                  <a:gd name="T54" fmla="*/ 232 w 254"/>
                  <a:gd name="T55" fmla="*/ 48 h 164"/>
                  <a:gd name="T56" fmla="*/ 246 w 254"/>
                  <a:gd name="T57" fmla="*/ 56 h 164"/>
                  <a:gd name="T58" fmla="*/ 250 w 254"/>
                  <a:gd name="T59" fmla="*/ 72 h 164"/>
                  <a:gd name="T60" fmla="*/ 254 w 254"/>
                  <a:gd name="T61" fmla="*/ 90 h 164"/>
                  <a:gd name="T62" fmla="*/ 236 w 254"/>
                  <a:gd name="T63" fmla="*/ 98 h 164"/>
                  <a:gd name="T64" fmla="*/ 224 w 254"/>
                  <a:gd name="T65" fmla="*/ 112 h 164"/>
                  <a:gd name="T66" fmla="*/ 206 w 254"/>
                  <a:gd name="T67" fmla="*/ 120 h 164"/>
                  <a:gd name="T68" fmla="*/ 190 w 254"/>
                  <a:gd name="T69" fmla="*/ 124 h 164"/>
                  <a:gd name="T70" fmla="*/ 186 w 254"/>
                  <a:gd name="T71" fmla="*/ 128 h 164"/>
                  <a:gd name="T72" fmla="*/ 172 w 254"/>
                  <a:gd name="T73" fmla="*/ 128 h 164"/>
                  <a:gd name="T74" fmla="*/ 168 w 254"/>
                  <a:gd name="T75" fmla="*/ 130 h 164"/>
                  <a:gd name="T76" fmla="*/ 176 w 254"/>
                  <a:gd name="T77" fmla="*/ 134 h 164"/>
                  <a:gd name="T78" fmla="*/ 186 w 254"/>
                  <a:gd name="T79" fmla="*/ 146 h 164"/>
                  <a:gd name="T80" fmla="*/ 184 w 254"/>
                  <a:gd name="T81" fmla="*/ 138 h 164"/>
                  <a:gd name="T82" fmla="*/ 198 w 254"/>
                  <a:gd name="T83" fmla="*/ 146 h 164"/>
                  <a:gd name="T84" fmla="*/ 194 w 254"/>
                  <a:gd name="T85" fmla="*/ 154 h 164"/>
                  <a:gd name="T86" fmla="*/ 176 w 254"/>
                  <a:gd name="T87" fmla="*/ 160 h 164"/>
                  <a:gd name="T88" fmla="*/ 160 w 254"/>
                  <a:gd name="T89" fmla="*/ 158 h 164"/>
                  <a:gd name="T90" fmla="*/ 150 w 254"/>
                  <a:gd name="T91" fmla="*/ 146 h 164"/>
                  <a:gd name="T92" fmla="*/ 160 w 254"/>
                  <a:gd name="T93" fmla="*/ 134 h 164"/>
                  <a:gd name="T94" fmla="*/ 146 w 254"/>
                  <a:gd name="T95" fmla="*/ 130 h 164"/>
                  <a:gd name="T96" fmla="*/ 138 w 254"/>
                  <a:gd name="T97" fmla="*/ 124 h 164"/>
                  <a:gd name="T98" fmla="*/ 142 w 254"/>
                  <a:gd name="T99" fmla="*/ 124 h 164"/>
                  <a:gd name="T100" fmla="*/ 138 w 254"/>
                  <a:gd name="T101" fmla="*/ 112 h 164"/>
                  <a:gd name="T102" fmla="*/ 134 w 254"/>
                  <a:gd name="T103" fmla="*/ 120 h 164"/>
                  <a:gd name="T104" fmla="*/ 116 w 254"/>
                  <a:gd name="T105" fmla="*/ 134 h 164"/>
                  <a:gd name="T106" fmla="*/ 108 w 254"/>
                  <a:gd name="T107" fmla="*/ 146 h 164"/>
                  <a:gd name="T108" fmla="*/ 94 w 254"/>
                  <a:gd name="T109" fmla="*/ 15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254" h="164">
                    <a:moveTo>
                      <a:pt x="86" y="146"/>
                    </a:moveTo>
                    <a:lnTo>
                      <a:pt x="86" y="142"/>
                    </a:lnTo>
                    <a:lnTo>
                      <a:pt x="90" y="142"/>
                    </a:lnTo>
                    <a:lnTo>
                      <a:pt x="90" y="138"/>
                    </a:lnTo>
                    <a:lnTo>
                      <a:pt x="94" y="138"/>
                    </a:lnTo>
                    <a:lnTo>
                      <a:pt x="94" y="134"/>
                    </a:lnTo>
                    <a:lnTo>
                      <a:pt x="96" y="134"/>
                    </a:lnTo>
                    <a:lnTo>
                      <a:pt x="96" y="130"/>
                    </a:lnTo>
                    <a:lnTo>
                      <a:pt x="96" y="128"/>
                    </a:lnTo>
                    <a:lnTo>
                      <a:pt x="96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8" y="124"/>
                    </a:lnTo>
                    <a:lnTo>
                      <a:pt x="108" y="128"/>
                    </a:lnTo>
                    <a:lnTo>
                      <a:pt x="112" y="128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12" y="124"/>
                    </a:lnTo>
                    <a:lnTo>
                      <a:pt x="112" y="120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4" y="108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4"/>
                    </a:lnTo>
                    <a:lnTo>
                      <a:pt x="104" y="104"/>
                    </a:lnTo>
                    <a:lnTo>
                      <a:pt x="100" y="104"/>
                    </a:lnTo>
                    <a:lnTo>
                      <a:pt x="100" y="102"/>
                    </a:lnTo>
                    <a:lnTo>
                      <a:pt x="100" y="98"/>
                    </a:lnTo>
                    <a:lnTo>
                      <a:pt x="100" y="94"/>
                    </a:lnTo>
                    <a:lnTo>
                      <a:pt x="96" y="94"/>
                    </a:lnTo>
                    <a:lnTo>
                      <a:pt x="94" y="90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2" y="86"/>
                    </a:lnTo>
                    <a:lnTo>
                      <a:pt x="68" y="86"/>
                    </a:lnTo>
                    <a:lnTo>
                      <a:pt x="64" y="86"/>
                    </a:lnTo>
                    <a:lnTo>
                      <a:pt x="64" y="90"/>
                    </a:lnTo>
                    <a:lnTo>
                      <a:pt x="60" y="90"/>
                    </a:lnTo>
                    <a:lnTo>
                      <a:pt x="56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46" y="94"/>
                    </a:lnTo>
                    <a:lnTo>
                      <a:pt x="46" y="98"/>
                    </a:lnTo>
                    <a:lnTo>
                      <a:pt x="42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4" y="94"/>
                    </a:lnTo>
                    <a:lnTo>
                      <a:pt x="30" y="94"/>
                    </a:lnTo>
                    <a:lnTo>
                      <a:pt x="26" y="94"/>
                    </a:lnTo>
                    <a:lnTo>
                      <a:pt x="24" y="94"/>
                    </a:lnTo>
                    <a:lnTo>
                      <a:pt x="20" y="94"/>
                    </a:lnTo>
                    <a:lnTo>
                      <a:pt x="16" y="94"/>
                    </a:lnTo>
                    <a:lnTo>
                      <a:pt x="16" y="90"/>
                    </a:lnTo>
                    <a:lnTo>
                      <a:pt x="16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4" y="86"/>
                    </a:lnTo>
                    <a:lnTo>
                      <a:pt x="0" y="82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20" y="48"/>
                    </a:lnTo>
                    <a:lnTo>
                      <a:pt x="20" y="46"/>
                    </a:lnTo>
                    <a:lnTo>
                      <a:pt x="24" y="46"/>
                    </a:lnTo>
                    <a:lnTo>
                      <a:pt x="24" y="42"/>
                    </a:lnTo>
                    <a:lnTo>
                      <a:pt x="26" y="42"/>
                    </a:lnTo>
                    <a:lnTo>
                      <a:pt x="30" y="42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4" y="26"/>
                    </a:lnTo>
                    <a:lnTo>
                      <a:pt x="24" y="22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8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6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6" y="18"/>
                    </a:lnTo>
                    <a:lnTo>
                      <a:pt x="80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18"/>
                    </a:lnTo>
                    <a:lnTo>
                      <a:pt x="108" y="18"/>
                    </a:lnTo>
                    <a:lnTo>
                      <a:pt x="108" y="22"/>
                    </a:lnTo>
                    <a:lnTo>
                      <a:pt x="112" y="18"/>
                    </a:lnTo>
                    <a:lnTo>
                      <a:pt x="116" y="18"/>
                    </a:lnTo>
                    <a:lnTo>
                      <a:pt x="116" y="22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0" y="22"/>
                    </a:lnTo>
                    <a:lnTo>
                      <a:pt x="120" y="18"/>
                    </a:lnTo>
                    <a:lnTo>
                      <a:pt x="120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4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8"/>
                    </a:lnTo>
                    <a:lnTo>
                      <a:pt x="146" y="8"/>
                    </a:lnTo>
                    <a:lnTo>
                      <a:pt x="146" y="4"/>
                    </a:lnTo>
                    <a:lnTo>
                      <a:pt x="150" y="4"/>
                    </a:lnTo>
                    <a:lnTo>
                      <a:pt x="154" y="4"/>
                    </a:lnTo>
                    <a:lnTo>
                      <a:pt x="156" y="0"/>
                    </a:lnTo>
                    <a:lnTo>
                      <a:pt x="160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4"/>
                    </a:lnTo>
                    <a:lnTo>
                      <a:pt x="168" y="8"/>
                    </a:lnTo>
                    <a:lnTo>
                      <a:pt x="172" y="12"/>
                    </a:lnTo>
                    <a:lnTo>
                      <a:pt x="176" y="16"/>
                    </a:lnTo>
                    <a:lnTo>
                      <a:pt x="172" y="16"/>
                    </a:lnTo>
                    <a:lnTo>
                      <a:pt x="168" y="16"/>
                    </a:lnTo>
                    <a:lnTo>
                      <a:pt x="172" y="18"/>
                    </a:lnTo>
                    <a:lnTo>
                      <a:pt x="172" y="22"/>
                    </a:lnTo>
                    <a:lnTo>
                      <a:pt x="172" y="26"/>
                    </a:lnTo>
                    <a:lnTo>
                      <a:pt x="176" y="26"/>
                    </a:lnTo>
                    <a:lnTo>
                      <a:pt x="180" y="26"/>
                    </a:lnTo>
                    <a:lnTo>
                      <a:pt x="184" y="26"/>
                    </a:lnTo>
                    <a:lnTo>
                      <a:pt x="184" y="30"/>
                    </a:lnTo>
                    <a:lnTo>
                      <a:pt x="186" y="30"/>
                    </a:lnTo>
                    <a:lnTo>
                      <a:pt x="186" y="34"/>
                    </a:lnTo>
                    <a:lnTo>
                      <a:pt x="190" y="34"/>
                    </a:lnTo>
                    <a:lnTo>
                      <a:pt x="190" y="38"/>
                    </a:lnTo>
                    <a:lnTo>
                      <a:pt x="186" y="38"/>
                    </a:lnTo>
                    <a:lnTo>
                      <a:pt x="186" y="42"/>
                    </a:lnTo>
                    <a:lnTo>
                      <a:pt x="190" y="42"/>
                    </a:lnTo>
                    <a:lnTo>
                      <a:pt x="190" y="46"/>
                    </a:lnTo>
                    <a:lnTo>
                      <a:pt x="194" y="46"/>
                    </a:lnTo>
                    <a:lnTo>
                      <a:pt x="194" y="42"/>
                    </a:lnTo>
                    <a:lnTo>
                      <a:pt x="198" y="42"/>
                    </a:lnTo>
                    <a:lnTo>
                      <a:pt x="198" y="46"/>
                    </a:lnTo>
                    <a:lnTo>
                      <a:pt x="202" y="46"/>
                    </a:lnTo>
                    <a:lnTo>
                      <a:pt x="206" y="46"/>
                    </a:lnTo>
                    <a:lnTo>
                      <a:pt x="206" y="48"/>
                    </a:lnTo>
                    <a:lnTo>
                      <a:pt x="206" y="46"/>
                    </a:lnTo>
                    <a:lnTo>
                      <a:pt x="210" y="46"/>
                    </a:lnTo>
                    <a:lnTo>
                      <a:pt x="212" y="46"/>
                    </a:lnTo>
                    <a:lnTo>
                      <a:pt x="216" y="42"/>
                    </a:lnTo>
                    <a:lnTo>
                      <a:pt x="220" y="48"/>
                    </a:lnTo>
                    <a:lnTo>
                      <a:pt x="224" y="48"/>
                    </a:lnTo>
                    <a:lnTo>
                      <a:pt x="224" y="52"/>
                    </a:lnTo>
                    <a:lnTo>
                      <a:pt x="228" y="52"/>
                    </a:lnTo>
                    <a:lnTo>
                      <a:pt x="228" y="48"/>
                    </a:lnTo>
                    <a:lnTo>
                      <a:pt x="232" y="48"/>
                    </a:lnTo>
                    <a:lnTo>
                      <a:pt x="232" y="52"/>
                    </a:lnTo>
                    <a:lnTo>
                      <a:pt x="236" y="52"/>
                    </a:lnTo>
                    <a:lnTo>
                      <a:pt x="240" y="52"/>
                    </a:lnTo>
                    <a:lnTo>
                      <a:pt x="240" y="56"/>
                    </a:lnTo>
                    <a:lnTo>
                      <a:pt x="242" y="52"/>
                    </a:lnTo>
                    <a:lnTo>
                      <a:pt x="242" y="56"/>
                    </a:lnTo>
                    <a:lnTo>
                      <a:pt x="246" y="56"/>
                    </a:lnTo>
                    <a:lnTo>
                      <a:pt x="246" y="60"/>
                    </a:lnTo>
                    <a:lnTo>
                      <a:pt x="250" y="60"/>
                    </a:lnTo>
                    <a:lnTo>
                      <a:pt x="254" y="60"/>
                    </a:lnTo>
                    <a:lnTo>
                      <a:pt x="254" y="64"/>
                    </a:lnTo>
                    <a:lnTo>
                      <a:pt x="254" y="68"/>
                    </a:lnTo>
                    <a:lnTo>
                      <a:pt x="254" y="72"/>
                    </a:lnTo>
                    <a:lnTo>
                      <a:pt x="250" y="72"/>
                    </a:lnTo>
                    <a:lnTo>
                      <a:pt x="250" y="74"/>
                    </a:lnTo>
                    <a:lnTo>
                      <a:pt x="254" y="74"/>
                    </a:lnTo>
                    <a:lnTo>
                      <a:pt x="250" y="74"/>
                    </a:lnTo>
                    <a:lnTo>
                      <a:pt x="250" y="78"/>
                    </a:lnTo>
                    <a:lnTo>
                      <a:pt x="250" y="82"/>
                    </a:lnTo>
                    <a:lnTo>
                      <a:pt x="254" y="86"/>
                    </a:lnTo>
                    <a:lnTo>
                      <a:pt x="254" y="90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46" y="98"/>
                    </a:lnTo>
                    <a:lnTo>
                      <a:pt x="242" y="98"/>
                    </a:lnTo>
                    <a:lnTo>
                      <a:pt x="240" y="98"/>
                    </a:lnTo>
                    <a:lnTo>
                      <a:pt x="236" y="98"/>
                    </a:lnTo>
                    <a:lnTo>
                      <a:pt x="236" y="102"/>
                    </a:lnTo>
                    <a:lnTo>
                      <a:pt x="232" y="102"/>
                    </a:lnTo>
                    <a:lnTo>
                      <a:pt x="228" y="102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8" y="112"/>
                    </a:lnTo>
                    <a:lnTo>
                      <a:pt x="224" y="112"/>
                    </a:lnTo>
                    <a:lnTo>
                      <a:pt x="220" y="112"/>
                    </a:lnTo>
                    <a:lnTo>
                      <a:pt x="216" y="112"/>
                    </a:lnTo>
                    <a:lnTo>
                      <a:pt x="216" y="116"/>
                    </a:lnTo>
                    <a:lnTo>
                      <a:pt x="212" y="116"/>
                    </a:lnTo>
                    <a:lnTo>
                      <a:pt x="210" y="116"/>
                    </a:lnTo>
                    <a:lnTo>
                      <a:pt x="210" y="120"/>
                    </a:lnTo>
                    <a:lnTo>
                      <a:pt x="206" y="120"/>
                    </a:lnTo>
                    <a:lnTo>
                      <a:pt x="206" y="116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198" y="120"/>
                    </a:lnTo>
                    <a:lnTo>
                      <a:pt x="194" y="120"/>
                    </a:lnTo>
                    <a:lnTo>
                      <a:pt x="194" y="124"/>
                    </a:lnTo>
                    <a:lnTo>
                      <a:pt x="190" y="124"/>
                    </a:lnTo>
                    <a:lnTo>
                      <a:pt x="186" y="128"/>
                    </a:lnTo>
                    <a:lnTo>
                      <a:pt x="186" y="130"/>
                    </a:lnTo>
                    <a:lnTo>
                      <a:pt x="184" y="130"/>
                    </a:lnTo>
                    <a:lnTo>
                      <a:pt x="186" y="130"/>
                    </a:lnTo>
                    <a:lnTo>
                      <a:pt x="186" y="128"/>
                    </a:lnTo>
                    <a:lnTo>
                      <a:pt x="186" y="124"/>
                    </a:lnTo>
                    <a:lnTo>
                      <a:pt x="186" y="128"/>
                    </a:lnTo>
                    <a:lnTo>
                      <a:pt x="184" y="128"/>
                    </a:lnTo>
                    <a:lnTo>
                      <a:pt x="180" y="130"/>
                    </a:lnTo>
                    <a:lnTo>
                      <a:pt x="176" y="130"/>
                    </a:lnTo>
                    <a:lnTo>
                      <a:pt x="176" y="134"/>
                    </a:lnTo>
                    <a:lnTo>
                      <a:pt x="176" y="130"/>
                    </a:lnTo>
                    <a:lnTo>
                      <a:pt x="172" y="130"/>
                    </a:lnTo>
                    <a:lnTo>
                      <a:pt x="172" y="128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72" y="130"/>
                    </a:lnTo>
                    <a:lnTo>
                      <a:pt x="168" y="130"/>
                    </a:lnTo>
                    <a:lnTo>
                      <a:pt x="164" y="128"/>
                    </a:lnTo>
                    <a:lnTo>
                      <a:pt x="164" y="130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68" y="130"/>
                    </a:lnTo>
                    <a:lnTo>
                      <a:pt x="168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2" y="134"/>
                    </a:lnTo>
                    <a:lnTo>
                      <a:pt x="176" y="134"/>
                    </a:lnTo>
                    <a:lnTo>
                      <a:pt x="176" y="138"/>
                    </a:lnTo>
                    <a:lnTo>
                      <a:pt x="180" y="138"/>
                    </a:lnTo>
                    <a:lnTo>
                      <a:pt x="180" y="142"/>
                    </a:lnTo>
                    <a:lnTo>
                      <a:pt x="184" y="142"/>
                    </a:lnTo>
                    <a:lnTo>
                      <a:pt x="184" y="146"/>
                    </a:lnTo>
                    <a:lnTo>
                      <a:pt x="186" y="150"/>
                    </a:lnTo>
                    <a:lnTo>
                      <a:pt x="186" y="146"/>
                    </a:lnTo>
                    <a:lnTo>
                      <a:pt x="184" y="142"/>
                    </a:lnTo>
                    <a:lnTo>
                      <a:pt x="184" y="138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0"/>
                    </a:lnTo>
                    <a:lnTo>
                      <a:pt x="180" y="134"/>
                    </a:lnTo>
                    <a:lnTo>
                      <a:pt x="184" y="138"/>
                    </a:lnTo>
                    <a:lnTo>
                      <a:pt x="184" y="142"/>
                    </a:lnTo>
                    <a:lnTo>
                      <a:pt x="186" y="146"/>
                    </a:lnTo>
                    <a:lnTo>
                      <a:pt x="190" y="146"/>
                    </a:lnTo>
                    <a:lnTo>
                      <a:pt x="190" y="150"/>
                    </a:lnTo>
                    <a:lnTo>
                      <a:pt x="190" y="146"/>
                    </a:lnTo>
                    <a:lnTo>
                      <a:pt x="194" y="146"/>
                    </a:lnTo>
                    <a:lnTo>
                      <a:pt x="198" y="146"/>
                    </a:lnTo>
                    <a:lnTo>
                      <a:pt x="202" y="146"/>
                    </a:lnTo>
                    <a:lnTo>
                      <a:pt x="206" y="146"/>
                    </a:lnTo>
                    <a:lnTo>
                      <a:pt x="202" y="146"/>
                    </a:lnTo>
                    <a:lnTo>
                      <a:pt x="202" y="150"/>
                    </a:lnTo>
                    <a:lnTo>
                      <a:pt x="202" y="154"/>
                    </a:lnTo>
                    <a:lnTo>
                      <a:pt x="198" y="154"/>
                    </a:lnTo>
                    <a:lnTo>
                      <a:pt x="194" y="154"/>
                    </a:lnTo>
                    <a:lnTo>
                      <a:pt x="190" y="154"/>
                    </a:lnTo>
                    <a:lnTo>
                      <a:pt x="190" y="150"/>
                    </a:lnTo>
                    <a:lnTo>
                      <a:pt x="186" y="154"/>
                    </a:lnTo>
                    <a:lnTo>
                      <a:pt x="184" y="158"/>
                    </a:lnTo>
                    <a:lnTo>
                      <a:pt x="180" y="158"/>
                    </a:lnTo>
                    <a:lnTo>
                      <a:pt x="176" y="158"/>
                    </a:lnTo>
                    <a:lnTo>
                      <a:pt x="176" y="160"/>
                    </a:lnTo>
                    <a:lnTo>
                      <a:pt x="172" y="160"/>
                    </a:lnTo>
                    <a:lnTo>
                      <a:pt x="172" y="164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0" y="164"/>
                    </a:lnTo>
                    <a:lnTo>
                      <a:pt x="160" y="160"/>
                    </a:lnTo>
                    <a:lnTo>
                      <a:pt x="160" y="158"/>
                    </a:lnTo>
                    <a:lnTo>
                      <a:pt x="164" y="158"/>
                    </a:lnTo>
                    <a:lnTo>
                      <a:pt x="164" y="154"/>
                    </a:lnTo>
                    <a:lnTo>
                      <a:pt x="160" y="154"/>
                    </a:lnTo>
                    <a:lnTo>
                      <a:pt x="160" y="150"/>
                    </a:lnTo>
                    <a:lnTo>
                      <a:pt x="156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38"/>
                    </a:lnTo>
                    <a:lnTo>
                      <a:pt x="156" y="138"/>
                    </a:lnTo>
                    <a:lnTo>
                      <a:pt x="160" y="138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4" y="130"/>
                    </a:lnTo>
                    <a:lnTo>
                      <a:pt x="160" y="130"/>
                    </a:lnTo>
                    <a:lnTo>
                      <a:pt x="156" y="130"/>
                    </a:lnTo>
                    <a:lnTo>
                      <a:pt x="154" y="130"/>
                    </a:lnTo>
                    <a:lnTo>
                      <a:pt x="150" y="130"/>
                    </a:lnTo>
                    <a:lnTo>
                      <a:pt x="146" y="130"/>
                    </a:lnTo>
                    <a:lnTo>
                      <a:pt x="142" y="130"/>
                    </a:lnTo>
                    <a:lnTo>
                      <a:pt x="142" y="128"/>
                    </a:lnTo>
                    <a:lnTo>
                      <a:pt x="138" y="128"/>
                    </a:lnTo>
                    <a:lnTo>
                      <a:pt x="142" y="128"/>
                    </a:lnTo>
                    <a:lnTo>
                      <a:pt x="138" y="124"/>
                    </a:lnTo>
                    <a:lnTo>
                      <a:pt x="134" y="124"/>
                    </a:lnTo>
                    <a:lnTo>
                      <a:pt x="138" y="124"/>
                    </a:lnTo>
                    <a:lnTo>
                      <a:pt x="142" y="124"/>
                    </a:lnTo>
                    <a:lnTo>
                      <a:pt x="146" y="124"/>
                    </a:lnTo>
                    <a:lnTo>
                      <a:pt x="150" y="120"/>
                    </a:lnTo>
                    <a:lnTo>
                      <a:pt x="146" y="120"/>
                    </a:lnTo>
                    <a:lnTo>
                      <a:pt x="146" y="124"/>
                    </a:lnTo>
                    <a:lnTo>
                      <a:pt x="142" y="120"/>
                    </a:lnTo>
                    <a:lnTo>
                      <a:pt x="142" y="124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38" y="112"/>
                    </a:lnTo>
                    <a:lnTo>
                      <a:pt x="138" y="108"/>
                    </a:lnTo>
                    <a:lnTo>
                      <a:pt x="134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8" y="116"/>
                    </a:lnTo>
                    <a:lnTo>
                      <a:pt x="138" y="120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34" y="120"/>
                    </a:lnTo>
                    <a:lnTo>
                      <a:pt x="134" y="116"/>
                    </a:lnTo>
                    <a:lnTo>
                      <a:pt x="134" y="120"/>
                    </a:lnTo>
                    <a:lnTo>
                      <a:pt x="130" y="120"/>
                    </a:lnTo>
                    <a:lnTo>
                      <a:pt x="126" y="120"/>
                    </a:lnTo>
                    <a:lnTo>
                      <a:pt x="124" y="124"/>
                    </a:lnTo>
                    <a:lnTo>
                      <a:pt x="124" y="128"/>
                    </a:lnTo>
                    <a:lnTo>
                      <a:pt x="120" y="128"/>
                    </a:lnTo>
                    <a:lnTo>
                      <a:pt x="120" y="130"/>
                    </a:lnTo>
                    <a:lnTo>
                      <a:pt x="116" y="134"/>
                    </a:lnTo>
                    <a:lnTo>
                      <a:pt x="112" y="138"/>
                    </a:lnTo>
                    <a:lnTo>
                      <a:pt x="108" y="138"/>
                    </a:lnTo>
                    <a:lnTo>
                      <a:pt x="108" y="142"/>
                    </a:lnTo>
                    <a:lnTo>
                      <a:pt x="108" y="138"/>
                    </a:lnTo>
                    <a:lnTo>
                      <a:pt x="104" y="138"/>
                    </a:lnTo>
                    <a:lnTo>
                      <a:pt x="104" y="142"/>
                    </a:lnTo>
                    <a:lnTo>
                      <a:pt x="108" y="146"/>
                    </a:lnTo>
                    <a:lnTo>
                      <a:pt x="108" y="150"/>
                    </a:lnTo>
                    <a:lnTo>
                      <a:pt x="108" y="146"/>
                    </a:lnTo>
                    <a:lnTo>
                      <a:pt x="104" y="146"/>
                    </a:lnTo>
                    <a:lnTo>
                      <a:pt x="100" y="146"/>
                    </a:lnTo>
                    <a:lnTo>
                      <a:pt x="96" y="146"/>
                    </a:lnTo>
                    <a:lnTo>
                      <a:pt x="94" y="146"/>
                    </a:lnTo>
                    <a:lnTo>
                      <a:pt x="94" y="150"/>
                    </a:lnTo>
                    <a:lnTo>
                      <a:pt x="90" y="150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7" name="Freeform 126">
                <a:extLst>
                  <a:ext uri="{FF2B5EF4-FFF2-40B4-BE49-F238E27FC236}">
                    <a16:creationId xmlns:a16="http://schemas.microsoft.com/office/drawing/2014/main" id="{1281EF53-1067-4361-97FD-CABEF5C903C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210050" y="2733743"/>
                <a:ext cx="225425" cy="381000"/>
              </a:xfrm>
              <a:custGeom>
                <a:avLst/>
                <a:gdLst>
                  <a:gd name="T0" fmla="*/ 106 w 142"/>
                  <a:gd name="T1" fmla="*/ 2 h 240"/>
                  <a:gd name="T2" fmla="*/ 98 w 142"/>
                  <a:gd name="T3" fmla="*/ 10 h 240"/>
                  <a:gd name="T4" fmla="*/ 94 w 142"/>
                  <a:gd name="T5" fmla="*/ 14 h 240"/>
                  <a:gd name="T6" fmla="*/ 76 w 142"/>
                  <a:gd name="T7" fmla="*/ 44 h 240"/>
                  <a:gd name="T8" fmla="*/ 72 w 142"/>
                  <a:gd name="T9" fmla="*/ 48 h 240"/>
                  <a:gd name="T10" fmla="*/ 46 w 142"/>
                  <a:gd name="T11" fmla="*/ 130 h 240"/>
                  <a:gd name="T12" fmla="*/ 50 w 142"/>
                  <a:gd name="T13" fmla="*/ 108 h 240"/>
                  <a:gd name="T14" fmla="*/ 38 w 142"/>
                  <a:gd name="T15" fmla="*/ 122 h 240"/>
                  <a:gd name="T16" fmla="*/ 34 w 142"/>
                  <a:gd name="T17" fmla="*/ 108 h 240"/>
                  <a:gd name="T18" fmla="*/ 42 w 142"/>
                  <a:gd name="T19" fmla="*/ 92 h 240"/>
                  <a:gd name="T20" fmla="*/ 34 w 142"/>
                  <a:gd name="T21" fmla="*/ 92 h 240"/>
                  <a:gd name="T22" fmla="*/ 34 w 142"/>
                  <a:gd name="T23" fmla="*/ 78 h 240"/>
                  <a:gd name="T24" fmla="*/ 42 w 142"/>
                  <a:gd name="T25" fmla="*/ 62 h 240"/>
                  <a:gd name="T26" fmla="*/ 56 w 142"/>
                  <a:gd name="T27" fmla="*/ 52 h 240"/>
                  <a:gd name="T28" fmla="*/ 60 w 142"/>
                  <a:gd name="T29" fmla="*/ 62 h 240"/>
                  <a:gd name="T30" fmla="*/ 56 w 142"/>
                  <a:gd name="T31" fmla="*/ 70 h 240"/>
                  <a:gd name="T32" fmla="*/ 72 w 142"/>
                  <a:gd name="T33" fmla="*/ 70 h 240"/>
                  <a:gd name="T34" fmla="*/ 90 w 142"/>
                  <a:gd name="T35" fmla="*/ 82 h 240"/>
                  <a:gd name="T36" fmla="*/ 80 w 142"/>
                  <a:gd name="T37" fmla="*/ 100 h 240"/>
                  <a:gd name="T38" fmla="*/ 82 w 142"/>
                  <a:gd name="T39" fmla="*/ 108 h 240"/>
                  <a:gd name="T40" fmla="*/ 98 w 142"/>
                  <a:gd name="T41" fmla="*/ 134 h 240"/>
                  <a:gd name="T42" fmla="*/ 112 w 142"/>
                  <a:gd name="T43" fmla="*/ 156 h 240"/>
                  <a:gd name="T44" fmla="*/ 108 w 142"/>
                  <a:gd name="T45" fmla="*/ 160 h 240"/>
                  <a:gd name="T46" fmla="*/ 124 w 142"/>
                  <a:gd name="T47" fmla="*/ 176 h 240"/>
                  <a:gd name="T48" fmla="*/ 136 w 142"/>
                  <a:gd name="T49" fmla="*/ 198 h 240"/>
                  <a:gd name="T50" fmla="*/ 124 w 142"/>
                  <a:gd name="T51" fmla="*/ 210 h 240"/>
                  <a:gd name="T52" fmla="*/ 132 w 142"/>
                  <a:gd name="T53" fmla="*/ 220 h 240"/>
                  <a:gd name="T54" fmla="*/ 106 w 142"/>
                  <a:gd name="T55" fmla="*/ 224 h 240"/>
                  <a:gd name="T56" fmla="*/ 82 w 142"/>
                  <a:gd name="T57" fmla="*/ 224 h 240"/>
                  <a:gd name="T58" fmla="*/ 50 w 142"/>
                  <a:gd name="T59" fmla="*/ 232 h 240"/>
                  <a:gd name="T60" fmla="*/ 46 w 142"/>
                  <a:gd name="T61" fmla="*/ 228 h 240"/>
                  <a:gd name="T62" fmla="*/ 76 w 142"/>
                  <a:gd name="T63" fmla="*/ 210 h 240"/>
                  <a:gd name="T64" fmla="*/ 64 w 142"/>
                  <a:gd name="T65" fmla="*/ 210 h 240"/>
                  <a:gd name="T66" fmla="*/ 46 w 142"/>
                  <a:gd name="T67" fmla="*/ 206 h 240"/>
                  <a:gd name="T68" fmla="*/ 56 w 142"/>
                  <a:gd name="T69" fmla="*/ 190 h 240"/>
                  <a:gd name="T70" fmla="*/ 50 w 142"/>
                  <a:gd name="T71" fmla="*/ 176 h 240"/>
                  <a:gd name="T72" fmla="*/ 76 w 142"/>
                  <a:gd name="T73" fmla="*/ 168 h 240"/>
                  <a:gd name="T74" fmla="*/ 68 w 142"/>
                  <a:gd name="T75" fmla="*/ 146 h 240"/>
                  <a:gd name="T76" fmla="*/ 64 w 142"/>
                  <a:gd name="T77" fmla="*/ 134 h 240"/>
                  <a:gd name="T78" fmla="*/ 50 w 142"/>
                  <a:gd name="T79" fmla="*/ 138 h 240"/>
                  <a:gd name="T80" fmla="*/ 16 w 142"/>
                  <a:gd name="T81" fmla="*/ 62 h 240"/>
                  <a:gd name="T82" fmla="*/ 26 w 142"/>
                  <a:gd name="T83" fmla="*/ 60 h 240"/>
                  <a:gd name="T84" fmla="*/ 8 w 142"/>
                  <a:gd name="T85" fmla="*/ 74 h 240"/>
                  <a:gd name="T86" fmla="*/ 26 w 142"/>
                  <a:gd name="T87" fmla="*/ 86 h 240"/>
                  <a:gd name="T88" fmla="*/ 30 w 142"/>
                  <a:gd name="T89" fmla="*/ 74 h 240"/>
                  <a:gd name="T90" fmla="*/ 30 w 142"/>
                  <a:gd name="T91" fmla="*/ 78 h 240"/>
                  <a:gd name="T92" fmla="*/ 12 w 142"/>
                  <a:gd name="T93" fmla="*/ 82 h 240"/>
                  <a:gd name="T94" fmla="*/ 12 w 142"/>
                  <a:gd name="T95" fmla="*/ 90 h 240"/>
                  <a:gd name="T96" fmla="*/ 22 w 142"/>
                  <a:gd name="T97" fmla="*/ 96 h 240"/>
                  <a:gd name="T98" fmla="*/ 34 w 142"/>
                  <a:gd name="T99" fmla="*/ 104 h 240"/>
                  <a:gd name="T100" fmla="*/ 26 w 142"/>
                  <a:gd name="T101" fmla="*/ 96 h 240"/>
                  <a:gd name="T102" fmla="*/ 30 w 142"/>
                  <a:gd name="T103" fmla="*/ 112 h 240"/>
                  <a:gd name="T104" fmla="*/ 26 w 142"/>
                  <a:gd name="T105" fmla="*/ 112 h 240"/>
                  <a:gd name="T106" fmla="*/ 46 w 142"/>
                  <a:gd name="T107" fmla="*/ 116 h 240"/>
                  <a:gd name="T108" fmla="*/ 20 w 142"/>
                  <a:gd name="T109" fmla="*/ 146 h 240"/>
                  <a:gd name="T110" fmla="*/ 4 w 142"/>
                  <a:gd name="T111" fmla="*/ 138 h 240"/>
                  <a:gd name="T112" fmla="*/ 34 w 142"/>
                  <a:gd name="T113" fmla="*/ 138 h 240"/>
                  <a:gd name="T114" fmla="*/ 34 w 142"/>
                  <a:gd name="T115" fmla="*/ 150 h 240"/>
                  <a:gd name="T116" fmla="*/ 56 w 142"/>
                  <a:gd name="T117" fmla="*/ 164 h 240"/>
                  <a:gd name="T118" fmla="*/ 128 w 142"/>
                  <a:gd name="T119" fmla="*/ 210 h 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42" h="240">
                    <a:moveTo>
                      <a:pt x="80" y="36"/>
                    </a:moveTo>
                    <a:lnTo>
                      <a:pt x="82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close/>
                    <a:moveTo>
                      <a:pt x="106" y="2"/>
                    </a:moveTo>
                    <a:lnTo>
                      <a:pt x="102" y="2"/>
                    </a:lnTo>
                    <a:lnTo>
                      <a:pt x="106" y="0"/>
                    </a:lnTo>
                    <a:lnTo>
                      <a:pt x="106" y="2"/>
                    </a:lnTo>
                    <a:lnTo>
                      <a:pt x="106" y="2"/>
                    </a:lnTo>
                    <a:lnTo>
                      <a:pt x="106" y="2"/>
                    </a:lnTo>
                    <a:close/>
                    <a:moveTo>
                      <a:pt x="102" y="6"/>
                    </a:moveTo>
                    <a:lnTo>
                      <a:pt x="102" y="2"/>
                    </a:lnTo>
                    <a:lnTo>
                      <a:pt x="102" y="6"/>
                    </a:lnTo>
                    <a:lnTo>
                      <a:pt x="102" y="6"/>
                    </a:lnTo>
                    <a:lnTo>
                      <a:pt x="102" y="6"/>
                    </a:lnTo>
                    <a:close/>
                    <a:moveTo>
                      <a:pt x="94" y="14"/>
                    </a:moveTo>
                    <a:lnTo>
                      <a:pt x="98" y="10"/>
                    </a:lnTo>
                    <a:lnTo>
                      <a:pt x="94" y="10"/>
                    </a:lnTo>
                    <a:lnTo>
                      <a:pt x="94" y="6"/>
                    </a:lnTo>
                    <a:lnTo>
                      <a:pt x="98" y="6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14"/>
                    </a:lnTo>
                    <a:lnTo>
                      <a:pt x="98" y="14"/>
                    </a:lnTo>
                    <a:lnTo>
                      <a:pt x="102" y="14"/>
                    </a:lnTo>
                    <a:lnTo>
                      <a:pt x="102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8" y="18"/>
                    </a:lnTo>
                    <a:lnTo>
                      <a:pt x="98" y="14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4" y="14"/>
                    </a:lnTo>
                    <a:lnTo>
                      <a:pt x="94" y="14"/>
                    </a:lnTo>
                    <a:close/>
                    <a:moveTo>
                      <a:pt x="76" y="44"/>
                    </a:moveTo>
                    <a:lnTo>
                      <a:pt x="72" y="44"/>
                    </a:lnTo>
                    <a:lnTo>
                      <a:pt x="68" y="44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close/>
                    <a:moveTo>
                      <a:pt x="72" y="48"/>
                    </a:move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close/>
                    <a:moveTo>
                      <a:pt x="76" y="48"/>
                    </a:moveTo>
                    <a:lnTo>
                      <a:pt x="72" y="48"/>
                    </a:lnTo>
                    <a:lnTo>
                      <a:pt x="76" y="48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close/>
                    <a:moveTo>
                      <a:pt x="50" y="138"/>
                    </a:moveTo>
                    <a:lnTo>
                      <a:pt x="46" y="138"/>
                    </a:lnTo>
                    <a:lnTo>
                      <a:pt x="46" y="134"/>
                    </a:lnTo>
                    <a:lnTo>
                      <a:pt x="42" y="134"/>
                    </a:lnTo>
                    <a:lnTo>
                      <a:pt x="42" y="130"/>
                    </a:lnTo>
                    <a:lnTo>
                      <a:pt x="46" y="130"/>
                    </a:lnTo>
                    <a:lnTo>
                      <a:pt x="46" y="126"/>
                    </a:lnTo>
                    <a:lnTo>
                      <a:pt x="50" y="126"/>
                    </a:lnTo>
                    <a:lnTo>
                      <a:pt x="50" y="122"/>
                    </a:lnTo>
                    <a:lnTo>
                      <a:pt x="50" y="120"/>
                    </a:lnTo>
                    <a:lnTo>
                      <a:pt x="50" y="116"/>
                    </a:lnTo>
                    <a:lnTo>
                      <a:pt x="46" y="116"/>
                    </a:lnTo>
                    <a:lnTo>
                      <a:pt x="46" y="112"/>
                    </a:lnTo>
                    <a:lnTo>
                      <a:pt x="50" y="112"/>
                    </a:lnTo>
                    <a:lnTo>
                      <a:pt x="52" y="112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46" y="108"/>
                    </a:lnTo>
                    <a:lnTo>
                      <a:pt x="46" y="112"/>
                    </a:lnTo>
                    <a:lnTo>
                      <a:pt x="42" y="112"/>
                    </a:lnTo>
                    <a:lnTo>
                      <a:pt x="42" y="108"/>
                    </a:lnTo>
                    <a:lnTo>
                      <a:pt x="46" y="104"/>
                    </a:lnTo>
                    <a:lnTo>
                      <a:pt x="42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8" y="122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4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4" y="112"/>
                    </a:lnTo>
                    <a:lnTo>
                      <a:pt x="38" y="112"/>
                    </a:lnTo>
                    <a:lnTo>
                      <a:pt x="38" y="108"/>
                    </a:lnTo>
                    <a:lnTo>
                      <a:pt x="34" y="112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42" y="100"/>
                    </a:lnTo>
                    <a:lnTo>
                      <a:pt x="46" y="100"/>
                    </a:lnTo>
                    <a:lnTo>
                      <a:pt x="46" y="96"/>
                    </a:lnTo>
                    <a:lnTo>
                      <a:pt x="42" y="100"/>
                    </a:lnTo>
                    <a:lnTo>
                      <a:pt x="42" y="96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2" y="92"/>
                    </a:lnTo>
                    <a:lnTo>
                      <a:pt x="38" y="96"/>
                    </a:lnTo>
                    <a:lnTo>
                      <a:pt x="34" y="96"/>
                    </a:lnTo>
                    <a:lnTo>
                      <a:pt x="30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8" y="92"/>
                    </a:lnTo>
                    <a:lnTo>
                      <a:pt x="34" y="92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30" y="92"/>
                    </a:lnTo>
                    <a:lnTo>
                      <a:pt x="34" y="92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8" y="90"/>
                    </a:lnTo>
                    <a:lnTo>
                      <a:pt x="34" y="86"/>
                    </a:lnTo>
                    <a:lnTo>
                      <a:pt x="38" y="86"/>
                    </a:lnTo>
                    <a:lnTo>
                      <a:pt x="38" y="82"/>
                    </a:lnTo>
                    <a:lnTo>
                      <a:pt x="38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8" y="74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8" y="70"/>
                    </a:lnTo>
                    <a:lnTo>
                      <a:pt x="38" y="66"/>
                    </a:lnTo>
                    <a:lnTo>
                      <a:pt x="42" y="66"/>
                    </a:lnTo>
                    <a:lnTo>
                      <a:pt x="46" y="66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38" y="62"/>
                    </a:lnTo>
                    <a:lnTo>
                      <a:pt x="42" y="62"/>
                    </a:lnTo>
                    <a:lnTo>
                      <a:pt x="42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68" y="60"/>
                    </a:lnTo>
                    <a:lnTo>
                      <a:pt x="68" y="62"/>
                    </a:lnTo>
                    <a:lnTo>
                      <a:pt x="64" y="62"/>
                    </a:lnTo>
                    <a:lnTo>
                      <a:pt x="60" y="62"/>
                    </a:lnTo>
                    <a:lnTo>
                      <a:pt x="60" y="66"/>
                    </a:lnTo>
                    <a:lnTo>
                      <a:pt x="56" y="66"/>
                    </a:lnTo>
                    <a:lnTo>
                      <a:pt x="52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60" y="70"/>
                    </a:lnTo>
                    <a:lnTo>
                      <a:pt x="60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2" y="74"/>
                    </a:lnTo>
                    <a:lnTo>
                      <a:pt x="56" y="74"/>
                    </a:lnTo>
                    <a:lnTo>
                      <a:pt x="56" y="70"/>
                    </a:lnTo>
                    <a:lnTo>
                      <a:pt x="60" y="74"/>
                    </a:lnTo>
                    <a:lnTo>
                      <a:pt x="56" y="74"/>
                    </a:lnTo>
                    <a:lnTo>
                      <a:pt x="56" y="78"/>
                    </a:lnTo>
                    <a:lnTo>
                      <a:pt x="60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8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76" y="74"/>
                    </a:lnTo>
                    <a:lnTo>
                      <a:pt x="76" y="70"/>
                    </a:lnTo>
                    <a:lnTo>
                      <a:pt x="80" y="70"/>
                    </a:lnTo>
                    <a:lnTo>
                      <a:pt x="82" y="74"/>
                    </a:lnTo>
                    <a:lnTo>
                      <a:pt x="86" y="74"/>
                    </a:lnTo>
                    <a:lnTo>
                      <a:pt x="86" y="70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8"/>
                    </a:lnTo>
                    <a:lnTo>
                      <a:pt x="90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90"/>
                    </a:lnTo>
                    <a:lnTo>
                      <a:pt x="82" y="92"/>
                    </a:lnTo>
                    <a:lnTo>
                      <a:pt x="82" y="96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0" y="108"/>
                    </a:lnTo>
                    <a:lnTo>
                      <a:pt x="82" y="108"/>
                    </a:lnTo>
                    <a:lnTo>
                      <a:pt x="82" y="112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94" y="120"/>
                    </a:lnTo>
                    <a:lnTo>
                      <a:pt x="94" y="122"/>
                    </a:lnTo>
                    <a:lnTo>
                      <a:pt x="94" y="126"/>
                    </a:lnTo>
                    <a:lnTo>
                      <a:pt x="94" y="130"/>
                    </a:lnTo>
                    <a:lnTo>
                      <a:pt x="98" y="130"/>
                    </a:lnTo>
                    <a:lnTo>
                      <a:pt x="98" y="134"/>
                    </a:lnTo>
                    <a:lnTo>
                      <a:pt x="98" y="138"/>
                    </a:lnTo>
                    <a:lnTo>
                      <a:pt x="102" y="138"/>
                    </a:lnTo>
                    <a:lnTo>
                      <a:pt x="106" y="142"/>
                    </a:lnTo>
                    <a:lnTo>
                      <a:pt x="108" y="142"/>
                    </a:lnTo>
                    <a:lnTo>
                      <a:pt x="108" y="146"/>
                    </a:lnTo>
                    <a:lnTo>
                      <a:pt x="112" y="146"/>
                    </a:lnTo>
                    <a:lnTo>
                      <a:pt x="112" y="150"/>
                    </a:lnTo>
                    <a:lnTo>
                      <a:pt x="116" y="150"/>
                    </a:lnTo>
                    <a:lnTo>
                      <a:pt x="112" y="150"/>
                    </a:lnTo>
                    <a:lnTo>
                      <a:pt x="112" y="152"/>
                    </a:lnTo>
                    <a:lnTo>
                      <a:pt x="112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4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16" y="160"/>
                    </a:lnTo>
                    <a:lnTo>
                      <a:pt x="112" y="160"/>
                    </a:lnTo>
                    <a:lnTo>
                      <a:pt x="108" y="160"/>
                    </a:lnTo>
                    <a:lnTo>
                      <a:pt x="106" y="160"/>
                    </a:lnTo>
                    <a:lnTo>
                      <a:pt x="108" y="160"/>
                    </a:lnTo>
                    <a:lnTo>
                      <a:pt x="112" y="160"/>
                    </a:lnTo>
                    <a:lnTo>
                      <a:pt x="116" y="160"/>
                    </a:lnTo>
                    <a:lnTo>
                      <a:pt x="116" y="164"/>
                    </a:lnTo>
                    <a:lnTo>
                      <a:pt x="120" y="164"/>
                    </a:lnTo>
                    <a:lnTo>
                      <a:pt x="120" y="168"/>
                    </a:lnTo>
                    <a:lnTo>
                      <a:pt x="120" y="172"/>
                    </a:lnTo>
                    <a:lnTo>
                      <a:pt x="120" y="176"/>
                    </a:lnTo>
                    <a:lnTo>
                      <a:pt x="116" y="176"/>
                    </a:lnTo>
                    <a:lnTo>
                      <a:pt x="120" y="180"/>
                    </a:lnTo>
                    <a:lnTo>
                      <a:pt x="124" y="180"/>
                    </a:lnTo>
                    <a:lnTo>
                      <a:pt x="124" y="176"/>
                    </a:lnTo>
                    <a:lnTo>
                      <a:pt x="128" y="176"/>
                    </a:lnTo>
                    <a:lnTo>
                      <a:pt x="132" y="176"/>
                    </a:lnTo>
                    <a:lnTo>
                      <a:pt x="136" y="176"/>
                    </a:lnTo>
                    <a:lnTo>
                      <a:pt x="138" y="180"/>
                    </a:lnTo>
                    <a:lnTo>
                      <a:pt x="142" y="182"/>
                    </a:lnTo>
                    <a:lnTo>
                      <a:pt x="142" y="186"/>
                    </a:lnTo>
                    <a:lnTo>
                      <a:pt x="138" y="190"/>
                    </a:lnTo>
                    <a:lnTo>
                      <a:pt x="138" y="194"/>
                    </a:lnTo>
                    <a:lnTo>
                      <a:pt x="136" y="198"/>
                    </a:lnTo>
                    <a:lnTo>
                      <a:pt x="132" y="194"/>
                    </a:lnTo>
                    <a:lnTo>
                      <a:pt x="136" y="198"/>
                    </a:lnTo>
                    <a:lnTo>
                      <a:pt x="136" y="202"/>
                    </a:lnTo>
                    <a:lnTo>
                      <a:pt x="132" y="202"/>
                    </a:lnTo>
                    <a:lnTo>
                      <a:pt x="132" y="198"/>
                    </a:lnTo>
                    <a:lnTo>
                      <a:pt x="132" y="202"/>
                    </a:lnTo>
                    <a:lnTo>
                      <a:pt x="128" y="202"/>
                    </a:lnTo>
                    <a:lnTo>
                      <a:pt x="132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4" y="206"/>
                    </a:lnTo>
                    <a:lnTo>
                      <a:pt x="120" y="210"/>
                    </a:lnTo>
                    <a:lnTo>
                      <a:pt x="124" y="210"/>
                    </a:lnTo>
                    <a:lnTo>
                      <a:pt x="124" y="206"/>
                    </a:lnTo>
                    <a:lnTo>
                      <a:pt x="128" y="206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8" y="210"/>
                    </a:lnTo>
                    <a:lnTo>
                      <a:pt x="132" y="210"/>
                    </a:lnTo>
                    <a:lnTo>
                      <a:pt x="136" y="210"/>
                    </a:lnTo>
                    <a:lnTo>
                      <a:pt x="136" y="212"/>
                    </a:lnTo>
                    <a:lnTo>
                      <a:pt x="136" y="216"/>
                    </a:lnTo>
                    <a:lnTo>
                      <a:pt x="132" y="216"/>
                    </a:lnTo>
                    <a:lnTo>
                      <a:pt x="132" y="220"/>
                    </a:lnTo>
                    <a:lnTo>
                      <a:pt x="128" y="220"/>
                    </a:lnTo>
                    <a:lnTo>
                      <a:pt x="128" y="216"/>
                    </a:lnTo>
                    <a:lnTo>
                      <a:pt x="128" y="220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4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8" y="220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6" y="220"/>
                    </a:lnTo>
                    <a:lnTo>
                      <a:pt x="102" y="220"/>
                    </a:lnTo>
                    <a:lnTo>
                      <a:pt x="98" y="220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82" y="228"/>
                    </a:lnTo>
                    <a:lnTo>
                      <a:pt x="82" y="224"/>
                    </a:lnTo>
                    <a:lnTo>
                      <a:pt x="80" y="224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8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50" y="232"/>
                    </a:lnTo>
                    <a:lnTo>
                      <a:pt x="46" y="236"/>
                    </a:lnTo>
                    <a:lnTo>
                      <a:pt x="46" y="240"/>
                    </a:lnTo>
                    <a:lnTo>
                      <a:pt x="42" y="240"/>
                    </a:lnTo>
                    <a:lnTo>
                      <a:pt x="42" y="236"/>
                    </a:lnTo>
                    <a:lnTo>
                      <a:pt x="38" y="236"/>
                    </a:lnTo>
                    <a:lnTo>
                      <a:pt x="38" y="240"/>
                    </a:lnTo>
                    <a:lnTo>
                      <a:pt x="34" y="240"/>
                    </a:lnTo>
                    <a:lnTo>
                      <a:pt x="34" y="236"/>
                    </a:lnTo>
                    <a:lnTo>
                      <a:pt x="38" y="236"/>
                    </a:lnTo>
                    <a:lnTo>
                      <a:pt x="42" y="232"/>
                    </a:lnTo>
                    <a:lnTo>
                      <a:pt x="46" y="228"/>
                    </a:lnTo>
                    <a:lnTo>
                      <a:pt x="46" y="224"/>
                    </a:lnTo>
                    <a:lnTo>
                      <a:pt x="50" y="224"/>
                    </a:lnTo>
                    <a:lnTo>
                      <a:pt x="52" y="220"/>
                    </a:lnTo>
                    <a:lnTo>
                      <a:pt x="52" y="216"/>
                    </a:lnTo>
                    <a:lnTo>
                      <a:pt x="56" y="216"/>
                    </a:lnTo>
                    <a:lnTo>
                      <a:pt x="56" y="212"/>
                    </a:lnTo>
                    <a:lnTo>
                      <a:pt x="60" y="212"/>
                    </a:lnTo>
                    <a:lnTo>
                      <a:pt x="64" y="212"/>
                    </a:lnTo>
                    <a:lnTo>
                      <a:pt x="68" y="212"/>
                    </a:lnTo>
                    <a:lnTo>
                      <a:pt x="76" y="212"/>
                    </a:lnTo>
                    <a:lnTo>
                      <a:pt x="76" y="210"/>
                    </a:lnTo>
                    <a:lnTo>
                      <a:pt x="76" y="206"/>
                    </a:lnTo>
                    <a:lnTo>
                      <a:pt x="80" y="206"/>
                    </a:lnTo>
                    <a:lnTo>
                      <a:pt x="80" y="202"/>
                    </a:lnTo>
                    <a:lnTo>
                      <a:pt x="82" y="202"/>
                    </a:lnTo>
                    <a:lnTo>
                      <a:pt x="80" y="202"/>
                    </a:lnTo>
                    <a:lnTo>
                      <a:pt x="80" y="206"/>
                    </a:lnTo>
                    <a:lnTo>
                      <a:pt x="76" y="206"/>
                    </a:lnTo>
                    <a:lnTo>
                      <a:pt x="72" y="206"/>
                    </a:lnTo>
                    <a:lnTo>
                      <a:pt x="72" y="210"/>
                    </a:lnTo>
                    <a:lnTo>
                      <a:pt x="68" y="210"/>
                    </a:lnTo>
                    <a:lnTo>
                      <a:pt x="64" y="210"/>
                    </a:lnTo>
                    <a:lnTo>
                      <a:pt x="64" y="206"/>
                    </a:lnTo>
                    <a:lnTo>
                      <a:pt x="60" y="206"/>
                    </a:lnTo>
                    <a:lnTo>
                      <a:pt x="56" y="206"/>
                    </a:lnTo>
                    <a:lnTo>
                      <a:pt x="60" y="202"/>
                    </a:lnTo>
                    <a:lnTo>
                      <a:pt x="56" y="202"/>
                    </a:lnTo>
                    <a:lnTo>
                      <a:pt x="52" y="202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50" y="202"/>
                    </a:lnTo>
                    <a:lnTo>
                      <a:pt x="50" y="206"/>
                    </a:lnTo>
                    <a:lnTo>
                      <a:pt x="46" y="206"/>
                    </a:lnTo>
                    <a:lnTo>
                      <a:pt x="46" y="202"/>
                    </a:lnTo>
                    <a:lnTo>
                      <a:pt x="50" y="202"/>
                    </a:lnTo>
                    <a:lnTo>
                      <a:pt x="46" y="202"/>
                    </a:lnTo>
                    <a:lnTo>
                      <a:pt x="42" y="202"/>
                    </a:lnTo>
                    <a:lnTo>
                      <a:pt x="46" y="202"/>
                    </a:lnTo>
                    <a:lnTo>
                      <a:pt x="46" y="198"/>
                    </a:lnTo>
                    <a:lnTo>
                      <a:pt x="42" y="198"/>
                    </a:lnTo>
                    <a:lnTo>
                      <a:pt x="46" y="198"/>
                    </a:lnTo>
                    <a:lnTo>
                      <a:pt x="50" y="194"/>
                    </a:lnTo>
                    <a:lnTo>
                      <a:pt x="52" y="194"/>
                    </a:lnTo>
                    <a:lnTo>
                      <a:pt x="56" y="190"/>
                    </a:lnTo>
                    <a:lnTo>
                      <a:pt x="56" y="186"/>
                    </a:lnTo>
                    <a:lnTo>
                      <a:pt x="60" y="186"/>
                    </a:lnTo>
                    <a:lnTo>
                      <a:pt x="60" y="182"/>
                    </a:lnTo>
                    <a:lnTo>
                      <a:pt x="56" y="182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52" y="180"/>
                    </a:lnTo>
                    <a:lnTo>
                      <a:pt x="50" y="180"/>
                    </a:lnTo>
                    <a:lnTo>
                      <a:pt x="50" y="176"/>
                    </a:lnTo>
                    <a:lnTo>
                      <a:pt x="52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2" y="164"/>
                    </a:lnTo>
                    <a:lnTo>
                      <a:pt x="76" y="168"/>
                    </a:lnTo>
                    <a:lnTo>
                      <a:pt x="80" y="168"/>
                    </a:lnTo>
                    <a:lnTo>
                      <a:pt x="76" y="168"/>
                    </a:lnTo>
                    <a:lnTo>
                      <a:pt x="76" y="164"/>
                    </a:lnTo>
                    <a:lnTo>
                      <a:pt x="72" y="164"/>
                    </a:lnTo>
                    <a:lnTo>
                      <a:pt x="72" y="160"/>
                    </a:lnTo>
                    <a:lnTo>
                      <a:pt x="76" y="160"/>
                    </a:lnTo>
                    <a:lnTo>
                      <a:pt x="72" y="156"/>
                    </a:lnTo>
                    <a:lnTo>
                      <a:pt x="76" y="152"/>
                    </a:lnTo>
                    <a:lnTo>
                      <a:pt x="76" y="150"/>
                    </a:lnTo>
                    <a:lnTo>
                      <a:pt x="72" y="152"/>
                    </a:lnTo>
                    <a:lnTo>
                      <a:pt x="72" y="150"/>
                    </a:lnTo>
                    <a:lnTo>
                      <a:pt x="68" y="150"/>
                    </a:lnTo>
                    <a:lnTo>
                      <a:pt x="68" y="146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8" y="134"/>
                    </a:lnTo>
                    <a:lnTo>
                      <a:pt x="72" y="134"/>
                    </a:lnTo>
                    <a:lnTo>
                      <a:pt x="76" y="134"/>
                    </a:lnTo>
                    <a:lnTo>
                      <a:pt x="76" y="130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4" y="130"/>
                    </a:lnTo>
                    <a:lnTo>
                      <a:pt x="64" y="134"/>
                    </a:lnTo>
                    <a:lnTo>
                      <a:pt x="60" y="134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2" y="134"/>
                    </a:lnTo>
                    <a:lnTo>
                      <a:pt x="52" y="138"/>
                    </a:lnTo>
                    <a:lnTo>
                      <a:pt x="56" y="138"/>
                    </a:lnTo>
                    <a:lnTo>
                      <a:pt x="52" y="138"/>
                    </a:lnTo>
                    <a:lnTo>
                      <a:pt x="50" y="134"/>
                    </a:lnTo>
                    <a:lnTo>
                      <a:pt x="46" y="134"/>
                    </a:lnTo>
                    <a:lnTo>
                      <a:pt x="46" y="138"/>
                    </a:lnTo>
                    <a:lnTo>
                      <a:pt x="50" y="138"/>
                    </a:lnTo>
                    <a:lnTo>
                      <a:pt x="50" y="138"/>
                    </a:lnTo>
                    <a:lnTo>
                      <a:pt x="50" y="138"/>
                    </a:lnTo>
                    <a:close/>
                    <a:moveTo>
                      <a:pt x="22" y="66"/>
                    </a:moveTo>
                    <a:lnTo>
                      <a:pt x="22" y="62"/>
                    </a:lnTo>
                    <a:lnTo>
                      <a:pt x="20" y="66"/>
                    </a:lnTo>
                    <a:lnTo>
                      <a:pt x="22" y="66"/>
                    </a:lnTo>
                    <a:lnTo>
                      <a:pt x="20" y="70"/>
                    </a:lnTo>
                    <a:lnTo>
                      <a:pt x="16" y="70"/>
                    </a:lnTo>
                    <a:lnTo>
                      <a:pt x="20" y="66"/>
                    </a:lnTo>
                    <a:lnTo>
                      <a:pt x="16" y="66"/>
                    </a:lnTo>
                    <a:lnTo>
                      <a:pt x="16" y="62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62"/>
                    </a:lnTo>
                    <a:lnTo>
                      <a:pt x="20" y="60"/>
                    </a:lnTo>
                    <a:lnTo>
                      <a:pt x="22" y="56"/>
                    </a:lnTo>
                    <a:lnTo>
                      <a:pt x="26" y="56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30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2" y="66"/>
                    </a:lnTo>
                    <a:lnTo>
                      <a:pt x="22" y="66"/>
                    </a:lnTo>
                    <a:lnTo>
                      <a:pt x="22" y="66"/>
                    </a:lnTo>
                    <a:close/>
                    <a:moveTo>
                      <a:pt x="16" y="74"/>
                    </a:moveTo>
                    <a:lnTo>
                      <a:pt x="12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16" y="74"/>
                    </a:lnTo>
                    <a:close/>
                    <a:moveTo>
                      <a:pt x="34" y="86"/>
                    </a:moveTo>
                    <a:lnTo>
                      <a:pt x="30" y="86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26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82"/>
                    </a:lnTo>
                    <a:lnTo>
                      <a:pt x="22" y="78"/>
                    </a:lnTo>
                    <a:lnTo>
                      <a:pt x="22" y="82"/>
                    </a:lnTo>
                    <a:lnTo>
                      <a:pt x="22" y="78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82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close/>
                    <a:moveTo>
                      <a:pt x="30" y="82"/>
                    </a:moveTo>
                    <a:lnTo>
                      <a:pt x="30" y="78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close/>
                    <a:moveTo>
                      <a:pt x="12" y="78"/>
                    </a:move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close/>
                    <a:moveTo>
                      <a:pt x="16" y="86"/>
                    </a:moveTo>
                    <a:lnTo>
                      <a:pt x="12" y="86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6" y="78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82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close/>
                    <a:moveTo>
                      <a:pt x="12" y="90"/>
                    </a:moveTo>
                    <a:lnTo>
                      <a:pt x="8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close/>
                    <a:moveTo>
                      <a:pt x="26" y="90"/>
                    </a:moveTo>
                    <a:lnTo>
                      <a:pt x="26" y="86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close/>
                    <a:moveTo>
                      <a:pt x="22" y="96"/>
                    </a:moveTo>
                    <a:lnTo>
                      <a:pt x="22" y="92"/>
                    </a:lnTo>
                    <a:lnTo>
                      <a:pt x="26" y="92"/>
                    </a:lnTo>
                    <a:lnTo>
                      <a:pt x="22" y="96"/>
                    </a:lnTo>
                    <a:lnTo>
                      <a:pt x="22" y="96"/>
                    </a:lnTo>
                    <a:lnTo>
                      <a:pt x="22" y="96"/>
                    </a:lnTo>
                    <a:close/>
                    <a:moveTo>
                      <a:pt x="30" y="96"/>
                    </a:moveTo>
                    <a:lnTo>
                      <a:pt x="34" y="96"/>
                    </a:lnTo>
                    <a:lnTo>
                      <a:pt x="34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30" y="100"/>
                    </a:lnTo>
                    <a:lnTo>
                      <a:pt x="26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30" y="100"/>
                    </a:lnTo>
                    <a:lnTo>
                      <a:pt x="26" y="96"/>
                    </a:lnTo>
                    <a:lnTo>
                      <a:pt x="30" y="96"/>
                    </a:lnTo>
                    <a:lnTo>
                      <a:pt x="30" y="96"/>
                    </a:lnTo>
                    <a:lnTo>
                      <a:pt x="30" y="96"/>
                    </a:lnTo>
                    <a:close/>
                    <a:moveTo>
                      <a:pt x="20" y="100"/>
                    </a:moveTo>
                    <a:lnTo>
                      <a:pt x="16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close/>
                    <a:moveTo>
                      <a:pt x="30" y="116"/>
                    </a:moveTo>
                    <a:lnTo>
                      <a:pt x="30" y="112"/>
                    </a:lnTo>
                    <a:lnTo>
                      <a:pt x="30" y="108"/>
                    </a:lnTo>
                    <a:lnTo>
                      <a:pt x="34" y="108"/>
                    </a:lnTo>
                    <a:lnTo>
                      <a:pt x="34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30" y="116"/>
                    </a:lnTo>
                    <a:lnTo>
                      <a:pt x="30" y="116"/>
                    </a:lnTo>
                    <a:close/>
                    <a:moveTo>
                      <a:pt x="26" y="120"/>
                    </a:moveTo>
                    <a:lnTo>
                      <a:pt x="26" y="116"/>
                    </a:lnTo>
                    <a:lnTo>
                      <a:pt x="22" y="116"/>
                    </a:lnTo>
                    <a:lnTo>
                      <a:pt x="26" y="112"/>
                    </a:lnTo>
                    <a:lnTo>
                      <a:pt x="30" y="112"/>
                    </a:lnTo>
                    <a:lnTo>
                      <a:pt x="30" y="116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close/>
                    <a:moveTo>
                      <a:pt x="46" y="116"/>
                    </a:move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16"/>
                    </a:lnTo>
                    <a:lnTo>
                      <a:pt x="46" y="116"/>
                    </a:lnTo>
                    <a:lnTo>
                      <a:pt x="46" y="116"/>
                    </a:lnTo>
                    <a:close/>
                    <a:moveTo>
                      <a:pt x="42" y="122"/>
                    </a:move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20"/>
                    </a:lnTo>
                    <a:lnTo>
                      <a:pt x="46" y="122"/>
                    </a:lnTo>
                    <a:lnTo>
                      <a:pt x="42" y="122"/>
                    </a:lnTo>
                    <a:lnTo>
                      <a:pt x="42" y="122"/>
                    </a:lnTo>
                    <a:lnTo>
                      <a:pt x="42" y="122"/>
                    </a:lnTo>
                    <a:close/>
                    <a:moveTo>
                      <a:pt x="22" y="152"/>
                    </a:moveTo>
                    <a:lnTo>
                      <a:pt x="20" y="150"/>
                    </a:lnTo>
                    <a:lnTo>
                      <a:pt x="20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0" y="146"/>
                    </a:lnTo>
                    <a:lnTo>
                      <a:pt x="0" y="142"/>
                    </a:lnTo>
                    <a:lnTo>
                      <a:pt x="4" y="142"/>
                    </a:lnTo>
                    <a:lnTo>
                      <a:pt x="8" y="142"/>
                    </a:lnTo>
                    <a:lnTo>
                      <a:pt x="4" y="138"/>
                    </a:lnTo>
                    <a:lnTo>
                      <a:pt x="8" y="138"/>
                    </a:lnTo>
                    <a:lnTo>
                      <a:pt x="12" y="134"/>
                    </a:lnTo>
                    <a:lnTo>
                      <a:pt x="12" y="130"/>
                    </a:lnTo>
                    <a:lnTo>
                      <a:pt x="16" y="130"/>
                    </a:lnTo>
                    <a:lnTo>
                      <a:pt x="20" y="126"/>
                    </a:lnTo>
                    <a:lnTo>
                      <a:pt x="22" y="126"/>
                    </a:lnTo>
                    <a:lnTo>
                      <a:pt x="26" y="126"/>
                    </a:lnTo>
                    <a:lnTo>
                      <a:pt x="30" y="126"/>
                    </a:lnTo>
                    <a:lnTo>
                      <a:pt x="30" y="130"/>
                    </a:lnTo>
                    <a:lnTo>
                      <a:pt x="34" y="134"/>
                    </a:lnTo>
                    <a:lnTo>
                      <a:pt x="34" y="138"/>
                    </a:lnTo>
                    <a:lnTo>
                      <a:pt x="34" y="142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2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50"/>
                    </a:lnTo>
                    <a:lnTo>
                      <a:pt x="34" y="150"/>
                    </a:lnTo>
                    <a:lnTo>
                      <a:pt x="34" y="152"/>
                    </a:lnTo>
                    <a:lnTo>
                      <a:pt x="30" y="152"/>
                    </a:lnTo>
                    <a:lnTo>
                      <a:pt x="26" y="150"/>
                    </a:lnTo>
                    <a:lnTo>
                      <a:pt x="26" y="152"/>
                    </a:lnTo>
                    <a:lnTo>
                      <a:pt x="22" y="152"/>
                    </a:lnTo>
                    <a:lnTo>
                      <a:pt x="22" y="152"/>
                    </a:lnTo>
                    <a:lnTo>
                      <a:pt x="22" y="152"/>
                    </a:lnTo>
                    <a:close/>
                    <a:moveTo>
                      <a:pt x="52" y="172"/>
                    </a:moveTo>
                    <a:lnTo>
                      <a:pt x="52" y="168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56" y="168"/>
                    </a:lnTo>
                    <a:lnTo>
                      <a:pt x="56" y="172"/>
                    </a:lnTo>
                    <a:lnTo>
                      <a:pt x="52" y="172"/>
                    </a:lnTo>
                    <a:lnTo>
                      <a:pt x="52" y="172"/>
                    </a:lnTo>
                    <a:lnTo>
                      <a:pt x="52" y="172"/>
                    </a:lnTo>
                    <a:close/>
                    <a:moveTo>
                      <a:pt x="128" y="210"/>
                    </a:moveTo>
                    <a:lnTo>
                      <a:pt x="132" y="210"/>
                    </a:lnTo>
                    <a:lnTo>
                      <a:pt x="128" y="210"/>
                    </a:lnTo>
                    <a:lnTo>
                      <a:pt x="128" y="210"/>
                    </a:lnTo>
                    <a:lnTo>
                      <a:pt x="128" y="210"/>
                    </a:lnTo>
                    <a:close/>
                    <a:moveTo>
                      <a:pt x="98" y="224"/>
                    </a:moveTo>
                    <a:lnTo>
                      <a:pt x="94" y="224"/>
                    </a:lnTo>
                    <a:lnTo>
                      <a:pt x="98" y="220"/>
                    </a:lnTo>
                    <a:lnTo>
                      <a:pt x="102" y="224"/>
                    </a:lnTo>
                    <a:lnTo>
                      <a:pt x="98" y="224"/>
                    </a:lnTo>
                    <a:lnTo>
                      <a:pt x="98" y="224"/>
                    </a:lnTo>
                    <a:lnTo>
                      <a:pt x="98" y="2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8" name="Freeform 127">
                <a:extLst>
                  <a:ext uri="{FF2B5EF4-FFF2-40B4-BE49-F238E27FC236}">
                    <a16:creationId xmlns:a16="http://schemas.microsoft.com/office/drawing/2014/main" id="{4D4B0BCC-8CC8-47CC-9043-7DDA8513D1D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97350" y="3514793"/>
                <a:ext cx="463550" cy="527050"/>
              </a:xfrm>
              <a:custGeom>
                <a:avLst/>
                <a:gdLst>
                  <a:gd name="T0" fmla="*/ 202 w 292"/>
                  <a:gd name="T1" fmla="*/ 10 h 332"/>
                  <a:gd name="T2" fmla="*/ 214 w 292"/>
                  <a:gd name="T3" fmla="*/ 4 h 332"/>
                  <a:gd name="T4" fmla="*/ 224 w 292"/>
                  <a:gd name="T5" fmla="*/ 4 h 332"/>
                  <a:gd name="T6" fmla="*/ 228 w 292"/>
                  <a:gd name="T7" fmla="*/ 4 h 332"/>
                  <a:gd name="T8" fmla="*/ 236 w 292"/>
                  <a:gd name="T9" fmla="*/ 8 h 332"/>
                  <a:gd name="T10" fmla="*/ 246 w 292"/>
                  <a:gd name="T11" fmla="*/ 8 h 332"/>
                  <a:gd name="T12" fmla="*/ 240 w 292"/>
                  <a:gd name="T13" fmla="*/ 10 h 332"/>
                  <a:gd name="T14" fmla="*/ 244 w 292"/>
                  <a:gd name="T15" fmla="*/ 26 h 332"/>
                  <a:gd name="T16" fmla="*/ 240 w 292"/>
                  <a:gd name="T17" fmla="*/ 44 h 332"/>
                  <a:gd name="T18" fmla="*/ 232 w 292"/>
                  <a:gd name="T19" fmla="*/ 56 h 332"/>
                  <a:gd name="T20" fmla="*/ 232 w 292"/>
                  <a:gd name="T21" fmla="*/ 66 h 332"/>
                  <a:gd name="T22" fmla="*/ 240 w 292"/>
                  <a:gd name="T23" fmla="*/ 78 h 332"/>
                  <a:gd name="T24" fmla="*/ 246 w 292"/>
                  <a:gd name="T25" fmla="*/ 90 h 332"/>
                  <a:gd name="T26" fmla="*/ 254 w 292"/>
                  <a:gd name="T27" fmla="*/ 112 h 332"/>
                  <a:gd name="T28" fmla="*/ 258 w 292"/>
                  <a:gd name="T29" fmla="*/ 130 h 332"/>
                  <a:gd name="T30" fmla="*/ 262 w 292"/>
                  <a:gd name="T31" fmla="*/ 142 h 332"/>
                  <a:gd name="T32" fmla="*/ 262 w 292"/>
                  <a:gd name="T33" fmla="*/ 160 h 332"/>
                  <a:gd name="T34" fmla="*/ 262 w 292"/>
                  <a:gd name="T35" fmla="*/ 180 h 332"/>
                  <a:gd name="T36" fmla="*/ 266 w 292"/>
                  <a:gd name="T37" fmla="*/ 194 h 332"/>
                  <a:gd name="T38" fmla="*/ 266 w 292"/>
                  <a:gd name="T39" fmla="*/ 216 h 332"/>
                  <a:gd name="T40" fmla="*/ 270 w 292"/>
                  <a:gd name="T41" fmla="*/ 232 h 332"/>
                  <a:gd name="T42" fmla="*/ 284 w 292"/>
                  <a:gd name="T43" fmla="*/ 236 h 332"/>
                  <a:gd name="T44" fmla="*/ 288 w 292"/>
                  <a:gd name="T45" fmla="*/ 254 h 332"/>
                  <a:gd name="T46" fmla="*/ 270 w 292"/>
                  <a:gd name="T47" fmla="*/ 270 h 332"/>
                  <a:gd name="T48" fmla="*/ 246 w 292"/>
                  <a:gd name="T49" fmla="*/ 284 h 332"/>
                  <a:gd name="T50" fmla="*/ 228 w 292"/>
                  <a:gd name="T51" fmla="*/ 300 h 332"/>
                  <a:gd name="T52" fmla="*/ 210 w 292"/>
                  <a:gd name="T53" fmla="*/ 320 h 332"/>
                  <a:gd name="T54" fmla="*/ 188 w 292"/>
                  <a:gd name="T55" fmla="*/ 328 h 332"/>
                  <a:gd name="T56" fmla="*/ 170 w 292"/>
                  <a:gd name="T57" fmla="*/ 328 h 332"/>
                  <a:gd name="T58" fmla="*/ 162 w 292"/>
                  <a:gd name="T59" fmla="*/ 314 h 332"/>
                  <a:gd name="T60" fmla="*/ 150 w 292"/>
                  <a:gd name="T61" fmla="*/ 306 h 332"/>
                  <a:gd name="T62" fmla="*/ 142 w 292"/>
                  <a:gd name="T63" fmla="*/ 300 h 332"/>
                  <a:gd name="T64" fmla="*/ 128 w 292"/>
                  <a:gd name="T65" fmla="*/ 284 h 332"/>
                  <a:gd name="T66" fmla="*/ 106 w 292"/>
                  <a:gd name="T67" fmla="*/ 266 h 332"/>
                  <a:gd name="T68" fmla="*/ 80 w 292"/>
                  <a:gd name="T69" fmla="*/ 242 h 332"/>
                  <a:gd name="T70" fmla="*/ 56 w 292"/>
                  <a:gd name="T71" fmla="*/ 224 h 332"/>
                  <a:gd name="T72" fmla="*/ 34 w 292"/>
                  <a:gd name="T73" fmla="*/ 210 h 332"/>
                  <a:gd name="T74" fmla="*/ 20 w 292"/>
                  <a:gd name="T75" fmla="*/ 198 h 332"/>
                  <a:gd name="T76" fmla="*/ 0 w 292"/>
                  <a:gd name="T77" fmla="*/ 180 h 332"/>
                  <a:gd name="T78" fmla="*/ 4 w 292"/>
                  <a:gd name="T79" fmla="*/ 154 h 332"/>
                  <a:gd name="T80" fmla="*/ 16 w 292"/>
                  <a:gd name="T81" fmla="*/ 146 h 332"/>
                  <a:gd name="T82" fmla="*/ 30 w 292"/>
                  <a:gd name="T83" fmla="*/ 142 h 332"/>
                  <a:gd name="T84" fmla="*/ 42 w 292"/>
                  <a:gd name="T85" fmla="*/ 134 h 332"/>
                  <a:gd name="T86" fmla="*/ 54 w 292"/>
                  <a:gd name="T87" fmla="*/ 126 h 332"/>
                  <a:gd name="T88" fmla="*/ 68 w 292"/>
                  <a:gd name="T89" fmla="*/ 116 h 332"/>
                  <a:gd name="T90" fmla="*/ 68 w 292"/>
                  <a:gd name="T91" fmla="*/ 108 h 332"/>
                  <a:gd name="T92" fmla="*/ 76 w 292"/>
                  <a:gd name="T93" fmla="*/ 100 h 332"/>
                  <a:gd name="T94" fmla="*/ 94 w 292"/>
                  <a:gd name="T95" fmla="*/ 94 h 332"/>
                  <a:gd name="T96" fmla="*/ 110 w 292"/>
                  <a:gd name="T97" fmla="*/ 94 h 332"/>
                  <a:gd name="T98" fmla="*/ 106 w 292"/>
                  <a:gd name="T99" fmla="*/ 86 h 332"/>
                  <a:gd name="T100" fmla="*/ 102 w 292"/>
                  <a:gd name="T101" fmla="*/ 66 h 332"/>
                  <a:gd name="T102" fmla="*/ 98 w 292"/>
                  <a:gd name="T103" fmla="*/ 52 h 332"/>
                  <a:gd name="T104" fmla="*/ 94 w 292"/>
                  <a:gd name="T105" fmla="*/ 40 h 332"/>
                  <a:gd name="T106" fmla="*/ 106 w 292"/>
                  <a:gd name="T107" fmla="*/ 34 h 332"/>
                  <a:gd name="T108" fmla="*/ 120 w 292"/>
                  <a:gd name="T109" fmla="*/ 22 h 332"/>
                  <a:gd name="T110" fmla="*/ 132 w 292"/>
                  <a:gd name="T111" fmla="*/ 18 h 332"/>
                  <a:gd name="T112" fmla="*/ 142 w 292"/>
                  <a:gd name="T113" fmla="*/ 10 h 332"/>
                  <a:gd name="T114" fmla="*/ 162 w 292"/>
                  <a:gd name="T115" fmla="*/ 10 h 332"/>
                  <a:gd name="T116" fmla="*/ 176 w 292"/>
                  <a:gd name="T117" fmla="*/ 8 h 332"/>
                  <a:gd name="T118" fmla="*/ 188 w 292"/>
                  <a:gd name="T119" fmla="*/ 4 h 3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92" h="332">
                    <a:moveTo>
                      <a:pt x="188" y="4"/>
                    </a:moveTo>
                    <a:lnTo>
                      <a:pt x="192" y="4"/>
                    </a:lnTo>
                    <a:lnTo>
                      <a:pt x="194" y="8"/>
                    </a:lnTo>
                    <a:lnTo>
                      <a:pt x="198" y="10"/>
                    </a:lnTo>
                    <a:lnTo>
                      <a:pt x="202" y="10"/>
                    </a:lnTo>
                    <a:lnTo>
                      <a:pt x="202" y="8"/>
                    </a:lnTo>
                    <a:lnTo>
                      <a:pt x="206" y="8"/>
                    </a:lnTo>
                    <a:lnTo>
                      <a:pt x="210" y="8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4" y="0"/>
                    </a:lnTo>
                    <a:lnTo>
                      <a:pt x="216" y="0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24" y="4"/>
                    </a:lnTo>
                    <a:lnTo>
                      <a:pt x="224" y="0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28" y="0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6" y="4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4"/>
                    </a:lnTo>
                    <a:lnTo>
                      <a:pt x="244" y="4"/>
                    </a:lnTo>
                    <a:lnTo>
                      <a:pt x="246" y="4"/>
                    </a:lnTo>
                    <a:lnTo>
                      <a:pt x="246" y="8"/>
                    </a:lnTo>
                    <a:lnTo>
                      <a:pt x="244" y="8"/>
                    </a:lnTo>
                    <a:lnTo>
                      <a:pt x="244" y="10"/>
                    </a:lnTo>
                    <a:lnTo>
                      <a:pt x="240" y="10"/>
                    </a:lnTo>
                    <a:lnTo>
                      <a:pt x="240" y="14"/>
                    </a:lnTo>
                    <a:lnTo>
                      <a:pt x="240" y="10"/>
                    </a:lnTo>
                    <a:lnTo>
                      <a:pt x="244" y="14"/>
                    </a:lnTo>
                    <a:lnTo>
                      <a:pt x="244" y="18"/>
                    </a:lnTo>
                    <a:lnTo>
                      <a:pt x="240" y="22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4" y="30"/>
                    </a:lnTo>
                    <a:lnTo>
                      <a:pt x="244" y="34"/>
                    </a:lnTo>
                    <a:lnTo>
                      <a:pt x="244" y="38"/>
                    </a:lnTo>
                    <a:lnTo>
                      <a:pt x="240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36" y="48"/>
                    </a:lnTo>
                    <a:lnTo>
                      <a:pt x="236" y="52"/>
                    </a:lnTo>
                    <a:lnTo>
                      <a:pt x="236" y="56"/>
                    </a:lnTo>
                    <a:lnTo>
                      <a:pt x="232" y="56"/>
                    </a:lnTo>
                    <a:lnTo>
                      <a:pt x="232" y="60"/>
                    </a:lnTo>
                    <a:lnTo>
                      <a:pt x="228" y="60"/>
                    </a:lnTo>
                    <a:lnTo>
                      <a:pt x="228" y="64"/>
                    </a:lnTo>
                    <a:lnTo>
                      <a:pt x="232" y="64"/>
                    </a:lnTo>
                    <a:lnTo>
                      <a:pt x="232" y="66"/>
                    </a:lnTo>
                    <a:lnTo>
                      <a:pt x="232" y="70"/>
                    </a:lnTo>
                    <a:lnTo>
                      <a:pt x="232" y="74"/>
                    </a:lnTo>
                    <a:lnTo>
                      <a:pt x="236" y="74"/>
                    </a:lnTo>
                    <a:lnTo>
                      <a:pt x="240" y="74"/>
                    </a:lnTo>
                    <a:lnTo>
                      <a:pt x="240" y="78"/>
                    </a:lnTo>
                    <a:lnTo>
                      <a:pt x="240" y="82"/>
                    </a:lnTo>
                    <a:lnTo>
                      <a:pt x="244" y="82"/>
                    </a:lnTo>
                    <a:lnTo>
                      <a:pt x="244" y="86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4" y="96"/>
                    </a:lnTo>
                    <a:lnTo>
                      <a:pt x="254" y="104"/>
                    </a:lnTo>
                    <a:lnTo>
                      <a:pt x="254" y="112"/>
                    </a:lnTo>
                    <a:lnTo>
                      <a:pt x="254" y="116"/>
                    </a:lnTo>
                    <a:lnTo>
                      <a:pt x="258" y="120"/>
                    </a:lnTo>
                    <a:lnTo>
                      <a:pt x="258" y="124"/>
                    </a:lnTo>
                    <a:lnTo>
                      <a:pt x="258" y="126"/>
                    </a:lnTo>
                    <a:lnTo>
                      <a:pt x="258" y="130"/>
                    </a:lnTo>
                    <a:lnTo>
                      <a:pt x="254" y="130"/>
                    </a:lnTo>
                    <a:lnTo>
                      <a:pt x="258" y="134"/>
                    </a:lnTo>
                    <a:lnTo>
                      <a:pt x="258" y="138"/>
                    </a:lnTo>
                    <a:lnTo>
                      <a:pt x="262" y="138"/>
                    </a:lnTo>
                    <a:lnTo>
                      <a:pt x="262" y="142"/>
                    </a:lnTo>
                    <a:lnTo>
                      <a:pt x="262" y="146"/>
                    </a:lnTo>
                    <a:lnTo>
                      <a:pt x="262" y="150"/>
                    </a:lnTo>
                    <a:lnTo>
                      <a:pt x="262" y="154"/>
                    </a:lnTo>
                    <a:lnTo>
                      <a:pt x="262" y="156"/>
                    </a:lnTo>
                    <a:lnTo>
                      <a:pt x="262" y="160"/>
                    </a:lnTo>
                    <a:lnTo>
                      <a:pt x="262" y="164"/>
                    </a:lnTo>
                    <a:lnTo>
                      <a:pt x="262" y="168"/>
                    </a:lnTo>
                    <a:lnTo>
                      <a:pt x="266" y="172"/>
                    </a:lnTo>
                    <a:lnTo>
                      <a:pt x="266" y="176"/>
                    </a:lnTo>
                    <a:lnTo>
                      <a:pt x="262" y="180"/>
                    </a:lnTo>
                    <a:lnTo>
                      <a:pt x="262" y="182"/>
                    </a:lnTo>
                    <a:lnTo>
                      <a:pt x="262" y="186"/>
                    </a:lnTo>
                    <a:lnTo>
                      <a:pt x="262" y="190"/>
                    </a:lnTo>
                    <a:lnTo>
                      <a:pt x="266" y="190"/>
                    </a:lnTo>
                    <a:lnTo>
                      <a:pt x="266" y="194"/>
                    </a:lnTo>
                    <a:lnTo>
                      <a:pt x="262" y="198"/>
                    </a:lnTo>
                    <a:lnTo>
                      <a:pt x="258" y="202"/>
                    </a:lnTo>
                    <a:lnTo>
                      <a:pt x="258" y="206"/>
                    </a:lnTo>
                    <a:lnTo>
                      <a:pt x="262" y="212"/>
                    </a:lnTo>
                    <a:lnTo>
                      <a:pt x="266" y="216"/>
                    </a:lnTo>
                    <a:lnTo>
                      <a:pt x="266" y="220"/>
                    </a:lnTo>
                    <a:lnTo>
                      <a:pt x="266" y="224"/>
                    </a:lnTo>
                    <a:lnTo>
                      <a:pt x="266" y="228"/>
                    </a:lnTo>
                    <a:lnTo>
                      <a:pt x="270" y="228"/>
                    </a:lnTo>
                    <a:lnTo>
                      <a:pt x="270" y="232"/>
                    </a:lnTo>
                    <a:lnTo>
                      <a:pt x="272" y="236"/>
                    </a:lnTo>
                    <a:lnTo>
                      <a:pt x="272" y="232"/>
                    </a:lnTo>
                    <a:lnTo>
                      <a:pt x="276" y="232"/>
                    </a:lnTo>
                    <a:lnTo>
                      <a:pt x="280" y="236"/>
                    </a:lnTo>
                    <a:lnTo>
                      <a:pt x="284" y="236"/>
                    </a:lnTo>
                    <a:lnTo>
                      <a:pt x="288" y="236"/>
                    </a:lnTo>
                    <a:lnTo>
                      <a:pt x="292" y="242"/>
                    </a:lnTo>
                    <a:lnTo>
                      <a:pt x="292" y="250"/>
                    </a:lnTo>
                    <a:lnTo>
                      <a:pt x="292" y="254"/>
                    </a:lnTo>
                    <a:lnTo>
                      <a:pt x="288" y="254"/>
                    </a:lnTo>
                    <a:lnTo>
                      <a:pt x="280" y="262"/>
                    </a:lnTo>
                    <a:lnTo>
                      <a:pt x="276" y="262"/>
                    </a:lnTo>
                    <a:lnTo>
                      <a:pt x="276" y="266"/>
                    </a:lnTo>
                    <a:lnTo>
                      <a:pt x="272" y="266"/>
                    </a:lnTo>
                    <a:lnTo>
                      <a:pt x="270" y="270"/>
                    </a:lnTo>
                    <a:lnTo>
                      <a:pt x="266" y="270"/>
                    </a:lnTo>
                    <a:lnTo>
                      <a:pt x="262" y="272"/>
                    </a:lnTo>
                    <a:lnTo>
                      <a:pt x="258" y="276"/>
                    </a:lnTo>
                    <a:lnTo>
                      <a:pt x="250" y="280"/>
                    </a:lnTo>
                    <a:lnTo>
                      <a:pt x="246" y="284"/>
                    </a:lnTo>
                    <a:lnTo>
                      <a:pt x="246" y="288"/>
                    </a:lnTo>
                    <a:lnTo>
                      <a:pt x="240" y="292"/>
                    </a:lnTo>
                    <a:lnTo>
                      <a:pt x="236" y="296"/>
                    </a:lnTo>
                    <a:lnTo>
                      <a:pt x="232" y="296"/>
                    </a:lnTo>
                    <a:lnTo>
                      <a:pt x="228" y="300"/>
                    </a:lnTo>
                    <a:lnTo>
                      <a:pt x="220" y="306"/>
                    </a:lnTo>
                    <a:lnTo>
                      <a:pt x="216" y="310"/>
                    </a:lnTo>
                    <a:lnTo>
                      <a:pt x="216" y="314"/>
                    </a:lnTo>
                    <a:lnTo>
                      <a:pt x="214" y="316"/>
                    </a:lnTo>
                    <a:lnTo>
                      <a:pt x="210" y="320"/>
                    </a:lnTo>
                    <a:lnTo>
                      <a:pt x="206" y="324"/>
                    </a:lnTo>
                    <a:lnTo>
                      <a:pt x="202" y="324"/>
                    </a:lnTo>
                    <a:lnTo>
                      <a:pt x="198" y="324"/>
                    </a:lnTo>
                    <a:lnTo>
                      <a:pt x="194" y="324"/>
                    </a:lnTo>
                    <a:lnTo>
                      <a:pt x="188" y="328"/>
                    </a:lnTo>
                    <a:lnTo>
                      <a:pt x="184" y="328"/>
                    </a:lnTo>
                    <a:lnTo>
                      <a:pt x="180" y="328"/>
                    </a:lnTo>
                    <a:lnTo>
                      <a:pt x="176" y="328"/>
                    </a:lnTo>
                    <a:lnTo>
                      <a:pt x="172" y="332"/>
                    </a:lnTo>
                    <a:lnTo>
                      <a:pt x="170" y="328"/>
                    </a:lnTo>
                    <a:lnTo>
                      <a:pt x="170" y="324"/>
                    </a:lnTo>
                    <a:lnTo>
                      <a:pt x="170" y="320"/>
                    </a:lnTo>
                    <a:lnTo>
                      <a:pt x="170" y="316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8" y="310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6" y="302"/>
                    </a:lnTo>
                    <a:lnTo>
                      <a:pt x="142" y="302"/>
                    </a:lnTo>
                    <a:lnTo>
                      <a:pt x="140" y="300"/>
                    </a:lnTo>
                    <a:lnTo>
                      <a:pt x="142" y="300"/>
                    </a:lnTo>
                    <a:lnTo>
                      <a:pt x="142" y="296"/>
                    </a:lnTo>
                    <a:lnTo>
                      <a:pt x="140" y="296"/>
                    </a:lnTo>
                    <a:lnTo>
                      <a:pt x="136" y="292"/>
                    </a:lnTo>
                    <a:lnTo>
                      <a:pt x="132" y="284"/>
                    </a:lnTo>
                    <a:lnTo>
                      <a:pt x="128" y="284"/>
                    </a:lnTo>
                    <a:lnTo>
                      <a:pt x="124" y="280"/>
                    </a:lnTo>
                    <a:lnTo>
                      <a:pt x="116" y="276"/>
                    </a:lnTo>
                    <a:lnTo>
                      <a:pt x="114" y="272"/>
                    </a:lnTo>
                    <a:lnTo>
                      <a:pt x="110" y="270"/>
                    </a:lnTo>
                    <a:lnTo>
                      <a:pt x="106" y="266"/>
                    </a:lnTo>
                    <a:lnTo>
                      <a:pt x="98" y="262"/>
                    </a:lnTo>
                    <a:lnTo>
                      <a:pt x="94" y="258"/>
                    </a:lnTo>
                    <a:lnTo>
                      <a:pt x="90" y="250"/>
                    </a:lnTo>
                    <a:lnTo>
                      <a:pt x="84" y="246"/>
                    </a:lnTo>
                    <a:lnTo>
                      <a:pt x="80" y="242"/>
                    </a:lnTo>
                    <a:lnTo>
                      <a:pt x="76" y="240"/>
                    </a:lnTo>
                    <a:lnTo>
                      <a:pt x="72" y="236"/>
                    </a:lnTo>
                    <a:lnTo>
                      <a:pt x="64" y="232"/>
                    </a:lnTo>
                    <a:lnTo>
                      <a:pt x="60" y="228"/>
                    </a:lnTo>
                    <a:lnTo>
                      <a:pt x="56" y="224"/>
                    </a:lnTo>
                    <a:lnTo>
                      <a:pt x="54" y="224"/>
                    </a:lnTo>
                    <a:lnTo>
                      <a:pt x="50" y="220"/>
                    </a:lnTo>
                    <a:lnTo>
                      <a:pt x="46" y="216"/>
                    </a:lnTo>
                    <a:lnTo>
                      <a:pt x="42" y="212"/>
                    </a:lnTo>
                    <a:lnTo>
                      <a:pt x="34" y="210"/>
                    </a:lnTo>
                    <a:lnTo>
                      <a:pt x="30" y="206"/>
                    </a:lnTo>
                    <a:lnTo>
                      <a:pt x="28" y="202"/>
                    </a:lnTo>
                    <a:lnTo>
                      <a:pt x="24" y="202"/>
                    </a:lnTo>
                    <a:lnTo>
                      <a:pt x="24" y="198"/>
                    </a:lnTo>
                    <a:lnTo>
                      <a:pt x="20" y="198"/>
                    </a:lnTo>
                    <a:lnTo>
                      <a:pt x="16" y="194"/>
                    </a:lnTo>
                    <a:lnTo>
                      <a:pt x="8" y="190"/>
                    </a:lnTo>
                    <a:lnTo>
                      <a:pt x="8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4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6" y="146"/>
                    </a:lnTo>
                    <a:lnTo>
                      <a:pt x="20" y="146"/>
                    </a:lnTo>
                    <a:lnTo>
                      <a:pt x="20" y="142"/>
                    </a:lnTo>
                    <a:lnTo>
                      <a:pt x="24" y="142"/>
                    </a:lnTo>
                    <a:lnTo>
                      <a:pt x="28" y="142"/>
                    </a:lnTo>
                    <a:lnTo>
                      <a:pt x="30" y="142"/>
                    </a:lnTo>
                    <a:lnTo>
                      <a:pt x="30" y="138"/>
                    </a:lnTo>
                    <a:lnTo>
                      <a:pt x="34" y="138"/>
                    </a:lnTo>
                    <a:lnTo>
                      <a:pt x="38" y="138"/>
                    </a:lnTo>
                    <a:lnTo>
                      <a:pt x="42" y="138"/>
                    </a:lnTo>
                    <a:lnTo>
                      <a:pt x="42" y="134"/>
                    </a:lnTo>
                    <a:lnTo>
                      <a:pt x="46" y="134"/>
                    </a:lnTo>
                    <a:lnTo>
                      <a:pt x="50" y="134"/>
                    </a:lnTo>
                    <a:lnTo>
                      <a:pt x="50" y="130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4"/>
                    </a:lnTo>
                    <a:lnTo>
                      <a:pt x="56" y="124"/>
                    </a:lnTo>
                    <a:lnTo>
                      <a:pt x="60" y="124"/>
                    </a:lnTo>
                    <a:lnTo>
                      <a:pt x="64" y="120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72" y="108"/>
                    </a:lnTo>
                    <a:lnTo>
                      <a:pt x="68" y="108"/>
                    </a:lnTo>
                    <a:lnTo>
                      <a:pt x="68" y="104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76" y="104"/>
                    </a:lnTo>
                    <a:lnTo>
                      <a:pt x="76" y="100"/>
                    </a:lnTo>
                    <a:lnTo>
                      <a:pt x="80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90" y="94"/>
                    </a:lnTo>
                    <a:lnTo>
                      <a:pt x="94" y="94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6" y="94"/>
                    </a:lnTo>
                    <a:lnTo>
                      <a:pt x="106" y="96"/>
                    </a:lnTo>
                    <a:lnTo>
                      <a:pt x="110" y="94"/>
                    </a:lnTo>
                    <a:lnTo>
                      <a:pt x="106" y="94"/>
                    </a:lnTo>
                    <a:lnTo>
                      <a:pt x="106" y="90"/>
                    </a:lnTo>
                    <a:lnTo>
                      <a:pt x="110" y="90"/>
                    </a:lnTo>
                    <a:lnTo>
                      <a:pt x="110" y="86"/>
                    </a:lnTo>
                    <a:lnTo>
                      <a:pt x="106" y="86"/>
                    </a:lnTo>
                    <a:lnTo>
                      <a:pt x="106" y="82"/>
                    </a:lnTo>
                    <a:lnTo>
                      <a:pt x="102" y="78"/>
                    </a:lnTo>
                    <a:lnTo>
                      <a:pt x="102" y="74"/>
                    </a:lnTo>
                    <a:lnTo>
                      <a:pt x="102" y="70"/>
                    </a:lnTo>
                    <a:lnTo>
                      <a:pt x="102" y="66"/>
                    </a:lnTo>
                    <a:lnTo>
                      <a:pt x="98" y="64"/>
                    </a:lnTo>
                    <a:lnTo>
                      <a:pt x="102" y="64"/>
                    </a:lnTo>
                    <a:lnTo>
                      <a:pt x="102" y="60"/>
                    </a:lnTo>
                    <a:lnTo>
                      <a:pt x="98" y="56"/>
                    </a:lnTo>
                    <a:lnTo>
                      <a:pt x="98" y="52"/>
                    </a:lnTo>
                    <a:lnTo>
                      <a:pt x="102" y="52"/>
                    </a:lnTo>
                    <a:lnTo>
                      <a:pt x="98" y="52"/>
                    </a:lnTo>
                    <a:lnTo>
                      <a:pt x="98" y="48"/>
                    </a:lnTo>
                    <a:lnTo>
                      <a:pt x="98" y="44"/>
                    </a:lnTo>
                    <a:lnTo>
                      <a:pt x="94" y="40"/>
                    </a:lnTo>
                    <a:lnTo>
                      <a:pt x="98" y="40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4"/>
                    </a:lnTo>
                    <a:lnTo>
                      <a:pt x="106" y="34"/>
                    </a:lnTo>
                    <a:lnTo>
                      <a:pt x="106" y="30"/>
                    </a:lnTo>
                    <a:lnTo>
                      <a:pt x="110" y="30"/>
                    </a:lnTo>
                    <a:lnTo>
                      <a:pt x="114" y="26"/>
                    </a:lnTo>
                    <a:lnTo>
                      <a:pt x="116" y="26"/>
                    </a:lnTo>
                    <a:lnTo>
                      <a:pt x="120" y="22"/>
                    </a:lnTo>
                    <a:lnTo>
                      <a:pt x="120" y="26"/>
                    </a:lnTo>
                    <a:lnTo>
                      <a:pt x="124" y="26"/>
                    </a:lnTo>
                    <a:lnTo>
                      <a:pt x="124" y="22"/>
                    </a:lnTo>
                    <a:lnTo>
                      <a:pt x="128" y="18"/>
                    </a:lnTo>
                    <a:lnTo>
                      <a:pt x="132" y="18"/>
                    </a:lnTo>
                    <a:lnTo>
                      <a:pt x="132" y="14"/>
                    </a:lnTo>
                    <a:lnTo>
                      <a:pt x="136" y="14"/>
                    </a:lnTo>
                    <a:lnTo>
                      <a:pt x="140" y="14"/>
                    </a:lnTo>
                    <a:lnTo>
                      <a:pt x="140" y="10"/>
                    </a:lnTo>
                    <a:lnTo>
                      <a:pt x="142" y="10"/>
                    </a:lnTo>
                    <a:lnTo>
                      <a:pt x="146" y="10"/>
                    </a:lnTo>
                    <a:lnTo>
                      <a:pt x="150" y="10"/>
                    </a:lnTo>
                    <a:lnTo>
                      <a:pt x="154" y="10"/>
                    </a:lnTo>
                    <a:lnTo>
                      <a:pt x="158" y="10"/>
                    </a:lnTo>
                    <a:lnTo>
                      <a:pt x="162" y="10"/>
                    </a:lnTo>
                    <a:lnTo>
                      <a:pt x="166" y="10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88" y="4"/>
                    </a:lnTo>
                    <a:lnTo>
                      <a:pt x="18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89" name="Freeform 128">
                <a:extLst>
                  <a:ext uri="{FF2B5EF4-FFF2-40B4-BE49-F238E27FC236}">
                    <a16:creationId xmlns:a16="http://schemas.microsoft.com/office/drawing/2014/main" id="{6E09A353-C760-4FF4-B96E-AEA6485E7C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660900" y="4680018"/>
                <a:ext cx="273050" cy="374650"/>
              </a:xfrm>
              <a:custGeom>
                <a:avLst/>
                <a:gdLst>
                  <a:gd name="T0" fmla="*/ 10 w 172"/>
                  <a:gd name="T1" fmla="*/ 12 h 236"/>
                  <a:gd name="T2" fmla="*/ 4 w 172"/>
                  <a:gd name="T3" fmla="*/ 22 h 236"/>
                  <a:gd name="T4" fmla="*/ 4 w 172"/>
                  <a:gd name="T5" fmla="*/ 8 h 236"/>
                  <a:gd name="T6" fmla="*/ 14 w 172"/>
                  <a:gd name="T7" fmla="*/ 0 h 236"/>
                  <a:gd name="T8" fmla="*/ 18 w 172"/>
                  <a:gd name="T9" fmla="*/ 4 h 236"/>
                  <a:gd name="T10" fmla="*/ 152 w 172"/>
                  <a:gd name="T11" fmla="*/ 232 h 236"/>
                  <a:gd name="T12" fmla="*/ 134 w 172"/>
                  <a:gd name="T13" fmla="*/ 232 h 236"/>
                  <a:gd name="T14" fmla="*/ 122 w 172"/>
                  <a:gd name="T15" fmla="*/ 232 h 236"/>
                  <a:gd name="T16" fmla="*/ 108 w 172"/>
                  <a:gd name="T17" fmla="*/ 232 h 236"/>
                  <a:gd name="T18" fmla="*/ 96 w 172"/>
                  <a:gd name="T19" fmla="*/ 228 h 236"/>
                  <a:gd name="T20" fmla="*/ 82 w 172"/>
                  <a:gd name="T21" fmla="*/ 224 h 236"/>
                  <a:gd name="T22" fmla="*/ 52 w 172"/>
                  <a:gd name="T23" fmla="*/ 224 h 236"/>
                  <a:gd name="T24" fmla="*/ 34 w 172"/>
                  <a:gd name="T25" fmla="*/ 224 h 236"/>
                  <a:gd name="T26" fmla="*/ 22 w 172"/>
                  <a:gd name="T27" fmla="*/ 216 h 236"/>
                  <a:gd name="T28" fmla="*/ 8 w 172"/>
                  <a:gd name="T29" fmla="*/ 220 h 236"/>
                  <a:gd name="T30" fmla="*/ 0 w 172"/>
                  <a:gd name="T31" fmla="*/ 212 h 236"/>
                  <a:gd name="T32" fmla="*/ 0 w 172"/>
                  <a:gd name="T33" fmla="*/ 198 h 236"/>
                  <a:gd name="T34" fmla="*/ 4 w 172"/>
                  <a:gd name="T35" fmla="*/ 182 h 236"/>
                  <a:gd name="T36" fmla="*/ 8 w 172"/>
                  <a:gd name="T37" fmla="*/ 168 h 236"/>
                  <a:gd name="T38" fmla="*/ 8 w 172"/>
                  <a:gd name="T39" fmla="*/ 154 h 236"/>
                  <a:gd name="T40" fmla="*/ 14 w 172"/>
                  <a:gd name="T41" fmla="*/ 146 h 236"/>
                  <a:gd name="T42" fmla="*/ 18 w 172"/>
                  <a:gd name="T43" fmla="*/ 142 h 236"/>
                  <a:gd name="T44" fmla="*/ 26 w 172"/>
                  <a:gd name="T45" fmla="*/ 130 h 236"/>
                  <a:gd name="T46" fmla="*/ 26 w 172"/>
                  <a:gd name="T47" fmla="*/ 116 h 236"/>
                  <a:gd name="T48" fmla="*/ 22 w 172"/>
                  <a:gd name="T49" fmla="*/ 100 h 236"/>
                  <a:gd name="T50" fmla="*/ 18 w 172"/>
                  <a:gd name="T51" fmla="*/ 90 h 236"/>
                  <a:gd name="T52" fmla="*/ 18 w 172"/>
                  <a:gd name="T53" fmla="*/ 74 h 236"/>
                  <a:gd name="T54" fmla="*/ 18 w 172"/>
                  <a:gd name="T55" fmla="*/ 74 h 236"/>
                  <a:gd name="T56" fmla="*/ 22 w 172"/>
                  <a:gd name="T57" fmla="*/ 64 h 236"/>
                  <a:gd name="T58" fmla="*/ 14 w 172"/>
                  <a:gd name="T59" fmla="*/ 52 h 236"/>
                  <a:gd name="T60" fmla="*/ 10 w 172"/>
                  <a:gd name="T61" fmla="*/ 42 h 236"/>
                  <a:gd name="T62" fmla="*/ 4 w 172"/>
                  <a:gd name="T63" fmla="*/ 26 h 236"/>
                  <a:gd name="T64" fmla="*/ 14 w 172"/>
                  <a:gd name="T65" fmla="*/ 22 h 236"/>
                  <a:gd name="T66" fmla="*/ 22 w 172"/>
                  <a:gd name="T67" fmla="*/ 22 h 236"/>
                  <a:gd name="T68" fmla="*/ 34 w 172"/>
                  <a:gd name="T69" fmla="*/ 26 h 236"/>
                  <a:gd name="T70" fmla="*/ 56 w 172"/>
                  <a:gd name="T71" fmla="*/ 22 h 236"/>
                  <a:gd name="T72" fmla="*/ 66 w 172"/>
                  <a:gd name="T73" fmla="*/ 26 h 236"/>
                  <a:gd name="T74" fmla="*/ 70 w 172"/>
                  <a:gd name="T75" fmla="*/ 42 h 236"/>
                  <a:gd name="T76" fmla="*/ 74 w 172"/>
                  <a:gd name="T77" fmla="*/ 52 h 236"/>
                  <a:gd name="T78" fmla="*/ 82 w 172"/>
                  <a:gd name="T79" fmla="*/ 64 h 236"/>
                  <a:gd name="T80" fmla="*/ 90 w 172"/>
                  <a:gd name="T81" fmla="*/ 60 h 236"/>
                  <a:gd name="T82" fmla="*/ 108 w 172"/>
                  <a:gd name="T83" fmla="*/ 60 h 236"/>
                  <a:gd name="T84" fmla="*/ 108 w 172"/>
                  <a:gd name="T85" fmla="*/ 52 h 236"/>
                  <a:gd name="T86" fmla="*/ 120 w 172"/>
                  <a:gd name="T87" fmla="*/ 44 h 236"/>
                  <a:gd name="T88" fmla="*/ 122 w 172"/>
                  <a:gd name="T89" fmla="*/ 48 h 236"/>
                  <a:gd name="T90" fmla="*/ 142 w 172"/>
                  <a:gd name="T91" fmla="*/ 52 h 236"/>
                  <a:gd name="T92" fmla="*/ 142 w 172"/>
                  <a:gd name="T93" fmla="*/ 68 h 236"/>
                  <a:gd name="T94" fmla="*/ 142 w 172"/>
                  <a:gd name="T95" fmla="*/ 82 h 236"/>
                  <a:gd name="T96" fmla="*/ 146 w 172"/>
                  <a:gd name="T97" fmla="*/ 98 h 236"/>
                  <a:gd name="T98" fmla="*/ 146 w 172"/>
                  <a:gd name="T99" fmla="*/ 108 h 236"/>
                  <a:gd name="T100" fmla="*/ 150 w 172"/>
                  <a:gd name="T101" fmla="*/ 112 h 236"/>
                  <a:gd name="T102" fmla="*/ 164 w 172"/>
                  <a:gd name="T103" fmla="*/ 112 h 236"/>
                  <a:gd name="T104" fmla="*/ 172 w 172"/>
                  <a:gd name="T105" fmla="*/ 112 h 236"/>
                  <a:gd name="T106" fmla="*/ 172 w 172"/>
                  <a:gd name="T107" fmla="*/ 126 h 236"/>
                  <a:gd name="T108" fmla="*/ 172 w 172"/>
                  <a:gd name="T109" fmla="*/ 146 h 236"/>
                  <a:gd name="T110" fmla="*/ 156 w 172"/>
                  <a:gd name="T111" fmla="*/ 146 h 236"/>
                  <a:gd name="T112" fmla="*/ 142 w 172"/>
                  <a:gd name="T113" fmla="*/ 160 h 236"/>
                  <a:gd name="T114" fmla="*/ 142 w 172"/>
                  <a:gd name="T115" fmla="*/ 180 h 236"/>
                  <a:gd name="T116" fmla="*/ 146 w 172"/>
                  <a:gd name="T117" fmla="*/ 202 h 236"/>
                  <a:gd name="T118" fmla="*/ 150 w 172"/>
                  <a:gd name="T119" fmla="*/ 212 h 236"/>
                  <a:gd name="T120" fmla="*/ 164 w 172"/>
                  <a:gd name="T121" fmla="*/ 228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2" h="236">
                    <a:moveTo>
                      <a:pt x="18" y="4"/>
                    </a:moveTo>
                    <a:lnTo>
                      <a:pt x="14" y="4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14"/>
                    </a:lnTo>
                    <a:lnTo>
                      <a:pt x="10" y="22"/>
                    </a:lnTo>
                    <a:lnTo>
                      <a:pt x="8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close/>
                    <a:moveTo>
                      <a:pt x="164" y="228"/>
                    </a:moveTo>
                    <a:lnTo>
                      <a:pt x="160" y="228"/>
                    </a:lnTo>
                    <a:lnTo>
                      <a:pt x="156" y="228"/>
                    </a:lnTo>
                    <a:lnTo>
                      <a:pt x="152" y="232"/>
                    </a:lnTo>
                    <a:lnTo>
                      <a:pt x="150" y="232"/>
                    </a:lnTo>
                    <a:lnTo>
                      <a:pt x="142" y="232"/>
                    </a:lnTo>
                    <a:lnTo>
                      <a:pt x="134" y="236"/>
                    </a:lnTo>
                    <a:lnTo>
                      <a:pt x="134" y="232"/>
                    </a:lnTo>
                    <a:lnTo>
                      <a:pt x="130" y="232"/>
                    </a:lnTo>
                    <a:lnTo>
                      <a:pt x="126" y="236"/>
                    </a:lnTo>
                    <a:lnTo>
                      <a:pt x="122" y="236"/>
                    </a:lnTo>
                    <a:lnTo>
                      <a:pt x="122" y="232"/>
                    </a:lnTo>
                    <a:lnTo>
                      <a:pt x="120" y="232"/>
                    </a:lnTo>
                    <a:lnTo>
                      <a:pt x="116" y="232"/>
                    </a:lnTo>
                    <a:lnTo>
                      <a:pt x="112" y="232"/>
                    </a:lnTo>
                    <a:lnTo>
                      <a:pt x="108" y="232"/>
                    </a:lnTo>
                    <a:lnTo>
                      <a:pt x="104" y="232"/>
                    </a:lnTo>
                    <a:lnTo>
                      <a:pt x="100" y="232"/>
                    </a:lnTo>
                    <a:lnTo>
                      <a:pt x="96" y="232"/>
                    </a:lnTo>
                    <a:lnTo>
                      <a:pt x="96" y="228"/>
                    </a:lnTo>
                    <a:lnTo>
                      <a:pt x="94" y="224"/>
                    </a:lnTo>
                    <a:lnTo>
                      <a:pt x="90" y="224"/>
                    </a:lnTo>
                    <a:lnTo>
                      <a:pt x="86" y="224"/>
                    </a:lnTo>
                    <a:lnTo>
                      <a:pt x="82" y="224"/>
                    </a:lnTo>
                    <a:lnTo>
                      <a:pt x="78" y="224"/>
                    </a:lnTo>
                    <a:lnTo>
                      <a:pt x="66" y="224"/>
                    </a:lnTo>
                    <a:lnTo>
                      <a:pt x="60" y="224"/>
                    </a:lnTo>
                    <a:lnTo>
                      <a:pt x="52" y="224"/>
                    </a:lnTo>
                    <a:lnTo>
                      <a:pt x="44" y="224"/>
                    </a:lnTo>
                    <a:lnTo>
                      <a:pt x="40" y="224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26" y="220"/>
                    </a:lnTo>
                    <a:lnTo>
                      <a:pt x="22" y="216"/>
                    </a:lnTo>
                    <a:lnTo>
                      <a:pt x="18" y="216"/>
                    </a:lnTo>
                    <a:lnTo>
                      <a:pt x="14" y="216"/>
                    </a:lnTo>
                    <a:lnTo>
                      <a:pt x="10" y="220"/>
                    </a:lnTo>
                    <a:lnTo>
                      <a:pt x="8" y="220"/>
                    </a:lnTo>
                    <a:lnTo>
                      <a:pt x="4" y="220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10"/>
                    </a:lnTo>
                    <a:lnTo>
                      <a:pt x="0" y="206"/>
                    </a:lnTo>
                    <a:lnTo>
                      <a:pt x="0" y="202"/>
                    </a:lnTo>
                    <a:lnTo>
                      <a:pt x="0" y="198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4" y="182"/>
                    </a:lnTo>
                    <a:lnTo>
                      <a:pt x="4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0" y="156"/>
                    </a:lnTo>
                    <a:lnTo>
                      <a:pt x="8" y="154"/>
                    </a:lnTo>
                    <a:lnTo>
                      <a:pt x="10" y="154"/>
                    </a:lnTo>
                    <a:lnTo>
                      <a:pt x="10" y="150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4" y="142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8" y="142"/>
                    </a:lnTo>
                    <a:lnTo>
                      <a:pt x="22" y="138"/>
                    </a:lnTo>
                    <a:lnTo>
                      <a:pt x="22" y="134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30" y="112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2" y="100"/>
                    </a:lnTo>
                    <a:lnTo>
                      <a:pt x="22" y="98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8" y="60"/>
                    </a:lnTo>
                    <a:lnTo>
                      <a:pt x="18" y="56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38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6"/>
                    </a:lnTo>
                    <a:lnTo>
                      <a:pt x="18" y="22"/>
                    </a:lnTo>
                    <a:lnTo>
                      <a:pt x="22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8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56" y="22"/>
                    </a:lnTo>
                    <a:lnTo>
                      <a:pt x="60" y="22"/>
                    </a:lnTo>
                    <a:lnTo>
                      <a:pt x="64" y="22"/>
                    </a:lnTo>
                    <a:lnTo>
                      <a:pt x="66" y="22"/>
                    </a:lnTo>
                    <a:lnTo>
                      <a:pt x="66" y="26"/>
                    </a:lnTo>
                    <a:lnTo>
                      <a:pt x="66" y="30"/>
                    </a:lnTo>
                    <a:lnTo>
                      <a:pt x="66" y="34"/>
                    </a:lnTo>
                    <a:lnTo>
                      <a:pt x="70" y="38"/>
                    </a:lnTo>
                    <a:lnTo>
                      <a:pt x="70" y="42"/>
                    </a:lnTo>
                    <a:lnTo>
                      <a:pt x="70" y="44"/>
                    </a:lnTo>
                    <a:lnTo>
                      <a:pt x="70" y="48"/>
                    </a:lnTo>
                    <a:lnTo>
                      <a:pt x="74" y="48"/>
                    </a:lnTo>
                    <a:lnTo>
                      <a:pt x="74" y="52"/>
                    </a:lnTo>
                    <a:lnTo>
                      <a:pt x="78" y="56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2" y="64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4" y="60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44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0" y="42"/>
                    </a:lnTo>
                    <a:lnTo>
                      <a:pt x="122" y="42"/>
                    </a:lnTo>
                    <a:lnTo>
                      <a:pt x="122" y="44"/>
                    </a:lnTo>
                    <a:lnTo>
                      <a:pt x="122" y="48"/>
                    </a:lnTo>
                    <a:lnTo>
                      <a:pt x="130" y="48"/>
                    </a:lnTo>
                    <a:lnTo>
                      <a:pt x="138" y="48"/>
                    </a:lnTo>
                    <a:lnTo>
                      <a:pt x="142" y="48"/>
                    </a:lnTo>
                    <a:lnTo>
                      <a:pt x="142" y="52"/>
                    </a:lnTo>
                    <a:lnTo>
                      <a:pt x="142" y="56"/>
                    </a:lnTo>
                    <a:lnTo>
                      <a:pt x="142" y="60"/>
                    </a:lnTo>
                    <a:lnTo>
                      <a:pt x="142" y="64"/>
                    </a:lnTo>
                    <a:lnTo>
                      <a:pt x="142" y="68"/>
                    </a:lnTo>
                    <a:lnTo>
                      <a:pt x="142" y="70"/>
                    </a:lnTo>
                    <a:lnTo>
                      <a:pt x="142" y="74"/>
                    </a:lnTo>
                    <a:lnTo>
                      <a:pt x="142" y="78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46" y="94"/>
                    </a:lnTo>
                    <a:lnTo>
                      <a:pt x="146" y="98"/>
                    </a:lnTo>
                    <a:lnTo>
                      <a:pt x="150" y="100"/>
                    </a:lnTo>
                    <a:lnTo>
                      <a:pt x="150" y="104"/>
                    </a:lnTo>
                    <a:lnTo>
                      <a:pt x="150" y="108"/>
                    </a:lnTo>
                    <a:lnTo>
                      <a:pt x="146" y="108"/>
                    </a:lnTo>
                    <a:lnTo>
                      <a:pt x="146" y="112"/>
                    </a:lnTo>
                    <a:lnTo>
                      <a:pt x="146" y="116"/>
                    </a:lnTo>
                    <a:lnTo>
                      <a:pt x="150" y="116"/>
                    </a:lnTo>
                    <a:lnTo>
                      <a:pt x="150" y="112"/>
                    </a:lnTo>
                    <a:lnTo>
                      <a:pt x="152" y="112"/>
                    </a:lnTo>
                    <a:lnTo>
                      <a:pt x="156" y="112"/>
                    </a:lnTo>
                    <a:lnTo>
                      <a:pt x="160" y="112"/>
                    </a:lnTo>
                    <a:lnTo>
                      <a:pt x="164" y="112"/>
                    </a:lnTo>
                    <a:lnTo>
                      <a:pt x="168" y="112"/>
                    </a:lnTo>
                    <a:lnTo>
                      <a:pt x="172" y="112"/>
                    </a:lnTo>
                    <a:lnTo>
                      <a:pt x="172" y="108"/>
                    </a:lnTo>
                    <a:lnTo>
                      <a:pt x="172" y="112"/>
                    </a:lnTo>
                    <a:lnTo>
                      <a:pt x="172" y="116"/>
                    </a:lnTo>
                    <a:lnTo>
                      <a:pt x="172" y="120"/>
                    </a:lnTo>
                    <a:lnTo>
                      <a:pt x="172" y="124"/>
                    </a:lnTo>
                    <a:lnTo>
                      <a:pt x="172" y="126"/>
                    </a:lnTo>
                    <a:lnTo>
                      <a:pt x="172" y="134"/>
                    </a:lnTo>
                    <a:lnTo>
                      <a:pt x="172" y="138"/>
                    </a:lnTo>
                    <a:lnTo>
                      <a:pt x="172" y="142"/>
                    </a:lnTo>
                    <a:lnTo>
                      <a:pt x="172" y="146"/>
                    </a:lnTo>
                    <a:lnTo>
                      <a:pt x="168" y="146"/>
                    </a:lnTo>
                    <a:lnTo>
                      <a:pt x="164" y="146"/>
                    </a:lnTo>
                    <a:lnTo>
                      <a:pt x="160" y="146"/>
                    </a:lnTo>
                    <a:lnTo>
                      <a:pt x="156" y="146"/>
                    </a:lnTo>
                    <a:lnTo>
                      <a:pt x="150" y="146"/>
                    </a:lnTo>
                    <a:lnTo>
                      <a:pt x="142" y="146"/>
                    </a:lnTo>
                    <a:lnTo>
                      <a:pt x="142" y="154"/>
                    </a:lnTo>
                    <a:lnTo>
                      <a:pt x="142" y="160"/>
                    </a:lnTo>
                    <a:lnTo>
                      <a:pt x="142" y="164"/>
                    </a:lnTo>
                    <a:lnTo>
                      <a:pt x="142" y="172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90"/>
                    </a:lnTo>
                    <a:lnTo>
                      <a:pt x="142" y="198"/>
                    </a:lnTo>
                    <a:lnTo>
                      <a:pt x="142" y="202"/>
                    </a:lnTo>
                    <a:lnTo>
                      <a:pt x="146" y="202"/>
                    </a:lnTo>
                    <a:lnTo>
                      <a:pt x="146" y="206"/>
                    </a:lnTo>
                    <a:lnTo>
                      <a:pt x="146" y="210"/>
                    </a:lnTo>
                    <a:lnTo>
                      <a:pt x="150" y="210"/>
                    </a:lnTo>
                    <a:lnTo>
                      <a:pt x="150" y="212"/>
                    </a:lnTo>
                    <a:lnTo>
                      <a:pt x="152" y="216"/>
                    </a:lnTo>
                    <a:lnTo>
                      <a:pt x="160" y="224"/>
                    </a:lnTo>
                    <a:lnTo>
                      <a:pt x="164" y="228"/>
                    </a:lnTo>
                    <a:lnTo>
                      <a:pt x="164" y="228"/>
                    </a:lnTo>
                    <a:lnTo>
                      <a:pt x="164" y="2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0" name="Freeform 129">
                <a:extLst>
                  <a:ext uri="{FF2B5EF4-FFF2-40B4-BE49-F238E27FC236}">
                    <a16:creationId xmlns:a16="http://schemas.microsoft.com/office/drawing/2014/main" id="{61FDF77D-680B-4CC7-92ED-999099731F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13250" y="4219643"/>
                <a:ext cx="69850" cy="171450"/>
              </a:xfrm>
              <a:custGeom>
                <a:avLst/>
                <a:gdLst>
                  <a:gd name="T0" fmla="*/ 30 w 44"/>
                  <a:gd name="T1" fmla="*/ 90 h 108"/>
                  <a:gd name="T2" fmla="*/ 26 w 44"/>
                  <a:gd name="T3" fmla="*/ 96 h 108"/>
                  <a:gd name="T4" fmla="*/ 26 w 44"/>
                  <a:gd name="T5" fmla="*/ 104 h 108"/>
                  <a:gd name="T6" fmla="*/ 26 w 44"/>
                  <a:gd name="T7" fmla="*/ 104 h 108"/>
                  <a:gd name="T8" fmla="*/ 22 w 44"/>
                  <a:gd name="T9" fmla="*/ 104 h 108"/>
                  <a:gd name="T10" fmla="*/ 18 w 44"/>
                  <a:gd name="T11" fmla="*/ 108 h 108"/>
                  <a:gd name="T12" fmla="*/ 10 w 44"/>
                  <a:gd name="T13" fmla="*/ 108 h 108"/>
                  <a:gd name="T14" fmla="*/ 10 w 44"/>
                  <a:gd name="T15" fmla="*/ 108 h 108"/>
                  <a:gd name="T16" fmla="*/ 14 w 44"/>
                  <a:gd name="T17" fmla="*/ 108 h 108"/>
                  <a:gd name="T18" fmla="*/ 10 w 44"/>
                  <a:gd name="T19" fmla="*/ 100 h 108"/>
                  <a:gd name="T20" fmla="*/ 10 w 44"/>
                  <a:gd name="T21" fmla="*/ 100 h 108"/>
                  <a:gd name="T22" fmla="*/ 10 w 44"/>
                  <a:gd name="T23" fmla="*/ 96 h 108"/>
                  <a:gd name="T24" fmla="*/ 10 w 44"/>
                  <a:gd name="T25" fmla="*/ 90 h 108"/>
                  <a:gd name="T26" fmla="*/ 10 w 44"/>
                  <a:gd name="T27" fmla="*/ 86 h 108"/>
                  <a:gd name="T28" fmla="*/ 10 w 44"/>
                  <a:gd name="T29" fmla="*/ 78 h 108"/>
                  <a:gd name="T30" fmla="*/ 10 w 44"/>
                  <a:gd name="T31" fmla="*/ 66 h 108"/>
                  <a:gd name="T32" fmla="*/ 10 w 44"/>
                  <a:gd name="T33" fmla="*/ 60 h 108"/>
                  <a:gd name="T34" fmla="*/ 10 w 44"/>
                  <a:gd name="T35" fmla="*/ 56 h 108"/>
                  <a:gd name="T36" fmla="*/ 6 w 44"/>
                  <a:gd name="T37" fmla="*/ 56 h 108"/>
                  <a:gd name="T38" fmla="*/ 6 w 44"/>
                  <a:gd name="T39" fmla="*/ 52 h 108"/>
                  <a:gd name="T40" fmla="*/ 6 w 44"/>
                  <a:gd name="T41" fmla="*/ 48 h 108"/>
                  <a:gd name="T42" fmla="*/ 6 w 44"/>
                  <a:gd name="T43" fmla="*/ 40 h 108"/>
                  <a:gd name="T44" fmla="*/ 0 w 44"/>
                  <a:gd name="T45" fmla="*/ 38 h 108"/>
                  <a:gd name="T46" fmla="*/ 0 w 44"/>
                  <a:gd name="T47" fmla="*/ 34 h 108"/>
                  <a:gd name="T48" fmla="*/ 0 w 44"/>
                  <a:gd name="T49" fmla="*/ 30 h 108"/>
                  <a:gd name="T50" fmla="*/ 0 w 44"/>
                  <a:gd name="T51" fmla="*/ 26 h 108"/>
                  <a:gd name="T52" fmla="*/ 2 w 44"/>
                  <a:gd name="T53" fmla="*/ 22 h 108"/>
                  <a:gd name="T54" fmla="*/ 6 w 44"/>
                  <a:gd name="T55" fmla="*/ 18 h 108"/>
                  <a:gd name="T56" fmla="*/ 6 w 44"/>
                  <a:gd name="T57" fmla="*/ 18 h 108"/>
                  <a:gd name="T58" fmla="*/ 10 w 44"/>
                  <a:gd name="T59" fmla="*/ 18 h 108"/>
                  <a:gd name="T60" fmla="*/ 14 w 44"/>
                  <a:gd name="T61" fmla="*/ 18 h 108"/>
                  <a:gd name="T62" fmla="*/ 18 w 44"/>
                  <a:gd name="T63" fmla="*/ 18 h 108"/>
                  <a:gd name="T64" fmla="*/ 18 w 44"/>
                  <a:gd name="T65" fmla="*/ 14 h 108"/>
                  <a:gd name="T66" fmla="*/ 22 w 44"/>
                  <a:gd name="T67" fmla="*/ 12 h 108"/>
                  <a:gd name="T68" fmla="*/ 22 w 44"/>
                  <a:gd name="T69" fmla="*/ 8 h 108"/>
                  <a:gd name="T70" fmla="*/ 26 w 44"/>
                  <a:gd name="T71" fmla="*/ 4 h 108"/>
                  <a:gd name="T72" fmla="*/ 30 w 44"/>
                  <a:gd name="T73" fmla="*/ 0 h 108"/>
                  <a:gd name="T74" fmla="*/ 34 w 44"/>
                  <a:gd name="T75" fmla="*/ 8 h 108"/>
                  <a:gd name="T76" fmla="*/ 36 w 44"/>
                  <a:gd name="T77" fmla="*/ 12 h 108"/>
                  <a:gd name="T78" fmla="*/ 36 w 44"/>
                  <a:gd name="T79" fmla="*/ 12 h 108"/>
                  <a:gd name="T80" fmla="*/ 40 w 44"/>
                  <a:gd name="T81" fmla="*/ 14 h 108"/>
                  <a:gd name="T82" fmla="*/ 40 w 44"/>
                  <a:gd name="T83" fmla="*/ 22 h 108"/>
                  <a:gd name="T84" fmla="*/ 40 w 44"/>
                  <a:gd name="T85" fmla="*/ 26 h 108"/>
                  <a:gd name="T86" fmla="*/ 40 w 44"/>
                  <a:gd name="T87" fmla="*/ 30 h 108"/>
                  <a:gd name="T88" fmla="*/ 44 w 44"/>
                  <a:gd name="T89" fmla="*/ 30 h 108"/>
                  <a:gd name="T90" fmla="*/ 40 w 44"/>
                  <a:gd name="T91" fmla="*/ 38 h 108"/>
                  <a:gd name="T92" fmla="*/ 40 w 44"/>
                  <a:gd name="T93" fmla="*/ 38 h 108"/>
                  <a:gd name="T94" fmla="*/ 40 w 44"/>
                  <a:gd name="T95" fmla="*/ 40 h 108"/>
                  <a:gd name="T96" fmla="*/ 36 w 44"/>
                  <a:gd name="T97" fmla="*/ 44 h 108"/>
                  <a:gd name="T98" fmla="*/ 36 w 44"/>
                  <a:gd name="T99" fmla="*/ 48 h 108"/>
                  <a:gd name="T100" fmla="*/ 34 w 44"/>
                  <a:gd name="T101" fmla="*/ 52 h 108"/>
                  <a:gd name="T102" fmla="*/ 34 w 44"/>
                  <a:gd name="T103" fmla="*/ 56 h 108"/>
                  <a:gd name="T104" fmla="*/ 30 w 44"/>
                  <a:gd name="T105" fmla="*/ 60 h 108"/>
                  <a:gd name="T106" fmla="*/ 30 w 44"/>
                  <a:gd name="T107" fmla="*/ 60 h 108"/>
                  <a:gd name="T108" fmla="*/ 26 w 44"/>
                  <a:gd name="T109" fmla="*/ 66 h 108"/>
                  <a:gd name="T110" fmla="*/ 26 w 44"/>
                  <a:gd name="T111" fmla="*/ 70 h 108"/>
                  <a:gd name="T112" fmla="*/ 26 w 44"/>
                  <a:gd name="T113" fmla="*/ 74 h 108"/>
                  <a:gd name="T114" fmla="*/ 26 w 44"/>
                  <a:gd name="T115" fmla="*/ 78 h 108"/>
                  <a:gd name="T116" fmla="*/ 26 w 44"/>
                  <a:gd name="T117" fmla="*/ 82 h 108"/>
                  <a:gd name="T118" fmla="*/ 26 w 44"/>
                  <a:gd name="T119" fmla="*/ 82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08">
                    <a:moveTo>
                      <a:pt x="26" y="82"/>
                    </a:moveTo>
                    <a:lnTo>
                      <a:pt x="26" y="82"/>
                    </a:lnTo>
                    <a:lnTo>
                      <a:pt x="26" y="86"/>
                    </a:lnTo>
                    <a:lnTo>
                      <a:pt x="30" y="90"/>
                    </a:lnTo>
                    <a:lnTo>
                      <a:pt x="30" y="92"/>
                    </a:lnTo>
                    <a:lnTo>
                      <a:pt x="26" y="92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100"/>
                    </a:lnTo>
                    <a:lnTo>
                      <a:pt x="26" y="100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8"/>
                    </a:lnTo>
                    <a:lnTo>
                      <a:pt x="14" y="104"/>
                    </a:lnTo>
                    <a:lnTo>
                      <a:pt x="14" y="104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6"/>
                    </a:lnTo>
                    <a:lnTo>
                      <a:pt x="10" y="92"/>
                    </a:lnTo>
                    <a:lnTo>
                      <a:pt x="10" y="92"/>
                    </a:lnTo>
                    <a:lnTo>
                      <a:pt x="10" y="90"/>
                    </a:lnTo>
                    <a:lnTo>
                      <a:pt x="10" y="90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0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10" y="60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10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48"/>
                    </a:lnTo>
                    <a:lnTo>
                      <a:pt x="6" y="48"/>
                    </a:lnTo>
                    <a:lnTo>
                      <a:pt x="6" y="44"/>
                    </a:lnTo>
                    <a:lnTo>
                      <a:pt x="6" y="44"/>
                    </a:lnTo>
                    <a:lnTo>
                      <a:pt x="6" y="40"/>
                    </a:lnTo>
                    <a:lnTo>
                      <a:pt x="6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2" y="40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2" y="26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2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6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0" y="34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38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4"/>
                    </a:lnTo>
                    <a:lnTo>
                      <a:pt x="40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66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1" name="Freeform 130">
                <a:extLst>
                  <a:ext uri="{FF2B5EF4-FFF2-40B4-BE49-F238E27FC236}">
                    <a16:creationId xmlns:a16="http://schemas.microsoft.com/office/drawing/2014/main" id="{69978A16-583E-429A-8A46-A289AA8DBD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41875" y="5048318"/>
                <a:ext cx="206375" cy="254000"/>
              </a:xfrm>
              <a:custGeom>
                <a:avLst/>
                <a:gdLst>
                  <a:gd name="T0" fmla="*/ 82 w 130"/>
                  <a:gd name="T1" fmla="*/ 124 h 160"/>
                  <a:gd name="T2" fmla="*/ 80 w 130"/>
                  <a:gd name="T3" fmla="*/ 134 h 160"/>
                  <a:gd name="T4" fmla="*/ 76 w 130"/>
                  <a:gd name="T5" fmla="*/ 142 h 160"/>
                  <a:gd name="T6" fmla="*/ 68 w 130"/>
                  <a:gd name="T7" fmla="*/ 142 h 160"/>
                  <a:gd name="T8" fmla="*/ 64 w 130"/>
                  <a:gd name="T9" fmla="*/ 138 h 160"/>
                  <a:gd name="T10" fmla="*/ 60 w 130"/>
                  <a:gd name="T11" fmla="*/ 138 h 160"/>
                  <a:gd name="T12" fmla="*/ 54 w 130"/>
                  <a:gd name="T13" fmla="*/ 134 h 160"/>
                  <a:gd name="T14" fmla="*/ 46 w 130"/>
                  <a:gd name="T15" fmla="*/ 130 h 160"/>
                  <a:gd name="T16" fmla="*/ 42 w 130"/>
                  <a:gd name="T17" fmla="*/ 138 h 160"/>
                  <a:gd name="T18" fmla="*/ 38 w 130"/>
                  <a:gd name="T19" fmla="*/ 146 h 160"/>
                  <a:gd name="T20" fmla="*/ 30 w 130"/>
                  <a:gd name="T21" fmla="*/ 152 h 160"/>
                  <a:gd name="T22" fmla="*/ 26 w 130"/>
                  <a:gd name="T23" fmla="*/ 156 h 160"/>
                  <a:gd name="T24" fmla="*/ 26 w 130"/>
                  <a:gd name="T25" fmla="*/ 160 h 160"/>
                  <a:gd name="T26" fmla="*/ 20 w 130"/>
                  <a:gd name="T27" fmla="*/ 160 h 160"/>
                  <a:gd name="T28" fmla="*/ 16 w 130"/>
                  <a:gd name="T29" fmla="*/ 160 h 160"/>
                  <a:gd name="T30" fmla="*/ 12 w 130"/>
                  <a:gd name="T31" fmla="*/ 160 h 160"/>
                  <a:gd name="T32" fmla="*/ 8 w 130"/>
                  <a:gd name="T33" fmla="*/ 152 h 160"/>
                  <a:gd name="T34" fmla="*/ 12 w 130"/>
                  <a:gd name="T35" fmla="*/ 150 h 160"/>
                  <a:gd name="T36" fmla="*/ 8 w 130"/>
                  <a:gd name="T37" fmla="*/ 138 h 160"/>
                  <a:gd name="T38" fmla="*/ 4 w 130"/>
                  <a:gd name="T39" fmla="*/ 128 h 160"/>
                  <a:gd name="T40" fmla="*/ 0 w 130"/>
                  <a:gd name="T41" fmla="*/ 124 h 160"/>
                  <a:gd name="T42" fmla="*/ 0 w 130"/>
                  <a:gd name="T43" fmla="*/ 104 h 160"/>
                  <a:gd name="T44" fmla="*/ 0 w 130"/>
                  <a:gd name="T45" fmla="*/ 90 h 160"/>
                  <a:gd name="T46" fmla="*/ 0 w 130"/>
                  <a:gd name="T47" fmla="*/ 74 h 160"/>
                  <a:gd name="T48" fmla="*/ 16 w 130"/>
                  <a:gd name="T49" fmla="*/ 68 h 160"/>
                  <a:gd name="T50" fmla="*/ 16 w 130"/>
                  <a:gd name="T51" fmla="*/ 22 h 160"/>
                  <a:gd name="T52" fmla="*/ 26 w 130"/>
                  <a:gd name="T53" fmla="*/ 8 h 160"/>
                  <a:gd name="T54" fmla="*/ 46 w 130"/>
                  <a:gd name="T55" fmla="*/ 4 h 160"/>
                  <a:gd name="T56" fmla="*/ 50 w 130"/>
                  <a:gd name="T57" fmla="*/ 8 h 160"/>
                  <a:gd name="T58" fmla="*/ 54 w 130"/>
                  <a:gd name="T59" fmla="*/ 12 h 160"/>
                  <a:gd name="T60" fmla="*/ 56 w 130"/>
                  <a:gd name="T61" fmla="*/ 8 h 160"/>
                  <a:gd name="T62" fmla="*/ 64 w 130"/>
                  <a:gd name="T63" fmla="*/ 4 h 160"/>
                  <a:gd name="T64" fmla="*/ 68 w 130"/>
                  <a:gd name="T65" fmla="*/ 0 h 160"/>
                  <a:gd name="T66" fmla="*/ 76 w 130"/>
                  <a:gd name="T67" fmla="*/ 0 h 160"/>
                  <a:gd name="T68" fmla="*/ 76 w 130"/>
                  <a:gd name="T69" fmla="*/ 4 h 160"/>
                  <a:gd name="T70" fmla="*/ 80 w 130"/>
                  <a:gd name="T71" fmla="*/ 8 h 160"/>
                  <a:gd name="T72" fmla="*/ 82 w 130"/>
                  <a:gd name="T73" fmla="*/ 18 h 160"/>
                  <a:gd name="T74" fmla="*/ 86 w 130"/>
                  <a:gd name="T75" fmla="*/ 22 h 160"/>
                  <a:gd name="T76" fmla="*/ 90 w 130"/>
                  <a:gd name="T77" fmla="*/ 30 h 160"/>
                  <a:gd name="T78" fmla="*/ 94 w 130"/>
                  <a:gd name="T79" fmla="*/ 34 h 160"/>
                  <a:gd name="T80" fmla="*/ 102 w 130"/>
                  <a:gd name="T81" fmla="*/ 38 h 160"/>
                  <a:gd name="T82" fmla="*/ 106 w 130"/>
                  <a:gd name="T83" fmla="*/ 46 h 160"/>
                  <a:gd name="T84" fmla="*/ 110 w 130"/>
                  <a:gd name="T85" fmla="*/ 46 h 160"/>
                  <a:gd name="T86" fmla="*/ 110 w 130"/>
                  <a:gd name="T87" fmla="*/ 52 h 160"/>
                  <a:gd name="T88" fmla="*/ 112 w 130"/>
                  <a:gd name="T89" fmla="*/ 64 h 160"/>
                  <a:gd name="T90" fmla="*/ 116 w 130"/>
                  <a:gd name="T91" fmla="*/ 68 h 160"/>
                  <a:gd name="T92" fmla="*/ 120 w 130"/>
                  <a:gd name="T93" fmla="*/ 68 h 160"/>
                  <a:gd name="T94" fmla="*/ 126 w 130"/>
                  <a:gd name="T95" fmla="*/ 68 h 160"/>
                  <a:gd name="T96" fmla="*/ 126 w 130"/>
                  <a:gd name="T97" fmla="*/ 74 h 160"/>
                  <a:gd name="T98" fmla="*/ 130 w 130"/>
                  <a:gd name="T99" fmla="*/ 74 h 160"/>
                  <a:gd name="T100" fmla="*/ 126 w 130"/>
                  <a:gd name="T101" fmla="*/ 78 h 160"/>
                  <a:gd name="T102" fmla="*/ 126 w 130"/>
                  <a:gd name="T103" fmla="*/ 82 h 160"/>
                  <a:gd name="T104" fmla="*/ 116 w 130"/>
                  <a:gd name="T105" fmla="*/ 86 h 160"/>
                  <a:gd name="T106" fmla="*/ 112 w 130"/>
                  <a:gd name="T107" fmla="*/ 90 h 160"/>
                  <a:gd name="T108" fmla="*/ 110 w 130"/>
                  <a:gd name="T109" fmla="*/ 98 h 160"/>
                  <a:gd name="T110" fmla="*/ 102 w 130"/>
                  <a:gd name="T111" fmla="*/ 100 h 160"/>
                  <a:gd name="T112" fmla="*/ 98 w 130"/>
                  <a:gd name="T113" fmla="*/ 108 h 160"/>
                  <a:gd name="T114" fmla="*/ 94 w 130"/>
                  <a:gd name="T115" fmla="*/ 116 h 160"/>
                  <a:gd name="T116" fmla="*/ 90 w 130"/>
                  <a:gd name="T11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30" h="160">
                    <a:moveTo>
                      <a:pt x="90" y="120"/>
                    </a:move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8"/>
                    </a:lnTo>
                    <a:lnTo>
                      <a:pt x="82" y="130"/>
                    </a:lnTo>
                    <a:lnTo>
                      <a:pt x="80" y="134"/>
                    </a:lnTo>
                    <a:lnTo>
                      <a:pt x="80" y="134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80" y="138"/>
                    </a:lnTo>
                    <a:lnTo>
                      <a:pt x="76" y="138"/>
                    </a:lnTo>
                    <a:lnTo>
                      <a:pt x="76" y="142"/>
                    </a:lnTo>
                    <a:lnTo>
                      <a:pt x="76" y="142"/>
                    </a:lnTo>
                    <a:lnTo>
                      <a:pt x="72" y="142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38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4" y="138"/>
                    </a:lnTo>
                    <a:lnTo>
                      <a:pt x="64" y="138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4" y="134"/>
                    </a:lnTo>
                    <a:lnTo>
                      <a:pt x="50" y="130"/>
                    </a:lnTo>
                    <a:lnTo>
                      <a:pt x="50" y="130"/>
                    </a:lnTo>
                    <a:lnTo>
                      <a:pt x="46" y="130"/>
                    </a:lnTo>
                    <a:lnTo>
                      <a:pt x="46" y="130"/>
                    </a:lnTo>
                    <a:lnTo>
                      <a:pt x="42" y="130"/>
                    </a:lnTo>
                    <a:lnTo>
                      <a:pt x="42" y="130"/>
                    </a:lnTo>
                    <a:lnTo>
                      <a:pt x="42" y="134"/>
                    </a:lnTo>
                    <a:lnTo>
                      <a:pt x="42" y="134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42" y="138"/>
                    </a:lnTo>
                    <a:lnTo>
                      <a:pt x="38" y="138"/>
                    </a:lnTo>
                    <a:lnTo>
                      <a:pt x="38" y="138"/>
                    </a:lnTo>
                    <a:lnTo>
                      <a:pt x="38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8" y="146"/>
                    </a:lnTo>
                    <a:lnTo>
                      <a:pt x="34" y="150"/>
                    </a:lnTo>
                    <a:lnTo>
                      <a:pt x="34" y="150"/>
                    </a:lnTo>
                    <a:lnTo>
                      <a:pt x="30" y="150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2"/>
                    </a:lnTo>
                    <a:lnTo>
                      <a:pt x="30" y="156"/>
                    </a:lnTo>
                    <a:lnTo>
                      <a:pt x="30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56"/>
                    </a:lnTo>
                    <a:lnTo>
                      <a:pt x="26" y="160"/>
                    </a:lnTo>
                    <a:lnTo>
                      <a:pt x="26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4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20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2" y="152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8" y="138"/>
                    </a:lnTo>
                    <a:lnTo>
                      <a:pt x="12" y="138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4"/>
                    </a:lnTo>
                    <a:lnTo>
                      <a:pt x="8" y="130"/>
                    </a:lnTo>
                    <a:lnTo>
                      <a:pt x="8" y="130"/>
                    </a:lnTo>
                    <a:lnTo>
                      <a:pt x="4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8" y="74"/>
                    </a:lnTo>
                    <a:lnTo>
                      <a:pt x="12" y="74"/>
                    </a:lnTo>
                    <a:lnTo>
                      <a:pt x="16" y="74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22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6" y="8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12"/>
                    </a:lnTo>
                    <a:lnTo>
                      <a:pt x="50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4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18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8" y="38"/>
                    </a:lnTo>
                    <a:lnTo>
                      <a:pt x="102" y="38"/>
                    </a:lnTo>
                    <a:lnTo>
                      <a:pt x="102" y="38"/>
                    </a:lnTo>
                    <a:lnTo>
                      <a:pt x="102" y="42"/>
                    </a:lnTo>
                    <a:lnTo>
                      <a:pt x="106" y="42"/>
                    </a:lnTo>
                    <a:lnTo>
                      <a:pt x="106" y="42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06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6"/>
                    </a:lnTo>
                    <a:lnTo>
                      <a:pt x="110" y="48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2"/>
                    </a:lnTo>
                    <a:lnTo>
                      <a:pt x="110" y="56"/>
                    </a:lnTo>
                    <a:lnTo>
                      <a:pt x="110" y="56"/>
                    </a:lnTo>
                    <a:lnTo>
                      <a:pt x="110" y="60"/>
                    </a:lnTo>
                    <a:lnTo>
                      <a:pt x="110" y="60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2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26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26" y="82"/>
                    </a:lnTo>
                    <a:lnTo>
                      <a:pt x="124" y="82"/>
                    </a:lnTo>
                    <a:lnTo>
                      <a:pt x="124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16" y="82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6" y="86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2" y="90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4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10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6" y="98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102" y="100"/>
                    </a:lnTo>
                    <a:lnTo>
                      <a:pt x="98" y="100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4"/>
                    </a:lnTo>
                    <a:lnTo>
                      <a:pt x="98" y="108"/>
                    </a:lnTo>
                    <a:lnTo>
                      <a:pt x="98" y="108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2"/>
                    </a:lnTo>
                    <a:lnTo>
                      <a:pt x="98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16"/>
                    </a:lnTo>
                    <a:lnTo>
                      <a:pt x="94" y="120"/>
                    </a:lnTo>
                    <a:lnTo>
                      <a:pt x="94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2" name="Freeform 131">
                <a:extLst>
                  <a:ext uri="{FF2B5EF4-FFF2-40B4-BE49-F238E27FC236}">
                    <a16:creationId xmlns:a16="http://schemas.microsoft.com/office/drawing/2014/main" id="{70C6C066-515B-4AB6-BDF1-BDBB087483B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270375" y="4146618"/>
                <a:ext cx="177800" cy="155575"/>
              </a:xfrm>
              <a:custGeom>
                <a:avLst/>
                <a:gdLst>
                  <a:gd name="T0" fmla="*/ 86 w 112"/>
                  <a:gd name="T1" fmla="*/ 72 h 98"/>
                  <a:gd name="T2" fmla="*/ 82 w 112"/>
                  <a:gd name="T3" fmla="*/ 72 h 98"/>
                  <a:gd name="T4" fmla="*/ 74 w 112"/>
                  <a:gd name="T5" fmla="*/ 68 h 98"/>
                  <a:gd name="T6" fmla="*/ 66 w 112"/>
                  <a:gd name="T7" fmla="*/ 72 h 98"/>
                  <a:gd name="T8" fmla="*/ 64 w 112"/>
                  <a:gd name="T9" fmla="*/ 72 h 98"/>
                  <a:gd name="T10" fmla="*/ 56 w 112"/>
                  <a:gd name="T11" fmla="*/ 72 h 98"/>
                  <a:gd name="T12" fmla="*/ 38 w 112"/>
                  <a:gd name="T13" fmla="*/ 72 h 98"/>
                  <a:gd name="T14" fmla="*/ 38 w 112"/>
                  <a:gd name="T15" fmla="*/ 80 h 98"/>
                  <a:gd name="T16" fmla="*/ 38 w 112"/>
                  <a:gd name="T17" fmla="*/ 86 h 98"/>
                  <a:gd name="T18" fmla="*/ 38 w 112"/>
                  <a:gd name="T19" fmla="*/ 94 h 98"/>
                  <a:gd name="T20" fmla="*/ 38 w 112"/>
                  <a:gd name="T21" fmla="*/ 94 h 98"/>
                  <a:gd name="T22" fmla="*/ 40 w 112"/>
                  <a:gd name="T23" fmla="*/ 98 h 98"/>
                  <a:gd name="T24" fmla="*/ 38 w 112"/>
                  <a:gd name="T25" fmla="*/ 98 h 98"/>
                  <a:gd name="T26" fmla="*/ 34 w 112"/>
                  <a:gd name="T27" fmla="*/ 90 h 98"/>
                  <a:gd name="T28" fmla="*/ 26 w 112"/>
                  <a:gd name="T29" fmla="*/ 90 h 98"/>
                  <a:gd name="T30" fmla="*/ 22 w 112"/>
                  <a:gd name="T31" fmla="*/ 90 h 98"/>
                  <a:gd name="T32" fmla="*/ 18 w 112"/>
                  <a:gd name="T33" fmla="*/ 94 h 98"/>
                  <a:gd name="T34" fmla="*/ 14 w 112"/>
                  <a:gd name="T35" fmla="*/ 94 h 98"/>
                  <a:gd name="T36" fmla="*/ 12 w 112"/>
                  <a:gd name="T37" fmla="*/ 94 h 98"/>
                  <a:gd name="T38" fmla="*/ 8 w 112"/>
                  <a:gd name="T39" fmla="*/ 84 h 98"/>
                  <a:gd name="T40" fmla="*/ 4 w 112"/>
                  <a:gd name="T41" fmla="*/ 84 h 98"/>
                  <a:gd name="T42" fmla="*/ 0 w 112"/>
                  <a:gd name="T43" fmla="*/ 80 h 98"/>
                  <a:gd name="T44" fmla="*/ 0 w 112"/>
                  <a:gd name="T45" fmla="*/ 76 h 98"/>
                  <a:gd name="T46" fmla="*/ 0 w 112"/>
                  <a:gd name="T47" fmla="*/ 72 h 98"/>
                  <a:gd name="T48" fmla="*/ 4 w 112"/>
                  <a:gd name="T49" fmla="*/ 68 h 98"/>
                  <a:gd name="T50" fmla="*/ 4 w 112"/>
                  <a:gd name="T51" fmla="*/ 60 h 98"/>
                  <a:gd name="T52" fmla="*/ 8 w 112"/>
                  <a:gd name="T53" fmla="*/ 54 h 98"/>
                  <a:gd name="T54" fmla="*/ 12 w 112"/>
                  <a:gd name="T55" fmla="*/ 54 h 98"/>
                  <a:gd name="T56" fmla="*/ 14 w 112"/>
                  <a:gd name="T57" fmla="*/ 46 h 98"/>
                  <a:gd name="T58" fmla="*/ 14 w 112"/>
                  <a:gd name="T59" fmla="*/ 42 h 98"/>
                  <a:gd name="T60" fmla="*/ 18 w 112"/>
                  <a:gd name="T61" fmla="*/ 42 h 98"/>
                  <a:gd name="T62" fmla="*/ 18 w 112"/>
                  <a:gd name="T63" fmla="*/ 38 h 98"/>
                  <a:gd name="T64" fmla="*/ 18 w 112"/>
                  <a:gd name="T65" fmla="*/ 34 h 98"/>
                  <a:gd name="T66" fmla="*/ 22 w 112"/>
                  <a:gd name="T67" fmla="*/ 28 h 98"/>
                  <a:gd name="T68" fmla="*/ 30 w 112"/>
                  <a:gd name="T69" fmla="*/ 34 h 98"/>
                  <a:gd name="T70" fmla="*/ 30 w 112"/>
                  <a:gd name="T71" fmla="*/ 34 h 98"/>
                  <a:gd name="T72" fmla="*/ 30 w 112"/>
                  <a:gd name="T73" fmla="*/ 30 h 98"/>
                  <a:gd name="T74" fmla="*/ 34 w 112"/>
                  <a:gd name="T75" fmla="*/ 28 h 98"/>
                  <a:gd name="T76" fmla="*/ 38 w 112"/>
                  <a:gd name="T77" fmla="*/ 28 h 98"/>
                  <a:gd name="T78" fmla="*/ 38 w 112"/>
                  <a:gd name="T79" fmla="*/ 20 h 98"/>
                  <a:gd name="T80" fmla="*/ 44 w 112"/>
                  <a:gd name="T81" fmla="*/ 16 h 98"/>
                  <a:gd name="T82" fmla="*/ 48 w 112"/>
                  <a:gd name="T83" fmla="*/ 16 h 98"/>
                  <a:gd name="T84" fmla="*/ 52 w 112"/>
                  <a:gd name="T85" fmla="*/ 12 h 98"/>
                  <a:gd name="T86" fmla="*/ 64 w 112"/>
                  <a:gd name="T87" fmla="*/ 4 h 98"/>
                  <a:gd name="T88" fmla="*/ 70 w 112"/>
                  <a:gd name="T89" fmla="*/ 0 h 98"/>
                  <a:gd name="T90" fmla="*/ 82 w 112"/>
                  <a:gd name="T91" fmla="*/ 4 h 98"/>
                  <a:gd name="T92" fmla="*/ 82 w 112"/>
                  <a:gd name="T93" fmla="*/ 12 h 98"/>
                  <a:gd name="T94" fmla="*/ 82 w 112"/>
                  <a:gd name="T95" fmla="*/ 16 h 98"/>
                  <a:gd name="T96" fmla="*/ 86 w 112"/>
                  <a:gd name="T97" fmla="*/ 24 h 98"/>
                  <a:gd name="T98" fmla="*/ 92 w 112"/>
                  <a:gd name="T99" fmla="*/ 28 h 98"/>
                  <a:gd name="T100" fmla="*/ 96 w 112"/>
                  <a:gd name="T101" fmla="*/ 30 h 98"/>
                  <a:gd name="T102" fmla="*/ 92 w 112"/>
                  <a:gd name="T103" fmla="*/ 30 h 98"/>
                  <a:gd name="T104" fmla="*/ 92 w 112"/>
                  <a:gd name="T105" fmla="*/ 34 h 98"/>
                  <a:gd name="T106" fmla="*/ 100 w 112"/>
                  <a:gd name="T107" fmla="*/ 42 h 98"/>
                  <a:gd name="T108" fmla="*/ 108 w 112"/>
                  <a:gd name="T109" fmla="*/ 42 h 98"/>
                  <a:gd name="T110" fmla="*/ 108 w 112"/>
                  <a:gd name="T111" fmla="*/ 46 h 98"/>
                  <a:gd name="T112" fmla="*/ 112 w 112"/>
                  <a:gd name="T113" fmla="*/ 56 h 98"/>
                  <a:gd name="T114" fmla="*/ 108 w 112"/>
                  <a:gd name="T115" fmla="*/ 60 h 98"/>
                  <a:gd name="T116" fmla="*/ 108 w 112"/>
                  <a:gd name="T117" fmla="*/ 64 h 98"/>
                  <a:gd name="T118" fmla="*/ 100 w 112"/>
                  <a:gd name="T119" fmla="*/ 64 h 98"/>
                  <a:gd name="T120" fmla="*/ 96 w 112"/>
                  <a:gd name="T121" fmla="*/ 64 h 98"/>
                  <a:gd name="T122" fmla="*/ 96 w 112"/>
                  <a:gd name="T123" fmla="*/ 64 h 98"/>
                  <a:gd name="T124" fmla="*/ 92 w 112"/>
                  <a:gd name="T125" fmla="*/ 7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2" h="98">
                    <a:moveTo>
                      <a:pt x="90" y="72"/>
                    </a:move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6" y="72"/>
                    </a:lnTo>
                    <a:lnTo>
                      <a:pt x="82" y="72"/>
                    </a:lnTo>
                    <a:lnTo>
                      <a:pt x="82" y="72"/>
                    </a:lnTo>
                    <a:lnTo>
                      <a:pt x="78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6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6"/>
                    </a:lnTo>
                    <a:lnTo>
                      <a:pt x="38" y="76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0"/>
                    </a:lnTo>
                    <a:lnTo>
                      <a:pt x="38" y="84"/>
                    </a:lnTo>
                    <a:lnTo>
                      <a:pt x="38" y="84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90"/>
                    </a:lnTo>
                    <a:lnTo>
                      <a:pt x="40" y="90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40" y="94"/>
                    </a:lnTo>
                    <a:lnTo>
                      <a:pt x="38" y="94"/>
                    </a:lnTo>
                    <a:lnTo>
                      <a:pt x="38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8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8" y="94"/>
                    </a:lnTo>
                    <a:lnTo>
                      <a:pt x="34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8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2" y="54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50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42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0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30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6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4" y="0"/>
                    </a:lnTo>
                    <a:lnTo>
                      <a:pt x="74" y="0"/>
                    </a:lnTo>
                    <a:lnTo>
                      <a:pt x="78" y="0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2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2" y="16"/>
                    </a:lnTo>
                    <a:lnTo>
                      <a:pt x="82" y="16"/>
                    </a:lnTo>
                    <a:lnTo>
                      <a:pt x="86" y="20"/>
                    </a:lnTo>
                    <a:lnTo>
                      <a:pt x="86" y="24"/>
                    </a:lnTo>
                    <a:lnTo>
                      <a:pt x="86" y="24"/>
                    </a:lnTo>
                    <a:lnTo>
                      <a:pt x="86" y="28"/>
                    </a:lnTo>
                    <a:lnTo>
                      <a:pt x="90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6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8"/>
                    </a:lnTo>
                    <a:lnTo>
                      <a:pt x="92" y="38"/>
                    </a:lnTo>
                    <a:lnTo>
                      <a:pt x="96" y="38"/>
                    </a:lnTo>
                    <a:lnTo>
                      <a:pt x="100" y="42"/>
                    </a:lnTo>
                    <a:lnTo>
                      <a:pt x="104" y="46"/>
                    </a:lnTo>
                    <a:lnTo>
                      <a:pt x="104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2"/>
                    </a:lnTo>
                    <a:lnTo>
                      <a:pt x="108" y="46"/>
                    </a:lnTo>
                    <a:lnTo>
                      <a:pt x="112" y="46"/>
                    </a:lnTo>
                    <a:lnTo>
                      <a:pt x="108" y="46"/>
                    </a:lnTo>
                    <a:lnTo>
                      <a:pt x="108" y="46"/>
                    </a:lnTo>
                    <a:lnTo>
                      <a:pt x="108" y="50"/>
                    </a:lnTo>
                    <a:lnTo>
                      <a:pt x="108" y="50"/>
                    </a:lnTo>
                    <a:lnTo>
                      <a:pt x="112" y="54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56"/>
                    </a:lnTo>
                    <a:lnTo>
                      <a:pt x="112" y="60"/>
                    </a:lnTo>
                    <a:lnTo>
                      <a:pt x="112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4"/>
                    </a:lnTo>
                    <a:lnTo>
                      <a:pt x="96" y="68"/>
                    </a:lnTo>
                    <a:lnTo>
                      <a:pt x="96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0" y="72"/>
                    </a:lnTo>
                    <a:lnTo>
                      <a:pt x="90" y="72"/>
                    </a:lnTo>
                    <a:lnTo>
                      <a:pt x="90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3" name="Freeform 132">
                <a:extLst>
                  <a:ext uri="{FF2B5EF4-FFF2-40B4-BE49-F238E27FC236}">
                    <a16:creationId xmlns:a16="http://schemas.microsoft.com/office/drawing/2014/main" id="{4FF623A3-DC57-4B70-805A-778867879C6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622868"/>
                <a:ext cx="41275" cy="57150"/>
              </a:xfrm>
              <a:custGeom>
                <a:avLst/>
                <a:gdLst>
                  <a:gd name="T0" fmla="*/ 26 w 26"/>
                  <a:gd name="T1" fmla="*/ 14 h 36"/>
                  <a:gd name="T2" fmla="*/ 26 w 26"/>
                  <a:gd name="T3" fmla="*/ 18 h 36"/>
                  <a:gd name="T4" fmla="*/ 22 w 26"/>
                  <a:gd name="T5" fmla="*/ 18 h 36"/>
                  <a:gd name="T6" fmla="*/ 22 w 26"/>
                  <a:gd name="T7" fmla="*/ 18 h 36"/>
                  <a:gd name="T8" fmla="*/ 22 w 26"/>
                  <a:gd name="T9" fmla="*/ 18 h 36"/>
                  <a:gd name="T10" fmla="*/ 22 w 26"/>
                  <a:gd name="T11" fmla="*/ 18 h 36"/>
                  <a:gd name="T12" fmla="*/ 18 w 26"/>
                  <a:gd name="T13" fmla="*/ 22 h 36"/>
                  <a:gd name="T14" fmla="*/ 18 w 26"/>
                  <a:gd name="T15" fmla="*/ 24 h 36"/>
                  <a:gd name="T16" fmla="*/ 18 w 26"/>
                  <a:gd name="T17" fmla="*/ 24 h 36"/>
                  <a:gd name="T18" fmla="*/ 18 w 26"/>
                  <a:gd name="T19" fmla="*/ 28 h 36"/>
                  <a:gd name="T20" fmla="*/ 10 w 26"/>
                  <a:gd name="T21" fmla="*/ 36 h 36"/>
                  <a:gd name="T22" fmla="*/ 8 w 26"/>
                  <a:gd name="T23" fmla="*/ 36 h 36"/>
                  <a:gd name="T24" fmla="*/ 8 w 26"/>
                  <a:gd name="T25" fmla="*/ 32 h 36"/>
                  <a:gd name="T26" fmla="*/ 4 w 26"/>
                  <a:gd name="T27" fmla="*/ 28 h 36"/>
                  <a:gd name="T28" fmla="*/ 4 w 26"/>
                  <a:gd name="T29" fmla="*/ 28 h 36"/>
                  <a:gd name="T30" fmla="*/ 4 w 26"/>
                  <a:gd name="T31" fmla="*/ 28 h 36"/>
                  <a:gd name="T32" fmla="*/ 4 w 26"/>
                  <a:gd name="T33" fmla="*/ 24 h 36"/>
                  <a:gd name="T34" fmla="*/ 4 w 26"/>
                  <a:gd name="T35" fmla="*/ 24 h 36"/>
                  <a:gd name="T36" fmla="*/ 4 w 26"/>
                  <a:gd name="T37" fmla="*/ 22 h 36"/>
                  <a:gd name="T38" fmla="*/ 4 w 26"/>
                  <a:gd name="T39" fmla="*/ 18 h 36"/>
                  <a:gd name="T40" fmla="*/ 4 w 26"/>
                  <a:gd name="T41" fmla="*/ 18 h 36"/>
                  <a:gd name="T42" fmla="*/ 4 w 26"/>
                  <a:gd name="T43" fmla="*/ 14 h 36"/>
                  <a:gd name="T44" fmla="*/ 4 w 26"/>
                  <a:gd name="T45" fmla="*/ 10 h 36"/>
                  <a:gd name="T46" fmla="*/ 0 w 26"/>
                  <a:gd name="T47" fmla="*/ 8 h 36"/>
                  <a:gd name="T48" fmla="*/ 0 w 26"/>
                  <a:gd name="T49" fmla="*/ 8 h 36"/>
                  <a:gd name="T50" fmla="*/ 0 w 26"/>
                  <a:gd name="T51" fmla="*/ 8 h 36"/>
                  <a:gd name="T52" fmla="*/ 4 w 26"/>
                  <a:gd name="T53" fmla="*/ 4 h 36"/>
                  <a:gd name="T54" fmla="*/ 4 w 26"/>
                  <a:gd name="T55" fmla="*/ 8 h 36"/>
                  <a:gd name="T56" fmla="*/ 4 w 26"/>
                  <a:gd name="T57" fmla="*/ 8 h 36"/>
                  <a:gd name="T58" fmla="*/ 8 w 26"/>
                  <a:gd name="T59" fmla="*/ 8 h 36"/>
                  <a:gd name="T60" fmla="*/ 8 w 26"/>
                  <a:gd name="T61" fmla="*/ 8 h 36"/>
                  <a:gd name="T62" fmla="*/ 8 w 26"/>
                  <a:gd name="T63" fmla="*/ 8 h 36"/>
                  <a:gd name="T64" fmla="*/ 10 w 26"/>
                  <a:gd name="T65" fmla="*/ 8 h 36"/>
                  <a:gd name="T66" fmla="*/ 10 w 26"/>
                  <a:gd name="T67" fmla="*/ 8 h 36"/>
                  <a:gd name="T68" fmla="*/ 14 w 26"/>
                  <a:gd name="T69" fmla="*/ 4 h 36"/>
                  <a:gd name="T70" fmla="*/ 14 w 26"/>
                  <a:gd name="T71" fmla="*/ 0 h 36"/>
                  <a:gd name="T72" fmla="*/ 14 w 26"/>
                  <a:gd name="T73" fmla="*/ 4 h 36"/>
                  <a:gd name="T74" fmla="*/ 18 w 26"/>
                  <a:gd name="T75" fmla="*/ 0 h 36"/>
                  <a:gd name="T76" fmla="*/ 22 w 26"/>
                  <a:gd name="T77" fmla="*/ 0 h 36"/>
                  <a:gd name="T78" fmla="*/ 22 w 26"/>
                  <a:gd name="T79" fmla="*/ 0 h 36"/>
                  <a:gd name="T80" fmla="*/ 18 w 26"/>
                  <a:gd name="T81" fmla="*/ 10 h 36"/>
                  <a:gd name="T82" fmla="*/ 22 w 26"/>
                  <a:gd name="T83" fmla="*/ 10 h 36"/>
                  <a:gd name="T84" fmla="*/ 22 w 26"/>
                  <a:gd name="T85" fmla="*/ 10 h 36"/>
                  <a:gd name="T86" fmla="*/ 26 w 26"/>
                  <a:gd name="T87" fmla="*/ 10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6">
                    <a:moveTo>
                      <a:pt x="26" y="10"/>
                    </a:move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18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4" y="32"/>
                    </a:lnTo>
                    <a:lnTo>
                      <a:pt x="14" y="32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2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4" name="Freeform 133">
                <a:extLst>
                  <a:ext uri="{FF2B5EF4-FFF2-40B4-BE49-F238E27FC236}">
                    <a16:creationId xmlns:a16="http://schemas.microsoft.com/office/drawing/2014/main" id="{AB56B068-E9E9-48A8-B215-42FCCC5DE1D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81525" y="4200593"/>
                <a:ext cx="180975" cy="314325"/>
              </a:xfrm>
              <a:custGeom>
                <a:avLst/>
                <a:gdLst>
                  <a:gd name="T0" fmla="*/ 24 w 114"/>
                  <a:gd name="T1" fmla="*/ 188 h 198"/>
                  <a:gd name="T2" fmla="*/ 20 w 114"/>
                  <a:gd name="T3" fmla="*/ 176 h 198"/>
                  <a:gd name="T4" fmla="*/ 20 w 114"/>
                  <a:gd name="T5" fmla="*/ 168 h 198"/>
                  <a:gd name="T6" fmla="*/ 20 w 114"/>
                  <a:gd name="T7" fmla="*/ 162 h 198"/>
                  <a:gd name="T8" fmla="*/ 12 w 114"/>
                  <a:gd name="T9" fmla="*/ 162 h 198"/>
                  <a:gd name="T10" fmla="*/ 8 w 114"/>
                  <a:gd name="T11" fmla="*/ 154 h 198"/>
                  <a:gd name="T12" fmla="*/ 8 w 114"/>
                  <a:gd name="T13" fmla="*/ 150 h 198"/>
                  <a:gd name="T14" fmla="*/ 4 w 114"/>
                  <a:gd name="T15" fmla="*/ 150 h 198"/>
                  <a:gd name="T16" fmla="*/ 4 w 114"/>
                  <a:gd name="T17" fmla="*/ 142 h 198"/>
                  <a:gd name="T18" fmla="*/ 8 w 114"/>
                  <a:gd name="T19" fmla="*/ 132 h 198"/>
                  <a:gd name="T20" fmla="*/ 12 w 114"/>
                  <a:gd name="T21" fmla="*/ 120 h 198"/>
                  <a:gd name="T22" fmla="*/ 20 w 114"/>
                  <a:gd name="T23" fmla="*/ 112 h 198"/>
                  <a:gd name="T24" fmla="*/ 26 w 114"/>
                  <a:gd name="T25" fmla="*/ 106 h 198"/>
                  <a:gd name="T26" fmla="*/ 30 w 114"/>
                  <a:gd name="T27" fmla="*/ 106 h 198"/>
                  <a:gd name="T28" fmla="*/ 38 w 114"/>
                  <a:gd name="T29" fmla="*/ 108 h 198"/>
                  <a:gd name="T30" fmla="*/ 42 w 114"/>
                  <a:gd name="T31" fmla="*/ 116 h 198"/>
                  <a:gd name="T32" fmla="*/ 46 w 114"/>
                  <a:gd name="T33" fmla="*/ 108 h 198"/>
                  <a:gd name="T34" fmla="*/ 50 w 114"/>
                  <a:gd name="T35" fmla="*/ 98 h 198"/>
                  <a:gd name="T36" fmla="*/ 54 w 114"/>
                  <a:gd name="T37" fmla="*/ 90 h 198"/>
                  <a:gd name="T38" fmla="*/ 54 w 114"/>
                  <a:gd name="T39" fmla="*/ 86 h 198"/>
                  <a:gd name="T40" fmla="*/ 56 w 114"/>
                  <a:gd name="T41" fmla="*/ 78 h 198"/>
                  <a:gd name="T42" fmla="*/ 64 w 114"/>
                  <a:gd name="T43" fmla="*/ 72 h 198"/>
                  <a:gd name="T44" fmla="*/ 68 w 114"/>
                  <a:gd name="T45" fmla="*/ 64 h 198"/>
                  <a:gd name="T46" fmla="*/ 68 w 114"/>
                  <a:gd name="T47" fmla="*/ 52 h 198"/>
                  <a:gd name="T48" fmla="*/ 72 w 114"/>
                  <a:gd name="T49" fmla="*/ 46 h 198"/>
                  <a:gd name="T50" fmla="*/ 80 w 114"/>
                  <a:gd name="T51" fmla="*/ 34 h 198"/>
                  <a:gd name="T52" fmla="*/ 86 w 114"/>
                  <a:gd name="T53" fmla="*/ 30 h 198"/>
                  <a:gd name="T54" fmla="*/ 86 w 114"/>
                  <a:gd name="T55" fmla="*/ 22 h 198"/>
                  <a:gd name="T56" fmla="*/ 86 w 114"/>
                  <a:gd name="T57" fmla="*/ 20 h 198"/>
                  <a:gd name="T58" fmla="*/ 86 w 114"/>
                  <a:gd name="T59" fmla="*/ 16 h 198"/>
                  <a:gd name="T60" fmla="*/ 84 w 114"/>
                  <a:gd name="T61" fmla="*/ 8 h 198"/>
                  <a:gd name="T62" fmla="*/ 84 w 114"/>
                  <a:gd name="T63" fmla="*/ 0 h 198"/>
                  <a:gd name="T64" fmla="*/ 86 w 114"/>
                  <a:gd name="T65" fmla="*/ 8 h 198"/>
                  <a:gd name="T66" fmla="*/ 94 w 114"/>
                  <a:gd name="T67" fmla="*/ 20 h 198"/>
                  <a:gd name="T68" fmla="*/ 94 w 114"/>
                  <a:gd name="T69" fmla="*/ 30 h 198"/>
                  <a:gd name="T70" fmla="*/ 94 w 114"/>
                  <a:gd name="T71" fmla="*/ 42 h 198"/>
                  <a:gd name="T72" fmla="*/ 98 w 114"/>
                  <a:gd name="T73" fmla="*/ 50 h 198"/>
                  <a:gd name="T74" fmla="*/ 98 w 114"/>
                  <a:gd name="T75" fmla="*/ 56 h 198"/>
                  <a:gd name="T76" fmla="*/ 86 w 114"/>
                  <a:gd name="T77" fmla="*/ 56 h 198"/>
                  <a:gd name="T78" fmla="*/ 84 w 114"/>
                  <a:gd name="T79" fmla="*/ 68 h 198"/>
                  <a:gd name="T80" fmla="*/ 94 w 114"/>
                  <a:gd name="T81" fmla="*/ 76 h 198"/>
                  <a:gd name="T82" fmla="*/ 98 w 114"/>
                  <a:gd name="T83" fmla="*/ 86 h 198"/>
                  <a:gd name="T84" fmla="*/ 102 w 114"/>
                  <a:gd name="T85" fmla="*/ 94 h 198"/>
                  <a:gd name="T86" fmla="*/ 98 w 114"/>
                  <a:gd name="T87" fmla="*/ 102 h 198"/>
                  <a:gd name="T88" fmla="*/ 94 w 114"/>
                  <a:gd name="T89" fmla="*/ 108 h 198"/>
                  <a:gd name="T90" fmla="*/ 90 w 114"/>
                  <a:gd name="T91" fmla="*/ 120 h 198"/>
                  <a:gd name="T92" fmla="*/ 86 w 114"/>
                  <a:gd name="T93" fmla="*/ 128 h 198"/>
                  <a:gd name="T94" fmla="*/ 86 w 114"/>
                  <a:gd name="T95" fmla="*/ 134 h 198"/>
                  <a:gd name="T96" fmla="*/ 90 w 114"/>
                  <a:gd name="T97" fmla="*/ 146 h 198"/>
                  <a:gd name="T98" fmla="*/ 94 w 114"/>
                  <a:gd name="T99" fmla="*/ 154 h 198"/>
                  <a:gd name="T100" fmla="*/ 98 w 114"/>
                  <a:gd name="T101" fmla="*/ 162 h 198"/>
                  <a:gd name="T102" fmla="*/ 106 w 114"/>
                  <a:gd name="T103" fmla="*/ 172 h 198"/>
                  <a:gd name="T104" fmla="*/ 110 w 114"/>
                  <a:gd name="T105" fmla="*/ 184 h 198"/>
                  <a:gd name="T106" fmla="*/ 110 w 114"/>
                  <a:gd name="T107" fmla="*/ 188 h 198"/>
                  <a:gd name="T108" fmla="*/ 110 w 114"/>
                  <a:gd name="T109" fmla="*/ 198 h 198"/>
                  <a:gd name="T110" fmla="*/ 102 w 114"/>
                  <a:gd name="T111" fmla="*/ 194 h 198"/>
                  <a:gd name="T112" fmla="*/ 94 w 114"/>
                  <a:gd name="T113" fmla="*/ 190 h 198"/>
                  <a:gd name="T114" fmla="*/ 84 w 114"/>
                  <a:gd name="T115" fmla="*/ 190 h 198"/>
                  <a:gd name="T116" fmla="*/ 68 w 114"/>
                  <a:gd name="T117" fmla="*/ 188 h 198"/>
                  <a:gd name="T118" fmla="*/ 56 w 114"/>
                  <a:gd name="T119" fmla="*/ 188 h 198"/>
                  <a:gd name="T120" fmla="*/ 46 w 114"/>
                  <a:gd name="T121" fmla="*/ 188 h 198"/>
                  <a:gd name="T122" fmla="*/ 38 w 114"/>
                  <a:gd name="T123" fmla="*/ 190 h 198"/>
                  <a:gd name="T124" fmla="*/ 26 w 114"/>
                  <a:gd name="T125" fmla="*/ 190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14" h="198">
                    <a:moveTo>
                      <a:pt x="26" y="190"/>
                    </a:moveTo>
                    <a:lnTo>
                      <a:pt x="24" y="190"/>
                    </a:lnTo>
                    <a:lnTo>
                      <a:pt x="24" y="188"/>
                    </a:lnTo>
                    <a:lnTo>
                      <a:pt x="20" y="188"/>
                    </a:lnTo>
                    <a:lnTo>
                      <a:pt x="20" y="184"/>
                    </a:lnTo>
                    <a:lnTo>
                      <a:pt x="20" y="176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2"/>
                    </a:lnTo>
                    <a:lnTo>
                      <a:pt x="20" y="162"/>
                    </a:lnTo>
                    <a:lnTo>
                      <a:pt x="16" y="158"/>
                    </a:lnTo>
                    <a:lnTo>
                      <a:pt x="16" y="162"/>
                    </a:lnTo>
                    <a:lnTo>
                      <a:pt x="12" y="162"/>
                    </a:lnTo>
                    <a:lnTo>
                      <a:pt x="12" y="158"/>
                    </a:lnTo>
                    <a:lnTo>
                      <a:pt x="8" y="158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8" y="150"/>
                    </a:lnTo>
                    <a:lnTo>
                      <a:pt x="4" y="150"/>
                    </a:lnTo>
                    <a:lnTo>
                      <a:pt x="4" y="146"/>
                    </a:lnTo>
                    <a:lnTo>
                      <a:pt x="4" y="150"/>
                    </a:lnTo>
                    <a:lnTo>
                      <a:pt x="0" y="150"/>
                    </a:lnTo>
                    <a:lnTo>
                      <a:pt x="0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8" y="134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4" y="108"/>
                    </a:lnTo>
                    <a:lnTo>
                      <a:pt x="26" y="106"/>
                    </a:lnTo>
                    <a:lnTo>
                      <a:pt x="26" y="108"/>
                    </a:lnTo>
                    <a:lnTo>
                      <a:pt x="30" y="108"/>
                    </a:lnTo>
                    <a:lnTo>
                      <a:pt x="30" y="106"/>
                    </a:lnTo>
                    <a:lnTo>
                      <a:pt x="34" y="106"/>
                    </a:lnTo>
                    <a:lnTo>
                      <a:pt x="34" y="108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42" y="116"/>
                    </a:lnTo>
                    <a:lnTo>
                      <a:pt x="42" y="112"/>
                    </a:lnTo>
                    <a:lnTo>
                      <a:pt x="46" y="112"/>
                    </a:lnTo>
                    <a:lnTo>
                      <a:pt x="46" y="108"/>
                    </a:lnTo>
                    <a:lnTo>
                      <a:pt x="50" y="106"/>
                    </a:lnTo>
                    <a:lnTo>
                      <a:pt x="50" y="102"/>
                    </a:lnTo>
                    <a:lnTo>
                      <a:pt x="50" y="98"/>
                    </a:lnTo>
                    <a:lnTo>
                      <a:pt x="54" y="98"/>
                    </a:lnTo>
                    <a:lnTo>
                      <a:pt x="54" y="94"/>
                    </a:lnTo>
                    <a:lnTo>
                      <a:pt x="54" y="90"/>
                    </a:lnTo>
                    <a:lnTo>
                      <a:pt x="54" y="86"/>
                    </a:lnTo>
                    <a:lnTo>
                      <a:pt x="56" y="86"/>
                    </a:lnTo>
                    <a:lnTo>
                      <a:pt x="54" y="86"/>
                    </a:lnTo>
                    <a:lnTo>
                      <a:pt x="54" y="82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0"/>
                    </a:lnTo>
                    <a:lnTo>
                      <a:pt x="72" y="46"/>
                    </a:lnTo>
                    <a:lnTo>
                      <a:pt x="76" y="42"/>
                    </a:lnTo>
                    <a:lnTo>
                      <a:pt x="76" y="38"/>
                    </a:lnTo>
                    <a:lnTo>
                      <a:pt x="80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6" y="30"/>
                    </a:lnTo>
                    <a:lnTo>
                      <a:pt x="90" y="26"/>
                    </a:lnTo>
                    <a:lnTo>
                      <a:pt x="86" y="26"/>
                    </a:lnTo>
                    <a:lnTo>
                      <a:pt x="86" y="22"/>
                    </a:lnTo>
                    <a:lnTo>
                      <a:pt x="90" y="22"/>
                    </a:lnTo>
                    <a:lnTo>
                      <a:pt x="90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0" y="16"/>
                    </a:lnTo>
                    <a:lnTo>
                      <a:pt x="86" y="16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4" y="30"/>
                    </a:lnTo>
                    <a:lnTo>
                      <a:pt x="94" y="34"/>
                    </a:lnTo>
                    <a:lnTo>
                      <a:pt x="94" y="38"/>
                    </a:lnTo>
                    <a:lnTo>
                      <a:pt x="94" y="42"/>
                    </a:lnTo>
                    <a:lnTo>
                      <a:pt x="94" y="46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102" y="52"/>
                    </a:lnTo>
                    <a:lnTo>
                      <a:pt x="102" y="56"/>
                    </a:lnTo>
                    <a:lnTo>
                      <a:pt x="98" y="56"/>
                    </a:lnTo>
                    <a:lnTo>
                      <a:pt x="94" y="56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84" y="56"/>
                    </a:lnTo>
                    <a:lnTo>
                      <a:pt x="80" y="60"/>
                    </a:lnTo>
                    <a:lnTo>
                      <a:pt x="84" y="68"/>
                    </a:lnTo>
                    <a:lnTo>
                      <a:pt x="86" y="72"/>
                    </a:lnTo>
                    <a:lnTo>
                      <a:pt x="90" y="76"/>
                    </a:lnTo>
                    <a:lnTo>
                      <a:pt x="94" y="76"/>
                    </a:lnTo>
                    <a:lnTo>
                      <a:pt x="94" y="78"/>
                    </a:lnTo>
                    <a:lnTo>
                      <a:pt x="98" y="82"/>
                    </a:lnTo>
                    <a:lnTo>
                      <a:pt x="98" y="86"/>
                    </a:lnTo>
                    <a:lnTo>
                      <a:pt x="98" y="90"/>
                    </a:lnTo>
                    <a:lnTo>
                      <a:pt x="102" y="90"/>
                    </a:lnTo>
                    <a:lnTo>
                      <a:pt x="102" y="94"/>
                    </a:lnTo>
                    <a:lnTo>
                      <a:pt x="102" y="98"/>
                    </a:lnTo>
                    <a:lnTo>
                      <a:pt x="102" y="102"/>
                    </a:lnTo>
                    <a:lnTo>
                      <a:pt x="98" y="102"/>
                    </a:lnTo>
                    <a:lnTo>
                      <a:pt x="98" y="106"/>
                    </a:lnTo>
                    <a:lnTo>
                      <a:pt x="94" y="106"/>
                    </a:lnTo>
                    <a:lnTo>
                      <a:pt x="94" y="108"/>
                    </a:lnTo>
                    <a:lnTo>
                      <a:pt x="94" y="112"/>
                    </a:lnTo>
                    <a:lnTo>
                      <a:pt x="90" y="116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4"/>
                    </a:lnTo>
                    <a:lnTo>
                      <a:pt x="86" y="128"/>
                    </a:lnTo>
                    <a:lnTo>
                      <a:pt x="90" y="128"/>
                    </a:lnTo>
                    <a:lnTo>
                      <a:pt x="86" y="132"/>
                    </a:lnTo>
                    <a:lnTo>
                      <a:pt x="86" y="134"/>
                    </a:lnTo>
                    <a:lnTo>
                      <a:pt x="90" y="138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50"/>
                    </a:lnTo>
                    <a:lnTo>
                      <a:pt x="94" y="150"/>
                    </a:lnTo>
                    <a:lnTo>
                      <a:pt x="94" y="154"/>
                    </a:lnTo>
                    <a:lnTo>
                      <a:pt x="94" y="158"/>
                    </a:lnTo>
                    <a:lnTo>
                      <a:pt x="94" y="162"/>
                    </a:lnTo>
                    <a:lnTo>
                      <a:pt x="98" y="162"/>
                    </a:lnTo>
                    <a:lnTo>
                      <a:pt x="98" y="164"/>
                    </a:lnTo>
                    <a:lnTo>
                      <a:pt x="102" y="168"/>
                    </a:lnTo>
                    <a:lnTo>
                      <a:pt x="106" y="172"/>
                    </a:lnTo>
                    <a:lnTo>
                      <a:pt x="110" y="176"/>
                    </a:lnTo>
                    <a:lnTo>
                      <a:pt x="110" y="180"/>
                    </a:lnTo>
                    <a:lnTo>
                      <a:pt x="110" y="184"/>
                    </a:lnTo>
                    <a:lnTo>
                      <a:pt x="110" y="188"/>
                    </a:lnTo>
                    <a:lnTo>
                      <a:pt x="114" y="188"/>
                    </a:lnTo>
                    <a:lnTo>
                      <a:pt x="110" y="188"/>
                    </a:lnTo>
                    <a:lnTo>
                      <a:pt x="110" y="190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2" y="190"/>
                    </a:lnTo>
                    <a:lnTo>
                      <a:pt x="98" y="190"/>
                    </a:lnTo>
                    <a:lnTo>
                      <a:pt x="94" y="190"/>
                    </a:lnTo>
                    <a:lnTo>
                      <a:pt x="90" y="190"/>
                    </a:lnTo>
                    <a:lnTo>
                      <a:pt x="86" y="190"/>
                    </a:lnTo>
                    <a:lnTo>
                      <a:pt x="84" y="190"/>
                    </a:lnTo>
                    <a:lnTo>
                      <a:pt x="76" y="190"/>
                    </a:lnTo>
                    <a:lnTo>
                      <a:pt x="68" y="190"/>
                    </a:lnTo>
                    <a:lnTo>
                      <a:pt x="68" y="188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4" y="188"/>
                    </a:lnTo>
                    <a:lnTo>
                      <a:pt x="50" y="188"/>
                    </a:lnTo>
                    <a:lnTo>
                      <a:pt x="46" y="188"/>
                    </a:lnTo>
                    <a:lnTo>
                      <a:pt x="42" y="188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5" name="Freeform 134">
                <a:extLst>
                  <a:ext uri="{FF2B5EF4-FFF2-40B4-BE49-F238E27FC236}">
                    <a16:creationId xmlns:a16="http://schemas.microsoft.com/office/drawing/2014/main" id="{D110635B-BF1E-455C-9FEE-D3D58B33CF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825875" y="4089468"/>
                <a:ext cx="60325" cy="63500"/>
              </a:xfrm>
              <a:custGeom>
                <a:avLst/>
                <a:gdLst>
                  <a:gd name="T0" fmla="*/ 0 w 38"/>
                  <a:gd name="T1" fmla="*/ 4 h 40"/>
                  <a:gd name="T2" fmla="*/ 0 w 38"/>
                  <a:gd name="T3" fmla="*/ 4 h 40"/>
                  <a:gd name="T4" fmla="*/ 4 w 38"/>
                  <a:gd name="T5" fmla="*/ 0 h 40"/>
                  <a:gd name="T6" fmla="*/ 4 w 38"/>
                  <a:gd name="T7" fmla="*/ 4 h 40"/>
                  <a:gd name="T8" fmla="*/ 4 w 38"/>
                  <a:gd name="T9" fmla="*/ 4 h 40"/>
                  <a:gd name="T10" fmla="*/ 4 w 38"/>
                  <a:gd name="T11" fmla="*/ 4 h 40"/>
                  <a:gd name="T12" fmla="*/ 0 w 38"/>
                  <a:gd name="T13" fmla="*/ 4 h 40"/>
                  <a:gd name="T14" fmla="*/ 0 w 38"/>
                  <a:gd name="T15" fmla="*/ 4 h 40"/>
                  <a:gd name="T16" fmla="*/ 4 w 38"/>
                  <a:gd name="T17" fmla="*/ 8 h 40"/>
                  <a:gd name="T18" fmla="*/ 4 w 38"/>
                  <a:gd name="T19" fmla="*/ 8 h 40"/>
                  <a:gd name="T20" fmla="*/ 4 w 38"/>
                  <a:gd name="T21" fmla="*/ 4 h 40"/>
                  <a:gd name="T22" fmla="*/ 8 w 38"/>
                  <a:gd name="T23" fmla="*/ 8 h 40"/>
                  <a:gd name="T24" fmla="*/ 4 w 38"/>
                  <a:gd name="T25" fmla="*/ 8 h 40"/>
                  <a:gd name="T26" fmla="*/ 34 w 38"/>
                  <a:gd name="T27" fmla="*/ 10 h 40"/>
                  <a:gd name="T28" fmla="*/ 34 w 38"/>
                  <a:gd name="T29" fmla="*/ 8 h 40"/>
                  <a:gd name="T30" fmla="*/ 34 w 38"/>
                  <a:gd name="T31" fmla="*/ 8 h 40"/>
                  <a:gd name="T32" fmla="*/ 34 w 38"/>
                  <a:gd name="T33" fmla="*/ 8 h 40"/>
                  <a:gd name="T34" fmla="*/ 34 w 38"/>
                  <a:gd name="T35" fmla="*/ 10 h 40"/>
                  <a:gd name="T36" fmla="*/ 16 w 38"/>
                  <a:gd name="T37" fmla="*/ 10 h 40"/>
                  <a:gd name="T38" fmla="*/ 12 w 38"/>
                  <a:gd name="T39" fmla="*/ 10 h 40"/>
                  <a:gd name="T40" fmla="*/ 16 w 38"/>
                  <a:gd name="T41" fmla="*/ 10 h 40"/>
                  <a:gd name="T42" fmla="*/ 20 w 38"/>
                  <a:gd name="T43" fmla="*/ 10 h 40"/>
                  <a:gd name="T44" fmla="*/ 20 w 38"/>
                  <a:gd name="T45" fmla="*/ 10 h 40"/>
                  <a:gd name="T46" fmla="*/ 16 w 38"/>
                  <a:gd name="T47" fmla="*/ 10 h 40"/>
                  <a:gd name="T48" fmla="*/ 16 w 38"/>
                  <a:gd name="T49" fmla="*/ 10 h 40"/>
                  <a:gd name="T50" fmla="*/ 16 w 38"/>
                  <a:gd name="T51" fmla="*/ 10 h 40"/>
                  <a:gd name="T52" fmla="*/ 16 w 38"/>
                  <a:gd name="T53" fmla="*/ 10 h 40"/>
                  <a:gd name="T54" fmla="*/ 16 w 38"/>
                  <a:gd name="T55" fmla="*/ 10 h 40"/>
                  <a:gd name="T56" fmla="*/ 34 w 38"/>
                  <a:gd name="T57" fmla="*/ 22 h 40"/>
                  <a:gd name="T58" fmla="*/ 34 w 38"/>
                  <a:gd name="T59" fmla="*/ 22 h 40"/>
                  <a:gd name="T60" fmla="*/ 34 w 38"/>
                  <a:gd name="T61" fmla="*/ 18 h 40"/>
                  <a:gd name="T62" fmla="*/ 38 w 38"/>
                  <a:gd name="T63" fmla="*/ 18 h 40"/>
                  <a:gd name="T64" fmla="*/ 38 w 38"/>
                  <a:gd name="T65" fmla="*/ 18 h 40"/>
                  <a:gd name="T66" fmla="*/ 34 w 38"/>
                  <a:gd name="T67" fmla="*/ 22 h 40"/>
                  <a:gd name="T68" fmla="*/ 30 w 38"/>
                  <a:gd name="T69" fmla="*/ 38 h 40"/>
                  <a:gd name="T70" fmla="*/ 30 w 38"/>
                  <a:gd name="T71" fmla="*/ 38 h 40"/>
                  <a:gd name="T72" fmla="*/ 30 w 38"/>
                  <a:gd name="T73" fmla="*/ 34 h 40"/>
                  <a:gd name="T74" fmla="*/ 30 w 38"/>
                  <a:gd name="T75" fmla="*/ 34 h 40"/>
                  <a:gd name="T76" fmla="*/ 30 w 38"/>
                  <a:gd name="T77" fmla="*/ 38 h 40"/>
                  <a:gd name="T78" fmla="*/ 30 w 38"/>
                  <a:gd name="T79" fmla="*/ 38 h 40"/>
                  <a:gd name="T80" fmla="*/ 24 w 38"/>
                  <a:gd name="T81" fmla="*/ 40 h 40"/>
                  <a:gd name="T82" fmla="*/ 24 w 38"/>
                  <a:gd name="T83" fmla="*/ 38 h 40"/>
                  <a:gd name="T84" fmla="*/ 24 w 38"/>
                  <a:gd name="T85" fmla="*/ 38 h 40"/>
                  <a:gd name="T86" fmla="*/ 24 w 38"/>
                  <a:gd name="T87" fmla="*/ 34 h 40"/>
                  <a:gd name="T88" fmla="*/ 26 w 38"/>
                  <a:gd name="T89" fmla="*/ 38 h 40"/>
                  <a:gd name="T90" fmla="*/ 26 w 38"/>
                  <a:gd name="T91" fmla="*/ 38 h 40"/>
                  <a:gd name="T92" fmla="*/ 26 w 38"/>
                  <a:gd name="T93" fmla="*/ 40 h 40"/>
                  <a:gd name="T94" fmla="*/ 12 w 38"/>
                  <a:gd name="T95" fmla="*/ 40 h 40"/>
                  <a:gd name="T96" fmla="*/ 12 w 38"/>
                  <a:gd name="T97" fmla="*/ 40 h 40"/>
                  <a:gd name="T98" fmla="*/ 12 w 38"/>
                  <a:gd name="T99" fmla="*/ 40 h 40"/>
                  <a:gd name="T100" fmla="*/ 12 w 38"/>
                  <a:gd name="T101" fmla="*/ 38 h 40"/>
                  <a:gd name="T102" fmla="*/ 16 w 38"/>
                  <a:gd name="T103" fmla="*/ 38 h 40"/>
                  <a:gd name="T104" fmla="*/ 16 w 38"/>
                  <a:gd name="T105" fmla="*/ 40 h 40"/>
                  <a:gd name="T106" fmla="*/ 16 w 38"/>
                  <a:gd name="T107" fmla="*/ 40 h 40"/>
                  <a:gd name="T108" fmla="*/ 12 w 38"/>
                  <a:gd name="T109" fmla="*/ 40 h 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8" h="40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4" y="10"/>
                    </a:moveTo>
                    <a:lnTo>
                      <a:pt x="34" y="10"/>
                    </a:lnTo>
                    <a:lnTo>
                      <a:pt x="34" y="10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close/>
                    <a:moveTo>
                      <a:pt x="16" y="10"/>
                    </a:move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close/>
                    <a:moveTo>
                      <a:pt x="34" y="22"/>
                    </a:move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close/>
                    <a:moveTo>
                      <a:pt x="30" y="38"/>
                    </a:move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30" y="38"/>
                    </a:lnTo>
                    <a:close/>
                    <a:moveTo>
                      <a:pt x="26" y="40"/>
                    </a:move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8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close/>
                    <a:moveTo>
                      <a:pt x="12" y="40"/>
                    </a:move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6" name="Freeform 135">
                <a:extLst>
                  <a:ext uri="{FF2B5EF4-FFF2-40B4-BE49-F238E27FC236}">
                    <a16:creationId xmlns:a16="http://schemas.microsoft.com/office/drawing/2014/main" id="{93DBEADB-405A-4A68-9321-AF7B8EACE9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260918"/>
                <a:ext cx="288925" cy="238125"/>
              </a:xfrm>
              <a:custGeom>
                <a:avLst/>
                <a:gdLst>
                  <a:gd name="T0" fmla="*/ 82 w 182"/>
                  <a:gd name="T1" fmla="*/ 104 h 150"/>
                  <a:gd name="T2" fmla="*/ 70 w 182"/>
                  <a:gd name="T3" fmla="*/ 102 h 150"/>
                  <a:gd name="T4" fmla="*/ 58 w 182"/>
                  <a:gd name="T5" fmla="*/ 112 h 150"/>
                  <a:gd name="T6" fmla="*/ 58 w 182"/>
                  <a:gd name="T7" fmla="*/ 116 h 150"/>
                  <a:gd name="T8" fmla="*/ 58 w 182"/>
                  <a:gd name="T9" fmla="*/ 132 h 150"/>
                  <a:gd name="T10" fmla="*/ 52 w 182"/>
                  <a:gd name="T11" fmla="*/ 132 h 150"/>
                  <a:gd name="T12" fmla="*/ 40 w 182"/>
                  <a:gd name="T13" fmla="*/ 128 h 150"/>
                  <a:gd name="T14" fmla="*/ 32 w 182"/>
                  <a:gd name="T15" fmla="*/ 128 h 150"/>
                  <a:gd name="T16" fmla="*/ 26 w 182"/>
                  <a:gd name="T17" fmla="*/ 138 h 150"/>
                  <a:gd name="T18" fmla="*/ 26 w 182"/>
                  <a:gd name="T19" fmla="*/ 146 h 150"/>
                  <a:gd name="T20" fmla="*/ 22 w 182"/>
                  <a:gd name="T21" fmla="*/ 142 h 150"/>
                  <a:gd name="T22" fmla="*/ 10 w 182"/>
                  <a:gd name="T23" fmla="*/ 128 h 150"/>
                  <a:gd name="T24" fmla="*/ 6 w 182"/>
                  <a:gd name="T25" fmla="*/ 116 h 150"/>
                  <a:gd name="T26" fmla="*/ 2 w 182"/>
                  <a:gd name="T27" fmla="*/ 104 h 150"/>
                  <a:gd name="T28" fmla="*/ 2 w 182"/>
                  <a:gd name="T29" fmla="*/ 90 h 150"/>
                  <a:gd name="T30" fmla="*/ 2 w 182"/>
                  <a:gd name="T31" fmla="*/ 82 h 150"/>
                  <a:gd name="T32" fmla="*/ 6 w 182"/>
                  <a:gd name="T33" fmla="*/ 68 h 150"/>
                  <a:gd name="T34" fmla="*/ 14 w 182"/>
                  <a:gd name="T35" fmla="*/ 60 h 150"/>
                  <a:gd name="T36" fmla="*/ 26 w 182"/>
                  <a:gd name="T37" fmla="*/ 56 h 150"/>
                  <a:gd name="T38" fmla="*/ 32 w 182"/>
                  <a:gd name="T39" fmla="*/ 56 h 150"/>
                  <a:gd name="T40" fmla="*/ 48 w 182"/>
                  <a:gd name="T41" fmla="*/ 52 h 150"/>
                  <a:gd name="T42" fmla="*/ 58 w 182"/>
                  <a:gd name="T43" fmla="*/ 48 h 150"/>
                  <a:gd name="T44" fmla="*/ 66 w 182"/>
                  <a:gd name="T45" fmla="*/ 42 h 150"/>
                  <a:gd name="T46" fmla="*/ 70 w 182"/>
                  <a:gd name="T47" fmla="*/ 34 h 150"/>
                  <a:gd name="T48" fmla="*/ 84 w 182"/>
                  <a:gd name="T49" fmla="*/ 34 h 150"/>
                  <a:gd name="T50" fmla="*/ 96 w 182"/>
                  <a:gd name="T51" fmla="*/ 18 h 150"/>
                  <a:gd name="T52" fmla="*/ 104 w 182"/>
                  <a:gd name="T53" fmla="*/ 12 h 150"/>
                  <a:gd name="T54" fmla="*/ 108 w 182"/>
                  <a:gd name="T55" fmla="*/ 4 h 150"/>
                  <a:gd name="T56" fmla="*/ 118 w 182"/>
                  <a:gd name="T57" fmla="*/ 0 h 150"/>
                  <a:gd name="T58" fmla="*/ 126 w 182"/>
                  <a:gd name="T59" fmla="*/ 14 h 150"/>
                  <a:gd name="T60" fmla="*/ 130 w 182"/>
                  <a:gd name="T61" fmla="*/ 30 h 150"/>
                  <a:gd name="T62" fmla="*/ 126 w 182"/>
                  <a:gd name="T63" fmla="*/ 42 h 150"/>
                  <a:gd name="T64" fmla="*/ 134 w 182"/>
                  <a:gd name="T65" fmla="*/ 42 h 150"/>
                  <a:gd name="T66" fmla="*/ 140 w 182"/>
                  <a:gd name="T67" fmla="*/ 48 h 150"/>
                  <a:gd name="T68" fmla="*/ 152 w 182"/>
                  <a:gd name="T69" fmla="*/ 52 h 150"/>
                  <a:gd name="T70" fmla="*/ 156 w 182"/>
                  <a:gd name="T71" fmla="*/ 64 h 150"/>
                  <a:gd name="T72" fmla="*/ 166 w 182"/>
                  <a:gd name="T73" fmla="*/ 74 h 150"/>
                  <a:gd name="T74" fmla="*/ 166 w 182"/>
                  <a:gd name="T75" fmla="*/ 82 h 150"/>
                  <a:gd name="T76" fmla="*/ 174 w 182"/>
                  <a:gd name="T77" fmla="*/ 90 h 150"/>
                  <a:gd name="T78" fmla="*/ 178 w 182"/>
                  <a:gd name="T79" fmla="*/ 94 h 150"/>
                  <a:gd name="T80" fmla="*/ 182 w 182"/>
                  <a:gd name="T81" fmla="*/ 104 h 150"/>
                  <a:gd name="T82" fmla="*/ 170 w 182"/>
                  <a:gd name="T83" fmla="*/ 102 h 150"/>
                  <a:gd name="T84" fmla="*/ 162 w 182"/>
                  <a:gd name="T85" fmla="*/ 102 h 150"/>
                  <a:gd name="T86" fmla="*/ 152 w 182"/>
                  <a:gd name="T87" fmla="*/ 98 h 150"/>
                  <a:gd name="T88" fmla="*/ 144 w 182"/>
                  <a:gd name="T89" fmla="*/ 104 h 150"/>
                  <a:gd name="T90" fmla="*/ 136 w 182"/>
                  <a:gd name="T91" fmla="*/ 104 h 150"/>
                  <a:gd name="T92" fmla="*/ 122 w 182"/>
                  <a:gd name="T93" fmla="*/ 108 h 150"/>
                  <a:gd name="T94" fmla="*/ 114 w 182"/>
                  <a:gd name="T95" fmla="*/ 108 h 150"/>
                  <a:gd name="T96" fmla="*/ 110 w 182"/>
                  <a:gd name="T97" fmla="*/ 120 h 150"/>
                  <a:gd name="T98" fmla="*/ 100 w 182"/>
                  <a:gd name="T99" fmla="*/ 116 h 150"/>
                  <a:gd name="T100" fmla="*/ 84 w 182"/>
                  <a:gd name="T101" fmla="*/ 112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82" h="150">
                    <a:moveTo>
                      <a:pt x="84" y="112"/>
                    </a:moveTo>
                    <a:lnTo>
                      <a:pt x="84" y="108"/>
                    </a:lnTo>
                    <a:lnTo>
                      <a:pt x="82" y="108"/>
                    </a:lnTo>
                    <a:lnTo>
                      <a:pt x="82" y="104"/>
                    </a:lnTo>
                    <a:lnTo>
                      <a:pt x="78" y="104"/>
                    </a:lnTo>
                    <a:lnTo>
                      <a:pt x="74" y="104"/>
                    </a:lnTo>
                    <a:lnTo>
                      <a:pt x="74" y="102"/>
                    </a:lnTo>
                    <a:lnTo>
                      <a:pt x="70" y="102"/>
                    </a:lnTo>
                    <a:lnTo>
                      <a:pt x="66" y="104"/>
                    </a:lnTo>
                    <a:lnTo>
                      <a:pt x="62" y="104"/>
                    </a:lnTo>
                    <a:lnTo>
                      <a:pt x="62" y="108"/>
                    </a:lnTo>
                    <a:lnTo>
                      <a:pt x="58" y="112"/>
                    </a:lnTo>
                    <a:lnTo>
                      <a:pt x="58" y="116"/>
                    </a:lnTo>
                    <a:lnTo>
                      <a:pt x="58" y="112"/>
                    </a:lnTo>
                    <a:lnTo>
                      <a:pt x="54" y="116"/>
                    </a:lnTo>
                    <a:lnTo>
                      <a:pt x="58" y="116"/>
                    </a:lnTo>
                    <a:lnTo>
                      <a:pt x="58" y="120"/>
                    </a:lnTo>
                    <a:lnTo>
                      <a:pt x="58" y="124"/>
                    </a:lnTo>
                    <a:lnTo>
                      <a:pt x="58" y="128"/>
                    </a:lnTo>
                    <a:lnTo>
                      <a:pt x="58" y="132"/>
                    </a:lnTo>
                    <a:lnTo>
                      <a:pt x="58" y="128"/>
                    </a:lnTo>
                    <a:lnTo>
                      <a:pt x="54" y="128"/>
                    </a:lnTo>
                    <a:lnTo>
                      <a:pt x="52" y="128"/>
                    </a:lnTo>
                    <a:lnTo>
                      <a:pt x="52" y="132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4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32"/>
                    </a:lnTo>
                    <a:lnTo>
                      <a:pt x="28" y="134"/>
                    </a:lnTo>
                    <a:lnTo>
                      <a:pt x="26" y="138"/>
                    </a:lnTo>
                    <a:lnTo>
                      <a:pt x="28" y="138"/>
                    </a:lnTo>
                    <a:lnTo>
                      <a:pt x="28" y="142"/>
                    </a:lnTo>
                    <a:lnTo>
                      <a:pt x="26" y="142"/>
                    </a:lnTo>
                    <a:lnTo>
                      <a:pt x="26" y="146"/>
                    </a:lnTo>
                    <a:lnTo>
                      <a:pt x="26" y="150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4"/>
                    </a:lnTo>
                    <a:lnTo>
                      <a:pt x="14" y="132"/>
                    </a:lnTo>
                    <a:lnTo>
                      <a:pt x="10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6" y="120"/>
                    </a:lnTo>
                    <a:lnTo>
                      <a:pt x="6" y="116"/>
                    </a:lnTo>
                    <a:lnTo>
                      <a:pt x="6" y="112"/>
                    </a:lnTo>
                    <a:lnTo>
                      <a:pt x="2" y="112"/>
                    </a:lnTo>
                    <a:lnTo>
                      <a:pt x="2" y="108"/>
                    </a:lnTo>
                    <a:lnTo>
                      <a:pt x="2" y="104"/>
                    </a:lnTo>
                    <a:lnTo>
                      <a:pt x="2" y="102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2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2" y="82"/>
                    </a:lnTo>
                    <a:lnTo>
                      <a:pt x="2" y="78"/>
                    </a:lnTo>
                    <a:lnTo>
                      <a:pt x="6" y="74"/>
                    </a:lnTo>
                    <a:lnTo>
                      <a:pt x="6" y="72"/>
                    </a:lnTo>
                    <a:lnTo>
                      <a:pt x="6" y="68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8" y="60"/>
                    </a:lnTo>
                    <a:lnTo>
                      <a:pt x="22" y="60"/>
                    </a:lnTo>
                    <a:lnTo>
                      <a:pt x="26" y="60"/>
                    </a:lnTo>
                    <a:lnTo>
                      <a:pt x="26" y="56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40" y="52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4" y="52"/>
                    </a:lnTo>
                    <a:lnTo>
                      <a:pt x="58" y="52"/>
                    </a:lnTo>
                    <a:lnTo>
                      <a:pt x="58" y="48"/>
                    </a:lnTo>
                    <a:lnTo>
                      <a:pt x="58" y="44"/>
                    </a:lnTo>
                    <a:lnTo>
                      <a:pt x="62" y="44"/>
                    </a:lnTo>
                    <a:lnTo>
                      <a:pt x="62" y="42"/>
                    </a:lnTo>
                    <a:lnTo>
                      <a:pt x="66" y="42"/>
                    </a:lnTo>
                    <a:lnTo>
                      <a:pt x="62" y="38"/>
                    </a:lnTo>
                    <a:lnTo>
                      <a:pt x="62" y="34"/>
                    </a:lnTo>
                    <a:lnTo>
                      <a:pt x="66" y="34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8" y="34"/>
                    </a:lnTo>
                    <a:lnTo>
                      <a:pt x="82" y="34"/>
                    </a:lnTo>
                    <a:lnTo>
                      <a:pt x="84" y="34"/>
                    </a:lnTo>
                    <a:lnTo>
                      <a:pt x="84" y="30"/>
                    </a:lnTo>
                    <a:lnTo>
                      <a:pt x="88" y="26"/>
                    </a:lnTo>
                    <a:lnTo>
                      <a:pt x="92" y="22"/>
                    </a:lnTo>
                    <a:lnTo>
                      <a:pt x="96" y="18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10" y="0"/>
                    </a:lnTo>
                    <a:lnTo>
                      <a:pt x="114" y="0"/>
                    </a:lnTo>
                    <a:lnTo>
                      <a:pt x="118" y="0"/>
                    </a:lnTo>
                    <a:lnTo>
                      <a:pt x="118" y="4"/>
                    </a:lnTo>
                    <a:lnTo>
                      <a:pt x="122" y="8"/>
                    </a:lnTo>
                    <a:lnTo>
                      <a:pt x="126" y="12"/>
                    </a:lnTo>
                    <a:lnTo>
                      <a:pt x="126" y="14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26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26" y="38"/>
                    </a:lnTo>
                    <a:lnTo>
                      <a:pt x="126" y="42"/>
                    </a:lnTo>
                    <a:lnTo>
                      <a:pt x="130" y="42"/>
                    </a:lnTo>
                    <a:lnTo>
                      <a:pt x="130" y="38"/>
                    </a:lnTo>
                    <a:lnTo>
                      <a:pt x="134" y="38"/>
                    </a:lnTo>
                    <a:lnTo>
                      <a:pt x="134" y="42"/>
                    </a:lnTo>
                    <a:lnTo>
                      <a:pt x="136" y="42"/>
                    </a:lnTo>
                    <a:lnTo>
                      <a:pt x="136" y="44"/>
                    </a:lnTo>
                    <a:lnTo>
                      <a:pt x="136" y="48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60" y="68"/>
                    </a:lnTo>
                    <a:lnTo>
                      <a:pt x="162" y="68"/>
                    </a:lnTo>
                    <a:lnTo>
                      <a:pt x="162" y="72"/>
                    </a:lnTo>
                    <a:lnTo>
                      <a:pt x="166" y="74"/>
                    </a:lnTo>
                    <a:lnTo>
                      <a:pt x="166" y="78"/>
                    </a:lnTo>
                    <a:lnTo>
                      <a:pt x="166" y="82"/>
                    </a:lnTo>
                    <a:lnTo>
                      <a:pt x="170" y="82"/>
                    </a:lnTo>
                    <a:lnTo>
                      <a:pt x="166" y="82"/>
                    </a:lnTo>
                    <a:lnTo>
                      <a:pt x="166" y="86"/>
                    </a:lnTo>
                    <a:lnTo>
                      <a:pt x="170" y="86"/>
                    </a:lnTo>
                    <a:lnTo>
                      <a:pt x="174" y="86"/>
                    </a:lnTo>
                    <a:lnTo>
                      <a:pt x="174" y="90"/>
                    </a:lnTo>
                    <a:lnTo>
                      <a:pt x="178" y="90"/>
                    </a:lnTo>
                    <a:lnTo>
                      <a:pt x="178" y="94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82" y="98"/>
                    </a:lnTo>
                    <a:lnTo>
                      <a:pt x="182" y="102"/>
                    </a:lnTo>
                    <a:lnTo>
                      <a:pt x="182" y="104"/>
                    </a:lnTo>
                    <a:lnTo>
                      <a:pt x="182" y="102"/>
                    </a:lnTo>
                    <a:lnTo>
                      <a:pt x="178" y="102"/>
                    </a:lnTo>
                    <a:lnTo>
                      <a:pt x="174" y="102"/>
                    </a:lnTo>
                    <a:lnTo>
                      <a:pt x="170" y="102"/>
                    </a:lnTo>
                    <a:lnTo>
                      <a:pt x="166" y="102"/>
                    </a:lnTo>
                    <a:lnTo>
                      <a:pt x="162" y="102"/>
                    </a:lnTo>
                    <a:lnTo>
                      <a:pt x="162" y="98"/>
                    </a:lnTo>
                    <a:lnTo>
                      <a:pt x="162" y="102"/>
                    </a:lnTo>
                    <a:lnTo>
                      <a:pt x="160" y="102"/>
                    </a:lnTo>
                    <a:lnTo>
                      <a:pt x="160" y="98"/>
                    </a:lnTo>
                    <a:lnTo>
                      <a:pt x="156" y="98"/>
                    </a:lnTo>
                    <a:lnTo>
                      <a:pt x="152" y="98"/>
                    </a:lnTo>
                    <a:lnTo>
                      <a:pt x="152" y="102"/>
                    </a:lnTo>
                    <a:lnTo>
                      <a:pt x="152" y="104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0" y="102"/>
                    </a:lnTo>
                    <a:lnTo>
                      <a:pt x="136" y="102"/>
                    </a:lnTo>
                    <a:lnTo>
                      <a:pt x="140" y="102"/>
                    </a:lnTo>
                    <a:lnTo>
                      <a:pt x="136" y="104"/>
                    </a:lnTo>
                    <a:lnTo>
                      <a:pt x="134" y="104"/>
                    </a:lnTo>
                    <a:lnTo>
                      <a:pt x="130" y="104"/>
                    </a:lnTo>
                    <a:lnTo>
                      <a:pt x="126" y="108"/>
                    </a:lnTo>
                    <a:lnTo>
                      <a:pt x="122" y="108"/>
                    </a:lnTo>
                    <a:lnTo>
                      <a:pt x="118" y="108"/>
                    </a:lnTo>
                    <a:lnTo>
                      <a:pt x="118" y="104"/>
                    </a:lnTo>
                    <a:lnTo>
                      <a:pt x="118" y="108"/>
                    </a:lnTo>
                    <a:lnTo>
                      <a:pt x="114" y="108"/>
                    </a:lnTo>
                    <a:lnTo>
                      <a:pt x="114" y="112"/>
                    </a:lnTo>
                    <a:lnTo>
                      <a:pt x="114" y="116"/>
                    </a:lnTo>
                    <a:lnTo>
                      <a:pt x="110" y="116"/>
                    </a:lnTo>
                    <a:lnTo>
                      <a:pt x="110" y="120"/>
                    </a:lnTo>
                    <a:lnTo>
                      <a:pt x="108" y="120"/>
                    </a:lnTo>
                    <a:lnTo>
                      <a:pt x="108" y="116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4" y="112"/>
                    </a:lnTo>
                    <a:lnTo>
                      <a:pt x="84" y="1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7" name="Freeform 136">
                <a:extLst>
                  <a:ext uri="{FF2B5EF4-FFF2-40B4-BE49-F238E27FC236}">
                    <a16:creationId xmlns:a16="http://schemas.microsoft.com/office/drawing/2014/main" id="{45DD5080-A816-4795-9593-1FAC222A49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95825" y="3918018"/>
                <a:ext cx="238125" cy="438150"/>
              </a:xfrm>
              <a:custGeom>
                <a:avLst/>
                <a:gdLst>
                  <a:gd name="T0" fmla="*/ 22 w 150"/>
                  <a:gd name="T1" fmla="*/ 234 h 276"/>
                  <a:gd name="T2" fmla="*/ 30 w 150"/>
                  <a:gd name="T3" fmla="*/ 234 h 276"/>
                  <a:gd name="T4" fmla="*/ 26 w 150"/>
                  <a:gd name="T5" fmla="*/ 226 h 276"/>
                  <a:gd name="T6" fmla="*/ 22 w 150"/>
                  <a:gd name="T7" fmla="*/ 220 h 276"/>
                  <a:gd name="T8" fmla="*/ 22 w 150"/>
                  <a:gd name="T9" fmla="*/ 208 h 276"/>
                  <a:gd name="T10" fmla="*/ 22 w 150"/>
                  <a:gd name="T11" fmla="*/ 198 h 276"/>
                  <a:gd name="T12" fmla="*/ 14 w 150"/>
                  <a:gd name="T13" fmla="*/ 186 h 276"/>
                  <a:gd name="T14" fmla="*/ 14 w 150"/>
                  <a:gd name="T15" fmla="*/ 178 h 276"/>
                  <a:gd name="T16" fmla="*/ 0 w 150"/>
                  <a:gd name="T17" fmla="*/ 164 h 276"/>
                  <a:gd name="T18" fmla="*/ 4 w 150"/>
                  <a:gd name="T19" fmla="*/ 156 h 276"/>
                  <a:gd name="T20" fmla="*/ 4 w 150"/>
                  <a:gd name="T21" fmla="*/ 148 h 276"/>
                  <a:gd name="T22" fmla="*/ 14 w 150"/>
                  <a:gd name="T23" fmla="*/ 130 h 276"/>
                  <a:gd name="T24" fmla="*/ 30 w 150"/>
                  <a:gd name="T25" fmla="*/ 112 h 276"/>
                  <a:gd name="T26" fmla="*/ 34 w 150"/>
                  <a:gd name="T27" fmla="*/ 66 h 276"/>
                  <a:gd name="T28" fmla="*/ 30 w 150"/>
                  <a:gd name="T29" fmla="*/ 48 h 276"/>
                  <a:gd name="T30" fmla="*/ 30 w 150"/>
                  <a:gd name="T31" fmla="*/ 42 h 276"/>
                  <a:gd name="T32" fmla="*/ 26 w 150"/>
                  <a:gd name="T33" fmla="*/ 26 h 276"/>
                  <a:gd name="T34" fmla="*/ 38 w 150"/>
                  <a:gd name="T35" fmla="*/ 0 h 276"/>
                  <a:gd name="T36" fmla="*/ 78 w 150"/>
                  <a:gd name="T37" fmla="*/ 22 h 276"/>
                  <a:gd name="T38" fmla="*/ 134 w 150"/>
                  <a:gd name="T39" fmla="*/ 58 h 276"/>
                  <a:gd name="T40" fmla="*/ 150 w 150"/>
                  <a:gd name="T41" fmla="*/ 88 h 276"/>
                  <a:gd name="T42" fmla="*/ 146 w 150"/>
                  <a:gd name="T43" fmla="*/ 134 h 276"/>
                  <a:gd name="T44" fmla="*/ 142 w 150"/>
                  <a:gd name="T45" fmla="*/ 134 h 276"/>
                  <a:gd name="T46" fmla="*/ 138 w 150"/>
                  <a:gd name="T47" fmla="*/ 134 h 276"/>
                  <a:gd name="T48" fmla="*/ 134 w 150"/>
                  <a:gd name="T49" fmla="*/ 142 h 276"/>
                  <a:gd name="T50" fmla="*/ 134 w 150"/>
                  <a:gd name="T51" fmla="*/ 144 h 276"/>
                  <a:gd name="T52" fmla="*/ 128 w 150"/>
                  <a:gd name="T53" fmla="*/ 152 h 276"/>
                  <a:gd name="T54" fmla="*/ 128 w 150"/>
                  <a:gd name="T55" fmla="*/ 160 h 276"/>
                  <a:gd name="T56" fmla="*/ 124 w 150"/>
                  <a:gd name="T57" fmla="*/ 164 h 276"/>
                  <a:gd name="T58" fmla="*/ 124 w 150"/>
                  <a:gd name="T59" fmla="*/ 178 h 276"/>
                  <a:gd name="T60" fmla="*/ 120 w 150"/>
                  <a:gd name="T61" fmla="*/ 186 h 276"/>
                  <a:gd name="T62" fmla="*/ 124 w 150"/>
                  <a:gd name="T63" fmla="*/ 186 h 276"/>
                  <a:gd name="T64" fmla="*/ 130 w 150"/>
                  <a:gd name="T65" fmla="*/ 198 h 276"/>
                  <a:gd name="T66" fmla="*/ 130 w 150"/>
                  <a:gd name="T67" fmla="*/ 204 h 276"/>
                  <a:gd name="T68" fmla="*/ 134 w 150"/>
                  <a:gd name="T69" fmla="*/ 216 h 276"/>
                  <a:gd name="T70" fmla="*/ 124 w 150"/>
                  <a:gd name="T71" fmla="*/ 220 h 276"/>
                  <a:gd name="T72" fmla="*/ 116 w 150"/>
                  <a:gd name="T73" fmla="*/ 224 h 276"/>
                  <a:gd name="T74" fmla="*/ 116 w 150"/>
                  <a:gd name="T75" fmla="*/ 230 h 276"/>
                  <a:gd name="T76" fmla="*/ 112 w 150"/>
                  <a:gd name="T77" fmla="*/ 234 h 276"/>
                  <a:gd name="T78" fmla="*/ 104 w 150"/>
                  <a:gd name="T79" fmla="*/ 242 h 276"/>
                  <a:gd name="T80" fmla="*/ 100 w 150"/>
                  <a:gd name="T81" fmla="*/ 246 h 276"/>
                  <a:gd name="T82" fmla="*/ 94 w 150"/>
                  <a:gd name="T83" fmla="*/ 250 h 276"/>
                  <a:gd name="T84" fmla="*/ 78 w 150"/>
                  <a:gd name="T85" fmla="*/ 250 h 276"/>
                  <a:gd name="T86" fmla="*/ 78 w 150"/>
                  <a:gd name="T87" fmla="*/ 254 h 276"/>
                  <a:gd name="T88" fmla="*/ 78 w 150"/>
                  <a:gd name="T89" fmla="*/ 260 h 276"/>
                  <a:gd name="T90" fmla="*/ 74 w 150"/>
                  <a:gd name="T91" fmla="*/ 264 h 276"/>
                  <a:gd name="T92" fmla="*/ 64 w 150"/>
                  <a:gd name="T93" fmla="*/ 268 h 276"/>
                  <a:gd name="T94" fmla="*/ 56 w 150"/>
                  <a:gd name="T95" fmla="*/ 268 h 276"/>
                  <a:gd name="T96" fmla="*/ 48 w 150"/>
                  <a:gd name="T97" fmla="*/ 276 h 276"/>
                  <a:gd name="T98" fmla="*/ 44 w 150"/>
                  <a:gd name="T99" fmla="*/ 268 h 276"/>
                  <a:gd name="T100" fmla="*/ 38 w 150"/>
                  <a:gd name="T101" fmla="*/ 276 h 276"/>
                  <a:gd name="T102" fmla="*/ 34 w 150"/>
                  <a:gd name="T103" fmla="*/ 276 h 276"/>
                  <a:gd name="T104" fmla="*/ 30 w 150"/>
                  <a:gd name="T105" fmla="*/ 276 h 276"/>
                  <a:gd name="T106" fmla="*/ 30 w 150"/>
                  <a:gd name="T107" fmla="*/ 272 h 276"/>
                  <a:gd name="T108" fmla="*/ 26 w 150"/>
                  <a:gd name="T109" fmla="*/ 264 h 276"/>
                  <a:gd name="T110" fmla="*/ 18 w 150"/>
                  <a:gd name="T111" fmla="*/ 254 h 276"/>
                  <a:gd name="T112" fmla="*/ 8 w 150"/>
                  <a:gd name="T113" fmla="*/ 238 h 276"/>
                  <a:gd name="T114" fmla="*/ 12 w 150"/>
                  <a:gd name="T115" fmla="*/ 234 h 2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50" h="276">
                    <a:moveTo>
                      <a:pt x="12" y="234"/>
                    </a:moveTo>
                    <a:lnTo>
                      <a:pt x="14" y="234"/>
                    </a:lnTo>
                    <a:lnTo>
                      <a:pt x="14" y="234"/>
                    </a:lnTo>
                    <a:lnTo>
                      <a:pt x="18" y="234"/>
                    </a:lnTo>
                    <a:lnTo>
                      <a:pt x="18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2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26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4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30" y="230"/>
                    </a:lnTo>
                    <a:lnTo>
                      <a:pt x="26" y="226"/>
                    </a:lnTo>
                    <a:lnTo>
                      <a:pt x="26" y="226"/>
                    </a:lnTo>
                    <a:lnTo>
                      <a:pt x="26" y="224"/>
                    </a:lnTo>
                    <a:lnTo>
                      <a:pt x="22" y="224"/>
                    </a:lnTo>
                    <a:lnTo>
                      <a:pt x="22" y="224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20"/>
                    </a:lnTo>
                    <a:lnTo>
                      <a:pt x="22" y="216"/>
                    </a:lnTo>
                    <a:lnTo>
                      <a:pt x="22" y="216"/>
                    </a:lnTo>
                    <a:lnTo>
                      <a:pt x="22" y="212"/>
                    </a:lnTo>
                    <a:lnTo>
                      <a:pt x="22" y="212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8"/>
                    </a:lnTo>
                    <a:lnTo>
                      <a:pt x="22" y="204"/>
                    </a:lnTo>
                    <a:lnTo>
                      <a:pt x="22" y="204"/>
                    </a:lnTo>
                    <a:lnTo>
                      <a:pt x="22" y="200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8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22" y="194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8" y="186"/>
                    </a:lnTo>
                    <a:lnTo>
                      <a:pt x="14" y="186"/>
                    </a:lnTo>
                    <a:lnTo>
                      <a:pt x="14" y="186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82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2" y="178"/>
                    </a:lnTo>
                    <a:lnTo>
                      <a:pt x="8" y="178"/>
                    </a:lnTo>
                    <a:lnTo>
                      <a:pt x="8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4" y="134"/>
                    </a:lnTo>
                    <a:lnTo>
                      <a:pt x="14" y="130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4"/>
                    </a:lnTo>
                    <a:lnTo>
                      <a:pt x="30" y="112"/>
                    </a:lnTo>
                    <a:lnTo>
                      <a:pt x="30" y="104"/>
                    </a:lnTo>
                    <a:lnTo>
                      <a:pt x="30" y="92"/>
                    </a:lnTo>
                    <a:lnTo>
                      <a:pt x="30" y="88"/>
                    </a:lnTo>
                    <a:lnTo>
                      <a:pt x="30" y="88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8"/>
                    </a:lnTo>
                    <a:lnTo>
                      <a:pt x="34" y="66"/>
                    </a:lnTo>
                    <a:lnTo>
                      <a:pt x="34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6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26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38" y="0"/>
                    </a:lnTo>
                    <a:lnTo>
                      <a:pt x="40" y="0"/>
                    </a:lnTo>
                    <a:lnTo>
                      <a:pt x="48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4"/>
                    </a:lnTo>
                    <a:lnTo>
                      <a:pt x="70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6"/>
                    </a:lnTo>
                    <a:lnTo>
                      <a:pt x="90" y="30"/>
                    </a:lnTo>
                    <a:lnTo>
                      <a:pt x="98" y="38"/>
                    </a:lnTo>
                    <a:lnTo>
                      <a:pt x="108" y="42"/>
                    </a:lnTo>
                    <a:lnTo>
                      <a:pt x="112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4" y="58"/>
                    </a:lnTo>
                    <a:lnTo>
                      <a:pt x="142" y="62"/>
                    </a:lnTo>
                    <a:lnTo>
                      <a:pt x="150" y="66"/>
                    </a:ln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8"/>
                    </a:lnTo>
                    <a:lnTo>
                      <a:pt x="150" y="82"/>
                    </a:lnTo>
                    <a:lnTo>
                      <a:pt x="150" y="84"/>
                    </a:lnTo>
                    <a:lnTo>
                      <a:pt x="150" y="88"/>
                    </a:lnTo>
                    <a:lnTo>
                      <a:pt x="150" y="122"/>
                    </a:lnTo>
                    <a:lnTo>
                      <a:pt x="150" y="126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50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42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8" y="13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2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48"/>
                    </a:lnTo>
                    <a:lnTo>
                      <a:pt x="130" y="152"/>
                    </a:lnTo>
                    <a:lnTo>
                      <a:pt x="130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30" y="160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8" y="164"/>
                    </a:lnTo>
                    <a:lnTo>
                      <a:pt x="124" y="164"/>
                    </a:lnTo>
                    <a:lnTo>
                      <a:pt x="124" y="164"/>
                    </a:lnTo>
                    <a:lnTo>
                      <a:pt x="124" y="168"/>
                    </a:lnTo>
                    <a:lnTo>
                      <a:pt x="124" y="170"/>
                    </a:lnTo>
                    <a:lnTo>
                      <a:pt x="124" y="170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8" y="174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0" y="182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0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4" y="186"/>
                    </a:lnTo>
                    <a:lnTo>
                      <a:pt x="128" y="186"/>
                    </a:lnTo>
                    <a:lnTo>
                      <a:pt x="128" y="186"/>
                    </a:lnTo>
                    <a:lnTo>
                      <a:pt x="128" y="190"/>
                    </a:lnTo>
                    <a:lnTo>
                      <a:pt x="128" y="194"/>
                    </a:lnTo>
                    <a:lnTo>
                      <a:pt x="128" y="198"/>
                    </a:lnTo>
                    <a:lnTo>
                      <a:pt x="130" y="198"/>
                    </a:lnTo>
                    <a:lnTo>
                      <a:pt x="130" y="198"/>
                    </a:lnTo>
                    <a:lnTo>
                      <a:pt x="130" y="200"/>
                    </a:lnTo>
                    <a:lnTo>
                      <a:pt x="130" y="200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4"/>
                    </a:lnTo>
                    <a:lnTo>
                      <a:pt x="130" y="208"/>
                    </a:lnTo>
                    <a:lnTo>
                      <a:pt x="130" y="208"/>
                    </a:lnTo>
                    <a:lnTo>
                      <a:pt x="134" y="208"/>
                    </a:lnTo>
                    <a:lnTo>
                      <a:pt x="134" y="212"/>
                    </a:lnTo>
                    <a:lnTo>
                      <a:pt x="134" y="212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4" y="216"/>
                    </a:lnTo>
                    <a:lnTo>
                      <a:pt x="130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4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20" y="220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4"/>
                    </a:lnTo>
                    <a:lnTo>
                      <a:pt x="116" y="226"/>
                    </a:lnTo>
                    <a:lnTo>
                      <a:pt x="120" y="226"/>
                    </a:lnTo>
                    <a:lnTo>
                      <a:pt x="116" y="226"/>
                    </a:lnTo>
                    <a:lnTo>
                      <a:pt x="116" y="226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6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0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12" y="234"/>
                    </a:lnTo>
                    <a:lnTo>
                      <a:pt x="108" y="238"/>
                    </a:lnTo>
                    <a:lnTo>
                      <a:pt x="108" y="238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4" y="242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46"/>
                    </a:lnTo>
                    <a:lnTo>
                      <a:pt x="100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8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4" y="250"/>
                    </a:lnTo>
                    <a:lnTo>
                      <a:pt x="90" y="250"/>
                    </a:lnTo>
                    <a:lnTo>
                      <a:pt x="86" y="250"/>
                    </a:lnTo>
                    <a:lnTo>
                      <a:pt x="86" y="250"/>
                    </a:lnTo>
                    <a:lnTo>
                      <a:pt x="82" y="250"/>
                    </a:lnTo>
                    <a:lnTo>
                      <a:pt x="82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0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78" y="254"/>
                    </a:lnTo>
                    <a:lnTo>
                      <a:pt x="82" y="256"/>
                    </a:lnTo>
                    <a:lnTo>
                      <a:pt x="82" y="256"/>
                    </a:lnTo>
                    <a:lnTo>
                      <a:pt x="78" y="256"/>
                    </a:lnTo>
                    <a:lnTo>
                      <a:pt x="78" y="256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8" y="260"/>
                    </a:lnTo>
                    <a:lnTo>
                      <a:pt x="74" y="260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4"/>
                    </a:lnTo>
                    <a:lnTo>
                      <a:pt x="74" y="268"/>
                    </a:lnTo>
                    <a:lnTo>
                      <a:pt x="74" y="268"/>
                    </a:lnTo>
                    <a:lnTo>
                      <a:pt x="70" y="268"/>
                    </a:lnTo>
                    <a:lnTo>
                      <a:pt x="70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6" y="268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52" y="272"/>
                    </a:lnTo>
                    <a:lnTo>
                      <a:pt x="48" y="272"/>
                    </a:lnTo>
                    <a:lnTo>
                      <a:pt x="48" y="272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8" y="276"/>
                    </a:lnTo>
                    <a:lnTo>
                      <a:pt x="44" y="272"/>
                    </a:lnTo>
                    <a:lnTo>
                      <a:pt x="44" y="272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4" y="268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2"/>
                    </a:lnTo>
                    <a:lnTo>
                      <a:pt x="40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8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4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6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72"/>
                    </a:lnTo>
                    <a:lnTo>
                      <a:pt x="30" y="268"/>
                    </a:lnTo>
                    <a:lnTo>
                      <a:pt x="30" y="268"/>
                    </a:lnTo>
                    <a:lnTo>
                      <a:pt x="26" y="268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4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6" y="260"/>
                    </a:lnTo>
                    <a:lnTo>
                      <a:pt x="22" y="256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8" y="254"/>
                    </a:lnTo>
                    <a:lnTo>
                      <a:pt x="14" y="250"/>
                    </a:lnTo>
                    <a:lnTo>
                      <a:pt x="14" y="250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12" y="246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8" y="238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lnTo>
                      <a:pt x="12" y="2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8" name="Freeform 137">
                <a:extLst>
                  <a:ext uri="{FF2B5EF4-FFF2-40B4-BE49-F238E27FC236}">
                    <a16:creationId xmlns:a16="http://schemas.microsoft.com/office/drawing/2014/main" id="{FC29B825-2FAD-44AC-9611-9807C1DF961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70518"/>
                <a:ext cx="28575" cy="22225"/>
              </a:xfrm>
              <a:custGeom>
                <a:avLst/>
                <a:gdLst>
                  <a:gd name="T0" fmla="*/ 2 w 18"/>
                  <a:gd name="T1" fmla="*/ 8 h 14"/>
                  <a:gd name="T2" fmla="*/ 0 w 18"/>
                  <a:gd name="T3" fmla="*/ 8 h 14"/>
                  <a:gd name="T4" fmla="*/ 0 w 18"/>
                  <a:gd name="T5" fmla="*/ 8 h 14"/>
                  <a:gd name="T6" fmla="*/ 0 w 18"/>
                  <a:gd name="T7" fmla="*/ 4 h 14"/>
                  <a:gd name="T8" fmla="*/ 0 w 18"/>
                  <a:gd name="T9" fmla="*/ 4 h 14"/>
                  <a:gd name="T10" fmla="*/ 0 w 18"/>
                  <a:gd name="T11" fmla="*/ 4 h 14"/>
                  <a:gd name="T12" fmla="*/ 0 w 18"/>
                  <a:gd name="T13" fmla="*/ 0 h 14"/>
                  <a:gd name="T14" fmla="*/ 0 w 18"/>
                  <a:gd name="T15" fmla="*/ 0 h 14"/>
                  <a:gd name="T16" fmla="*/ 0 w 18"/>
                  <a:gd name="T17" fmla="*/ 0 h 14"/>
                  <a:gd name="T18" fmla="*/ 0 w 18"/>
                  <a:gd name="T19" fmla="*/ 0 h 14"/>
                  <a:gd name="T20" fmla="*/ 2 w 18"/>
                  <a:gd name="T21" fmla="*/ 0 h 14"/>
                  <a:gd name="T22" fmla="*/ 2 w 18"/>
                  <a:gd name="T23" fmla="*/ 0 h 14"/>
                  <a:gd name="T24" fmla="*/ 2 w 18"/>
                  <a:gd name="T25" fmla="*/ 0 h 14"/>
                  <a:gd name="T26" fmla="*/ 2 w 18"/>
                  <a:gd name="T27" fmla="*/ 4 h 14"/>
                  <a:gd name="T28" fmla="*/ 2 w 18"/>
                  <a:gd name="T29" fmla="*/ 4 h 14"/>
                  <a:gd name="T30" fmla="*/ 2 w 18"/>
                  <a:gd name="T31" fmla="*/ 8 h 14"/>
                  <a:gd name="T32" fmla="*/ 2 w 18"/>
                  <a:gd name="T33" fmla="*/ 8 h 14"/>
                  <a:gd name="T34" fmla="*/ 2 w 18"/>
                  <a:gd name="T35" fmla="*/ 8 h 14"/>
                  <a:gd name="T36" fmla="*/ 18 w 18"/>
                  <a:gd name="T37" fmla="*/ 14 h 14"/>
                  <a:gd name="T38" fmla="*/ 18 w 18"/>
                  <a:gd name="T39" fmla="*/ 14 h 14"/>
                  <a:gd name="T40" fmla="*/ 14 w 18"/>
                  <a:gd name="T41" fmla="*/ 14 h 14"/>
                  <a:gd name="T42" fmla="*/ 14 w 18"/>
                  <a:gd name="T43" fmla="*/ 14 h 14"/>
                  <a:gd name="T44" fmla="*/ 14 w 18"/>
                  <a:gd name="T45" fmla="*/ 14 h 14"/>
                  <a:gd name="T46" fmla="*/ 14 w 18"/>
                  <a:gd name="T47" fmla="*/ 10 h 14"/>
                  <a:gd name="T48" fmla="*/ 14 w 18"/>
                  <a:gd name="T49" fmla="*/ 10 h 14"/>
                  <a:gd name="T50" fmla="*/ 14 w 18"/>
                  <a:gd name="T51" fmla="*/ 14 h 14"/>
                  <a:gd name="T52" fmla="*/ 14 w 18"/>
                  <a:gd name="T53" fmla="*/ 10 h 14"/>
                  <a:gd name="T54" fmla="*/ 18 w 18"/>
                  <a:gd name="T55" fmla="*/ 10 h 14"/>
                  <a:gd name="T56" fmla="*/ 18 w 18"/>
                  <a:gd name="T57" fmla="*/ 10 h 14"/>
                  <a:gd name="T58" fmla="*/ 18 w 18"/>
                  <a:gd name="T59" fmla="*/ 10 h 14"/>
                  <a:gd name="T60" fmla="*/ 18 w 18"/>
                  <a:gd name="T61" fmla="*/ 10 h 14"/>
                  <a:gd name="T62" fmla="*/ 18 w 18"/>
                  <a:gd name="T63" fmla="*/ 10 h 14"/>
                  <a:gd name="T64" fmla="*/ 18 w 18"/>
                  <a:gd name="T65" fmla="*/ 14 h 14"/>
                  <a:gd name="T66" fmla="*/ 18 w 18"/>
                  <a:gd name="T67" fmla="*/ 14 h 14"/>
                  <a:gd name="T68" fmla="*/ 18 w 18"/>
                  <a:gd name="T69" fmla="*/ 14 h 14"/>
                  <a:gd name="T70" fmla="*/ 6 w 18"/>
                  <a:gd name="T71" fmla="*/ 14 h 14"/>
                  <a:gd name="T72" fmla="*/ 6 w 18"/>
                  <a:gd name="T73" fmla="*/ 14 h 14"/>
                  <a:gd name="T74" fmla="*/ 6 w 18"/>
                  <a:gd name="T75" fmla="*/ 14 h 14"/>
                  <a:gd name="T76" fmla="*/ 6 w 18"/>
                  <a:gd name="T77" fmla="*/ 14 h 14"/>
                  <a:gd name="T78" fmla="*/ 6 w 18"/>
                  <a:gd name="T79" fmla="*/ 14 h 14"/>
                  <a:gd name="T80" fmla="*/ 6 w 18"/>
                  <a:gd name="T81" fmla="*/ 14 h 14"/>
                  <a:gd name="T82" fmla="*/ 6 w 18"/>
                  <a:gd name="T83" fmla="*/ 14 h 14"/>
                  <a:gd name="T84" fmla="*/ 6 w 18"/>
                  <a:gd name="T85" fmla="*/ 14 h 14"/>
                  <a:gd name="T86" fmla="*/ 6 w 18"/>
                  <a:gd name="T87" fmla="*/ 14 h 14"/>
                  <a:gd name="T88" fmla="*/ 6 w 18"/>
                  <a:gd name="T89" fmla="*/ 14 h 14"/>
                  <a:gd name="T90" fmla="*/ 6 w 18"/>
                  <a:gd name="T91" fmla="*/ 14 h 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" h="14">
                    <a:moveTo>
                      <a:pt x="2" y="8"/>
                    </a:moveTo>
                    <a:lnTo>
                      <a:pt x="2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4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lnTo>
                      <a:pt x="2" y="8"/>
                    </a:lnTo>
                    <a:close/>
                    <a:moveTo>
                      <a:pt x="18" y="14"/>
                    </a:move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close/>
                    <a:moveTo>
                      <a:pt x="6" y="14"/>
                    </a:move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lnTo>
                      <a:pt x="6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399" name="Freeform 138">
                <a:extLst>
                  <a:ext uri="{FF2B5EF4-FFF2-40B4-BE49-F238E27FC236}">
                    <a16:creationId xmlns:a16="http://schemas.microsoft.com/office/drawing/2014/main" id="{42076929-5F76-4785-BFED-2FD4F18E175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41850" y="4454593"/>
                <a:ext cx="171450" cy="238125"/>
              </a:xfrm>
              <a:custGeom>
                <a:avLst/>
                <a:gdLst>
                  <a:gd name="T0" fmla="*/ 64 w 108"/>
                  <a:gd name="T1" fmla="*/ 138 h 150"/>
                  <a:gd name="T2" fmla="*/ 56 w 108"/>
                  <a:gd name="T3" fmla="*/ 146 h 150"/>
                  <a:gd name="T4" fmla="*/ 48 w 108"/>
                  <a:gd name="T5" fmla="*/ 150 h 150"/>
                  <a:gd name="T6" fmla="*/ 48 w 108"/>
                  <a:gd name="T7" fmla="*/ 138 h 150"/>
                  <a:gd name="T8" fmla="*/ 38 w 108"/>
                  <a:gd name="T9" fmla="*/ 142 h 150"/>
                  <a:gd name="T10" fmla="*/ 34 w 108"/>
                  <a:gd name="T11" fmla="*/ 150 h 150"/>
                  <a:gd name="T12" fmla="*/ 30 w 108"/>
                  <a:gd name="T13" fmla="*/ 146 h 150"/>
                  <a:gd name="T14" fmla="*/ 22 w 108"/>
                  <a:gd name="T15" fmla="*/ 142 h 150"/>
                  <a:gd name="T16" fmla="*/ 16 w 108"/>
                  <a:gd name="T17" fmla="*/ 150 h 150"/>
                  <a:gd name="T18" fmla="*/ 12 w 108"/>
                  <a:gd name="T19" fmla="*/ 142 h 150"/>
                  <a:gd name="T20" fmla="*/ 4 w 108"/>
                  <a:gd name="T21" fmla="*/ 138 h 150"/>
                  <a:gd name="T22" fmla="*/ 0 w 108"/>
                  <a:gd name="T23" fmla="*/ 130 h 150"/>
                  <a:gd name="T24" fmla="*/ 12 w 108"/>
                  <a:gd name="T25" fmla="*/ 128 h 150"/>
                  <a:gd name="T26" fmla="*/ 8 w 108"/>
                  <a:gd name="T27" fmla="*/ 120 h 150"/>
                  <a:gd name="T28" fmla="*/ 8 w 108"/>
                  <a:gd name="T29" fmla="*/ 116 h 150"/>
                  <a:gd name="T30" fmla="*/ 8 w 108"/>
                  <a:gd name="T31" fmla="*/ 106 h 150"/>
                  <a:gd name="T32" fmla="*/ 16 w 108"/>
                  <a:gd name="T33" fmla="*/ 106 h 150"/>
                  <a:gd name="T34" fmla="*/ 18 w 108"/>
                  <a:gd name="T35" fmla="*/ 102 h 150"/>
                  <a:gd name="T36" fmla="*/ 26 w 108"/>
                  <a:gd name="T37" fmla="*/ 98 h 150"/>
                  <a:gd name="T38" fmla="*/ 30 w 108"/>
                  <a:gd name="T39" fmla="*/ 106 h 150"/>
                  <a:gd name="T40" fmla="*/ 38 w 108"/>
                  <a:gd name="T41" fmla="*/ 106 h 150"/>
                  <a:gd name="T42" fmla="*/ 42 w 108"/>
                  <a:gd name="T43" fmla="*/ 110 h 150"/>
                  <a:gd name="T44" fmla="*/ 46 w 108"/>
                  <a:gd name="T45" fmla="*/ 102 h 150"/>
                  <a:gd name="T46" fmla="*/ 48 w 108"/>
                  <a:gd name="T47" fmla="*/ 94 h 150"/>
                  <a:gd name="T48" fmla="*/ 48 w 108"/>
                  <a:gd name="T49" fmla="*/ 84 h 150"/>
                  <a:gd name="T50" fmla="*/ 46 w 108"/>
                  <a:gd name="T51" fmla="*/ 76 h 150"/>
                  <a:gd name="T52" fmla="*/ 42 w 108"/>
                  <a:gd name="T53" fmla="*/ 68 h 150"/>
                  <a:gd name="T54" fmla="*/ 42 w 108"/>
                  <a:gd name="T55" fmla="*/ 58 h 150"/>
                  <a:gd name="T56" fmla="*/ 48 w 108"/>
                  <a:gd name="T57" fmla="*/ 50 h 150"/>
                  <a:gd name="T58" fmla="*/ 42 w 108"/>
                  <a:gd name="T59" fmla="*/ 42 h 150"/>
                  <a:gd name="T60" fmla="*/ 34 w 108"/>
                  <a:gd name="T61" fmla="*/ 46 h 150"/>
                  <a:gd name="T62" fmla="*/ 30 w 108"/>
                  <a:gd name="T63" fmla="*/ 38 h 150"/>
                  <a:gd name="T64" fmla="*/ 38 w 108"/>
                  <a:gd name="T65" fmla="*/ 30 h 150"/>
                  <a:gd name="T66" fmla="*/ 52 w 108"/>
                  <a:gd name="T67" fmla="*/ 30 h 150"/>
                  <a:gd name="T68" fmla="*/ 64 w 108"/>
                  <a:gd name="T69" fmla="*/ 30 h 150"/>
                  <a:gd name="T70" fmla="*/ 72 w 108"/>
                  <a:gd name="T71" fmla="*/ 34 h 150"/>
                  <a:gd name="T72" fmla="*/ 72 w 108"/>
                  <a:gd name="T73" fmla="*/ 30 h 150"/>
                  <a:gd name="T74" fmla="*/ 74 w 108"/>
                  <a:gd name="T75" fmla="*/ 24 h 150"/>
                  <a:gd name="T76" fmla="*/ 78 w 108"/>
                  <a:gd name="T77" fmla="*/ 16 h 150"/>
                  <a:gd name="T78" fmla="*/ 78 w 108"/>
                  <a:gd name="T79" fmla="*/ 8 h 150"/>
                  <a:gd name="T80" fmla="*/ 86 w 108"/>
                  <a:gd name="T81" fmla="*/ 4 h 150"/>
                  <a:gd name="T82" fmla="*/ 90 w 108"/>
                  <a:gd name="T83" fmla="*/ 4 h 150"/>
                  <a:gd name="T84" fmla="*/ 102 w 108"/>
                  <a:gd name="T85" fmla="*/ 4 h 150"/>
                  <a:gd name="T86" fmla="*/ 104 w 108"/>
                  <a:gd name="T87" fmla="*/ 4 h 150"/>
                  <a:gd name="T88" fmla="*/ 108 w 108"/>
                  <a:gd name="T89" fmla="*/ 12 h 150"/>
                  <a:gd name="T90" fmla="*/ 104 w 108"/>
                  <a:gd name="T91" fmla="*/ 20 h 150"/>
                  <a:gd name="T92" fmla="*/ 102 w 108"/>
                  <a:gd name="T93" fmla="*/ 28 h 150"/>
                  <a:gd name="T94" fmla="*/ 102 w 108"/>
                  <a:gd name="T95" fmla="*/ 38 h 150"/>
                  <a:gd name="T96" fmla="*/ 98 w 108"/>
                  <a:gd name="T97" fmla="*/ 54 h 150"/>
                  <a:gd name="T98" fmla="*/ 98 w 108"/>
                  <a:gd name="T99" fmla="*/ 64 h 150"/>
                  <a:gd name="T100" fmla="*/ 94 w 108"/>
                  <a:gd name="T101" fmla="*/ 72 h 150"/>
                  <a:gd name="T102" fmla="*/ 90 w 108"/>
                  <a:gd name="T103" fmla="*/ 84 h 150"/>
                  <a:gd name="T104" fmla="*/ 82 w 108"/>
                  <a:gd name="T105" fmla="*/ 90 h 150"/>
                  <a:gd name="T106" fmla="*/ 78 w 108"/>
                  <a:gd name="T107" fmla="*/ 98 h 150"/>
                  <a:gd name="T108" fmla="*/ 72 w 108"/>
                  <a:gd name="T109" fmla="*/ 102 h 150"/>
                  <a:gd name="T110" fmla="*/ 74 w 108"/>
                  <a:gd name="T111" fmla="*/ 114 h 150"/>
                  <a:gd name="T112" fmla="*/ 72 w 108"/>
                  <a:gd name="T113" fmla="*/ 120 h 150"/>
                  <a:gd name="T114" fmla="*/ 72 w 108"/>
                  <a:gd name="T115" fmla="*/ 128 h 150"/>
                  <a:gd name="T116" fmla="*/ 68 w 108"/>
                  <a:gd name="T117" fmla="*/ 134 h 1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8" h="150">
                    <a:moveTo>
                      <a:pt x="68" y="134"/>
                    </a:moveTo>
                    <a:lnTo>
                      <a:pt x="64" y="134"/>
                    </a:lnTo>
                    <a:lnTo>
                      <a:pt x="64" y="138"/>
                    </a:lnTo>
                    <a:lnTo>
                      <a:pt x="60" y="138"/>
                    </a:lnTo>
                    <a:lnTo>
                      <a:pt x="56" y="142"/>
                    </a:lnTo>
                    <a:lnTo>
                      <a:pt x="56" y="146"/>
                    </a:lnTo>
                    <a:lnTo>
                      <a:pt x="52" y="146"/>
                    </a:lnTo>
                    <a:lnTo>
                      <a:pt x="52" y="150"/>
                    </a:lnTo>
                    <a:lnTo>
                      <a:pt x="48" y="150"/>
                    </a:lnTo>
                    <a:lnTo>
                      <a:pt x="48" y="146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6" y="138"/>
                    </a:lnTo>
                    <a:lnTo>
                      <a:pt x="42" y="142"/>
                    </a:lnTo>
                    <a:lnTo>
                      <a:pt x="38" y="142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50"/>
                    </a:lnTo>
                    <a:lnTo>
                      <a:pt x="30" y="146"/>
                    </a:lnTo>
                    <a:lnTo>
                      <a:pt x="30" y="142"/>
                    </a:lnTo>
                    <a:lnTo>
                      <a:pt x="30" y="146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18" y="146"/>
                    </a:lnTo>
                    <a:lnTo>
                      <a:pt x="16" y="146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4" y="138"/>
                    </a:lnTo>
                    <a:lnTo>
                      <a:pt x="4" y="134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4" y="128"/>
                    </a:lnTo>
                    <a:lnTo>
                      <a:pt x="8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12" y="116"/>
                    </a:lnTo>
                    <a:lnTo>
                      <a:pt x="8" y="114"/>
                    </a:lnTo>
                    <a:lnTo>
                      <a:pt x="8" y="116"/>
                    </a:lnTo>
                    <a:lnTo>
                      <a:pt x="8" y="114"/>
                    </a:lnTo>
                    <a:lnTo>
                      <a:pt x="8" y="110"/>
                    </a:lnTo>
                    <a:lnTo>
                      <a:pt x="8" y="106"/>
                    </a:lnTo>
                    <a:lnTo>
                      <a:pt x="12" y="110"/>
                    </a:lnTo>
                    <a:lnTo>
                      <a:pt x="12" y="106"/>
                    </a:lnTo>
                    <a:lnTo>
                      <a:pt x="16" y="106"/>
                    </a:lnTo>
                    <a:lnTo>
                      <a:pt x="16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8" y="98"/>
                    </a:lnTo>
                    <a:lnTo>
                      <a:pt x="22" y="98"/>
                    </a:lnTo>
                    <a:lnTo>
                      <a:pt x="26" y="98"/>
                    </a:lnTo>
                    <a:lnTo>
                      <a:pt x="26" y="102"/>
                    </a:lnTo>
                    <a:lnTo>
                      <a:pt x="26" y="106"/>
                    </a:lnTo>
                    <a:lnTo>
                      <a:pt x="30" y="106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8" y="106"/>
                    </a:lnTo>
                    <a:lnTo>
                      <a:pt x="38" y="102"/>
                    </a:lnTo>
                    <a:lnTo>
                      <a:pt x="42" y="106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46" y="106"/>
                    </a:lnTo>
                    <a:lnTo>
                      <a:pt x="46" y="102"/>
                    </a:lnTo>
                    <a:lnTo>
                      <a:pt x="46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2"/>
                    </a:lnTo>
                    <a:lnTo>
                      <a:pt x="42" y="72"/>
                    </a:lnTo>
                    <a:lnTo>
                      <a:pt x="42" y="68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58"/>
                    </a:lnTo>
                    <a:lnTo>
                      <a:pt x="46" y="58"/>
                    </a:lnTo>
                    <a:lnTo>
                      <a:pt x="48" y="54"/>
                    </a:lnTo>
                    <a:lnTo>
                      <a:pt x="48" y="50"/>
                    </a:lnTo>
                    <a:lnTo>
                      <a:pt x="46" y="46"/>
                    </a:lnTo>
                    <a:lnTo>
                      <a:pt x="46" y="42"/>
                    </a:lnTo>
                    <a:lnTo>
                      <a:pt x="42" y="42"/>
                    </a:lnTo>
                    <a:lnTo>
                      <a:pt x="38" y="42"/>
                    </a:lnTo>
                    <a:lnTo>
                      <a:pt x="38" y="46"/>
                    </a:lnTo>
                    <a:lnTo>
                      <a:pt x="34" y="46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30" y="34"/>
                    </a:lnTo>
                    <a:lnTo>
                      <a:pt x="30" y="30"/>
                    </a:lnTo>
                    <a:lnTo>
                      <a:pt x="38" y="30"/>
                    </a:lnTo>
                    <a:lnTo>
                      <a:pt x="46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72" y="34"/>
                    </a:lnTo>
                    <a:lnTo>
                      <a:pt x="72" y="38"/>
                    </a:lnTo>
                    <a:lnTo>
                      <a:pt x="72" y="34"/>
                    </a:lnTo>
                    <a:lnTo>
                      <a:pt x="72" y="30"/>
                    </a:lnTo>
                    <a:lnTo>
                      <a:pt x="72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4" y="20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4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0"/>
                    </a:lnTo>
                    <a:lnTo>
                      <a:pt x="90" y="4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2" y="24"/>
                    </a:lnTo>
                    <a:lnTo>
                      <a:pt x="102" y="28"/>
                    </a:lnTo>
                    <a:lnTo>
                      <a:pt x="102" y="30"/>
                    </a:lnTo>
                    <a:lnTo>
                      <a:pt x="102" y="34"/>
                    </a:lnTo>
                    <a:lnTo>
                      <a:pt x="102" y="38"/>
                    </a:lnTo>
                    <a:lnTo>
                      <a:pt x="98" y="46"/>
                    </a:lnTo>
                    <a:lnTo>
                      <a:pt x="98" y="50"/>
                    </a:lnTo>
                    <a:lnTo>
                      <a:pt x="98" y="54"/>
                    </a:lnTo>
                    <a:lnTo>
                      <a:pt x="98" y="58"/>
                    </a:lnTo>
                    <a:lnTo>
                      <a:pt x="98" y="60"/>
                    </a:lnTo>
                    <a:lnTo>
                      <a:pt x="98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4" y="72"/>
                    </a:lnTo>
                    <a:lnTo>
                      <a:pt x="94" y="76"/>
                    </a:lnTo>
                    <a:lnTo>
                      <a:pt x="94" y="80"/>
                    </a:lnTo>
                    <a:lnTo>
                      <a:pt x="90" y="84"/>
                    </a:lnTo>
                    <a:lnTo>
                      <a:pt x="86" y="84"/>
                    </a:lnTo>
                    <a:lnTo>
                      <a:pt x="82" y="86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8"/>
                    </a:lnTo>
                    <a:lnTo>
                      <a:pt x="74" y="98"/>
                    </a:lnTo>
                    <a:lnTo>
                      <a:pt x="74" y="102"/>
                    </a:lnTo>
                    <a:lnTo>
                      <a:pt x="72" y="102"/>
                    </a:lnTo>
                    <a:lnTo>
                      <a:pt x="72" y="106"/>
                    </a:lnTo>
                    <a:lnTo>
                      <a:pt x="74" y="110"/>
                    </a:lnTo>
                    <a:lnTo>
                      <a:pt x="74" y="114"/>
                    </a:lnTo>
                    <a:lnTo>
                      <a:pt x="72" y="114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4" y="124"/>
                    </a:lnTo>
                    <a:lnTo>
                      <a:pt x="72" y="124"/>
                    </a:lnTo>
                    <a:lnTo>
                      <a:pt x="72" y="128"/>
                    </a:lnTo>
                    <a:lnTo>
                      <a:pt x="72" y="130"/>
                    </a:lnTo>
                    <a:lnTo>
                      <a:pt x="68" y="130"/>
                    </a:lnTo>
                    <a:lnTo>
                      <a:pt x="68" y="134"/>
                    </a:lnTo>
                    <a:lnTo>
                      <a:pt x="68" y="134"/>
                    </a:lnTo>
                    <a:lnTo>
                      <a:pt x="68" y="13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0" name="Freeform 139">
                <a:extLst>
                  <a:ext uri="{FF2B5EF4-FFF2-40B4-BE49-F238E27FC236}">
                    <a16:creationId xmlns:a16="http://schemas.microsoft.com/office/drawing/2014/main" id="{30AC1A49-1D1A-4D59-A262-79756A0F3B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64075" y="4413318"/>
                <a:ext cx="434975" cy="511175"/>
              </a:xfrm>
              <a:custGeom>
                <a:avLst/>
                <a:gdLst>
                  <a:gd name="T0" fmla="*/ 30 w 274"/>
                  <a:gd name="T1" fmla="*/ 194 h 322"/>
                  <a:gd name="T2" fmla="*/ 12 w 274"/>
                  <a:gd name="T3" fmla="*/ 190 h 322"/>
                  <a:gd name="T4" fmla="*/ 4 w 274"/>
                  <a:gd name="T5" fmla="*/ 190 h 322"/>
                  <a:gd name="T6" fmla="*/ 16 w 274"/>
                  <a:gd name="T7" fmla="*/ 172 h 322"/>
                  <a:gd name="T8" fmla="*/ 24 w 274"/>
                  <a:gd name="T9" fmla="*/ 168 h 322"/>
                  <a:gd name="T10" fmla="*/ 34 w 274"/>
                  <a:gd name="T11" fmla="*/ 176 h 322"/>
                  <a:gd name="T12" fmla="*/ 50 w 274"/>
                  <a:gd name="T13" fmla="*/ 164 h 322"/>
                  <a:gd name="T14" fmla="*/ 56 w 274"/>
                  <a:gd name="T15" fmla="*/ 150 h 322"/>
                  <a:gd name="T16" fmla="*/ 60 w 274"/>
                  <a:gd name="T17" fmla="*/ 136 h 322"/>
                  <a:gd name="T18" fmla="*/ 64 w 274"/>
                  <a:gd name="T19" fmla="*/ 120 h 322"/>
                  <a:gd name="T20" fmla="*/ 80 w 274"/>
                  <a:gd name="T21" fmla="*/ 106 h 322"/>
                  <a:gd name="T22" fmla="*/ 84 w 274"/>
                  <a:gd name="T23" fmla="*/ 86 h 322"/>
                  <a:gd name="T24" fmla="*/ 86 w 274"/>
                  <a:gd name="T25" fmla="*/ 60 h 322"/>
                  <a:gd name="T26" fmla="*/ 90 w 274"/>
                  <a:gd name="T27" fmla="*/ 42 h 322"/>
                  <a:gd name="T28" fmla="*/ 94 w 274"/>
                  <a:gd name="T29" fmla="*/ 24 h 322"/>
                  <a:gd name="T30" fmla="*/ 98 w 274"/>
                  <a:gd name="T31" fmla="*/ 12 h 322"/>
                  <a:gd name="T32" fmla="*/ 114 w 274"/>
                  <a:gd name="T33" fmla="*/ 8 h 322"/>
                  <a:gd name="T34" fmla="*/ 128 w 274"/>
                  <a:gd name="T35" fmla="*/ 16 h 322"/>
                  <a:gd name="T36" fmla="*/ 146 w 274"/>
                  <a:gd name="T37" fmla="*/ 24 h 322"/>
                  <a:gd name="T38" fmla="*/ 154 w 274"/>
                  <a:gd name="T39" fmla="*/ 8 h 322"/>
                  <a:gd name="T40" fmla="*/ 172 w 274"/>
                  <a:gd name="T41" fmla="*/ 8 h 322"/>
                  <a:gd name="T42" fmla="*/ 188 w 274"/>
                  <a:gd name="T43" fmla="*/ 8 h 322"/>
                  <a:gd name="T44" fmla="*/ 200 w 274"/>
                  <a:gd name="T45" fmla="*/ 4 h 322"/>
                  <a:gd name="T46" fmla="*/ 214 w 274"/>
                  <a:gd name="T47" fmla="*/ 4 h 322"/>
                  <a:gd name="T48" fmla="*/ 228 w 274"/>
                  <a:gd name="T49" fmla="*/ 16 h 322"/>
                  <a:gd name="T50" fmla="*/ 244 w 274"/>
                  <a:gd name="T51" fmla="*/ 16 h 322"/>
                  <a:gd name="T52" fmla="*/ 250 w 274"/>
                  <a:gd name="T53" fmla="*/ 16 h 322"/>
                  <a:gd name="T54" fmla="*/ 262 w 274"/>
                  <a:gd name="T55" fmla="*/ 28 h 322"/>
                  <a:gd name="T56" fmla="*/ 266 w 274"/>
                  <a:gd name="T57" fmla="*/ 46 h 322"/>
                  <a:gd name="T58" fmla="*/ 270 w 274"/>
                  <a:gd name="T59" fmla="*/ 58 h 322"/>
                  <a:gd name="T60" fmla="*/ 258 w 274"/>
                  <a:gd name="T61" fmla="*/ 76 h 322"/>
                  <a:gd name="T62" fmla="*/ 250 w 274"/>
                  <a:gd name="T63" fmla="*/ 90 h 322"/>
                  <a:gd name="T64" fmla="*/ 246 w 274"/>
                  <a:gd name="T65" fmla="*/ 110 h 322"/>
                  <a:gd name="T66" fmla="*/ 244 w 274"/>
                  <a:gd name="T67" fmla="*/ 128 h 322"/>
                  <a:gd name="T68" fmla="*/ 244 w 274"/>
                  <a:gd name="T69" fmla="*/ 146 h 322"/>
                  <a:gd name="T70" fmla="*/ 246 w 274"/>
                  <a:gd name="T71" fmla="*/ 168 h 322"/>
                  <a:gd name="T72" fmla="*/ 246 w 274"/>
                  <a:gd name="T73" fmla="*/ 184 h 322"/>
                  <a:gd name="T74" fmla="*/ 250 w 274"/>
                  <a:gd name="T75" fmla="*/ 206 h 322"/>
                  <a:gd name="T76" fmla="*/ 262 w 274"/>
                  <a:gd name="T77" fmla="*/ 220 h 322"/>
                  <a:gd name="T78" fmla="*/ 258 w 274"/>
                  <a:gd name="T79" fmla="*/ 232 h 322"/>
                  <a:gd name="T80" fmla="*/ 240 w 274"/>
                  <a:gd name="T81" fmla="*/ 244 h 322"/>
                  <a:gd name="T82" fmla="*/ 236 w 274"/>
                  <a:gd name="T83" fmla="*/ 262 h 322"/>
                  <a:gd name="T84" fmla="*/ 232 w 274"/>
                  <a:gd name="T85" fmla="*/ 280 h 322"/>
                  <a:gd name="T86" fmla="*/ 236 w 274"/>
                  <a:gd name="T87" fmla="*/ 300 h 322"/>
                  <a:gd name="T88" fmla="*/ 250 w 274"/>
                  <a:gd name="T89" fmla="*/ 302 h 322"/>
                  <a:gd name="T90" fmla="*/ 250 w 274"/>
                  <a:gd name="T91" fmla="*/ 322 h 322"/>
                  <a:gd name="T92" fmla="*/ 236 w 274"/>
                  <a:gd name="T93" fmla="*/ 314 h 322"/>
                  <a:gd name="T94" fmla="*/ 222 w 274"/>
                  <a:gd name="T95" fmla="*/ 302 h 322"/>
                  <a:gd name="T96" fmla="*/ 210 w 274"/>
                  <a:gd name="T97" fmla="*/ 300 h 322"/>
                  <a:gd name="T98" fmla="*/ 188 w 274"/>
                  <a:gd name="T99" fmla="*/ 292 h 322"/>
                  <a:gd name="T100" fmla="*/ 172 w 274"/>
                  <a:gd name="T101" fmla="*/ 288 h 322"/>
                  <a:gd name="T102" fmla="*/ 170 w 274"/>
                  <a:gd name="T103" fmla="*/ 280 h 322"/>
                  <a:gd name="T104" fmla="*/ 146 w 274"/>
                  <a:gd name="T105" fmla="*/ 280 h 322"/>
                  <a:gd name="T106" fmla="*/ 146 w 274"/>
                  <a:gd name="T107" fmla="*/ 272 h 322"/>
                  <a:gd name="T108" fmla="*/ 140 w 274"/>
                  <a:gd name="T109" fmla="*/ 250 h 322"/>
                  <a:gd name="T110" fmla="*/ 140 w 274"/>
                  <a:gd name="T111" fmla="*/ 228 h 322"/>
                  <a:gd name="T112" fmla="*/ 120 w 274"/>
                  <a:gd name="T113" fmla="*/ 216 h 322"/>
                  <a:gd name="T114" fmla="*/ 106 w 274"/>
                  <a:gd name="T115" fmla="*/ 214 h 322"/>
                  <a:gd name="T116" fmla="*/ 106 w 274"/>
                  <a:gd name="T117" fmla="*/ 228 h 322"/>
                  <a:gd name="T118" fmla="*/ 84 w 274"/>
                  <a:gd name="T119" fmla="*/ 232 h 322"/>
                  <a:gd name="T120" fmla="*/ 72 w 274"/>
                  <a:gd name="T121" fmla="*/ 220 h 322"/>
                  <a:gd name="T122" fmla="*/ 64 w 274"/>
                  <a:gd name="T123" fmla="*/ 202 h 322"/>
                  <a:gd name="T124" fmla="*/ 56 w 274"/>
                  <a:gd name="T125" fmla="*/ 190 h 3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74" h="322">
                    <a:moveTo>
                      <a:pt x="56" y="190"/>
                    </a:moveTo>
                    <a:lnTo>
                      <a:pt x="54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4" y="194"/>
                    </a:lnTo>
                    <a:lnTo>
                      <a:pt x="30" y="194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8" y="190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4" y="190"/>
                    </a:lnTo>
                    <a:lnTo>
                      <a:pt x="8" y="190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4" y="172"/>
                    </a:lnTo>
                    <a:lnTo>
                      <a:pt x="24" y="168"/>
                    </a:lnTo>
                    <a:lnTo>
                      <a:pt x="26" y="168"/>
                    </a:lnTo>
                    <a:lnTo>
                      <a:pt x="30" y="164"/>
                    </a:lnTo>
                    <a:lnTo>
                      <a:pt x="34" y="164"/>
                    </a:lnTo>
                    <a:lnTo>
                      <a:pt x="34" y="168"/>
                    </a:lnTo>
                    <a:lnTo>
                      <a:pt x="34" y="172"/>
                    </a:lnTo>
                    <a:lnTo>
                      <a:pt x="34" y="176"/>
                    </a:lnTo>
                    <a:lnTo>
                      <a:pt x="38" y="176"/>
                    </a:lnTo>
                    <a:lnTo>
                      <a:pt x="38" y="172"/>
                    </a:lnTo>
                    <a:lnTo>
                      <a:pt x="42" y="172"/>
                    </a:lnTo>
                    <a:lnTo>
                      <a:pt x="42" y="168"/>
                    </a:lnTo>
                    <a:lnTo>
                      <a:pt x="46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4" y="160"/>
                    </a:lnTo>
                    <a:lnTo>
                      <a:pt x="54" y="158"/>
                    </a:lnTo>
                    <a:lnTo>
                      <a:pt x="56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60" y="150"/>
                    </a:lnTo>
                    <a:lnTo>
                      <a:pt x="56" y="146"/>
                    </a:lnTo>
                    <a:lnTo>
                      <a:pt x="56" y="144"/>
                    </a:lnTo>
                    <a:lnTo>
                      <a:pt x="56" y="140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56" y="132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4" y="116"/>
                    </a:lnTo>
                    <a:lnTo>
                      <a:pt x="68" y="116"/>
                    </a:lnTo>
                    <a:lnTo>
                      <a:pt x="68" y="114"/>
                    </a:lnTo>
                    <a:lnTo>
                      <a:pt x="72" y="110"/>
                    </a:lnTo>
                    <a:lnTo>
                      <a:pt x="76" y="110"/>
                    </a:lnTo>
                    <a:lnTo>
                      <a:pt x="80" y="106"/>
                    </a:lnTo>
                    <a:lnTo>
                      <a:pt x="80" y="102"/>
                    </a:lnTo>
                    <a:lnTo>
                      <a:pt x="80" y="98"/>
                    </a:lnTo>
                    <a:lnTo>
                      <a:pt x="80" y="94"/>
                    </a:lnTo>
                    <a:lnTo>
                      <a:pt x="80" y="90"/>
                    </a:lnTo>
                    <a:lnTo>
                      <a:pt x="84" y="90"/>
                    </a:lnTo>
                    <a:lnTo>
                      <a:pt x="84" y="86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4" y="72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6" y="58"/>
                    </a:lnTo>
                    <a:lnTo>
                      <a:pt x="86" y="54"/>
                    </a:lnTo>
                    <a:lnTo>
                      <a:pt x="86" y="50"/>
                    </a:lnTo>
                    <a:lnTo>
                      <a:pt x="90" y="50"/>
                    </a:lnTo>
                    <a:lnTo>
                      <a:pt x="90" y="46"/>
                    </a:lnTo>
                    <a:lnTo>
                      <a:pt x="90" y="42"/>
                    </a:lnTo>
                    <a:lnTo>
                      <a:pt x="90" y="38"/>
                    </a:lnTo>
                    <a:lnTo>
                      <a:pt x="94" y="38"/>
                    </a:lnTo>
                    <a:lnTo>
                      <a:pt x="94" y="34"/>
                    </a:lnTo>
                    <a:lnTo>
                      <a:pt x="94" y="30"/>
                    </a:lnTo>
                    <a:lnTo>
                      <a:pt x="94" y="28"/>
                    </a:lnTo>
                    <a:lnTo>
                      <a:pt x="94" y="24"/>
                    </a:lnTo>
                    <a:lnTo>
                      <a:pt x="94" y="20"/>
                    </a:lnTo>
                    <a:lnTo>
                      <a:pt x="90" y="20"/>
                    </a:lnTo>
                    <a:lnTo>
                      <a:pt x="94" y="16"/>
                    </a:lnTo>
                    <a:lnTo>
                      <a:pt x="94" y="20"/>
                    </a:lnTo>
                    <a:lnTo>
                      <a:pt x="94" y="16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102" y="8"/>
                    </a:lnTo>
                    <a:lnTo>
                      <a:pt x="106" y="4"/>
                    </a:lnTo>
                    <a:lnTo>
                      <a:pt x="110" y="4"/>
                    </a:lnTo>
                    <a:lnTo>
                      <a:pt x="110" y="8"/>
                    </a:lnTo>
                    <a:lnTo>
                      <a:pt x="114" y="8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28" y="20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2" y="20"/>
                    </a:lnTo>
                    <a:lnTo>
                      <a:pt x="142" y="24"/>
                    </a:lnTo>
                    <a:lnTo>
                      <a:pt x="146" y="24"/>
                    </a:lnTo>
                    <a:lnTo>
                      <a:pt x="146" y="20"/>
                    </a:lnTo>
                    <a:lnTo>
                      <a:pt x="150" y="20"/>
                    </a:lnTo>
                    <a:lnTo>
                      <a:pt x="150" y="16"/>
                    </a:lnTo>
                    <a:lnTo>
                      <a:pt x="150" y="12"/>
                    </a:lnTo>
                    <a:lnTo>
                      <a:pt x="154" y="12"/>
                    </a:lnTo>
                    <a:lnTo>
                      <a:pt x="154" y="8"/>
                    </a:lnTo>
                    <a:lnTo>
                      <a:pt x="154" y="12"/>
                    </a:lnTo>
                    <a:lnTo>
                      <a:pt x="158" y="12"/>
                    </a:lnTo>
                    <a:lnTo>
                      <a:pt x="162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2" y="8"/>
                    </a:lnTo>
                    <a:lnTo>
                      <a:pt x="176" y="4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0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4" y="4"/>
                    </a:lnTo>
                    <a:lnTo>
                      <a:pt x="218" y="4"/>
                    </a:lnTo>
                    <a:lnTo>
                      <a:pt x="218" y="8"/>
                    </a:lnTo>
                    <a:lnTo>
                      <a:pt x="222" y="8"/>
                    </a:lnTo>
                    <a:lnTo>
                      <a:pt x="222" y="12"/>
                    </a:lnTo>
                    <a:lnTo>
                      <a:pt x="226" y="16"/>
                    </a:lnTo>
                    <a:lnTo>
                      <a:pt x="228" y="16"/>
                    </a:lnTo>
                    <a:lnTo>
                      <a:pt x="228" y="20"/>
                    </a:lnTo>
                    <a:lnTo>
                      <a:pt x="232" y="20"/>
                    </a:lnTo>
                    <a:lnTo>
                      <a:pt x="232" y="16"/>
                    </a:lnTo>
                    <a:lnTo>
                      <a:pt x="236" y="16"/>
                    </a:lnTo>
                    <a:lnTo>
                      <a:pt x="240" y="16"/>
                    </a:lnTo>
                    <a:lnTo>
                      <a:pt x="244" y="16"/>
                    </a:lnTo>
                    <a:lnTo>
                      <a:pt x="244" y="20"/>
                    </a:lnTo>
                    <a:lnTo>
                      <a:pt x="244" y="16"/>
                    </a:lnTo>
                    <a:lnTo>
                      <a:pt x="246" y="16"/>
                    </a:lnTo>
                    <a:lnTo>
                      <a:pt x="246" y="12"/>
                    </a:lnTo>
                    <a:lnTo>
                      <a:pt x="250" y="12"/>
                    </a:lnTo>
                    <a:lnTo>
                      <a:pt x="250" y="16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8"/>
                    </a:lnTo>
                    <a:lnTo>
                      <a:pt x="262" y="28"/>
                    </a:lnTo>
                    <a:lnTo>
                      <a:pt x="262" y="30"/>
                    </a:lnTo>
                    <a:lnTo>
                      <a:pt x="266" y="30"/>
                    </a:lnTo>
                    <a:lnTo>
                      <a:pt x="266" y="34"/>
                    </a:lnTo>
                    <a:lnTo>
                      <a:pt x="266" y="38"/>
                    </a:lnTo>
                    <a:lnTo>
                      <a:pt x="266" y="42"/>
                    </a:lnTo>
                    <a:lnTo>
                      <a:pt x="266" y="46"/>
                    </a:lnTo>
                    <a:lnTo>
                      <a:pt x="266" y="50"/>
                    </a:lnTo>
                    <a:lnTo>
                      <a:pt x="266" y="54"/>
                    </a:lnTo>
                    <a:lnTo>
                      <a:pt x="270" y="50"/>
                    </a:lnTo>
                    <a:lnTo>
                      <a:pt x="270" y="54"/>
                    </a:lnTo>
                    <a:lnTo>
                      <a:pt x="274" y="58"/>
                    </a:lnTo>
                    <a:lnTo>
                      <a:pt x="270" y="58"/>
                    </a:lnTo>
                    <a:lnTo>
                      <a:pt x="270" y="60"/>
                    </a:lnTo>
                    <a:lnTo>
                      <a:pt x="266" y="64"/>
                    </a:lnTo>
                    <a:lnTo>
                      <a:pt x="262" y="68"/>
                    </a:lnTo>
                    <a:lnTo>
                      <a:pt x="262" y="72"/>
                    </a:lnTo>
                    <a:lnTo>
                      <a:pt x="258" y="72"/>
                    </a:lnTo>
                    <a:lnTo>
                      <a:pt x="258" y="76"/>
                    </a:lnTo>
                    <a:lnTo>
                      <a:pt x="254" y="76"/>
                    </a:lnTo>
                    <a:lnTo>
                      <a:pt x="254" y="80"/>
                    </a:lnTo>
                    <a:lnTo>
                      <a:pt x="254" y="84"/>
                    </a:lnTo>
                    <a:lnTo>
                      <a:pt x="254" y="86"/>
                    </a:lnTo>
                    <a:lnTo>
                      <a:pt x="250" y="86"/>
                    </a:lnTo>
                    <a:lnTo>
                      <a:pt x="250" y="90"/>
                    </a:lnTo>
                    <a:lnTo>
                      <a:pt x="250" y="94"/>
                    </a:lnTo>
                    <a:lnTo>
                      <a:pt x="250" y="98"/>
                    </a:lnTo>
                    <a:lnTo>
                      <a:pt x="250" y="102"/>
                    </a:lnTo>
                    <a:lnTo>
                      <a:pt x="246" y="102"/>
                    </a:lnTo>
                    <a:lnTo>
                      <a:pt x="246" y="106"/>
                    </a:lnTo>
                    <a:lnTo>
                      <a:pt x="246" y="110"/>
                    </a:lnTo>
                    <a:lnTo>
                      <a:pt x="246" y="114"/>
                    </a:lnTo>
                    <a:lnTo>
                      <a:pt x="246" y="116"/>
                    </a:lnTo>
                    <a:lnTo>
                      <a:pt x="244" y="116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4" y="144"/>
                    </a:lnTo>
                    <a:lnTo>
                      <a:pt x="244" y="146"/>
                    </a:lnTo>
                    <a:lnTo>
                      <a:pt x="244" y="150"/>
                    </a:lnTo>
                    <a:lnTo>
                      <a:pt x="244" y="154"/>
                    </a:lnTo>
                    <a:lnTo>
                      <a:pt x="244" y="158"/>
                    </a:lnTo>
                    <a:lnTo>
                      <a:pt x="244" y="160"/>
                    </a:lnTo>
                    <a:lnTo>
                      <a:pt x="246" y="164"/>
                    </a:lnTo>
                    <a:lnTo>
                      <a:pt x="246" y="168"/>
                    </a:lnTo>
                    <a:lnTo>
                      <a:pt x="246" y="172"/>
                    </a:lnTo>
                    <a:lnTo>
                      <a:pt x="244" y="172"/>
                    </a:lnTo>
                    <a:lnTo>
                      <a:pt x="244" y="176"/>
                    </a:lnTo>
                    <a:lnTo>
                      <a:pt x="244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6" y="186"/>
                    </a:lnTo>
                    <a:lnTo>
                      <a:pt x="246" y="190"/>
                    </a:lnTo>
                    <a:lnTo>
                      <a:pt x="246" y="194"/>
                    </a:lnTo>
                    <a:lnTo>
                      <a:pt x="246" y="198"/>
                    </a:lnTo>
                    <a:lnTo>
                      <a:pt x="246" y="202"/>
                    </a:lnTo>
                    <a:lnTo>
                      <a:pt x="250" y="206"/>
                    </a:lnTo>
                    <a:lnTo>
                      <a:pt x="254" y="210"/>
                    </a:lnTo>
                    <a:lnTo>
                      <a:pt x="258" y="210"/>
                    </a:lnTo>
                    <a:lnTo>
                      <a:pt x="258" y="214"/>
                    </a:lnTo>
                    <a:lnTo>
                      <a:pt x="258" y="216"/>
                    </a:lnTo>
                    <a:lnTo>
                      <a:pt x="258" y="220"/>
                    </a:lnTo>
                    <a:lnTo>
                      <a:pt x="262" y="220"/>
                    </a:lnTo>
                    <a:lnTo>
                      <a:pt x="262" y="224"/>
                    </a:lnTo>
                    <a:lnTo>
                      <a:pt x="262" y="228"/>
                    </a:lnTo>
                    <a:lnTo>
                      <a:pt x="266" y="228"/>
                    </a:lnTo>
                    <a:lnTo>
                      <a:pt x="266" y="232"/>
                    </a:lnTo>
                    <a:lnTo>
                      <a:pt x="262" y="232"/>
                    </a:lnTo>
                    <a:lnTo>
                      <a:pt x="258" y="232"/>
                    </a:lnTo>
                    <a:lnTo>
                      <a:pt x="254" y="236"/>
                    </a:lnTo>
                    <a:lnTo>
                      <a:pt x="246" y="236"/>
                    </a:lnTo>
                    <a:lnTo>
                      <a:pt x="244" y="236"/>
                    </a:lnTo>
                    <a:lnTo>
                      <a:pt x="240" y="236"/>
                    </a:lnTo>
                    <a:lnTo>
                      <a:pt x="240" y="240"/>
                    </a:lnTo>
                    <a:lnTo>
                      <a:pt x="240" y="244"/>
                    </a:lnTo>
                    <a:lnTo>
                      <a:pt x="236" y="244"/>
                    </a:lnTo>
                    <a:lnTo>
                      <a:pt x="236" y="246"/>
                    </a:lnTo>
                    <a:lnTo>
                      <a:pt x="232" y="250"/>
                    </a:lnTo>
                    <a:lnTo>
                      <a:pt x="232" y="254"/>
                    </a:lnTo>
                    <a:lnTo>
                      <a:pt x="236" y="258"/>
                    </a:lnTo>
                    <a:lnTo>
                      <a:pt x="236" y="262"/>
                    </a:lnTo>
                    <a:lnTo>
                      <a:pt x="236" y="266"/>
                    </a:lnTo>
                    <a:lnTo>
                      <a:pt x="236" y="270"/>
                    </a:lnTo>
                    <a:lnTo>
                      <a:pt x="236" y="272"/>
                    </a:lnTo>
                    <a:lnTo>
                      <a:pt x="236" y="276"/>
                    </a:lnTo>
                    <a:lnTo>
                      <a:pt x="232" y="276"/>
                    </a:lnTo>
                    <a:lnTo>
                      <a:pt x="232" y="280"/>
                    </a:lnTo>
                    <a:lnTo>
                      <a:pt x="232" y="284"/>
                    </a:lnTo>
                    <a:lnTo>
                      <a:pt x="232" y="288"/>
                    </a:lnTo>
                    <a:lnTo>
                      <a:pt x="232" y="292"/>
                    </a:lnTo>
                    <a:lnTo>
                      <a:pt x="232" y="296"/>
                    </a:lnTo>
                    <a:lnTo>
                      <a:pt x="236" y="296"/>
                    </a:lnTo>
                    <a:lnTo>
                      <a:pt x="236" y="300"/>
                    </a:lnTo>
                    <a:lnTo>
                      <a:pt x="240" y="302"/>
                    </a:lnTo>
                    <a:lnTo>
                      <a:pt x="244" y="302"/>
                    </a:lnTo>
                    <a:lnTo>
                      <a:pt x="246" y="306"/>
                    </a:lnTo>
                    <a:lnTo>
                      <a:pt x="246" y="302"/>
                    </a:lnTo>
                    <a:lnTo>
                      <a:pt x="250" y="300"/>
                    </a:lnTo>
                    <a:lnTo>
                      <a:pt x="250" y="302"/>
                    </a:lnTo>
                    <a:lnTo>
                      <a:pt x="250" y="306"/>
                    </a:lnTo>
                    <a:lnTo>
                      <a:pt x="250" y="310"/>
                    </a:lnTo>
                    <a:lnTo>
                      <a:pt x="250" y="318"/>
                    </a:lnTo>
                    <a:lnTo>
                      <a:pt x="250" y="322"/>
                    </a:lnTo>
                    <a:lnTo>
                      <a:pt x="246" y="322"/>
                    </a:lnTo>
                    <a:lnTo>
                      <a:pt x="250" y="322"/>
                    </a:lnTo>
                    <a:lnTo>
                      <a:pt x="246" y="318"/>
                    </a:lnTo>
                    <a:lnTo>
                      <a:pt x="246" y="322"/>
                    </a:lnTo>
                    <a:lnTo>
                      <a:pt x="244" y="322"/>
                    </a:lnTo>
                    <a:lnTo>
                      <a:pt x="240" y="322"/>
                    </a:lnTo>
                    <a:lnTo>
                      <a:pt x="240" y="318"/>
                    </a:lnTo>
                    <a:lnTo>
                      <a:pt x="236" y="314"/>
                    </a:lnTo>
                    <a:lnTo>
                      <a:pt x="232" y="314"/>
                    </a:lnTo>
                    <a:lnTo>
                      <a:pt x="232" y="310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6" y="302"/>
                    </a:lnTo>
                    <a:lnTo>
                      <a:pt x="222" y="302"/>
                    </a:lnTo>
                    <a:lnTo>
                      <a:pt x="218" y="300"/>
                    </a:lnTo>
                    <a:lnTo>
                      <a:pt x="218" y="296"/>
                    </a:lnTo>
                    <a:lnTo>
                      <a:pt x="214" y="296"/>
                    </a:lnTo>
                    <a:lnTo>
                      <a:pt x="214" y="292"/>
                    </a:lnTo>
                    <a:lnTo>
                      <a:pt x="210" y="296"/>
                    </a:lnTo>
                    <a:lnTo>
                      <a:pt x="210" y="300"/>
                    </a:lnTo>
                    <a:lnTo>
                      <a:pt x="206" y="300"/>
                    </a:lnTo>
                    <a:lnTo>
                      <a:pt x="202" y="296"/>
                    </a:lnTo>
                    <a:lnTo>
                      <a:pt x="200" y="296"/>
                    </a:lnTo>
                    <a:lnTo>
                      <a:pt x="196" y="296"/>
                    </a:lnTo>
                    <a:lnTo>
                      <a:pt x="192" y="292"/>
                    </a:lnTo>
                    <a:lnTo>
                      <a:pt x="188" y="292"/>
                    </a:lnTo>
                    <a:lnTo>
                      <a:pt x="188" y="288"/>
                    </a:lnTo>
                    <a:lnTo>
                      <a:pt x="188" y="284"/>
                    </a:lnTo>
                    <a:lnTo>
                      <a:pt x="184" y="284"/>
                    </a:lnTo>
                    <a:lnTo>
                      <a:pt x="180" y="288"/>
                    </a:lnTo>
                    <a:lnTo>
                      <a:pt x="176" y="288"/>
                    </a:lnTo>
                    <a:lnTo>
                      <a:pt x="172" y="288"/>
                    </a:lnTo>
                    <a:lnTo>
                      <a:pt x="176" y="284"/>
                    </a:lnTo>
                    <a:lnTo>
                      <a:pt x="176" y="280"/>
                    </a:lnTo>
                    <a:lnTo>
                      <a:pt x="172" y="280"/>
                    </a:lnTo>
                    <a:lnTo>
                      <a:pt x="170" y="280"/>
                    </a:lnTo>
                    <a:lnTo>
                      <a:pt x="170" y="276"/>
                    </a:lnTo>
                    <a:lnTo>
                      <a:pt x="170" y="280"/>
                    </a:lnTo>
                    <a:lnTo>
                      <a:pt x="166" y="280"/>
                    </a:lnTo>
                    <a:lnTo>
                      <a:pt x="162" y="280"/>
                    </a:lnTo>
                    <a:lnTo>
                      <a:pt x="158" y="280"/>
                    </a:lnTo>
                    <a:lnTo>
                      <a:pt x="154" y="280"/>
                    </a:lnTo>
                    <a:lnTo>
                      <a:pt x="150" y="280"/>
                    </a:lnTo>
                    <a:lnTo>
                      <a:pt x="146" y="280"/>
                    </a:lnTo>
                    <a:lnTo>
                      <a:pt x="146" y="284"/>
                    </a:lnTo>
                    <a:lnTo>
                      <a:pt x="142" y="284"/>
                    </a:lnTo>
                    <a:lnTo>
                      <a:pt x="142" y="280"/>
                    </a:lnTo>
                    <a:lnTo>
                      <a:pt x="142" y="276"/>
                    </a:lnTo>
                    <a:lnTo>
                      <a:pt x="146" y="276"/>
                    </a:lnTo>
                    <a:lnTo>
                      <a:pt x="146" y="272"/>
                    </a:lnTo>
                    <a:lnTo>
                      <a:pt x="146" y="270"/>
                    </a:lnTo>
                    <a:lnTo>
                      <a:pt x="142" y="266"/>
                    </a:lnTo>
                    <a:lnTo>
                      <a:pt x="142" y="262"/>
                    </a:lnTo>
                    <a:lnTo>
                      <a:pt x="140" y="258"/>
                    </a:lnTo>
                    <a:lnTo>
                      <a:pt x="140" y="254"/>
                    </a:lnTo>
                    <a:lnTo>
                      <a:pt x="140" y="250"/>
                    </a:lnTo>
                    <a:lnTo>
                      <a:pt x="140" y="246"/>
                    </a:lnTo>
                    <a:lnTo>
                      <a:pt x="140" y="244"/>
                    </a:lnTo>
                    <a:lnTo>
                      <a:pt x="140" y="240"/>
                    </a:lnTo>
                    <a:lnTo>
                      <a:pt x="140" y="236"/>
                    </a:lnTo>
                    <a:lnTo>
                      <a:pt x="140" y="232"/>
                    </a:lnTo>
                    <a:lnTo>
                      <a:pt x="140" y="228"/>
                    </a:lnTo>
                    <a:lnTo>
                      <a:pt x="140" y="224"/>
                    </a:lnTo>
                    <a:lnTo>
                      <a:pt x="140" y="220"/>
                    </a:lnTo>
                    <a:lnTo>
                      <a:pt x="140" y="216"/>
                    </a:lnTo>
                    <a:lnTo>
                      <a:pt x="136" y="216"/>
                    </a:lnTo>
                    <a:lnTo>
                      <a:pt x="128" y="216"/>
                    </a:lnTo>
                    <a:lnTo>
                      <a:pt x="120" y="216"/>
                    </a:lnTo>
                    <a:lnTo>
                      <a:pt x="120" y="214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4"/>
                    </a:lnTo>
                    <a:lnTo>
                      <a:pt x="114" y="214"/>
                    </a:lnTo>
                    <a:lnTo>
                      <a:pt x="106" y="214"/>
                    </a:lnTo>
                    <a:lnTo>
                      <a:pt x="106" y="216"/>
                    </a:lnTo>
                    <a:lnTo>
                      <a:pt x="106" y="220"/>
                    </a:lnTo>
                    <a:lnTo>
                      <a:pt x="106" y="224"/>
                    </a:lnTo>
                    <a:lnTo>
                      <a:pt x="102" y="224"/>
                    </a:lnTo>
                    <a:lnTo>
                      <a:pt x="102" y="228"/>
                    </a:lnTo>
                    <a:lnTo>
                      <a:pt x="106" y="228"/>
                    </a:lnTo>
                    <a:lnTo>
                      <a:pt x="98" y="228"/>
                    </a:lnTo>
                    <a:lnTo>
                      <a:pt x="94" y="228"/>
                    </a:lnTo>
                    <a:lnTo>
                      <a:pt x="90" y="228"/>
                    </a:lnTo>
                    <a:lnTo>
                      <a:pt x="86" y="228"/>
                    </a:lnTo>
                    <a:lnTo>
                      <a:pt x="86" y="232"/>
                    </a:lnTo>
                    <a:lnTo>
                      <a:pt x="84" y="232"/>
                    </a:lnTo>
                    <a:lnTo>
                      <a:pt x="84" y="228"/>
                    </a:lnTo>
                    <a:lnTo>
                      <a:pt x="80" y="232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6" y="224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6"/>
                    </a:lnTo>
                    <a:lnTo>
                      <a:pt x="68" y="214"/>
                    </a:lnTo>
                    <a:lnTo>
                      <a:pt x="68" y="210"/>
                    </a:lnTo>
                    <a:lnTo>
                      <a:pt x="68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4" y="194"/>
                    </a:lnTo>
                    <a:lnTo>
                      <a:pt x="64" y="190"/>
                    </a:lnTo>
                    <a:lnTo>
                      <a:pt x="60" y="190"/>
                    </a:lnTo>
                    <a:lnTo>
                      <a:pt x="56" y="190"/>
                    </a:lnTo>
                    <a:lnTo>
                      <a:pt x="56" y="190"/>
                    </a:lnTo>
                    <a:lnTo>
                      <a:pt x="56" y="1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1" name="Freeform 140">
                <a:extLst>
                  <a:ext uri="{FF2B5EF4-FFF2-40B4-BE49-F238E27FC236}">
                    <a16:creationId xmlns:a16="http://schemas.microsoft.com/office/drawing/2014/main" id="{980B5883-9B61-4B52-A9B2-7311288ADE0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197350" y="4267268"/>
                <a:ext cx="142875" cy="177800"/>
              </a:xfrm>
              <a:custGeom>
                <a:avLst/>
                <a:gdLst>
                  <a:gd name="T0" fmla="*/ 46 w 90"/>
                  <a:gd name="T1" fmla="*/ 96 h 112"/>
                  <a:gd name="T2" fmla="*/ 52 w 90"/>
                  <a:gd name="T3" fmla="*/ 96 h 112"/>
                  <a:gd name="T4" fmla="*/ 46 w 90"/>
                  <a:gd name="T5" fmla="*/ 96 h 112"/>
                  <a:gd name="T6" fmla="*/ 34 w 90"/>
                  <a:gd name="T7" fmla="*/ 100 h 112"/>
                  <a:gd name="T8" fmla="*/ 30 w 90"/>
                  <a:gd name="T9" fmla="*/ 104 h 112"/>
                  <a:gd name="T10" fmla="*/ 24 w 90"/>
                  <a:gd name="T11" fmla="*/ 108 h 112"/>
                  <a:gd name="T12" fmla="*/ 20 w 90"/>
                  <a:gd name="T13" fmla="*/ 112 h 112"/>
                  <a:gd name="T14" fmla="*/ 16 w 90"/>
                  <a:gd name="T15" fmla="*/ 104 h 112"/>
                  <a:gd name="T16" fmla="*/ 20 w 90"/>
                  <a:gd name="T17" fmla="*/ 92 h 112"/>
                  <a:gd name="T18" fmla="*/ 20 w 90"/>
                  <a:gd name="T19" fmla="*/ 86 h 112"/>
                  <a:gd name="T20" fmla="*/ 16 w 90"/>
                  <a:gd name="T21" fmla="*/ 82 h 112"/>
                  <a:gd name="T22" fmla="*/ 12 w 90"/>
                  <a:gd name="T23" fmla="*/ 78 h 112"/>
                  <a:gd name="T24" fmla="*/ 0 w 90"/>
                  <a:gd name="T25" fmla="*/ 74 h 112"/>
                  <a:gd name="T26" fmla="*/ 4 w 90"/>
                  <a:gd name="T27" fmla="*/ 70 h 112"/>
                  <a:gd name="T28" fmla="*/ 4 w 90"/>
                  <a:gd name="T29" fmla="*/ 66 h 112"/>
                  <a:gd name="T30" fmla="*/ 4 w 90"/>
                  <a:gd name="T31" fmla="*/ 56 h 112"/>
                  <a:gd name="T32" fmla="*/ 8 w 90"/>
                  <a:gd name="T33" fmla="*/ 56 h 112"/>
                  <a:gd name="T34" fmla="*/ 8 w 90"/>
                  <a:gd name="T35" fmla="*/ 48 h 112"/>
                  <a:gd name="T36" fmla="*/ 8 w 90"/>
                  <a:gd name="T37" fmla="*/ 44 h 112"/>
                  <a:gd name="T38" fmla="*/ 12 w 90"/>
                  <a:gd name="T39" fmla="*/ 36 h 112"/>
                  <a:gd name="T40" fmla="*/ 16 w 90"/>
                  <a:gd name="T41" fmla="*/ 40 h 112"/>
                  <a:gd name="T42" fmla="*/ 12 w 90"/>
                  <a:gd name="T43" fmla="*/ 34 h 112"/>
                  <a:gd name="T44" fmla="*/ 16 w 90"/>
                  <a:gd name="T45" fmla="*/ 30 h 112"/>
                  <a:gd name="T46" fmla="*/ 8 w 90"/>
                  <a:gd name="T47" fmla="*/ 22 h 112"/>
                  <a:gd name="T48" fmla="*/ 8 w 90"/>
                  <a:gd name="T49" fmla="*/ 14 h 112"/>
                  <a:gd name="T50" fmla="*/ 8 w 90"/>
                  <a:gd name="T51" fmla="*/ 10 h 112"/>
                  <a:gd name="T52" fmla="*/ 12 w 90"/>
                  <a:gd name="T53" fmla="*/ 8 h 112"/>
                  <a:gd name="T54" fmla="*/ 20 w 90"/>
                  <a:gd name="T55" fmla="*/ 8 h 112"/>
                  <a:gd name="T56" fmla="*/ 24 w 90"/>
                  <a:gd name="T57" fmla="*/ 10 h 112"/>
                  <a:gd name="T58" fmla="*/ 30 w 90"/>
                  <a:gd name="T59" fmla="*/ 8 h 112"/>
                  <a:gd name="T60" fmla="*/ 30 w 90"/>
                  <a:gd name="T61" fmla="*/ 4 h 112"/>
                  <a:gd name="T62" fmla="*/ 34 w 90"/>
                  <a:gd name="T63" fmla="*/ 4 h 112"/>
                  <a:gd name="T64" fmla="*/ 38 w 90"/>
                  <a:gd name="T65" fmla="*/ 8 h 112"/>
                  <a:gd name="T66" fmla="*/ 38 w 90"/>
                  <a:gd name="T67" fmla="*/ 10 h 112"/>
                  <a:gd name="T68" fmla="*/ 42 w 90"/>
                  <a:gd name="T69" fmla="*/ 8 h 112"/>
                  <a:gd name="T70" fmla="*/ 50 w 90"/>
                  <a:gd name="T71" fmla="*/ 8 h 112"/>
                  <a:gd name="T72" fmla="*/ 56 w 90"/>
                  <a:gd name="T73" fmla="*/ 14 h 112"/>
                  <a:gd name="T74" fmla="*/ 60 w 90"/>
                  <a:gd name="T75" fmla="*/ 18 h 112"/>
                  <a:gd name="T76" fmla="*/ 68 w 90"/>
                  <a:gd name="T77" fmla="*/ 14 h 112"/>
                  <a:gd name="T78" fmla="*/ 76 w 90"/>
                  <a:gd name="T79" fmla="*/ 14 h 112"/>
                  <a:gd name="T80" fmla="*/ 82 w 90"/>
                  <a:gd name="T81" fmla="*/ 22 h 112"/>
                  <a:gd name="T82" fmla="*/ 86 w 90"/>
                  <a:gd name="T83" fmla="*/ 26 h 112"/>
                  <a:gd name="T84" fmla="*/ 86 w 90"/>
                  <a:gd name="T85" fmla="*/ 34 h 112"/>
                  <a:gd name="T86" fmla="*/ 86 w 90"/>
                  <a:gd name="T87" fmla="*/ 44 h 112"/>
                  <a:gd name="T88" fmla="*/ 82 w 90"/>
                  <a:gd name="T89" fmla="*/ 60 h 112"/>
                  <a:gd name="T90" fmla="*/ 78 w 90"/>
                  <a:gd name="T91" fmla="*/ 70 h 112"/>
                  <a:gd name="T92" fmla="*/ 78 w 90"/>
                  <a:gd name="T93" fmla="*/ 78 h 112"/>
                  <a:gd name="T94" fmla="*/ 82 w 90"/>
                  <a:gd name="T95" fmla="*/ 88 h 112"/>
                  <a:gd name="T96" fmla="*/ 86 w 90"/>
                  <a:gd name="T97" fmla="*/ 96 h 112"/>
                  <a:gd name="T98" fmla="*/ 82 w 90"/>
                  <a:gd name="T99" fmla="*/ 96 h 112"/>
                  <a:gd name="T100" fmla="*/ 78 w 90"/>
                  <a:gd name="T101" fmla="*/ 92 h 112"/>
                  <a:gd name="T102" fmla="*/ 76 w 90"/>
                  <a:gd name="T103" fmla="*/ 96 h 112"/>
                  <a:gd name="T104" fmla="*/ 72 w 90"/>
                  <a:gd name="T105" fmla="*/ 96 h 112"/>
                  <a:gd name="T106" fmla="*/ 72 w 90"/>
                  <a:gd name="T107" fmla="*/ 92 h 112"/>
                  <a:gd name="T108" fmla="*/ 72 w 90"/>
                  <a:gd name="T109" fmla="*/ 92 h 112"/>
                  <a:gd name="T110" fmla="*/ 60 w 90"/>
                  <a:gd name="T111" fmla="*/ 92 h 112"/>
                  <a:gd name="T112" fmla="*/ 60 w 90"/>
                  <a:gd name="T113" fmla="*/ 96 h 112"/>
                  <a:gd name="T114" fmla="*/ 64 w 90"/>
                  <a:gd name="T115" fmla="*/ 92 h 112"/>
                  <a:gd name="T116" fmla="*/ 56 w 90"/>
                  <a:gd name="T117" fmla="*/ 96 h 112"/>
                  <a:gd name="T118" fmla="*/ 52 w 90"/>
                  <a:gd name="T119" fmla="*/ 96 h 112"/>
                  <a:gd name="T120" fmla="*/ 50 w 90"/>
                  <a:gd name="T121" fmla="*/ 96 h 112"/>
                  <a:gd name="T122" fmla="*/ 50 w 90"/>
                  <a:gd name="T123" fmla="*/ 96 h 112"/>
                  <a:gd name="T124" fmla="*/ 78 w 90"/>
                  <a:gd name="T125" fmla="*/ 9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90" h="112">
                    <a:moveTo>
                      <a:pt x="50" y="96"/>
                    </a:move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42" y="96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0" y="108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82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2"/>
                    </a:lnTo>
                    <a:lnTo>
                      <a:pt x="8" y="62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52" y="8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6" y="14"/>
                    </a:lnTo>
                    <a:lnTo>
                      <a:pt x="56" y="14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56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68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8" y="14"/>
                    </a:lnTo>
                    <a:lnTo>
                      <a:pt x="78" y="14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18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2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86" y="26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0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4"/>
                    </a:lnTo>
                    <a:lnTo>
                      <a:pt x="86" y="36"/>
                    </a:lnTo>
                    <a:lnTo>
                      <a:pt x="86" y="36"/>
                    </a:lnTo>
                    <a:lnTo>
                      <a:pt x="90" y="44"/>
                    </a:lnTo>
                    <a:lnTo>
                      <a:pt x="90" y="44"/>
                    </a:lnTo>
                    <a:lnTo>
                      <a:pt x="86" y="44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2" y="62"/>
                    </a:lnTo>
                    <a:lnTo>
                      <a:pt x="78" y="62"/>
                    </a:lnTo>
                    <a:lnTo>
                      <a:pt x="78" y="62"/>
                    </a:lnTo>
                    <a:lnTo>
                      <a:pt x="78" y="66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0"/>
                    </a:lnTo>
                    <a:lnTo>
                      <a:pt x="78" y="74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78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2" y="88"/>
                    </a:lnTo>
                    <a:lnTo>
                      <a:pt x="86" y="88"/>
                    </a:lnTo>
                    <a:lnTo>
                      <a:pt x="86" y="92"/>
                    </a:lnTo>
                    <a:lnTo>
                      <a:pt x="82" y="92"/>
                    </a:lnTo>
                    <a:lnTo>
                      <a:pt x="82" y="92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6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82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2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6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72" y="96"/>
                    </a:lnTo>
                    <a:lnTo>
                      <a:pt x="68" y="96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72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lnTo>
                      <a:pt x="50" y="96"/>
                    </a:lnTo>
                    <a:close/>
                    <a:moveTo>
                      <a:pt x="78" y="96"/>
                    </a:move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lnTo>
                      <a:pt x="78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2" name="Freeform 141">
                <a:extLst>
                  <a:ext uri="{FF2B5EF4-FFF2-40B4-BE49-F238E27FC236}">
                    <a16:creationId xmlns:a16="http://schemas.microsoft.com/office/drawing/2014/main" id="{B7C3D6AB-E9BA-47ED-B959-2736C4CA2EB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7650" y="4213293"/>
                <a:ext cx="44450" cy="47625"/>
              </a:xfrm>
              <a:custGeom>
                <a:avLst/>
                <a:gdLst>
                  <a:gd name="T0" fmla="*/ 24 w 28"/>
                  <a:gd name="T1" fmla="*/ 4 h 30"/>
                  <a:gd name="T2" fmla="*/ 28 w 28"/>
                  <a:gd name="T3" fmla="*/ 8 h 30"/>
                  <a:gd name="T4" fmla="*/ 28 w 28"/>
                  <a:gd name="T5" fmla="*/ 12 h 30"/>
                  <a:gd name="T6" fmla="*/ 28 w 28"/>
                  <a:gd name="T7" fmla="*/ 12 h 30"/>
                  <a:gd name="T8" fmla="*/ 24 w 28"/>
                  <a:gd name="T9" fmla="*/ 12 h 30"/>
                  <a:gd name="T10" fmla="*/ 24 w 28"/>
                  <a:gd name="T11" fmla="*/ 16 h 30"/>
                  <a:gd name="T12" fmla="*/ 24 w 28"/>
                  <a:gd name="T13" fmla="*/ 16 h 30"/>
                  <a:gd name="T14" fmla="*/ 20 w 28"/>
                  <a:gd name="T15" fmla="*/ 16 h 30"/>
                  <a:gd name="T16" fmla="*/ 20 w 28"/>
                  <a:gd name="T17" fmla="*/ 16 h 30"/>
                  <a:gd name="T18" fmla="*/ 20 w 28"/>
                  <a:gd name="T19" fmla="*/ 16 h 30"/>
                  <a:gd name="T20" fmla="*/ 16 w 28"/>
                  <a:gd name="T21" fmla="*/ 18 h 30"/>
                  <a:gd name="T22" fmla="*/ 16 w 28"/>
                  <a:gd name="T23" fmla="*/ 18 h 30"/>
                  <a:gd name="T24" fmla="*/ 16 w 28"/>
                  <a:gd name="T25" fmla="*/ 18 h 30"/>
                  <a:gd name="T26" fmla="*/ 12 w 28"/>
                  <a:gd name="T27" fmla="*/ 18 h 30"/>
                  <a:gd name="T28" fmla="*/ 12 w 28"/>
                  <a:gd name="T29" fmla="*/ 18 h 30"/>
                  <a:gd name="T30" fmla="*/ 16 w 28"/>
                  <a:gd name="T31" fmla="*/ 22 h 30"/>
                  <a:gd name="T32" fmla="*/ 16 w 28"/>
                  <a:gd name="T33" fmla="*/ 22 h 30"/>
                  <a:gd name="T34" fmla="*/ 16 w 28"/>
                  <a:gd name="T35" fmla="*/ 18 h 30"/>
                  <a:gd name="T36" fmla="*/ 20 w 28"/>
                  <a:gd name="T37" fmla="*/ 18 h 30"/>
                  <a:gd name="T38" fmla="*/ 20 w 28"/>
                  <a:gd name="T39" fmla="*/ 18 h 30"/>
                  <a:gd name="T40" fmla="*/ 20 w 28"/>
                  <a:gd name="T41" fmla="*/ 18 h 30"/>
                  <a:gd name="T42" fmla="*/ 20 w 28"/>
                  <a:gd name="T43" fmla="*/ 18 h 30"/>
                  <a:gd name="T44" fmla="*/ 24 w 28"/>
                  <a:gd name="T45" fmla="*/ 18 h 30"/>
                  <a:gd name="T46" fmla="*/ 24 w 28"/>
                  <a:gd name="T47" fmla="*/ 22 h 30"/>
                  <a:gd name="T48" fmla="*/ 24 w 28"/>
                  <a:gd name="T49" fmla="*/ 22 h 30"/>
                  <a:gd name="T50" fmla="*/ 24 w 28"/>
                  <a:gd name="T51" fmla="*/ 26 h 30"/>
                  <a:gd name="T52" fmla="*/ 20 w 28"/>
                  <a:gd name="T53" fmla="*/ 30 h 30"/>
                  <a:gd name="T54" fmla="*/ 20 w 28"/>
                  <a:gd name="T55" fmla="*/ 30 h 30"/>
                  <a:gd name="T56" fmla="*/ 16 w 28"/>
                  <a:gd name="T57" fmla="*/ 30 h 30"/>
                  <a:gd name="T58" fmla="*/ 16 w 28"/>
                  <a:gd name="T59" fmla="*/ 30 h 30"/>
                  <a:gd name="T60" fmla="*/ 16 w 28"/>
                  <a:gd name="T61" fmla="*/ 30 h 30"/>
                  <a:gd name="T62" fmla="*/ 16 w 28"/>
                  <a:gd name="T63" fmla="*/ 30 h 30"/>
                  <a:gd name="T64" fmla="*/ 12 w 28"/>
                  <a:gd name="T65" fmla="*/ 30 h 30"/>
                  <a:gd name="T66" fmla="*/ 8 w 28"/>
                  <a:gd name="T67" fmla="*/ 30 h 30"/>
                  <a:gd name="T68" fmla="*/ 8 w 28"/>
                  <a:gd name="T69" fmla="*/ 30 h 30"/>
                  <a:gd name="T70" fmla="*/ 4 w 28"/>
                  <a:gd name="T71" fmla="*/ 30 h 30"/>
                  <a:gd name="T72" fmla="*/ 4 w 28"/>
                  <a:gd name="T73" fmla="*/ 30 h 30"/>
                  <a:gd name="T74" fmla="*/ 4 w 28"/>
                  <a:gd name="T75" fmla="*/ 30 h 30"/>
                  <a:gd name="T76" fmla="*/ 4 w 28"/>
                  <a:gd name="T77" fmla="*/ 30 h 30"/>
                  <a:gd name="T78" fmla="*/ 4 w 28"/>
                  <a:gd name="T79" fmla="*/ 26 h 30"/>
                  <a:gd name="T80" fmla="*/ 4 w 28"/>
                  <a:gd name="T81" fmla="*/ 26 h 30"/>
                  <a:gd name="T82" fmla="*/ 0 w 28"/>
                  <a:gd name="T83" fmla="*/ 22 h 30"/>
                  <a:gd name="T84" fmla="*/ 4 w 28"/>
                  <a:gd name="T85" fmla="*/ 18 h 30"/>
                  <a:gd name="T86" fmla="*/ 4 w 28"/>
                  <a:gd name="T87" fmla="*/ 16 h 30"/>
                  <a:gd name="T88" fmla="*/ 8 w 28"/>
                  <a:gd name="T89" fmla="*/ 12 h 30"/>
                  <a:gd name="T90" fmla="*/ 8 w 28"/>
                  <a:gd name="T91" fmla="*/ 12 h 30"/>
                  <a:gd name="T92" fmla="*/ 8 w 28"/>
                  <a:gd name="T93" fmla="*/ 8 h 30"/>
                  <a:gd name="T94" fmla="*/ 12 w 28"/>
                  <a:gd name="T95" fmla="*/ 8 h 30"/>
                  <a:gd name="T96" fmla="*/ 12 w 28"/>
                  <a:gd name="T97" fmla="*/ 4 h 30"/>
                  <a:gd name="T98" fmla="*/ 12 w 28"/>
                  <a:gd name="T99" fmla="*/ 4 h 30"/>
                  <a:gd name="T100" fmla="*/ 12 w 28"/>
                  <a:gd name="T101" fmla="*/ 4 h 30"/>
                  <a:gd name="T102" fmla="*/ 16 w 28"/>
                  <a:gd name="T103" fmla="*/ 4 h 30"/>
                  <a:gd name="T104" fmla="*/ 16 w 28"/>
                  <a:gd name="T105" fmla="*/ 4 h 30"/>
                  <a:gd name="T106" fmla="*/ 16 w 28"/>
                  <a:gd name="T107" fmla="*/ 8 h 30"/>
                  <a:gd name="T108" fmla="*/ 16 w 28"/>
                  <a:gd name="T109" fmla="*/ 4 h 30"/>
                  <a:gd name="T110" fmla="*/ 20 w 28"/>
                  <a:gd name="T111" fmla="*/ 0 h 30"/>
                  <a:gd name="T112" fmla="*/ 24 w 28"/>
                  <a:gd name="T113" fmla="*/ 0 h 30"/>
                  <a:gd name="T114" fmla="*/ 24 w 28"/>
                  <a:gd name="T115" fmla="*/ 4 h 30"/>
                  <a:gd name="T116" fmla="*/ 24 w 28"/>
                  <a:gd name="T117" fmla="*/ 4 h 30"/>
                  <a:gd name="T118" fmla="*/ 24 w 28"/>
                  <a:gd name="T119" fmla="*/ 4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8" h="30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0" y="26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3" name="Freeform 142">
                <a:extLst>
                  <a:ext uri="{FF2B5EF4-FFF2-40B4-BE49-F238E27FC236}">
                    <a16:creationId xmlns:a16="http://schemas.microsoft.com/office/drawing/2014/main" id="{886C2BAC-52CF-41EF-A871-4A53948331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9825" y="3679893"/>
                <a:ext cx="269875" cy="273050"/>
              </a:xfrm>
              <a:custGeom>
                <a:avLst/>
                <a:gdLst>
                  <a:gd name="T0" fmla="*/ 108 w 170"/>
                  <a:gd name="T1" fmla="*/ 8 h 172"/>
                  <a:gd name="T2" fmla="*/ 118 w 170"/>
                  <a:gd name="T3" fmla="*/ 12 h 172"/>
                  <a:gd name="T4" fmla="*/ 130 w 170"/>
                  <a:gd name="T5" fmla="*/ 8 h 172"/>
                  <a:gd name="T6" fmla="*/ 138 w 170"/>
                  <a:gd name="T7" fmla="*/ 18 h 172"/>
                  <a:gd name="T8" fmla="*/ 142 w 170"/>
                  <a:gd name="T9" fmla="*/ 34 h 172"/>
                  <a:gd name="T10" fmla="*/ 142 w 170"/>
                  <a:gd name="T11" fmla="*/ 48 h 172"/>
                  <a:gd name="T12" fmla="*/ 138 w 170"/>
                  <a:gd name="T13" fmla="*/ 64 h 172"/>
                  <a:gd name="T14" fmla="*/ 130 w 170"/>
                  <a:gd name="T15" fmla="*/ 68 h 172"/>
                  <a:gd name="T16" fmla="*/ 122 w 170"/>
                  <a:gd name="T17" fmla="*/ 60 h 172"/>
                  <a:gd name="T18" fmla="*/ 114 w 170"/>
                  <a:gd name="T19" fmla="*/ 46 h 172"/>
                  <a:gd name="T20" fmla="*/ 112 w 170"/>
                  <a:gd name="T21" fmla="*/ 30 h 172"/>
                  <a:gd name="T22" fmla="*/ 112 w 170"/>
                  <a:gd name="T23" fmla="*/ 42 h 172"/>
                  <a:gd name="T24" fmla="*/ 114 w 170"/>
                  <a:gd name="T25" fmla="*/ 52 h 172"/>
                  <a:gd name="T26" fmla="*/ 122 w 170"/>
                  <a:gd name="T27" fmla="*/ 64 h 172"/>
                  <a:gd name="T28" fmla="*/ 122 w 170"/>
                  <a:gd name="T29" fmla="*/ 72 h 172"/>
                  <a:gd name="T30" fmla="*/ 126 w 170"/>
                  <a:gd name="T31" fmla="*/ 82 h 172"/>
                  <a:gd name="T32" fmla="*/ 134 w 170"/>
                  <a:gd name="T33" fmla="*/ 98 h 172"/>
                  <a:gd name="T34" fmla="*/ 142 w 170"/>
                  <a:gd name="T35" fmla="*/ 112 h 172"/>
                  <a:gd name="T36" fmla="*/ 144 w 170"/>
                  <a:gd name="T37" fmla="*/ 124 h 172"/>
                  <a:gd name="T38" fmla="*/ 152 w 170"/>
                  <a:gd name="T39" fmla="*/ 134 h 172"/>
                  <a:gd name="T40" fmla="*/ 152 w 170"/>
                  <a:gd name="T41" fmla="*/ 142 h 172"/>
                  <a:gd name="T42" fmla="*/ 152 w 170"/>
                  <a:gd name="T43" fmla="*/ 158 h 172"/>
                  <a:gd name="T44" fmla="*/ 164 w 170"/>
                  <a:gd name="T45" fmla="*/ 164 h 172"/>
                  <a:gd name="T46" fmla="*/ 170 w 170"/>
                  <a:gd name="T47" fmla="*/ 172 h 172"/>
                  <a:gd name="T48" fmla="*/ 156 w 170"/>
                  <a:gd name="T49" fmla="*/ 172 h 172"/>
                  <a:gd name="T50" fmla="*/ 142 w 170"/>
                  <a:gd name="T51" fmla="*/ 172 h 172"/>
                  <a:gd name="T52" fmla="*/ 122 w 170"/>
                  <a:gd name="T53" fmla="*/ 172 h 172"/>
                  <a:gd name="T54" fmla="*/ 100 w 170"/>
                  <a:gd name="T55" fmla="*/ 172 h 172"/>
                  <a:gd name="T56" fmla="*/ 92 w 170"/>
                  <a:gd name="T57" fmla="*/ 168 h 172"/>
                  <a:gd name="T58" fmla="*/ 82 w 170"/>
                  <a:gd name="T59" fmla="*/ 172 h 172"/>
                  <a:gd name="T60" fmla="*/ 62 w 170"/>
                  <a:gd name="T61" fmla="*/ 172 h 172"/>
                  <a:gd name="T62" fmla="*/ 42 w 170"/>
                  <a:gd name="T63" fmla="*/ 172 h 172"/>
                  <a:gd name="T64" fmla="*/ 26 w 170"/>
                  <a:gd name="T65" fmla="*/ 172 h 172"/>
                  <a:gd name="T66" fmla="*/ 4 w 170"/>
                  <a:gd name="T67" fmla="*/ 172 h 172"/>
                  <a:gd name="T68" fmla="*/ 4 w 170"/>
                  <a:gd name="T69" fmla="*/ 130 h 172"/>
                  <a:gd name="T70" fmla="*/ 4 w 170"/>
                  <a:gd name="T71" fmla="*/ 102 h 172"/>
                  <a:gd name="T72" fmla="*/ 4 w 170"/>
                  <a:gd name="T73" fmla="*/ 82 h 172"/>
                  <a:gd name="T74" fmla="*/ 4 w 170"/>
                  <a:gd name="T75" fmla="*/ 64 h 172"/>
                  <a:gd name="T76" fmla="*/ 4 w 170"/>
                  <a:gd name="T77" fmla="*/ 42 h 172"/>
                  <a:gd name="T78" fmla="*/ 0 w 170"/>
                  <a:gd name="T79" fmla="*/ 26 h 172"/>
                  <a:gd name="T80" fmla="*/ 4 w 170"/>
                  <a:gd name="T81" fmla="*/ 12 h 172"/>
                  <a:gd name="T82" fmla="*/ 4 w 170"/>
                  <a:gd name="T83" fmla="*/ 0 h 172"/>
                  <a:gd name="T84" fmla="*/ 18 w 170"/>
                  <a:gd name="T85" fmla="*/ 0 h 172"/>
                  <a:gd name="T86" fmla="*/ 30 w 170"/>
                  <a:gd name="T87" fmla="*/ 4 h 172"/>
                  <a:gd name="T88" fmla="*/ 42 w 170"/>
                  <a:gd name="T89" fmla="*/ 8 h 172"/>
                  <a:gd name="T90" fmla="*/ 56 w 170"/>
                  <a:gd name="T91" fmla="*/ 12 h 172"/>
                  <a:gd name="T92" fmla="*/ 70 w 170"/>
                  <a:gd name="T93" fmla="*/ 12 h 172"/>
                  <a:gd name="T94" fmla="*/ 74 w 170"/>
                  <a:gd name="T95" fmla="*/ 8 h 172"/>
                  <a:gd name="T96" fmla="*/ 78 w 170"/>
                  <a:gd name="T97" fmla="*/ 4 h 172"/>
                  <a:gd name="T98" fmla="*/ 86 w 170"/>
                  <a:gd name="T99" fmla="*/ 4 h 172"/>
                  <a:gd name="T100" fmla="*/ 88 w 170"/>
                  <a:gd name="T101" fmla="*/ 0 h 172"/>
                  <a:gd name="T102" fmla="*/ 100 w 170"/>
                  <a:gd name="T103" fmla="*/ 4 h 172"/>
                  <a:gd name="T104" fmla="*/ 100 w 170"/>
                  <a:gd name="T105" fmla="*/ 4 h 172"/>
                  <a:gd name="T106" fmla="*/ 104 w 170"/>
                  <a:gd name="T107" fmla="*/ 12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70" h="172">
                    <a:moveTo>
                      <a:pt x="104" y="8"/>
                    </a:moveTo>
                    <a:lnTo>
                      <a:pt x="108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12"/>
                    </a:lnTo>
                    <a:lnTo>
                      <a:pt x="114" y="8"/>
                    </a:lnTo>
                    <a:lnTo>
                      <a:pt x="118" y="8"/>
                    </a:lnTo>
                    <a:lnTo>
                      <a:pt x="118" y="12"/>
                    </a:lnTo>
                    <a:lnTo>
                      <a:pt x="118" y="8"/>
                    </a:lnTo>
                    <a:lnTo>
                      <a:pt x="122" y="8"/>
                    </a:lnTo>
                    <a:lnTo>
                      <a:pt x="126" y="8"/>
                    </a:lnTo>
                    <a:lnTo>
                      <a:pt x="130" y="8"/>
                    </a:lnTo>
                    <a:lnTo>
                      <a:pt x="134" y="4"/>
                    </a:lnTo>
                    <a:lnTo>
                      <a:pt x="134" y="8"/>
                    </a:lnTo>
                    <a:lnTo>
                      <a:pt x="138" y="16"/>
                    </a:lnTo>
                    <a:lnTo>
                      <a:pt x="138" y="18"/>
                    </a:lnTo>
                    <a:lnTo>
                      <a:pt x="138" y="22"/>
                    </a:lnTo>
                    <a:lnTo>
                      <a:pt x="142" y="26"/>
                    </a:lnTo>
                    <a:lnTo>
                      <a:pt x="142" y="30"/>
                    </a:lnTo>
                    <a:lnTo>
                      <a:pt x="142" y="34"/>
                    </a:lnTo>
                    <a:lnTo>
                      <a:pt x="142" y="38"/>
                    </a:lnTo>
                    <a:lnTo>
                      <a:pt x="142" y="42"/>
                    </a:lnTo>
                    <a:lnTo>
                      <a:pt x="142" y="46"/>
                    </a:lnTo>
                    <a:lnTo>
                      <a:pt x="142" y="48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38" y="60"/>
                    </a:lnTo>
                    <a:lnTo>
                      <a:pt x="138" y="64"/>
                    </a:lnTo>
                    <a:lnTo>
                      <a:pt x="138" y="6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0" y="68"/>
                    </a:lnTo>
                    <a:lnTo>
                      <a:pt x="126" y="68"/>
                    </a:lnTo>
                    <a:lnTo>
                      <a:pt x="126" y="64"/>
                    </a:lnTo>
                    <a:lnTo>
                      <a:pt x="126" y="60"/>
                    </a:lnTo>
                    <a:lnTo>
                      <a:pt x="122" y="60"/>
                    </a:lnTo>
                    <a:lnTo>
                      <a:pt x="118" y="56"/>
                    </a:lnTo>
                    <a:lnTo>
                      <a:pt x="118" y="52"/>
                    </a:lnTo>
                    <a:lnTo>
                      <a:pt x="118" y="48"/>
                    </a:lnTo>
                    <a:lnTo>
                      <a:pt x="114" y="46"/>
                    </a:lnTo>
                    <a:lnTo>
                      <a:pt x="112" y="42"/>
                    </a:lnTo>
                    <a:lnTo>
                      <a:pt x="112" y="38"/>
                    </a:lnTo>
                    <a:lnTo>
                      <a:pt x="112" y="34"/>
                    </a:lnTo>
                    <a:lnTo>
                      <a:pt x="112" y="30"/>
                    </a:lnTo>
                    <a:lnTo>
                      <a:pt x="108" y="30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12" y="42"/>
                    </a:lnTo>
                    <a:lnTo>
                      <a:pt x="112" y="46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4" y="52"/>
                    </a:lnTo>
                    <a:lnTo>
                      <a:pt x="114" y="56"/>
                    </a:lnTo>
                    <a:lnTo>
                      <a:pt x="118" y="60"/>
                    </a:lnTo>
                    <a:lnTo>
                      <a:pt x="118" y="64"/>
                    </a:lnTo>
                    <a:lnTo>
                      <a:pt x="122" y="64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68"/>
                    </a:lnTo>
                    <a:lnTo>
                      <a:pt x="122" y="72"/>
                    </a:lnTo>
                    <a:lnTo>
                      <a:pt x="122" y="74"/>
                    </a:lnTo>
                    <a:lnTo>
                      <a:pt x="126" y="74"/>
                    </a:lnTo>
                    <a:lnTo>
                      <a:pt x="126" y="78"/>
                    </a:lnTo>
                    <a:lnTo>
                      <a:pt x="126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8" y="104"/>
                    </a:lnTo>
                    <a:lnTo>
                      <a:pt x="138" y="108"/>
                    </a:lnTo>
                    <a:lnTo>
                      <a:pt x="142" y="112"/>
                    </a:lnTo>
                    <a:lnTo>
                      <a:pt x="142" y="116"/>
                    </a:lnTo>
                    <a:lnTo>
                      <a:pt x="142" y="120"/>
                    </a:lnTo>
                    <a:lnTo>
                      <a:pt x="144" y="120"/>
                    </a:lnTo>
                    <a:lnTo>
                      <a:pt x="144" y="124"/>
                    </a:lnTo>
                    <a:lnTo>
                      <a:pt x="144" y="128"/>
                    </a:lnTo>
                    <a:lnTo>
                      <a:pt x="148" y="130"/>
                    </a:lnTo>
                    <a:lnTo>
                      <a:pt x="148" y="134"/>
                    </a:lnTo>
                    <a:lnTo>
                      <a:pt x="152" y="134"/>
                    </a:lnTo>
                    <a:lnTo>
                      <a:pt x="152" y="138"/>
                    </a:lnTo>
                    <a:lnTo>
                      <a:pt x="156" y="138"/>
                    </a:lnTo>
                    <a:lnTo>
                      <a:pt x="152" y="138"/>
                    </a:lnTo>
                    <a:lnTo>
                      <a:pt x="152" y="142"/>
                    </a:lnTo>
                    <a:lnTo>
                      <a:pt x="152" y="146"/>
                    </a:lnTo>
                    <a:lnTo>
                      <a:pt x="152" y="150"/>
                    </a:lnTo>
                    <a:lnTo>
                      <a:pt x="152" y="154"/>
                    </a:lnTo>
                    <a:lnTo>
                      <a:pt x="152" y="158"/>
                    </a:lnTo>
                    <a:lnTo>
                      <a:pt x="156" y="158"/>
                    </a:lnTo>
                    <a:lnTo>
                      <a:pt x="156" y="160"/>
                    </a:lnTo>
                    <a:lnTo>
                      <a:pt x="160" y="160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8" y="168"/>
                    </a:lnTo>
                    <a:lnTo>
                      <a:pt x="168" y="172"/>
                    </a:lnTo>
                    <a:lnTo>
                      <a:pt x="170" y="172"/>
                    </a:lnTo>
                    <a:lnTo>
                      <a:pt x="168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4" y="172"/>
                    </a:lnTo>
                    <a:lnTo>
                      <a:pt x="142" y="172"/>
                    </a:lnTo>
                    <a:lnTo>
                      <a:pt x="134" y="172"/>
                    </a:lnTo>
                    <a:lnTo>
                      <a:pt x="130" y="172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8" y="172"/>
                    </a:lnTo>
                    <a:lnTo>
                      <a:pt x="112" y="172"/>
                    </a:lnTo>
                    <a:lnTo>
                      <a:pt x="108" y="172"/>
                    </a:lnTo>
                    <a:lnTo>
                      <a:pt x="100" y="172"/>
                    </a:lnTo>
                    <a:lnTo>
                      <a:pt x="96" y="172"/>
                    </a:lnTo>
                    <a:lnTo>
                      <a:pt x="92" y="172"/>
                    </a:lnTo>
                    <a:lnTo>
                      <a:pt x="96" y="172"/>
                    </a:lnTo>
                    <a:lnTo>
                      <a:pt x="92" y="168"/>
                    </a:lnTo>
                    <a:lnTo>
                      <a:pt x="92" y="172"/>
                    </a:lnTo>
                    <a:lnTo>
                      <a:pt x="88" y="172"/>
                    </a:lnTo>
                    <a:lnTo>
                      <a:pt x="86" y="172"/>
                    </a:lnTo>
                    <a:lnTo>
                      <a:pt x="82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66" y="172"/>
                    </a:lnTo>
                    <a:lnTo>
                      <a:pt x="62" y="172"/>
                    </a:lnTo>
                    <a:lnTo>
                      <a:pt x="58" y="172"/>
                    </a:lnTo>
                    <a:lnTo>
                      <a:pt x="56" y="172"/>
                    </a:lnTo>
                    <a:lnTo>
                      <a:pt x="48" y="172"/>
                    </a:lnTo>
                    <a:lnTo>
                      <a:pt x="42" y="172"/>
                    </a:lnTo>
                    <a:lnTo>
                      <a:pt x="38" y="172"/>
                    </a:lnTo>
                    <a:lnTo>
                      <a:pt x="34" y="172"/>
                    </a:lnTo>
                    <a:lnTo>
                      <a:pt x="30" y="172"/>
                    </a:lnTo>
                    <a:lnTo>
                      <a:pt x="26" y="172"/>
                    </a:lnTo>
                    <a:lnTo>
                      <a:pt x="22" y="172"/>
                    </a:lnTo>
                    <a:lnTo>
                      <a:pt x="16" y="172"/>
                    </a:lnTo>
                    <a:lnTo>
                      <a:pt x="8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4" y="146"/>
                    </a:lnTo>
                    <a:lnTo>
                      <a:pt x="4" y="138"/>
                    </a:lnTo>
                    <a:lnTo>
                      <a:pt x="4" y="130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4" y="112"/>
                    </a:lnTo>
                    <a:lnTo>
                      <a:pt x="4" y="102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8" y="16"/>
                    </a:lnTo>
                    <a:lnTo>
                      <a:pt x="62" y="16"/>
                    </a:lnTo>
                    <a:lnTo>
                      <a:pt x="66" y="12"/>
                    </a:lnTo>
                    <a:lnTo>
                      <a:pt x="70" y="12"/>
                    </a:lnTo>
                    <a:lnTo>
                      <a:pt x="70" y="8"/>
                    </a:lnTo>
                    <a:lnTo>
                      <a:pt x="74" y="8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78" y="4"/>
                    </a:lnTo>
                    <a:lnTo>
                      <a:pt x="78" y="0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8" y="4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4" name="Freeform 143">
                <a:extLst>
                  <a:ext uri="{FF2B5EF4-FFF2-40B4-BE49-F238E27FC236}">
                    <a16:creationId xmlns:a16="http://schemas.microsoft.com/office/drawing/2014/main" id="{DDE3BF81-A0C7-4475-BDA6-ACE98130733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1525" y="4454593"/>
                <a:ext cx="66675" cy="79375"/>
              </a:xfrm>
              <a:custGeom>
                <a:avLst/>
                <a:gdLst>
                  <a:gd name="T0" fmla="*/ 28 w 42"/>
                  <a:gd name="T1" fmla="*/ 50 h 50"/>
                  <a:gd name="T2" fmla="*/ 24 w 42"/>
                  <a:gd name="T3" fmla="*/ 50 h 50"/>
                  <a:gd name="T4" fmla="*/ 24 w 42"/>
                  <a:gd name="T5" fmla="*/ 50 h 50"/>
                  <a:gd name="T6" fmla="*/ 20 w 42"/>
                  <a:gd name="T7" fmla="*/ 50 h 50"/>
                  <a:gd name="T8" fmla="*/ 20 w 42"/>
                  <a:gd name="T9" fmla="*/ 50 h 50"/>
                  <a:gd name="T10" fmla="*/ 20 w 42"/>
                  <a:gd name="T11" fmla="*/ 46 h 50"/>
                  <a:gd name="T12" fmla="*/ 16 w 42"/>
                  <a:gd name="T13" fmla="*/ 50 h 50"/>
                  <a:gd name="T14" fmla="*/ 16 w 42"/>
                  <a:gd name="T15" fmla="*/ 46 h 50"/>
                  <a:gd name="T16" fmla="*/ 16 w 42"/>
                  <a:gd name="T17" fmla="*/ 46 h 50"/>
                  <a:gd name="T18" fmla="*/ 16 w 42"/>
                  <a:gd name="T19" fmla="*/ 42 h 50"/>
                  <a:gd name="T20" fmla="*/ 16 w 42"/>
                  <a:gd name="T21" fmla="*/ 38 h 50"/>
                  <a:gd name="T22" fmla="*/ 20 w 42"/>
                  <a:gd name="T23" fmla="*/ 38 h 50"/>
                  <a:gd name="T24" fmla="*/ 20 w 42"/>
                  <a:gd name="T25" fmla="*/ 34 h 50"/>
                  <a:gd name="T26" fmla="*/ 20 w 42"/>
                  <a:gd name="T27" fmla="*/ 28 h 50"/>
                  <a:gd name="T28" fmla="*/ 20 w 42"/>
                  <a:gd name="T29" fmla="*/ 28 h 50"/>
                  <a:gd name="T30" fmla="*/ 24 w 42"/>
                  <a:gd name="T31" fmla="*/ 32 h 50"/>
                  <a:gd name="T32" fmla="*/ 28 w 42"/>
                  <a:gd name="T33" fmla="*/ 32 h 50"/>
                  <a:gd name="T34" fmla="*/ 30 w 42"/>
                  <a:gd name="T35" fmla="*/ 32 h 50"/>
                  <a:gd name="T36" fmla="*/ 30 w 42"/>
                  <a:gd name="T37" fmla="*/ 32 h 50"/>
                  <a:gd name="T38" fmla="*/ 38 w 42"/>
                  <a:gd name="T39" fmla="*/ 32 h 50"/>
                  <a:gd name="T40" fmla="*/ 42 w 42"/>
                  <a:gd name="T41" fmla="*/ 32 h 50"/>
                  <a:gd name="T42" fmla="*/ 42 w 42"/>
                  <a:gd name="T43" fmla="*/ 34 h 50"/>
                  <a:gd name="T44" fmla="*/ 42 w 42"/>
                  <a:gd name="T45" fmla="*/ 38 h 50"/>
                  <a:gd name="T46" fmla="*/ 42 w 42"/>
                  <a:gd name="T47" fmla="*/ 50 h 50"/>
                  <a:gd name="T48" fmla="*/ 34 w 42"/>
                  <a:gd name="T49" fmla="*/ 50 h 50"/>
                  <a:gd name="T50" fmla="*/ 30 w 42"/>
                  <a:gd name="T51" fmla="*/ 50 h 50"/>
                  <a:gd name="T52" fmla="*/ 30 w 42"/>
                  <a:gd name="T53" fmla="*/ 50 h 50"/>
                  <a:gd name="T54" fmla="*/ 4 w 42"/>
                  <a:gd name="T55" fmla="*/ 8 h 50"/>
                  <a:gd name="T56" fmla="*/ 4 w 42"/>
                  <a:gd name="T57" fmla="*/ 8 h 50"/>
                  <a:gd name="T58" fmla="*/ 0 w 42"/>
                  <a:gd name="T59" fmla="*/ 12 h 50"/>
                  <a:gd name="T60" fmla="*/ 0 w 42"/>
                  <a:gd name="T61" fmla="*/ 8 h 50"/>
                  <a:gd name="T62" fmla="*/ 0 w 42"/>
                  <a:gd name="T63" fmla="*/ 8 h 50"/>
                  <a:gd name="T64" fmla="*/ 0 w 42"/>
                  <a:gd name="T65" fmla="*/ 8 h 50"/>
                  <a:gd name="T66" fmla="*/ 0 w 42"/>
                  <a:gd name="T67" fmla="*/ 8 h 50"/>
                  <a:gd name="T68" fmla="*/ 0 w 42"/>
                  <a:gd name="T69" fmla="*/ 8 h 50"/>
                  <a:gd name="T70" fmla="*/ 4 w 42"/>
                  <a:gd name="T71" fmla="*/ 8 h 50"/>
                  <a:gd name="T72" fmla="*/ 4 w 42"/>
                  <a:gd name="T73" fmla="*/ 4 h 50"/>
                  <a:gd name="T74" fmla="*/ 4 w 42"/>
                  <a:gd name="T75" fmla="*/ 4 h 50"/>
                  <a:gd name="T76" fmla="*/ 8 w 42"/>
                  <a:gd name="T77" fmla="*/ 0 h 50"/>
                  <a:gd name="T78" fmla="*/ 8 w 42"/>
                  <a:gd name="T79" fmla="*/ 4 h 50"/>
                  <a:gd name="T80" fmla="*/ 8 w 42"/>
                  <a:gd name="T81" fmla="*/ 4 h 50"/>
                  <a:gd name="T82" fmla="*/ 8 w 42"/>
                  <a:gd name="T83" fmla="*/ 4 h 50"/>
                  <a:gd name="T84" fmla="*/ 8 w 42"/>
                  <a:gd name="T85" fmla="*/ 4 h 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42" h="50">
                    <a:moveTo>
                      <a:pt x="30" y="50"/>
                    </a:move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8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50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46"/>
                    </a:lnTo>
                    <a:lnTo>
                      <a:pt x="20" y="50"/>
                    </a:lnTo>
                    <a:lnTo>
                      <a:pt x="16" y="50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20" y="38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0" y="32"/>
                    </a:lnTo>
                    <a:lnTo>
                      <a:pt x="38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42"/>
                    </a:lnTo>
                    <a:lnTo>
                      <a:pt x="42" y="50"/>
                    </a:lnTo>
                    <a:lnTo>
                      <a:pt x="42" y="50"/>
                    </a:lnTo>
                    <a:lnTo>
                      <a:pt x="38" y="50"/>
                    </a:lnTo>
                    <a:lnTo>
                      <a:pt x="34" y="50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lnTo>
                      <a:pt x="30" y="50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5" name="Freeform 144">
                <a:extLst>
                  <a:ext uri="{FF2B5EF4-FFF2-40B4-BE49-F238E27FC236}">
                    <a16:creationId xmlns:a16="http://schemas.microsoft.com/office/drawing/2014/main" id="{9D281E80-137B-40B8-9087-A33EE557A20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210175" y="4064068"/>
                <a:ext cx="155575" cy="158750"/>
              </a:xfrm>
              <a:custGeom>
                <a:avLst/>
                <a:gdLst>
                  <a:gd name="T0" fmla="*/ 42 w 98"/>
                  <a:gd name="T1" fmla="*/ 34 h 100"/>
                  <a:gd name="T2" fmla="*/ 46 w 98"/>
                  <a:gd name="T3" fmla="*/ 44 h 100"/>
                  <a:gd name="T4" fmla="*/ 46 w 98"/>
                  <a:gd name="T5" fmla="*/ 44 h 100"/>
                  <a:gd name="T6" fmla="*/ 48 w 98"/>
                  <a:gd name="T7" fmla="*/ 52 h 100"/>
                  <a:gd name="T8" fmla="*/ 48 w 98"/>
                  <a:gd name="T9" fmla="*/ 48 h 100"/>
                  <a:gd name="T10" fmla="*/ 48 w 98"/>
                  <a:gd name="T11" fmla="*/ 44 h 100"/>
                  <a:gd name="T12" fmla="*/ 52 w 98"/>
                  <a:gd name="T13" fmla="*/ 52 h 100"/>
                  <a:gd name="T14" fmla="*/ 56 w 98"/>
                  <a:gd name="T15" fmla="*/ 52 h 100"/>
                  <a:gd name="T16" fmla="*/ 64 w 98"/>
                  <a:gd name="T17" fmla="*/ 60 h 100"/>
                  <a:gd name="T18" fmla="*/ 72 w 98"/>
                  <a:gd name="T19" fmla="*/ 68 h 100"/>
                  <a:gd name="T20" fmla="*/ 74 w 98"/>
                  <a:gd name="T21" fmla="*/ 72 h 100"/>
                  <a:gd name="T22" fmla="*/ 82 w 98"/>
                  <a:gd name="T23" fmla="*/ 74 h 100"/>
                  <a:gd name="T24" fmla="*/ 82 w 98"/>
                  <a:gd name="T25" fmla="*/ 78 h 100"/>
                  <a:gd name="T26" fmla="*/ 86 w 98"/>
                  <a:gd name="T27" fmla="*/ 82 h 100"/>
                  <a:gd name="T28" fmla="*/ 90 w 98"/>
                  <a:gd name="T29" fmla="*/ 86 h 100"/>
                  <a:gd name="T30" fmla="*/ 94 w 98"/>
                  <a:gd name="T31" fmla="*/ 94 h 100"/>
                  <a:gd name="T32" fmla="*/ 98 w 98"/>
                  <a:gd name="T33" fmla="*/ 94 h 100"/>
                  <a:gd name="T34" fmla="*/ 90 w 98"/>
                  <a:gd name="T35" fmla="*/ 100 h 100"/>
                  <a:gd name="T36" fmla="*/ 86 w 98"/>
                  <a:gd name="T37" fmla="*/ 98 h 100"/>
                  <a:gd name="T38" fmla="*/ 86 w 98"/>
                  <a:gd name="T39" fmla="*/ 98 h 100"/>
                  <a:gd name="T40" fmla="*/ 82 w 98"/>
                  <a:gd name="T41" fmla="*/ 94 h 100"/>
                  <a:gd name="T42" fmla="*/ 78 w 98"/>
                  <a:gd name="T43" fmla="*/ 90 h 100"/>
                  <a:gd name="T44" fmla="*/ 78 w 98"/>
                  <a:gd name="T45" fmla="*/ 86 h 100"/>
                  <a:gd name="T46" fmla="*/ 74 w 98"/>
                  <a:gd name="T47" fmla="*/ 82 h 100"/>
                  <a:gd name="T48" fmla="*/ 68 w 98"/>
                  <a:gd name="T49" fmla="*/ 78 h 100"/>
                  <a:gd name="T50" fmla="*/ 68 w 98"/>
                  <a:gd name="T51" fmla="*/ 74 h 100"/>
                  <a:gd name="T52" fmla="*/ 64 w 98"/>
                  <a:gd name="T53" fmla="*/ 68 h 100"/>
                  <a:gd name="T54" fmla="*/ 60 w 98"/>
                  <a:gd name="T55" fmla="*/ 68 h 100"/>
                  <a:gd name="T56" fmla="*/ 56 w 98"/>
                  <a:gd name="T57" fmla="*/ 64 h 100"/>
                  <a:gd name="T58" fmla="*/ 52 w 98"/>
                  <a:gd name="T59" fmla="*/ 64 h 100"/>
                  <a:gd name="T60" fmla="*/ 48 w 98"/>
                  <a:gd name="T61" fmla="*/ 64 h 100"/>
                  <a:gd name="T62" fmla="*/ 42 w 98"/>
                  <a:gd name="T63" fmla="*/ 64 h 100"/>
                  <a:gd name="T64" fmla="*/ 38 w 98"/>
                  <a:gd name="T65" fmla="*/ 60 h 100"/>
                  <a:gd name="T66" fmla="*/ 34 w 98"/>
                  <a:gd name="T67" fmla="*/ 64 h 100"/>
                  <a:gd name="T68" fmla="*/ 26 w 98"/>
                  <a:gd name="T69" fmla="*/ 60 h 100"/>
                  <a:gd name="T70" fmla="*/ 22 w 98"/>
                  <a:gd name="T71" fmla="*/ 56 h 100"/>
                  <a:gd name="T72" fmla="*/ 18 w 98"/>
                  <a:gd name="T73" fmla="*/ 72 h 100"/>
                  <a:gd name="T74" fmla="*/ 12 w 98"/>
                  <a:gd name="T75" fmla="*/ 64 h 100"/>
                  <a:gd name="T76" fmla="*/ 12 w 98"/>
                  <a:gd name="T77" fmla="*/ 68 h 100"/>
                  <a:gd name="T78" fmla="*/ 4 w 98"/>
                  <a:gd name="T79" fmla="*/ 68 h 100"/>
                  <a:gd name="T80" fmla="*/ 0 w 98"/>
                  <a:gd name="T81" fmla="*/ 52 h 100"/>
                  <a:gd name="T82" fmla="*/ 4 w 98"/>
                  <a:gd name="T83" fmla="*/ 42 h 100"/>
                  <a:gd name="T84" fmla="*/ 8 w 98"/>
                  <a:gd name="T85" fmla="*/ 34 h 100"/>
                  <a:gd name="T86" fmla="*/ 8 w 98"/>
                  <a:gd name="T87" fmla="*/ 26 h 100"/>
                  <a:gd name="T88" fmla="*/ 8 w 98"/>
                  <a:gd name="T89" fmla="*/ 18 h 100"/>
                  <a:gd name="T90" fmla="*/ 16 w 98"/>
                  <a:gd name="T91" fmla="*/ 18 h 100"/>
                  <a:gd name="T92" fmla="*/ 16 w 98"/>
                  <a:gd name="T93" fmla="*/ 16 h 100"/>
                  <a:gd name="T94" fmla="*/ 22 w 98"/>
                  <a:gd name="T95" fmla="*/ 12 h 100"/>
                  <a:gd name="T96" fmla="*/ 30 w 98"/>
                  <a:gd name="T97" fmla="*/ 8 h 100"/>
                  <a:gd name="T98" fmla="*/ 34 w 98"/>
                  <a:gd name="T99" fmla="*/ 4 h 100"/>
                  <a:gd name="T100" fmla="*/ 38 w 98"/>
                  <a:gd name="T101" fmla="*/ 16 h 100"/>
                  <a:gd name="T102" fmla="*/ 42 w 98"/>
                  <a:gd name="T103" fmla="*/ 26 h 100"/>
                  <a:gd name="T104" fmla="*/ 42 w 98"/>
                  <a:gd name="T105" fmla="*/ 30 h 100"/>
                  <a:gd name="T106" fmla="*/ 52 w 98"/>
                  <a:gd name="T107" fmla="*/ 42 h 100"/>
                  <a:gd name="T108" fmla="*/ 52 w 98"/>
                  <a:gd name="T109" fmla="*/ 42 h 100"/>
                  <a:gd name="T110" fmla="*/ 56 w 98"/>
                  <a:gd name="T111" fmla="*/ 42 h 100"/>
                  <a:gd name="T112" fmla="*/ 56 w 98"/>
                  <a:gd name="T113" fmla="*/ 42 h 100"/>
                  <a:gd name="T114" fmla="*/ 56 w 98"/>
                  <a:gd name="T115" fmla="*/ 44 h 100"/>
                  <a:gd name="T116" fmla="*/ 52 w 98"/>
                  <a:gd name="T117" fmla="*/ 42 h 100"/>
                  <a:gd name="T118" fmla="*/ 52 w 98"/>
                  <a:gd name="T119" fmla="*/ 42 h 100"/>
                  <a:gd name="T120" fmla="*/ 52 w 98"/>
                  <a:gd name="T121" fmla="*/ 42 h 100"/>
                  <a:gd name="T122" fmla="*/ 52 w 98"/>
                  <a:gd name="T123" fmla="*/ 38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98" h="100">
                    <a:moveTo>
                      <a:pt x="42" y="30"/>
                    </a:moveTo>
                    <a:lnTo>
                      <a:pt x="42" y="30"/>
                    </a:lnTo>
                    <a:lnTo>
                      <a:pt x="42" y="30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4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2" y="38"/>
                    </a:lnTo>
                    <a:lnTo>
                      <a:pt x="46" y="42"/>
                    </a:lnTo>
                    <a:lnTo>
                      <a:pt x="46" y="42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6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8"/>
                    </a:lnTo>
                    <a:lnTo>
                      <a:pt x="74" y="68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4" y="72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2" y="74"/>
                    </a:lnTo>
                    <a:lnTo>
                      <a:pt x="82" y="74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2" y="78"/>
                    </a:lnTo>
                    <a:lnTo>
                      <a:pt x="86" y="78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2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86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4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4" y="90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8" y="94"/>
                    </a:lnTo>
                    <a:lnTo>
                      <a:pt x="94" y="94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100"/>
                    </a:lnTo>
                    <a:lnTo>
                      <a:pt x="90" y="100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90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6" y="98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72" y="82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4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60"/>
                    </a:lnTo>
                    <a:lnTo>
                      <a:pt x="18" y="64"/>
                    </a:lnTo>
                    <a:lnTo>
                      <a:pt x="18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  <a:moveTo>
                      <a:pt x="52" y="38"/>
                    </a:move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2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6" name="Freeform 145">
                <a:extLst>
                  <a:ext uri="{FF2B5EF4-FFF2-40B4-BE49-F238E27FC236}">
                    <a16:creationId xmlns:a16="http://schemas.microsoft.com/office/drawing/2014/main" id="{73A44191-7D68-4BA9-8A44-E66094B0D0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33975" y="4152968"/>
                <a:ext cx="336550" cy="314325"/>
              </a:xfrm>
              <a:custGeom>
                <a:avLst/>
                <a:gdLst>
                  <a:gd name="T0" fmla="*/ 172 w 212"/>
                  <a:gd name="T1" fmla="*/ 172 h 198"/>
                  <a:gd name="T2" fmla="*/ 152 w 212"/>
                  <a:gd name="T3" fmla="*/ 172 h 198"/>
                  <a:gd name="T4" fmla="*/ 142 w 212"/>
                  <a:gd name="T5" fmla="*/ 176 h 198"/>
                  <a:gd name="T6" fmla="*/ 134 w 212"/>
                  <a:gd name="T7" fmla="*/ 184 h 198"/>
                  <a:gd name="T8" fmla="*/ 122 w 212"/>
                  <a:gd name="T9" fmla="*/ 188 h 198"/>
                  <a:gd name="T10" fmla="*/ 108 w 212"/>
                  <a:gd name="T11" fmla="*/ 184 h 198"/>
                  <a:gd name="T12" fmla="*/ 96 w 212"/>
                  <a:gd name="T13" fmla="*/ 194 h 198"/>
                  <a:gd name="T14" fmla="*/ 90 w 212"/>
                  <a:gd name="T15" fmla="*/ 194 h 198"/>
                  <a:gd name="T16" fmla="*/ 78 w 212"/>
                  <a:gd name="T17" fmla="*/ 194 h 198"/>
                  <a:gd name="T18" fmla="*/ 60 w 212"/>
                  <a:gd name="T19" fmla="*/ 184 h 198"/>
                  <a:gd name="T20" fmla="*/ 48 w 212"/>
                  <a:gd name="T21" fmla="*/ 180 h 198"/>
                  <a:gd name="T22" fmla="*/ 40 w 212"/>
                  <a:gd name="T23" fmla="*/ 168 h 198"/>
                  <a:gd name="T24" fmla="*/ 32 w 212"/>
                  <a:gd name="T25" fmla="*/ 162 h 198"/>
                  <a:gd name="T26" fmla="*/ 30 w 212"/>
                  <a:gd name="T27" fmla="*/ 150 h 198"/>
                  <a:gd name="T28" fmla="*/ 22 w 212"/>
                  <a:gd name="T29" fmla="*/ 142 h 198"/>
                  <a:gd name="T30" fmla="*/ 14 w 212"/>
                  <a:gd name="T31" fmla="*/ 132 h 198"/>
                  <a:gd name="T32" fmla="*/ 4 w 212"/>
                  <a:gd name="T33" fmla="*/ 124 h 198"/>
                  <a:gd name="T34" fmla="*/ 4 w 212"/>
                  <a:gd name="T35" fmla="*/ 112 h 198"/>
                  <a:gd name="T36" fmla="*/ 14 w 212"/>
                  <a:gd name="T37" fmla="*/ 110 h 198"/>
                  <a:gd name="T38" fmla="*/ 18 w 212"/>
                  <a:gd name="T39" fmla="*/ 90 h 198"/>
                  <a:gd name="T40" fmla="*/ 18 w 212"/>
                  <a:gd name="T41" fmla="*/ 76 h 198"/>
                  <a:gd name="T42" fmla="*/ 30 w 212"/>
                  <a:gd name="T43" fmla="*/ 72 h 198"/>
                  <a:gd name="T44" fmla="*/ 30 w 212"/>
                  <a:gd name="T45" fmla="*/ 56 h 198"/>
                  <a:gd name="T46" fmla="*/ 36 w 212"/>
                  <a:gd name="T47" fmla="*/ 42 h 198"/>
                  <a:gd name="T48" fmla="*/ 44 w 212"/>
                  <a:gd name="T49" fmla="*/ 34 h 198"/>
                  <a:gd name="T50" fmla="*/ 48 w 212"/>
                  <a:gd name="T51" fmla="*/ 16 h 198"/>
                  <a:gd name="T52" fmla="*/ 60 w 212"/>
                  <a:gd name="T53" fmla="*/ 8 h 198"/>
                  <a:gd name="T54" fmla="*/ 66 w 212"/>
                  <a:gd name="T55" fmla="*/ 16 h 198"/>
                  <a:gd name="T56" fmla="*/ 70 w 212"/>
                  <a:gd name="T57" fmla="*/ 4 h 198"/>
                  <a:gd name="T58" fmla="*/ 82 w 212"/>
                  <a:gd name="T59" fmla="*/ 8 h 198"/>
                  <a:gd name="T60" fmla="*/ 90 w 212"/>
                  <a:gd name="T61" fmla="*/ 8 h 198"/>
                  <a:gd name="T62" fmla="*/ 96 w 212"/>
                  <a:gd name="T63" fmla="*/ 8 h 198"/>
                  <a:gd name="T64" fmla="*/ 108 w 212"/>
                  <a:gd name="T65" fmla="*/ 12 h 198"/>
                  <a:gd name="T66" fmla="*/ 116 w 212"/>
                  <a:gd name="T67" fmla="*/ 20 h 198"/>
                  <a:gd name="T68" fmla="*/ 122 w 212"/>
                  <a:gd name="T69" fmla="*/ 30 h 198"/>
                  <a:gd name="T70" fmla="*/ 130 w 212"/>
                  <a:gd name="T71" fmla="*/ 38 h 198"/>
                  <a:gd name="T72" fmla="*/ 130 w 212"/>
                  <a:gd name="T73" fmla="*/ 46 h 198"/>
                  <a:gd name="T74" fmla="*/ 122 w 212"/>
                  <a:gd name="T75" fmla="*/ 60 h 198"/>
                  <a:gd name="T76" fmla="*/ 130 w 212"/>
                  <a:gd name="T77" fmla="*/ 68 h 198"/>
                  <a:gd name="T78" fmla="*/ 142 w 212"/>
                  <a:gd name="T79" fmla="*/ 72 h 198"/>
                  <a:gd name="T80" fmla="*/ 142 w 212"/>
                  <a:gd name="T81" fmla="*/ 82 h 198"/>
                  <a:gd name="T82" fmla="*/ 148 w 212"/>
                  <a:gd name="T83" fmla="*/ 94 h 198"/>
                  <a:gd name="T84" fmla="*/ 164 w 212"/>
                  <a:gd name="T85" fmla="*/ 106 h 198"/>
                  <a:gd name="T86" fmla="*/ 186 w 212"/>
                  <a:gd name="T87" fmla="*/ 112 h 198"/>
                  <a:gd name="T88" fmla="*/ 198 w 212"/>
                  <a:gd name="T89" fmla="*/ 120 h 198"/>
                  <a:gd name="T90" fmla="*/ 208 w 212"/>
                  <a:gd name="T91" fmla="*/ 124 h 198"/>
                  <a:gd name="T92" fmla="*/ 186 w 212"/>
                  <a:gd name="T93" fmla="*/ 150 h 198"/>
                  <a:gd name="T94" fmla="*/ 178 w 212"/>
                  <a:gd name="T95" fmla="*/ 162 h 1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212" h="198">
                    <a:moveTo>
                      <a:pt x="178" y="162"/>
                    </a:moveTo>
                    <a:lnTo>
                      <a:pt x="176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4" y="172"/>
                    </a:lnTo>
                    <a:lnTo>
                      <a:pt x="160" y="172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48" y="172"/>
                    </a:lnTo>
                    <a:lnTo>
                      <a:pt x="148" y="176"/>
                    </a:lnTo>
                    <a:lnTo>
                      <a:pt x="146" y="176"/>
                    </a:lnTo>
                    <a:lnTo>
                      <a:pt x="142" y="176"/>
                    </a:lnTo>
                    <a:lnTo>
                      <a:pt x="142" y="180"/>
                    </a:lnTo>
                    <a:lnTo>
                      <a:pt x="142" y="184"/>
                    </a:lnTo>
                    <a:lnTo>
                      <a:pt x="138" y="184"/>
                    </a:lnTo>
                    <a:lnTo>
                      <a:pt x="134" y="184"/>
                    </a:lnTo>
                    <a:lnTo>
                      <a:pt x="130" y="184"/>
                    </a:lnTo>
                    <a:lnTo>
                      <a:pt x="130" y="188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88"/>
                    </a:lnTo>
                    <a:lnTo>
                      <a:pt x="116" y="188"/>
                    </a:lnTo>
                    <a:lnTo>
                      <a:pt x="112" y="184"/>
                    </a:lnTo>
                    <a:lnTo>
                      <a:pt x="108" y="184"/>
                    </a:lnTo>
                    <a:lnTo>
                      <a:pt x="104" y="188"/>
                    </a:lnTo>
                    <a:lnTo>
                      <a:pt x="100" y="188"/>
                    </a:lnTo>
                    <a:lnTo>
                      <a:pt x="96" y="192"/>
                    </a:lnTo>
                    <a:lnTo>
                      <a:pt x="96" y="194"/>
                    </a:lnTo>
                    <a:lnTo>
                      <a:pt x="92" y="194"/>
                    </a:lnTo>
                    <a:lnTo>
                      <a:pt x="92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8"/>
                    </a:lnTo>
                    <a:lnTo>
                      <a:pt x="86" y="194"/>
                    </a:lnTo>
                    <a:lnTo>
                      <a:pt x="82" y="194"/>
                    </a:lnTo>
                    <a:lnTo>
                      <a:pt x="78" y="194"/>
                    </a:lnTo>
                    <a:lnTo>
                      <a:pt x="74" y="194"/>
                    </a:lnTo>
                    <a:lnTo>
                      <a:pt x="70" y="194"/>
                    </a:lnTo>
                    <a:lnTo>
                      <a:pt x="70" y="192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68"/>
                    </a:lnTo>
                    <a:lnTo>
                      <a:pt x="40" y="164"/>
                    </a:lnTo>
                    <a:lnTo>
                      <a:pt x="36" y="164"/>
                    </a:lnTo>
                    <a:lnTo>
                      <a:pt x="32" y="164"/>
                    </a:lnTo>
                    <a:lnTo>
                      <a:pt x="32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0" y="154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18" y="138"/>
                    </a:lnTo>
                    <a:lnTo>
                      <a:pt x="18" y="136"/>
                    </a:lnTo>
                    <a:lnTo>
                      <a:pt x="14" y="132"/>
                    </a:lnTo>
                    <a:lnTo>
                      <a:pt x="14" y="128"/>
                    </a:lnTo>
                    <a:lnTo>
                      <a:pt x="10" y="124"/>
                    </a:lnTo>
                    <a:lnTo>
                      <a:pt x="6" y="124"/>
                    </a:lnTo>
                    <a:lnTo>
                      <a:pt x="4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6" y="112"/>
                    </a:lnTo>
                    <a:lnTo>
                      <a:pt x="10" y="112"/>
                    </a:lnTo>
                    <a:lnTo>
                      <a:pt x="14" y="112"/>
                    </a:lnTo>
                    <a:lnTo>
                      <a:pt x="14" y="110"/>
                    </a:lnTo>
                    <a:lnTo>
                      <a:pt x="18" y="106"/>
                    </a:lnTo>
                    <a:lnTo>
                      <a:pt x="18" y="102"/>
                    </a:lnTo>
                    <a:lnTo>
                      <a:pt x="14" y="94"/>
                    </a:lnTo>
                    <a:lnTo>
                      <a:pt x="18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0"/>
                    </a:lnTo>
                    <a:lnTo>
                      <a:pt x="18" y="76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26" y="72"/>
                    </a:lnTo>
                    <a:lnTo>
                      <a:pt x="30" y="72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32" y="54"/>
                    </a:lnTo>
                    <a:lnTo>
                      <a:pt x="32" y="50"/>
                    </a:lnTo>
                    <a:lnTo>
                      <a:pt x="36" y="42"/>
                    </a:lnTo>
                    <a:lnTo>
                      <a:pt x="36" y="38"/>
                    </a:lnTo>
                    <a:lnTo>
                      <a:pt x="40" y="38"/>
                    </a:lnTo>
                    <a:lnTo>
                      <a:pt x="44" y="38"/>
                    </a:lnTo>
                    <a:lnTo>
                      <a:pt x="44" y="34"/>
                    </a:lnTo>
                    <a:lnTo>
                      <a:pt x="48" y="26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8" y="16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2" y="8"/>
                    </a:lnTo>
                    <a:lnTo>
                      <a:pt x="62" y="12"/>
                    </a:lnTo>
                    <a:lnTo>
                      <a:pt x="62" y="16"/>
                    </a:lnTo>
                    <a:lnTo>
                      <a:pt x="66" y="16"/>
                    </a:lnTo>
                    <a:lnTo>
                      <a:pt x="66" y="8"/>
                    </a:lnTo>
                    <a:lnTo>
                      <a:pt x="70" y="4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4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90" y="4"/>
                    </a:lnTo>
                    <a:lnTo>
                      <a:pt x="90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20"/>
                    </a:lnTo>
                    <a:lnTo>
                      <a:pt x="116" y="24"/>
                    </a:lnTo>
                    <a:lnTo>
                      <a:pt x="118" y="26"/>
                    </a:lnTo>
                    <a:lnTo>
                      <a:pt x="122" y="26"/>
                    </a:lnTo>
                    <a:lnTo>
                      <a:pt x="122" y="30"/>
                    </a:lnTo>
                    <a:lnTo>
                      <a:pt x="126" y="30"/>
                    </a:lnTo>
                    <a:lnTo>
                      <a:pt x="126" y="34"/>
                    </a:lnTo>
                    <a:lnTo>
                      <a:pt x="130" y="34"/>
                    </a:lnTo>
                    <a:lnTo>
                      <a:pt x="130" y="38"/>
                    </a:lnTo>
                    <a:lnTo>
                      <a:pt x="130" y="42"/>
                    </a:lnTo>
                    <a:lnTo>
                      <a:pt x="134" y="42"/>
                    </a:lnTo>
                    <a:lnTo>
                      <a:pt x="134" y="46"/>
                    </a:lnTo>
                    <a:lnTo>
                      <a:pt x="130" y="46"/>
                    </a:lnTo>
                    <a:lnTo>
                      <a:pt x="130" y="50"/>
                    </a:lnTo>
                    <a:lnTo>
                      <a:pt x="126" y="54"/>
                    </a:lnTo>
                    <a:lnTo>
                      <a:pt x="126" y="56"/>
                    </a:lnTo>
                    <a:lnTo>
                      <a:pt x="122" y="60"/>
                    </a:lnTo>
                    <a:lnTo>
                      <a:pt x="126" y="60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30" y="68"/>
                    </a:lnTo>
                    <a:lnTo>
                      <a:pt x="134" y="68"/>
                    </a:lnTo>
                    <a:lnTo>
                      <a:pt x="138" y="68"/>
                    </a:lnTo>
                    <a:lnTo>
                      <a:pt x="142" y="68"/>
                    </a:lnTo>
                    <a:lnTo>
                      <a:pt x="142" y="72"/>
                    </a:lnTo>
                    <a:lnTo>
                      <a:pt x="138" y="72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42" y="82"/>
                    </a:lnTo>
                    <a:lnTo>
                      <a:pt x="142" y="86"/>
                    </a:lnTo>
                    <a:lnTo>
                      <a:pt x="146" y="86"/>
                    </a:lnTo>
                    <a:lnTo>
                      <a:pt x="146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102"/>
                    </a:lnTo>
                    <a:lnTo>
                      <a:pt x="164" y="106"/>
                    </a:lnTo>
                    <a:lnTo>
                      <a:pt x="172" y="110"/>
                    </a:lnTo>
                    <a:lnTo>
                      <a:pt x="176" y="110"/>
                    </a:lnTo>
                    <a:lnTo>
                      <a:pt x="178" y="112"/>
                    </a:lnTo>
                    <a:lnTo>
                      <a:pt x="186" y="112"/>
                    </a:lnTo>
                    <a:lnTo>
                      <a:pt x="190" y="116"/>
                    </a:lnTo>
                    <a:lnTo>
                      <a:pt x="194" y="116"/>
                    </a:lnTo>
                    <a:lnTo>
                      <a:pt x="198" y="116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8" y="120"/>
                    </a:lnTo>
                    <a:lnTo>
                      <a:pt x="212" y="120"/>
                    </a:lnTo>
                    <a:lnTo>
                      <a:pt x="208" y="124"/>
                    </a:lnTo>
                    <a:lnTo>
                      <a:pt x="204" y="128"/>
                    </a:lnTo>
                    <a:lnTo>
                      <a:pt x="198" y="136"/>
                    </a:lnTo>
                    <a:lnTo>
                      <a:pt x="194" y="142"/>
                    </a:lnTo>
                    <a:lnTo>
                      <a:pt x="186" y="150"/>
                    </a:lnTo>
                    <a:lnTo>
                      <a:pt x="186" y="154"/>
                    </a:lnTo>
                    <a:lnTo>
                      <a:pt x="182" y="154"/>
                    </a:lnTo>
                    <a:lnTo>
                      <a:pt x="178" y="158"/>
                    </a:lnTo>
                    <a:lnTo>
                      <a:pt x="178" y="162"/>
                    </a:lnTo>
                    <a:lnTo>
                      <a:pt x="178" y="162"/>
                    </a:lnTo>
                    <a:lnTo>
                      <a:pt x="178" y="16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7" name="Freeform 146">
                <a:extLst>
                  <a:ext uri="{FF2B5EF4-FFF2-40B4-BE49-F238E27FC236}">
                    <a16:creationId xmlns:a16="http://schemas.microsoft.com/office/drawing/2014/main" id="{2A6907A4-A19C-4574-BBAA-FF582F743D3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87875" y="4499043"/>
                <a:ext cx="133350" cy="165100"/>
              </a:xfrm>
              <a:custGeom>
                <a:avLst/>
                <a:gdLst>
                  <a:gd name="T0" fmla="*/ 46 w 84"/>
                  <a:gd name="T1" fmla="*/ 90 h 104"/>
                  <a:gd name="T2" fmla="*/ 46 w 84"/>
                  <a:gd name="T3" fmla="*/ 96 h 104"/>
                  <a:gd name="T4" fmla="*/ 46 w 84"/>
                  <a:gd name="T5" fmla="*/ 100 h 104"/>
                  <a:gd name="T6" fmla="*/ 42 w 84"/>
                  <a:gd name="T7" fmla="*/ 100 h 104"/>
                  <a:gd name="T8" fmla="*/ 34 w 84"/>
                  <a:gd name="T9" fmla="*/ 104 h 104"/>
                  <a:gd name="T10" fmla="*/ 30 w 84"/>
                  <a:gd name="T11" fmla="*/ 100 h 104"/>
                  <a:gd name="T12" fmla="*/ 26 w 84"/>
                  <a:gd name="T13" fmla="*/ 92 h 104"/>
                  <a:gd name="T14" fmla="*/ 20 w 84"/>
                  <a:gd name="T15" fmla="*/ 86 h 104"/>
                  <a:gd name="T16" fmla="*/ 16 w 84"/>
                  <a:gd name="T17" fmla="*/ 82 h 104"/>
                  <a:gd name="T18" fmla="*/ 20 w 84"/>
                  <a:gd name="T19" fmla="*/ 82 h 104"/>
                  <a:gd name="T20" fmla="*/ 16 w 84"/>
                  <a:gd name="T21" fmla="*/ 82 h 104"/>
                  <a:gd name="T22" fmla="*/ 12 w 84"/>
                  <a:gd name="T23" fmla="*/ 74 h 104"/>
                  <a:gd name="T24" fmla="*/ 12 w 84"/>
                  <a:gd name="T25" fmla="*/ 74 h 104"/>
                  <a:gd name="T26" fmla="*/ 8 w 84"/>
                  <a:gd name="T27" fmla="*/ 70 h 104"/>
                  <a:gd name="T28" fmla="*/ 8 w 84"/>
                  <a:gd name="T29" fmla="*/ 68 h 104"/>
                  <a:gd name="T30" fmla="*/ 4 w 84"/>
                  <a:gd name="T31" fmla="*/ 60 h 104"/>
                  <a:gd name="T32" fmla="*/ 12 w 84"/>
                  <a:gd name="T33" fmla="*/ 68 h 104"/>
                  <a:gd name="T34" fmla="*/ 12 w 84"/>
                  <a:gd name="T35" fmla="*/ 68 h 104"/>
                  <a:gd name="T36" fmla="*/ 8 w 84"/>
                  <a:gd name="T37" fmla="*/ 64 h 104"/>
                  <a:gd name="T38" fmla="*/ 4 w 84"/>
                  <a:gd name="T39" fmla="*/ 64 h 104"/>
                  <a:gd name="T40" fmla="*/ 0 w 84"/>
                  <a:gd name="T41" fmla="*/ 48 h 104"/>
                  <a:gd name="T42" fmla="*/ 4 w 84"/>
                  <a:gd name="T43" fmla="*/ 52 h 104"/>
                  <a:gd name="T44" fmla="*/ 8 w 84"/>
                  <a:gd name="T45" fmla="*/ 44 h 104"/>
                  <a:gd name="T46" fmla="*/ 8 w 84"/>
                  <a:gd name="T47" fmla="*/ 40 h 104"/>
                  <a:gd name="T48" fmla="*/ 8 w 84"/>
                  <a:gd name="T49" fmla="*/ 38 h 104"/>
                  <a:gd name="T50" fmla="*/ 12 w 84"/>
                  <a:gd name="T51" fmla="*/ 38 h 104"/>
                  <a:gd name="T52" fmla="*/ 16 w 84"/>
                  <a:gd name="T53" fmla="*/ 38 h 104"/>
                  <a:gd name="T54" fmla="*/ 12 w 84"/>
                  <a:gd name="T55" fmla="*/ 30 h 104"/>
                  <a:gd name="T56" fmla="*/ 12 w 84"/>
                  <a:gd name="T57" fmla="*/ 30 h 104"/>
                  <a:gd name="T58" fmla="*/ 16 w 84"/>
                  <a:gd name="T59" fmla="*/ 26 h 104"/>
                  <a:gd name="T60" fmla="*/ 16 w 84"/>
                  <a:gd name="T61" fmla="*/ 22 h 104"/>
                  <a:gd name="T62" fmla="*/ 20 w 84"/>
                  <a:gd name="T63" fmla="*/ 22 h 104"/>
                  <a:gd name="T64" fmla="*/ 26 w 84"/>
                  <a:gd name="T65" fmla="*/ 22 h 104"/>
                  <a:gd name="T66" fmla="*/ 38 w 84"/>
                  <a:gd name="T67" fmla="*/ 10 h 104"/>
                  <a:gd name="T68" fmla="*/ 38 w 84"/>
                  <a:gd name="T69" fmla="*/ 0 h 104"/>
                  <a:gd name="T70" fmla="*/ 54 w 84"/>
                  <a:gd name="T71" fmla="*/ 0 h 104"/>
                  <a:gd name="T72" fmla="*/ 64 w 84"/>
                  <a:gd name="T73" fmla="*/ 0 h 104"/>
                  <a:gd name="T74" fmla="*/ 64 w 84"/>
                  <a:gd name="T75" fmla="*/ 4 h 104"/>
                  <a:gd name="T76" fmla="*/ 64 w 84"/>
                  <a:gd name="T77" fmla="*/ 10 h 104"/>
                  <a:gd name="T78" fmla="*/ 64 w 84"/>
                  <a:gd name="T79" fmla="*/ 18 h 104"/>
                  <a:gd name="T80" fmla="*/ 72 w 84"/>
                  <a:gd name="T81" fmla="*/ 14 h 104"/>
                  <a:gd name="T82" fmla="*/ 80 w 84"/>
                  <a:gd name="T83" fmla="*/ 14 h 104"/>
                  <a:gd name="T84" fmla="*/ 84 w 84"/>
                  <a:gd name="T85" fmla="*/ 22 h 104"/>
                  <a:gd name="T86" fmla="*/ 76 w 84"/>
                  <a:gd name="T87" fmla="*/ 30 h 104"/>
                  <a:gd name="T88" fmla="*/ 76 w 84"/>
                  <a:gd name="T89" fmla="*/ 40 h 104"/>
                  <a:gd name="T90" fmla="*/ 80 w 84"/>
                  <a:gd name="T91" fmla="*/ 44 h 104"/>
                  <a:gd name="T92" fmla="*/ 84 w 84"/>
                  <a:gd name="T93" fmla="*/ 48 h 104"/>
                  <a:gd name="T94" fmla="*/ 84 w 84"/>
                  <a:gd name="T95" fmla="*/ 60 h 104"/>
                  <a:gd name="T96" fmla="*/ 84 w 84"/>
                  <a:gd name="T97" fmla="*/ 70 h 104"/>
                  <a:gd name="T98" fmla="*/ 80 w 84"/>
                  <a:gd name="T99" fmla="*/ 74 h 104"/>
                  <a:gd name="T100" fmla="*/ 76 w 84"/>
                  <a:gd name="T101" fmla="*/ 82 h 104"/>
                  <a:gd name="T102" fmla="*/ 72 w 84"/>
                  <a:gd name="T103" fmla="*/ 78 h 104"/>
                  <a:gd name="T104" fmla="*/ 64 w 84"/>
                  <a:gd name="T105" fmla="*/ 78 h 104"/>
                  <a:gd name="T106" fmla="*/ 60 w 84"/>
                  <a:gd name="T107" fmla="*/ 78 h 104"/>
                  <a:gd name="T108" fmla="*/ 56 w 84"/>
                  <a:gd name="T109" fmla="*/ 70 h 104"/>
                  <a:gd name="T110" fmla="*/ 54 w 84"/>
                  <a:gd name="T111" fmla="*/ 74 h 104"/>
                  <a:gd name="T112" fmla="*/ 50 w 84"/>
                  <a:gd name="T113" fmla="*/ 78 h 104"/>
                  <a:gd name="T114" fmla="*/ 42 w 84"/>
                  <a:gd name="T115" fmla="*/ 78 h 104"/>
                  <a:gd name="T116" fmla="*/ 42 w 84"/>
                  <a:gd name="T117" fmla="*/ 86 h 104"/>
                  <a:gd name="T118" fmla="*/ 4 w 84"/>
                  <a:gd name="T119" fmla="*/ 52 h 104"/>
                  <a:gd name="T120" fmla="*/ 4 w 84"/>
                  <a:gd name="T121" fmla="*/ 52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84" h="104">
                    <a:moveTo>
                      <a:pt x="42" y="86"/>
                    </a:moveTo>
                    <a:lnTo>
                      <a:pt x="42" y="86"/>
                    </a:lnTo>
                    <a:lnTo>
                      <a:pt x="42" y="90"/>
                    </a:lnTo>
                    <a:lnTo>
                      <a:pt x="42" y="90"/>
                    </a:lnTo>
                    <a:lnTo>
                      <a:pt x="42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2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2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96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6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42" y="100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100"/>
                    </a:lnTo>
                    <a:lnTo>
                      <a:pt x="30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6"/>
                    </a:lnTo>
                    <a:lnTo>
                      <a:pt x="26" y="92"/>
                    </a:lnTo>
                    <a:lnTo>
                      <a:pt x="26" y="92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4" y="90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12" y="70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70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12" y="34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20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4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0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72" y="18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76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4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2"/>
                    </a:lnTo>
                    <a:lnTo>
                      <a:pt x="84" y="26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80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3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4" y="70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4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78"/>
                    </a:lnTo>
                    <a:lnTo>
                      <a:pt x="80" y="82"/>
                    </a:lnTo>
                    <a:lnTo>
                      <a:pt x="80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82"/>
                    </a:lnTo>
                    <a:lnTo>
                      <a:pt x="76" y="78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4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8" y="82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0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4"/>
                    </a:lnTo>
                    <a:lnTo>
                      <a:pt x="54" y="78"/>
                    </a:lnTo>
                    <a:lnTo>
                      <a:pt x="54" y="78"/>
                    </a:lnTo>
                    <a:lnTo>
                      <a:pt x="50" y="82"/>
                    </a:lnTo>
                    <a:lnTo>
                      <a:pt x="50" y="82"/>
                    </a:lnTo>
                    <a:lnTo>
                      <a:pt x="50" y="78"/>
                    </a:lnTo>
                    <a:lnTo>
                      <a:pt x="50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78"/>
                    </a:lnTo>
                    <a:lnTo>
                      <a:pt x="46" y="82"/>
                    </a:lnTo>
                    <a:lnTo>
                      <a:pt x="46" y="82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78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42" y="86"/>
                    </a:lnTo>
                    <a:close/>
                    <a:moveTo>
                      <a:pt x="4" y="52"/>
                    </a:move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8" name="Freeform 147">
                <a:extLst>
                  <a:ext uri="{FF2B5EF4-FFF2-40B4-BE49-F238E27FC236}">
                    <a16:creationId xmlns:a16="http://schemas.microsoft.com/office/drawing/2014/main" id="{7231CFC3-E42A-4D81-B166-27661B9A9A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24350" y="4254568"/>
                <a:ext cx="98425" cy="177800"/>
              </a:xfrm>
              <a:custGeom>
                <a:avLst/>
                <a:gdLst>
                  <a:gd name="T0" fmla="*/ 0 w 62"/>
                  <a:gd name="T1" fmla="*/ 78 h 112"/>
                  <a:gd name="T2" fmla="*/ 0 w 62"/>
                  <a:gd name="T3" fmla="*/ 72 h 112"/>
                  <a:gd name="T4" fmla="*/ 4 w 62"/>
                  <a:gd name="T5" fmla="*/ 60 h 112"/>
                  <a:gd name="T6" fmla="*/ 10 w 62"/>
                  <a:gd name="T7" fmla="*/ 52 h 112"/>
                  <a:gd name="T8" fmla="*/ 6 w 62"/>
                  <a:gd name="T9" fmla="*/ 42 h 112"/>
                  <a:gd name="T10" fmla="*/ 6 w 62"/>
                  <a:gd name="T11" fmla="*/ 38 h 112"/>
                  <a:gd name="T12" fmla="*/ 6 w 62"/>
                  <a:gd name="T13" fmla="*/ 30 h 112"/>
                  <a:gd name="T14" fmla="*/ 6 w 62"/>
                  <a:gd name="T15" fmla="*/ 26 h 112"/>
                  <a:gd name="T16" fmla="*/ 4 w 62"/>
                  <a:gd name="T17" fmla="*/ 22 h 112"/>
                  <a:gd name="T18" fmla="*/ 4 w 62"/>
                  <a:gd name="T19" fmla="*/ 12 h 112"/>
                  <a:gd name="T20" fmla="*/ 4 w 62"/>
                  <a:gd name="T21" fmla="*/ 4 h 112"/>
                  <a:gd name="T22" fmla="*/ 22 w 62"/>
                  <a:gd name="T23" fmla="*/ 4 h 112"/>
                  <a:gd name="T24" fmla="*/ 34 w 62"/>
                  <a:gd name="T25" fmla="*/ 4 h 112"/>
                  <a:gd name="T26" fmla="*/ 40 w 62"/>
                  <a:gd name="T27" fmla="*/ 4 h 112"/>
                  <a:gd name="T28" fmla="*/ 44 w 62"/>
                  <a:gd name="T29" fmla="*/ 4 h 112"/>
                  <a:gd name="T30" fmla="*/ 44 w 62"/>
                  <a:gd name="T31" fmla="*/ 8 h 112"/>
                  <a:gd name="T32" fmla="*/ 44 w 62"/>
                  <a:gd name="T33" fmla="*/ 12 h 112"/>
                  <a:gd name="T34" fmla="*/ 48 w 62"/>
                  <a:gd name="T35" fmla="*/ 16 h 112"/>
                  <a:gd name="T36" fmla="*/ 52 w 62"/>
                  <a:gd name="T37" fmla="*/ 18 h 112"/>
                  <a:gd name="T38" fmla="*/ 48 w 62"/>
                  <a:gd name="T39" fmla="*/ 30 h 112"/>
                  <a:gd name="T40" fmla="*/ 52 w 62"/>
                  <a:gd name="T41" fmla="*/ 30 h 112"/>
                  <a:gd name="T42" fmla="*/ 52 w 62"/>
                  <a:gd name="T43" fmla="*/ 34 h 112"/>
                  <a:gd name="T44" fmla="*/ 52 w 62"/>
                  <a:gd name="T45" fmla="*/ 42 h 112"/>
                  <a:gd name="T46" fmla="*/ 52 w 62"/>
                  <a:gd name="T47" fmla="*/ 46 h 112"/>
                  <a:gd name="T48" fmla="*/ 56 w 62"/>
                  <a:gd name="T49" fmla="*/ 52 h 112"/>
                  <a:gd name="T50" fmla="*/ 52 w 62"/>
                  <a:gd name="T51" fmla="*/ 60 h 112"/>
                  <a:gd name="T52" fmla="*/ 52 w 62"/>
                  <a:gd name="T53" fmla="*/ 68 h 112"/>
                  <a:gd name="T54" fmla="*/ 52 w 62"/>
                  <a:gd name="T55" fmla="*/ 72 h 112"/>
                  <a:gd name="T56" fmla="*/ 52 w 62"/>
                  <a:gd name="T57" fmla="*/ 78 h 112"/>
                  <a:gd name="T58" fmla="*/ 56 w 62"/>
                  <a:gd name="T59" fmla="*/ 82 h 112"/>
                  <a:gd name="T60" fmla="*/ 60 w 62"/>
                  <a:gd name="T61" fmla="*/ 82 h 112"/>
                  <a:gd name="T62" fmla="*/ 62 w 62"/>
                  <a:gd name="T63" fmla="*/ 90 h 112"/>
                  <a:gd name="T64" fmla="*/ 60 w 62"/>
                  <a:gd name="T65" fmla="*/ 90 h 112"/>
                  <a:gd name="T66" fmla="*/ 56 w 62"/>
                  <a:gd name="T67" fmla="*/ 94 h 112"/>
                  <a:gd name="T68" fmla="*/ 52 w 62"/>
                  <a:gd name="T69" fmla="*/ 94 h 112"/>
                  <a:gd name="T70" fmla="*/ 52 w 62"/>
                  <a:gd name="T71" fmla="*/ 90 h 112"/>
                  <a:gd name="T72" fmla="*/ 48 w 62"/>
                  <a:gd name="T73" fmla="*/ 90 h 112"/>
                  <a:gd name="T74" fmla="*/ 48 w 62"/>
                  <a:gd name="T75" fmla="*/ 90 h 112"/>
                  <a:gd name="T76" fmla="*/ 52 w 62"/>
                  <a:gd name="T77" fmla="*/ 90 h 112"/>
                  <a:gd name="T78" fmla="*/ 52 w 62"/>
                  <a:gd name="T79" fmla="*/ 94 h 112"/>
                  <a:gd name="T80" fmla="*/ 48 w 62"/>
                  <a:gd name="T81" fmla="*/ 94 h 112"/>
                  <a:gd name="T82" fmla="*/ 40 w 62"/>
                  <a:gd name="T83" fmla="*/ 98 h 112"/>
                  <a:gd name="T84" fmla="*/ 36 w 62"/>
                  <a:gd name="T85" fmla="*/ 102 h 112"/>
                  <a:gd name="T86" fmla="*/ 34 w 62"/>
                  <a:gd name="T87" fmla="*/ 104 h 112"/>
                  <a:gd name="T88" fmla="*/ 30 w 62"/>
                  <a:gd name="T89" fmla="*/ 104 h 112"/>
                  <a:gd name="T90" fmla="*/ 22 w 62"/>
                  <a:gd name="T91" fmla="*/ 104 h 112"/>
                  <a:gd name="T92" fmla="*/ 18 w 62"/>
                  <a:gd name="T93" fmla="*/ 112 h 112"/>
                  <a:gd name="T94" fmla="*/ 10 w 62"/>
                  <a:gd name="T95" fmla="*/ 108 h 112"/>
                  <a:gd name="T96" fmla="*/ 6 w 62"/>
                  <a:gd name="T97" fmla="*/ 108 h 112"/>
                  <a:gd name="T98" fmla="*/ 0 w 62"/>
                  <a:gd name="T99" fmla="*/ 104 h 112"/>
                  <a:gd name="T100" fmla="*/ 6 w 62"/>
                  <a:gd name="T101" fmla="*/ 104 h 112"/>
                  <a:gd name="T102" fmla="*/ 4 w 62"/>
                  <a:gd name="T103" fmla="*/ 102 h 112"/>
                  <a:gd name="T104" fmla="*/ 4 w 62"/>
                  <a:gd name="T105" fmla="*/ 98 h 112"/>
                  <a:gd name="T106" fmla="*/ 0 w 62"/>
                  <a:gd name="T107" fmla="*/ 86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62" h="112">
                    <a:moveTo>
                      <a:pt x="0" y="86"/>
                    </a:move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6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6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6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48" y="18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48" y="42"/>
                    </a:lnTo>
                    <a:lnTo>
                      <a:pt x="48" y="42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6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56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0" y="86"/>
                    </a:lnTo>
                    <a:lnTo>
                      <a:pt x="62" y="86"/>
                    </a:lnTo>
                    <a:lnTo>
                      <a:pt x="62" y="86"/>
                    </a:lnTo>
                    <a:lnTo>
                      <a:pt x="62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56" y="94"/>
                    </a:lnTo>
                    <a:lnTo>
                      <a:pt x="52" y="94"/>
                    </a:lnTo>
                    <a:lnTo>
                      <a:pt x="52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8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40" y="98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6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2"/>
                    </a:lnTo>
                    <a:lnTo>
                      <a:pt x="34" y="104"/>
                    </a:lnTo>
                    <a:lnTo>
                      <a:pt x="34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18" y="108"/>
                    </a:lnTo>
                    <a:lnTo>
                      <a:pt x="18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4" y="112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10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6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6" y="104"/>
                    </a:lnTo>
                    <a:lnTo>
                      <a:pt x="4" y="102"/>
                    </a:lnTo>
                    <a:lnTo>
                      <a:pt x="4" y="102"/>
                    </a:lnTo>
                    <a:lnTo>
                      <a:pt x="6" y="102"/>
                    </a:lnTo>
                    <a:lnTo>
                      <a:pt x="6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4"/>
                    </a:lnTo>
                    <a:lnTo>
                      <a:pt x="4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09" name="Freeform 148">
                <a:extLst>
                  <a:ext uri="{FF2B5EF4-FFF2-40B4-BE49-F238E27FC236}">
                    <a16:creationId xmlns:a16="http://schemas.microsoft.com/office/drawing/2014/main" id="{20580D6C-E2F3-4B17-B77F-1394A8BB155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57650" y="4213293"/>
                <a:ext cx="165100" cy="155575"/>
              </a:xfrm>
              <a:custGeom>
                <a:avLst/>
                <a:gdLst>
                  <a:gd name="T0" fmla="*/ 96 w 104"/>
                  <a:gd name="T1" fmla="*/ 86 h 98"/>
                  <a:gd name="T2" fmla="*/ 92 w 104"/>
                  <a:gd name="T3" fmla="*/ 90 h 98"/>
                  <a:gd name="T4" fmla="*/ 90 w 104"/>
                  <a:gd name="T5" fmla="*/ 86 h 98"/>
                  <a:gd name="T6" fmla="*/ 86 w 104"/>
                  <a:gd name="T7" fmla="*/ 94 h 98"/>
                  <a:gd name="T8" fmla="*/ 82 w 104"/>
                  <a:gd name="T9" fmla="*/ 94 h 98"/>
                  <a:gd name="T10" fmla="*/ 78 w 104"/>
                  <a:gd name="T11" fmla="*/ 90 h 98"/>
                  <a:gd name="T12" fmla="*/ 78 w 104"/>
                  <a:gd name="T13" fmla="*/ 86 h 98"/>
                  <a:gd name="T14" fmla="*/ 74 w 104"/>
                  <a:gd name="T15" fmla="*/ 74 h 98"/>
                  <a:gd name="T16" fmla="*/ 66 w 104"/>
                  <a:gd name="T17" fmla="*/ 74 h 98"/>
                  <a:gd name="T18" fmla="*/ 60 w 104"/>
                  <a:gd name="T19" fmla="*/ 74 h 98"/>
                  <a:gd name="T20" fmla="*/ 64 w 104"/>
                  <a:gd name="T21" fmla="*/ 64 h 98"/>
                  <a:gd name="T22" fmla="*/ 60 w 104"/>
                  <a:gd name="T23" fmla="*/ 60 h 98"/>
                  <a:gd name="T24" fmla="*/ 56 w 104"/>
                  <a:gd name="T25" fmla="*/ 52 h 98"/>
                  <a:gd name="T26" fmla="*/ 48 w 104"/>
                  <a:gd name="T27" fmla="*/ 48 h 98"/>
                  <a:gd name="T28" fmla="*/ 40 w 104"/>
                  <a:gd name="T29" fmla="*/ 48 h 98"/>
                  <a:gd name="T30" fmla="*/ 34 w 104"/>
                  <a:gd name="T31" fmla="*/ 52 h 98"/>
                  <a:gd name="T32" fmla="*/ 30 w 104"/>
                  <a:gd name="T33" fmla="*/ 60 h 98"/>
                  <a:gd name="T34" fmla="*/ 26 w 104"/>
                  <a:gd name="T35" fmla="*/ 64 h 98"/>
                  <a:gd name="T36" fmla="*/ 22 w 104"/>
                  <a:gd name="T37" fmla="*/ 60 h 98"/>
                  <a:gd name="T38" fmla="*/ 18 w 104"/>
                  <a:gd name="T39" fmla="*/ 56 h 98"/>
                  <a:gd name="T40" fmla="*/ 18 w 104"/>
                  <a:gd name="T41" fmla="*/ 52 h 98"/>
                  <a:gd name="T42" fmla="*/ 18 w 104"/>
                  <a:gd name="T43" fmla="*/ 48 h 98"/>
                  <a:gd name="T44" fmla="*/ 14 w 104"/>
                  <a:gd name="T45" fmla="*/ 44 h 98"/>
                  <a:gd name="T46" fmla="*/ 8 w 104"/>
                  <a:gd name="T47" fmla="*/ 38 h 98"/>
                  <a:gd name="T48" fmla="*/ 8 w 104"/>
                  <a:gd name="T49" fmla="*/ 34 h 98"/>
                  <a:gd name="T50" fmla="*/ 4 w 104"/>
                  <a:gd name="T51" fmla="*/ 30 h 98"/>
                  <a:gd name="T52" fmla="*/ 0 w 104"/>
                  <a:gd name="T53" fmla="*/ 30 h 98"/>
                  <a:gd name="T54" fmla="*/ 0 w 104"/>
                  <a:gd name="T55" fmla="*/ 30 h 98"/>
                  <a:gd name="T56" fmla="*/ 4 w 104"/>
                  <a:gd name="T57" fmla="*/ 22 h 98"/>
                  <a:gd name="T58" fmla="*/ 8 w 104"/>
                  <a:gd name="T59" fmla="*/ 22 h 98"/>
                  <a:gd name="T60" fmla="*/ 14 w 104"/>
                  <a:gd name="T61" fmla="*/ 18 h 98"/>
                  <a:gd name="T62" fmla="*/ 14 w 104"/>
                  <a:gd name="T63" fmla="*/ 12 h 98"/>
                  <a:gd name="T64" fmla="*/ 18 w 104"/>
                  <a:gd name="T65" fmla="*/ 8 h 98"/>
                  <a:gd name="T66" fmla="*/ 18 w 104"/>
                  <a:gd name="T67" fmla="*/ 4 h 98"/>
                  <a:gd name="T68" fmla="*/ 26 w 104"/>
                  <a:gd name="T69" fmla="*/ 0 h 98"/>
                  <a:gd name="T70" fmla="*/ 30 w 104"/>
                  <a:gd name="T71" fmla="*/ 4 h 98"/>
                  <a:gd name="T72" fmla="*/ 36 w 104"/>
                  <a:gd name="T73" fmla="*/ 4 h 98"/>
                  <a:gd name="T74" fmla="*/ 40 w 104"/>
                  <a:gd name="T75" fmla="*/ 8 h 98"/>
                  <a:gd name="T76" fmla="*/ 48 w 104"/>
                  <a:gd name="T77" fmla="*/ 4 h 98"/>
                  <a:gd name="T78" fmla="*/ 48 w 104"/>
                  <a:gd name="T79" fmla="*/ 8 h 98"/>
                  <a:gd name="T80" fmla="*/ 52 w 104"/>
                  <a:gd name="T81" fmla="*/ 12 h 98"/>
                  <a:gd name="T82" fmla="*/ 60 w 104"/>
                  <a:gd name="T83" fmla="*/ 8 h 98"/>
                  <a:gd name="T84" fmla="*/ 64 w 104"/>
                  <a:gd name="T85" fmla="*/ 12 h 98"/>
                  <a:gd name="T86" fmla="*/ 74 w 104"/>
                  <a:gd name="T87" fmla="*/ 12 h 98"/>
                  <a:gd name="T88" fmla="*/ 78 w 104"/>
                  <a:gd name="T89" fmla="*/ 8 h 98"/>
                  <a:gd name="T90" fmla="*/ 82 w 104"/>
                  <a:gd name="T91" fmla="*/ 4 h 98"/>
                  <a:gd name="T92" fmla="*/ 86 w 104"/>
                  <a:gd name="T93" fmla="*/ 8 h 98"/>
                  <a:gd name="T94" fmla="*/ 86 w 104"/>
                  <a:gd name="T95" fmla="*/ 18 h 98"/>
                  <a:gd name="T96" fmla="*/ 90 w 104"/>
                  <a:gd name="T97" fmla="*/ 22 h 98"/>
                  <a:gd name="T98" fmla="*/ 92 w 104"/>
                  <a:gd name="T99" fmla="*/ 22 h 98"/>
                  <a:gd name="T100" fmla="*/ 90 w 104"/>
                  <a:gd name="T101" fmla="*/ 26 h 98"/>
                  <a:gd name="T102" fmla="*/ 96 w 104"/>
                  <a:gd name="T103" fmla="*/ 34 h 98"/>
                  <a:gd name="T104" fmla="*/ 100 w 104"/>
                  <a:gd name="T105" fmla="*/ 42 h 98"/>
                  <a:gd name="T106" fmla="*/ 96 w 104"/>
                  <a:gd name="T107" fmla="*/ 48 h 98"/>
                  <a:gd name="T108" fmla="*/ 96 w 104"/>
                  <a:gd name="T109" fmla="*/ 56 h 98"/>
                  <a:gd name="T110" fmla="*/ 100 w 104"/>
                  <a:gd name="T111" fmla="*/ 60 h 98"/>
                  <a:gd name="T112" fmla="*/ 100 w 104"/>
                  <a:gd name="T113" fmla="*/ 64 h 98"/>
                  <a:gd name="T114" fmla="*/ 100 w 104"/>
                  <a:gd name="T115" fmla="*/ 68 h 98"/>
                  <a:gd name="T116" fmla="*/ 104 w 104"/>
                  <a:gd name="T117" fmla="*/ 74 h 98"/>
                  <a:gd name="T118" fmla="*/ 96 w 104"/>
                  <a:gd name="T119" fmla="*/ 78 h 98"/>
                  <a:gd name="T120" fmla="*/ 100 w 104"/>
                  <a:gd name="T121" fmla="*/ 82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04" h="98">
                    <a:moveTo>
                      <a:pt x="100" y="82"/>
                    </a:moveTo>
                    <a:lnTo>
                      <a:pt x="100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2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86"/>
                    </a:lnTo>
                    <a:lnTo>
                      <a:pt x="92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86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0"/>
                    </a:lnTo>
                    <a:lnTo>
                      <a:pt x="90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6" y="94"/>
                    </a:lnTo>
                    <a:lnTo>
                      <a:pt x="82" y="94"/>
                    </a:lnTo>
                    <a:lnTo>
                      <a:pt x="82" y="98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4"/>
                    </a:lnTo>
                    <a:lnTo>
                      <a:pt x="82" y="90"/>
                    </a:lnTo>
                    <a:lnTo>
                      <a:pt x="78" y="90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4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90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82" y="86"/>
                    </a:lnTo>
                    <a:lnTo>
                      <a:pt x="78" y="86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82"/>
                    </a:lnTo>
                    <a:lnTo>
                      <a:pt x="78" y="78"/>
                    </a:lnTo>
                    <a:lnTo>
                      <a:pt x="78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4" y="74"/>
                    </a:lnTo>
                    <a:lnTo>
                      <a:pt x="74" y="72"/>
                    </a:lnTo>
                    <a:lnTo>
                      <a:pt x="70" y="72"/>
                    </a:lnTo>
                    <a:lnTo>
                      <a:pt x="70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6" y="74"/>
                    </a:lnTo>
                    <a:lnTo>
                      <a:pt x="66" y="72"/>
                    </a:lnTo>
                    <a:lnTo>
                      <a:pt x="66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0" y="74"/>
                    </a:lnTo>
                    <a:lnTo>
                      <a:pt x="60" y="74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4" y="56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4"/>
                    </a:lnTo>
                    <a:lnTo>
                      <a:pt x="30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4"/>
                    </a:lnTo>
                    <a:lnTo>
                      <a:pt x="26" y="64"/>
                    </a:lnTo>
                    <a:lnTo>
                      <a:pt x="26" y="60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22" y="56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4" y="38"/>
                    </a:lnTo>
                    <a:lnTo>
                      <a:pt x="4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8" y="18"/>
                    </a:lnTo>
                    <a:lnTo>
                      <a:pt x="18" y="18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8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6" y="12"/>
                    </a:lnTo>
                    <a:lnTo>
                      <a:pt x="66" y="8"/>
                    </a:lnTo>
                    <a:lnTo>
                      <a:pt x="66" y="8"/>
                    </a:lnTo>
                    <a:lnTo>
                      <a:pt x="70" y="8"/>
                    </a:lnTo>
                    <a:lnTo>
                      <a:pt x="70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4" y="12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78" y="4"/>
                    </a:lnTo>
                    <a:lnTo>
                      <a:pt x="78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86" y="8"/>
                    </a:lnTo>
                    <a:lnTo>
                      <a:pt x="90" y="12"/>
                    </a:lnTo>
                    <a:lnTo>
                      <a:pt x="90" y="16"/>
                    </a:lnTo>
                    <a:lnTo>
                      <a:pt x="90" y="16"/>
                    </a:lnTo>
                    <a:lnTo>
                      <a:pt x="86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18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0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2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0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2" y="34"/>
                    </a:lnTo>
                    <a:lnTo>
                      <a:pt x="96" y="38"/>
                    </a:lnTo>
                    <a:lnTo>
                      <a:pt x="96" y="38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96" y="42"/>
                    </a:lnTo>
                    <a:lnTo>
                      <a:pt x="100" y="42"/>
                    </a:lnTo>
                    <a:lnTo>
                      <a:pt x="100" y="42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100" y="56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0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4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4" y="74"/>
                    </a:lnTo>
                    <a:lnTo>
                      <a:pt x="100" y="74"/>
                    </a:lnTo>
                    <a:lnTo>
                      <a:pt x="100" y="74"/>
                    </a:lnTo>
                    <a:lnTo>
                      <a:pt x="100" y="72"/>
                    </a:lnTo>
                    <a:lnTo>
                      <a:pt x="96" y="72"/>
                    </a:lnTo>
                    <a:lnTo>
                      <a:pt x="96" y="74"/>
                    </a:lnTo>
                    <a:lnTo>
                      <a:pt x="96" y="74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96" y="78"/>
                    </a:lnTo>
                    <a:lnTo>
                      <a:pt x="100" y="78"/>
                    </a:lnTo>
                    <a:lnTo>
                      <a:pt x="100" y="78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lnTo>
                      <a:pt x="100" y="8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0" name="Freeform 149">
                <a:extLst>
                  <a:ext uri="{FF2B5EF4-FFF2-40B4-BE49-F238E27FC236}">
                    <a16:creationId xmlns:a16="http://schemas.microsoft.com/office/drawing/2014/main" id="{C732997B-BBCB-4963-B788-F79A2FABA2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19550" y="4213293"/>
                <a:ext cx="66675" cy="47625"/>
              </a:xfrm>
              <a:custGeom>
                <a:avLst/>
                <a:gdLst>
                  <a:gd name="T0" fmla="*/ 12 w 42"/>
                  <a:gd name="T1" fmla="*/ 16 h 30"/>
                  <a:gd name="T2" fmla="*/ 12 w 42"/>
                  <a:gd name="T3" fmla="*/ 12 h 30"/>
                  <a:gd name="T4" fmla="*/ 12 w 42"/>
                  <a:gd name="T5" fmla="*/ 12 h 30"/>
                  <a:gd name="T6" fmla="*/ 8 w 42"/>
                  <a:gd name="T7" fmla="*/ 16 h 30"/>
                  <a:gd name="T8" fmla="*/ 4 w 42"/>
                  <a:gd name="T9" fmla="*/ 12 h 30"/>
                  <a:gd name="T10" fmla="*/ 4 w 42"/>
                  <a:gd name="T11" fmla="*/ 8 h 30"/>
                  <a:gd name="T12" fmla="*/ 0 w 42"/>
                  <a:gd name="T13" fmla="*/ 8 h 30"/>
                  <a:gd name="T14" fmla="*/ 0 w 42"/>
                  <a:gd name="T15" fmla="*/ 8 h 30"/>
                  <a:gd name="T16" fmla="*/ 8 w 42"/>
                  <a:gd name="T17" fmla="*/ 4 h 30"/>
                  <a:gd name="T18" fmla="*/ 12 w 42"/>
                  <a:gd name="T19" fmla="*/ 4 h 30"/>
                  <a:gd name="T20" fmla="*/ 20 w 42"/>
                  <a:gd name="T21" fmla="*/ 0 h 30"/>
                  <a:gd name="T22" fmla="*/ 34 w 42"/>
                  <a:gd name="T23" fmla="*/ 0 h 30"/>
                  <a:gd name="T24" fmla="*/ 42 w 42"/>
                  <a:gd name="T25" fmla="*/ 0 h 30"/>
                  <a:gd name="T26" fmla="*/ 42 w 42"/>
                  <a:gd name="T27" fmla="*/ 4 h 30"/>
                  <a:gd name="T28" fmla="*/ 42 w 42"/>
                  <a:gd name="T29" fmla="*/ 8 h 30"/>
                  <a:gd name="T30" fmla="*/ 42 w 42"/>
                  <a:gd name="T31" fmla="*/ 12 h 30"/>
                  <a:gd name="T32" fmla="*/ 38 w 42"/>
                  <a:gd name="T33" fmla="*/ 18 h 30"/>
                  <a:gd name="T34" fmla="*/ 34 w 42"/>
                  <a:gd name="T35" fmla="*/ 18 h 30"/>
                  <a:gd name="T36" fmla="*/ 30 w 42"/>
                  <a:gd name="T37" fmla="*/ 22 h 30"/>
                  <a:gd name="T38" fmla="*/ 26 w 42"/>
                  <a:gd name="T39" fmla="*/ 26 h 30"/>
                  <a:gd name="T40" fmla="*/ 24 w 42"/>
                  <a:gd name="T41" fmla="*/ 30 h 30"/>
                  <a:gd name="T42" fmla="*/ 24 w 42"/>
                  <a:gd name="T43" fmla="*/ 26 h 30"/>
                  <a:gd name="T44" fmla="*/ 20 w 42"/>
                  <a:gd name="T45" fmla="*/ 30 h 30"/>
                  <a:gd name="T46" fmla="*/ 20 w 42"/>
                  <a:gd name="T47" fmla="*/ 26 h 30"/>
                  <a:gd name="T48" fmla="*/ 20 w 42"/>
                  <a:gd name="T49" fmla="*/ 26 h 30"/>
                  <a:gd name="T50" fmla="*/ 20 w 42"/>
                  <a:gd name="T51" fmla="*/ 22 h 30"/>
                  <a:gd name="T52" fmla="*/ 20 w 42"/>
                  <a:gd name="T53" fmla="*/ 22 h 30"/>
                  <a:gd name="T54" fmla="*/ 16 w 42"/>
                  <a:gd name="T55" fmla="*/ 22 h 30"/>
                  <a:gd name="T56" fmla="*/ 24 w 42"/>
                  <a:gd name="T57" fmla="*/ 18 h 30"/>
                  <a:gd name="T58" fmla="*/ 20 w 42"/>
                  <a:gd name="T59" fmla="*/ 18 h 30"/>
                  <a:gd name="T60" fmla="*/ 16 w 42"/>
                  <a:gd name="T61" fmla="*/ 18 h 30"/>
                  <a:gd name="T62" fmla="*/ 16 w 42"/>
                  <a:gd name="T63" fmla="*/ 18 h 30"/>
                  <a:gd name="T64" fmla="*/ 16 w 42"/>
                  <a:gd name="T65" fmla="*/ 16 h 30"/>
                  <a:gd name="T66" fmla="*/ 20 w 42"/>
                  <a:gd name="T67" fmla="*/ 16 h 30"/>
                  <a:gd name="T68" fmla="*/ 24 w 42"/>
                  <a:gd name="T69" fmla="*/ 16 h 30"/>
                  <a:gd name="T70" fmla="*/ 24 w 42"/>
                  <a:gd name="T71" fmla="*/ 16 h 30"/>
                  <a:gd name="T72" fmla="*/ 20 w 42"/>
                  <a:gd name="T73" fmla="*/ 16 h 30"/>
                  <a:gd name="T74" fmla="*/ 20 w 42"/>
                  <a:gd name="T75" fmla="*/ 12 h 30"/>
                  <a:gd name="T76" fmla="*/ 12 w 42"/>
                  <a:gd name="T77" fmla="*/ 16 h 30"/>
                  <a:gd name="T78" fmla="*/ 12 w 42"/>
                  <a:gd name="T79" fmla="*/ 26 h 30"/>
                  <a:gd name="T80" fmla="*/ 16 w 42"/>
                  <a:gd name="T81" fmla="*/ 26 h 30"/>
                  <a:gd name="T82" fmla="*/ 8 w 42"/>
                  <a:gd name="T83" fmla="*/ 16 h 30"/>
                  <a:gd name="T84" fmla="*/ 8 w 42"/>
                  <a:gd name="T85" fmla="*/ 16 h 30"/>
                  <a:gd name="T86" fmla="*/ 16 w 42"/>
                  <a:gd name="T87" fmla="*/ 18 h 30"/>
                  <a:gd name="T88" fmla="*/ 16 w 42"/>
                  <a:gd name="T89" fmla="*/ 18 h 30"/>
                  <a:gd name="T90" fmla="*/ 8 w 42"/>
                  <a:gd name="T91" fmla="*/ 18 h 30"/>
                  <a:gd name="T92" fmla="*/ 12 w 42"/>
                  <a:gd name="T93" fmla="*/ 22 h 30"/>
                  <a:gd name="T94" fmla="*/ 4 w 42"/>
                  <a:gd name="T95" fmla="*/ 22 h 30"/>
                  <a:gd name="T96" fmla="*/ 4 w 42"/>
                  <a:gd name="T97" fmla="*/ 18 h 30"/>
                  <a:gd name="T98" fmla="*/ 4 w 42"/>
                  <a:gd name="T99" fmla="*/ 18 h 30"/>
                  <a:gd name="T100" fmla="*/ 8 w 42"/>
                  <a:gd name="T101" fmla="*/ 30 h 30"/>
                  <a:gd name="T102" fmla="*/ 4 w 42"/>
                  <a:gd name="T103" fmla="*/ 26 h 30"/>
                  <a:gd name="T104" fmla="*/ 8 w 42"/>
                  <a:gd name="T105" fmla="*/ 26 h 30"/>
                  <a:gd name="T106" fmla="*/ 8 w 42"/>
                  <a:gd name="T10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2" h="30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4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16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close/>
                    <a:moveTo>
                      <a:pt x="12" y="26"/>
                    </a:move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18"/>
                    </a:move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close/>
                    <a:moveTo>
                      <a:pt x="8" y="22"/>
                    </a:move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close/>
                    <a:moveTo>
                      <a:pt x="4" y="22"/>
                    </a:move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close/>
                    <a:moveTo>
                      <a:pt x="8" y="30"/>
                    </a:move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1" name="Freeform 150">
                <a:extLst>
                  <a:ext uri="{FF2B5EF4-FFF2-40B4-BE49-F238E27FC236}">
                    <a16:creationId xmlns:a16="http://schemas.microsoft.com/office/drawing/2014/main" id="{A80CE65F-79CB-4D60-AB74-0C7197A1EA4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56200" y="4432368"/>
                <a:ext cx="177800" cy="254000"/>
              </a:xfrm>
              <a:custGeom>
                <a:avLst/>
                <a:gdLst>
                  <a:gd name="T0" fmla="*/ 0 w 112"/>
                  <a:gd name="T1" fmla="*/ 82 h 160"/>
                  <a:gd name="T2" fmla="*/ 0 w 112"/>
                  <a:gd name="T3" fmla="*/ 78 h 160"/>
                  <a:gd name="T4" fmla="*/ 4 w 112"/>
                  <a:gd name="T5" fmla="*/ 72 h 160"/>
                  <a:gd name="T6" fmla="*/ 8 w 112"/>
                  <a:gd name="T7" fmla="*/ 64 h 160"/>
                  <a:gd name="T8" fmla="*/ 12 w 112"/>
                  <a:gd name="T9" fmla="*/ 60 h 160"/>
                  <a:gd name="T10" fmla="*/ 12 w 112"/>
                  <a:gd name="T11" fmla="*/ 56 h 160"/>
                  <a:gd name="T12" fmla="*/ 12 w 112"/>
                  <a:gd name="T13" fmla="*/ 56 h 160"/>
                  <a:gd name="T14" fmla="*/ 16 w 112"/>
                  <a:gd name="T15" fmla="*/ 52 h 160"/>
                  <a:gd name="T16" fmla="*/ 12 w 112"/>
                  <a:gd name="T17" fmla="*/ 42 h 160"/>
                  <a:gd name="T18" fmla="*/ 12 w 112"/>
                  <a:gd name="T19" fmla="*/ 34 h 160"/>
                  <a:gd name="T20" fmla="*/ 8 w 112"/>
                  <a:gd name="T21" fmla="*/ 30 h 160"/>
                  <a:gd name="T22" fmla="*/ 8 w 112"/>
                  <a:gd name="T23" fmla="*/ 22 h 160"/>
                  <a:gd name="T24" fmla="*/ 4 w 112"/>
                  <a:gd name="T25" fmla="*/ 16 h 160"/>
                  <a:gd name="T26" fmla="*/ 0 w 112"/>
                  <a:gd name="T27" fmla="*/ 8 h 160"/>
                  <a:gd name="T28" fmla="*/ 8 w 112"/>
                  <a:gd name="T29" fmla="*/ 0 h 160"/>
                  <a:gd name="T30" fmla="*/ 16 w 112"/>
                  <a:gd name="T31" fmla="*/ 0 h 160"/>
                  <a:gd name="T32" fmla="*/ 22 w 112"/>
                  <a:gd name="T33" fmla="*/ 0 h 160"/>
                  <a:gd name="T34" fmla="*/ 26 w 112"/>
                  <a:gd name="T35" fmla="*/ 0 h 160"/>
                  <a:gd name="T36" fmla="*/ 38 w 112"/>
                  <a:gd name="T37" fmla="*/ 4 h 160"/>
                  <a:gd name="T38" fmla="*/ 46 w 112"/>
                  <a:gd name="T39" fmla="*/ 8 h 160"/>
                  <a:gd name="T40" fmla="*/ 60 w 112"/>
                  <a:gd name="T41" fmla="*/ 20 h 160"/>
                  <a:gd name="T42" fmla="*/ 72 w 112"/>
                  <a:gd name="T43" fmla="*/ 20 h 160"/>
                  <a:gd name="T44" fmla="*/ 74 w 112"/>
                  <a:gd name="T45" fmla="*/ 22 h 160"/>
                  <a:gd name="T46" fmla="*/ 78 w 112"/>
                  <a:gd name="T47" fmla="*/ 22 h 160"/>
                  <a:gd name="T48" fmla="*/ 82 w 112"/>
                  <a:gd name="T49" fmla="*/ 20 h 160"/>
                  <a:gd name="T50" fmla="*/ 94 w 112"/>
                  <a:gd name="T51" fmla="*/ 8 h 160"/>
                  <a:gd name="T52" fmla="*/ 100 w 112"/>
                  <a:gd name="T53" fmla="*/ 12 h 160"/>
                  <a:gd name="T54" fmla="*/ 104 w 112"/>
                  <a:gd name="T55" fmla="*/ 12 h 160"/>
                  <a:gd name="T56" fmla="*/ 112 w 112"/>
                  <a:gd name="T57" fmla="*/ 12 h 160"/>
                  <a:gd name="T58" fmla="*/ 112 w 112"/>
                  <a:gd name="T59" fmla="*/ 16 h 160"/>
                  <a:gd name="T60" fmla="*/ 100 w 112"/>
                  <a:gd name="T61" fmla="*/ 56 h 160"/>
                  <a:gd name="T62" fmla="*/ 108 w 112"/>
                  <a:gd name="T63" fmla="*/ 108 h 160"/>
                  <a:gd name="T64" fmla="*/ 104 w 112"/>
                  <a:gd name="T65" fmla="*/ 112 h 160"/>
                  <a:gd name="T66" fmla="*/ 98 w 112"/>
                  <a:gd name="T67" fmla="*/ 116 h 160"/>
                  <a:gd name="T68" fmla="*/ 98 w 112"/>
                  <a:gd name="T69" fmla="*/ 120 h 160"/>
                  <a:gd name="T70" fmla="*/ 98 w 112"/>
                  <a:gd name="T71" fmla="*/ 120 h 160"/>
                  <a:gd name="T72" fmla="*/ 94 w 112"/>
                  <a:gd name="T73" fmla="*/ 124 h 160"/>
                  <a:gd name="T74" fmla="*/ 90 w 112"/>
                  <a:gd name="T75" fmla="*/ 124 h 160"/>
                  <a:gd name="T76" fmla="*/ 86 w 112"/>
                  <a:gd name="T77" fmla="*/ 130 h 160"/>
                  <a:gd name="T78" fmla="*/ 86 w 112"/>
                  <a:gd name="T79" fmla="*/ 138 h 160"/>
                  <a:gd name="T80" fmla="*/ 82 w 112"/>
                  <a:gd name="T81" fmla="*/ 142 h 160"/>
                  <a:gd name="T82" fmla="*/ 82 w 112"/>
                  <a:gd name="T83" fmla="*/ 144 h 160"/>
                  <a:gd name="T84" fmla="*/ 74 w 112"/>
                  <a:gd name="T85" fmla="*/ 160 h 160"/>
                  <a:gd name="T86" fmla="*/ 68 w 112"/>
                  <a:gd name="T87" fmla="*/ 152 h 160"/>
                  <a:gd name="T88" fmla="*/ 52 w 112"/>
                  <a:gd name="T89" fmla="*/ 142 h 160"/>
                  <a:gd name="T90" fmla="*/ 52 w 112"/>
                  <a:gd name="T91" fmla="*/ 138 h 160"/>
                  <a:gd name="T92" fmla="*/ 52 w 112"/>
                  <a:gd name="T93" fmla="*/ 134 h 160"/>
                  <a:gd name="T94" fmla="*/ 46 w 112"/>
                  <a:gd name="T95" fmla="*/ 128 h 160"/>
                  <a:gd name="T96" fmla="*/ 30 w 112"/>
                  <a:gd name="T97" fmla="*/ 116 h 160"/>
                  <a:gd name="T98" fmla="*/ 8 w 112"/>
                  <a:gd name="T99" fmla="*/ 102 h 160"/>
                  <a:gd name="T100" fmla="*/ 0 w 112"/>
                  <a:gd name="T101" fmla="*/ 98 h 160"/>
                  <a:gd name="T102" fmla="*/ 100 w 112"/>
                  <a:gd name="T103" fmla="*/ 116 h 160"/>
                  <a:gd name="T104" fmla="*/ 100 w 112"/>
                  <a:gd name="T105" fmla="*/ 116 h 160"/>
                  <a:gd name="T106" fmla="*/ 100 w 112"/>
                  <a:gd name="T107" fmla="*/ 120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2" h="160">
                    <a:moveTo>
                      <a:pt x="0" y="98"/>
                    </a:moveTo>
                    <a:lnTo>
                      <a:pt x="0" y="98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82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8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2"/>
                    </a:lnTo>
                    <a:lnTo>
                      <a:pt x="74" y="20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2"/>
                    </a:lnTo>
                    <a:lnTo>
                      <a:pt x="78" y="20"/>
                    </a:lnTo>
                    <a:lnTo>
                      <a:pt x="82" y="20"/>
                    </a:lnTo>
                    <a:lnTo>
                      <a:pt x="82" y="16"/>
                    </a:lnTo>
                    <a:lnTo>
                      <a:pt x="86" y="12"/>
                    </a:lnTo>
                    <a:lnTo>
                      <a:pt x="86" y="12"/>
                    </a:lnTo>
                    <a:lnTo>
                      <a:pt x="90" y="12"/>
                    </a:lnTo>
                    <a:lnTo>
                      <a:pt x="90" y="12"/>
                    </a:lnTo>
                    <a:lnTo>
                      <a:pt x="94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98" y="8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04" y="26"/>
                    </a:lnTo>
                    <a:lnTo>
                      <a:pt x="104" y="26"/>
                    </a:lnTo>
                    <a:lnTo>
                      <a:pt x="100" y="34"/>
                    </a:lnTo>
                    <a:lnTo>
                      <a:pt x="100" y="34"/>
                    </a:lnTo>
                    <a:lnTo>
                      <a:pt x="100" y="42"/>
                    </a:lnTo>
                    <a:lnTo>
                      <a:pt x="100" y="56"/>
                    </a:lnTo>
                    <a:lnTo>
                      <a:pt x="100" y="78"/>
                    </a:lnTo>
                    <a:lnTo>
                      <a:pt x="100" y="94"/>
                    </a:lnTo>
                    <a:lnTo>
                      <a:pt x="100" y="98"/>
                    </a:lnTo>
                    <a:lnTo>
                      <a:pt x="104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100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8" y="120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4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4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90" y="128"/>
                    </a:lnTo>
                    <a:lnTo>
                      <a:pt x="86" y="128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0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4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6" y="138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2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4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82" y="148"/>
                    </a:lnTo>
                    <a:lnTo>
                      <a:pt x="78" y="156"/>
                    </a:lnTo>
                    <a:lnTo>
                      <a:pt x="78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4" y="160"/>
                    </a:lnTo>
                    <a:lnTo>
                      <a:pt x="72" y="156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56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42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8" y="130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46" y="128"/>
                    </a:lnTo>
                    <a:lnTo>
                      <a:pt x="38" y="124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2"/>
                    </a:lnTo>
                    <a:lnTo>
                      <a:pt x="8" y="102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close/>
                    <a:moveTo>
                      <a:pt x="100" y="120"/>
                    </a:moveTo>
                    <a:lnTo>
                      <a:pt x="100" y="120"/>
                    </a:lnTo>
                    <a:lnTo>
                      <a:pt x="98" y="116"/>
                    </a:lnTo>
                    <a:lnTo>
                      <a:pt x="98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100" y="120"/>
                    </a:lnTo>
                    <a:lnTo>
                      <a:pt x="100" y="1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2" name="Freeform 151">
                <a:extLst>
                  <a:ext uri="{FF2B5EF4-FFF2-40B4-BE49-F238E27FC236}">
                    <a16:creationId xmlns:a16="http://schemas.microsoft.com/office/drawing/2014/main" id="{6623C957-787F-4230-A893-3DB9962165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03800" y="5349943"/>
                <a:ext cx="50800" cy="57150"/>
              </a:xfrm>
              <a:custGeom>
                <a:avLst/>
                <a:gdLst>
                  <a:gd name="T0" fmla="*/ 24 w 32"/>
                  <a:gd name="T1" fmla="*/ 26 h 36"/>
                  <a:gd name="T2" fmla="*/ 22 w 32"/>
                  <a:gd name="T3" fmla="*/ 30 h 36"/>
                  <a:gd name="T4" fmla="*/ 22 w 32"/>
                  <a:gd name="T5" fmla="*/ 30 h 36"/>
                  <a:gd name="T6" fmla="*/ 18 w 32"/>
                  <a:gd name="T7" fmla="*/ 30 h 36"/>
                  <a:gd name="T8" fmla="*/ 18 w 32"/>
                  <a:gd name="T9" fmla="*/ 30 h 36"/>
                  <a:gd name="T10" fmla="*/ 14 w 32"/>
                  <a:gd name="T11" fmla="*/ 34 h 36"/>
                  <a:gd name="T12" fmla="*/ 14 w 32"/>
                  <a:gd name="T13" fmla="*/ 36 h 36"/>
                  <a:gd name="T14" fmla="*/ 10 w 32"/>
                  <a:gd name="T15" fmla="*/ 36 h 36"/>
                  <a:gd name="T16" fmla="*/ 10 w 32"/>
                  <a:gd name="T17" fmla="*/ 36 h 36"/>
                  <a:gd name="T18" fmla="*/ 8 w 32"/>
                  <a:gd name="T19" fmla="*/ 36 h 36"/>
                  <a:gd name="T20" fmla="*/ 8 w 32"/>
                  <a:gd name="T21" fmla="*/ 34 h 36"/>
                  <a:gd name="T22" fmla="*/ 4 w 32"/>
                  <a:gd name="T23" fmla="*/ 34 h 36"/>
                  <a:gd name="T24" fmla="*/ 4 w 32"/>
                  <a:gd name="T25" fmla="*/ 30 h 36"/>
                  <a:gd name="T26" fmla="*/ 0 w 32"/>
                  <a:gd name="T27" fmla="*/ 26 h 36"/>
                  <a:gd name="T28" fmla="*/ 0 w 32"/>
                  <a:gd name="T29" fmla="*/ 26 h 36"/>
                  <a:gd name="T30" fmla="*/ 0 w 32"/>
                  <a:gd name="T31" fmla="*/ 22 h 36"/>
                  <a:gd name="T32" fmla="*/ 0 w 32"/>
                  <a:gd name="T33" fmla="*/ 22 h 36"/>
                  <a:gd name="T34" fmla="*/ 0 w 32"/>
                  <a:gd name="T35" fmla="*/ 18 h 36"/>
                  <a:gd name="T36" fmla="*/ 0 w 32"/>
                  <a:gd name="T37" fmla="*/ 18 h 36"/>
                  <a:gd name="T38" fmla="*/ 4 w 32"/>
                  <a:gd name="T39" fmla="*/ 18 h 36"/>
                  <a:gd name="T40" fmla="*/ 4 w 32"/>
                  <a:gd name="T41" fmla="*/ 14 h 36"/>
                  <a:gd name="T42" fmla="*/ 4 w 32"/>
                  <a:gd name="T43" fmla="*/ 14 h 36"/>
                  <a:gd name="T44" fmla="*/ 8 w 32"/>
                  <a:gd name="T45" fmla="*/ 10 h 36"/>
                  <a:gd name="T46" fmla="*/ 8 w 32"/>
                  <a:gd name="T47" fmla="*/ 10 h 36"/>
                  <a:gd name="T48" fmla="*/ 8 w 32"/>
                  <a:gd name="T49" fmla="*/ 6 h 36"/>
                  <a:gd name="T50" fmla="*/ 10 w 32"/>
                  <a:gd name="T51" fmla="*/ 6 h 36"/>
                  <a:gd name="T52" fmla="*/ 14 w 32"/>
                  <a:gd name="T53" fmla="*/ 4 h 36"/>
                  <a:gd name="T54" fmla="*/ 14 w 32"/>
                  <a:gd name="T55" fmla="*/ 4 h 36"/>
                  <a:gd name="T56" fmla="*/ 18 w 32"/>
                  <a:gd name="T57" fmla="*/ 4 h 36"/>
                  <a:gd name="T58" fmla="*/ 18 w 32"/>
                  <a:gd name="T59" fmla="*/ 0 h 36"/>
                  <a:gd name="T60" fmla="*/ 18 w 32"/>
                  <a:gd name="T61" fmla="*/ 0 h 36"/>
                  <a:gd name="T62" fmla="*/ 18 w 32"/>
                  <a:gd name="T63" fmla="*/ 0 h 36"/>
                  <a:gd name="T64" fmla="*/ 22 w 32"/>
                  <a:gd name="T65" fmla="*/ 0 h 36"/>
                  <a:gd name="T66" fmla="*/ 22 w 32"/>
                  <a:gd name="T67" fmla="*/ 4 h 36"/>
                  <a:gd name="T68" fmla="*/ 24 w 32"/>
                  <a:gd name="T69" fmla="*/ 4 h 36"/>
                  <a:gd name="T70" fmla="*/ 24 w 32"/>
                  <a:gd name="T71" fmla="*/ 4 h 36"/>
                  <a:gd name="T72" fmla="*/ 24 w 32"/>
                  <a:gd name="T73" fmla="*/ 6 h 36"/>
                  <a:gd name="T74" fmla="*/ 28 w 32"/>
                  <a:gd name="T75" fmla="*/ 6 h 36"/>
                  <a:gd name="T76" fmla="*/ 28 w 32"/>
                  <a:gd name="T77" fmla="*/ 10 h 36"/>
                  <a:gd name="T78" fmla="*/ 32 w 32"/>
                  <a:gd name="T79" fmla="*/ 14 h 36"/>
                  <a:gd name="T80" fmla="*/ 32 w 32"/>
                  <a:gd name="T81" fmla="*/ 14 h 36"/>
                  <a:gd name="T82" fmla="*/ 28 w 32"/>
                  <a:gd name="T83" fmla="*/ 14 h 36"/>
                  <a:gd name="T84" fmla="*/ 28 w 32"/>
                  <a:gd name="T85" fmla="*/ 18 h 36"/>
                  <a:gd name="T86" fmla="*/ 28 w 32"/>
                  <a:gd name="T87" fmla="*/ 18 h 36"/>
                  <a:gd name="T88" fmla="*/ 28 w 32"/>
                  <a:gd name="T89" fmla="*/ 18 h 36"/>
                  <a:gd name="T90" fmla="*/ 28 w 32"/>
                  <a:gd name="T91" fmla="*/ 22 h 36"/>
                  <a:gd name="T92" fmla="*/ 28 w 32"/>
                  <a:gd name="T93" fmla="*/ 22 h 36"/>
                  <a:gd name="T94" fmla="*/ 28 w 32"/>
                  <a:gd name="T95" fmla="*/ 22 h 36"/>
                  <a:gd name="T96" fmla="*/ 28 w 32"/>
                  <a:gd name="T97" fmla="*/ 22 h 36"/>
                  <a:gd name="T98" fmla="*/ 24 w 32"/>
                  <a:gd name="T99" fmla="*/ 26 h 36"/>
                  <a:gd name="T100" fmla="*/ 24 w 32"/>
                  <a:gd name="T101" fmla="*/ 26 h 36"/>
                  <a:gd name="T102" fmla="*/ 24 w 32"/>
                  <a:gd name="T103" fmla="*/ 26 h 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32" h="36">
                    <a:moveTo>
                      <a:pt x="24" y="26"/>
                    </a:moveTo>
                    <a:lnTo>
                      <a:pt x="24" y="26"/>
                    </a:lnTo>
                    <a:lnTo>
                      <a:pt x="24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34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4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32" y="14"/>
                    </a:lnTo>
                    <a:lnTo>
                      <a:pt x="28" y="14"/>
                    </a:lnTo>
                    <a:lnTo>
                      <a:pt x="28" y="14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18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2"/>
                    </a:lnTo>
                    <a:lnTo>
                      <a:pt x="28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3" name="Freeform 152">
                <a:extLst>
                  <a:ext uri="{FF2B5EF4-FFF2-40B4-BE49-F238E27FC236}">
                    <a16:creationId xmlns:a16="http://schemas.microsoft.com/office/drawing/2014/main" id="{1436F918-3DD1-48F8-9D47-C22F8D1A2D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33850" y="4327593"/>
                <a:ext cx="95250" cy="117475"/>
              </a:xfrm>
              <a:custGeom>
                <a:avLst/>
                <a:gdLst>
                  <a:gd name="T0" fmla="*/ 4 w 60"/>
                  <a:gd name="T1" fmla="*/ 26 h 74"/>
                  <a:gd name="T2" fmla="*/ 4 w 60"/>
                  <a:gd name="T3" fmla="*/ 22 h 74"/>
                  <a:gd name="T4" fmla="*/ 6 w 60"/>
                  <a:gd name="T5" fmla="*/ 22 h 74"/>
                  <a:gd name="T6" fmla="*/ 10 w 60"/>
                  <a:gd name="T7" fmla="*/ 18 h 74"/>
                  <a:gd name="T8" fmla="*/ 10 w 60"/>
                  <a:gd name="T9" fmla="*/ 18 h 74"/>
                  <a:gd name="T10" fmla="*/ 10 w 60"/>
                  <a:gd name="T11" fmla="*/ 14 h 74"/>
                  <a:gd name="T12" fmla="*/ 14 w 60"/>
                  <a:gd name="T13" fmla="*/ 10 h 74"/>
                  <a:gd name="T14" fmla="*/ 14 w 60"/>
                  <a:gd name="T15" fmla="*/ 6 h 74"/>
                  <a:gd name="T16" fmla="*/ 18 w 60"/>
                  <a:gd name="T17" fmla="*/ 2 h 74"/>
                  <a:gd name="T18" fmla="*/ 22 w 60"/>
                  <a:gd name="T19" fmla="*/ 2 h 74"/>
                  <a:gd name="T20" fmla="*/ 26 w 60"/>
                  <a:gd name="T21" fmla="*/ 0 h 74"/>
                  <a:gd name="T22" fmla="*/ 30 w 60"/>
                  <a:gd name="T23" fmla="*/ 6 h 74"/>
                  <a:gd name="T24" fmla="*/ 30 w 60"/>
                  <a:gd name="T25" fmla="*/ 10 h 74"/>
                  <a:gd name="T26" fmla="*/ 30 w 60"/>
                  <a:gd name="T27" fmla="*/ 14 h 74"/>
                  <a:gd name="T28" fmla="*/ 30 w 60"/>
                  <a:gd name="T29" fmla="*/ 18 h 74"/>
                  <a:gd name="T30" fmla="*/ 30 w 60"/>
                  <a:gd name="T31" fmla="*/ 22 h 74"/>
                  <a:gd name="T32" fmla="*/ 34 w 60"/>
                  <a:gd name="T33" fmla="*/ 22 h 74"/>
                  <a:gd name="T34" fmla="*/ 34 w 60"/>
                  <a:gd name="T35" fmla="*/ 22 h 74"/>
                  <a:gd name="T36" fmla="*/ 36 w 60"/>
                  <a:gd name="T37" fmla="*/ 22 h 74"/>
                  <a:gd name="T38" fmla="*/ 40 w 60"/>
                  <a:gd name="T39" fmla="*/ 18 h 74"/>
                  <a:gd name="T40" fmla="*/ 40 w 60"/>
                  <a:gd name="T41" fmla="*/ 14 h 74"/>
                  <a:gd name="T42" fmla="*/ 44 w 60"/>
                  <a:gd name="T43" fmla="*/ 14 h 74"/>
                  <a:gd name="T44" fmla="*/ 44 w 60"/>
                  <a:gd name="T45" fmla="*/ 18 h 74"/>
                  <a:gd name="T46" fmla="*/ 44 w 60"/>
                  <a:gd name="T47" fmla="*/ 22 h 74"/>
                  <a:gd name="T48" fmla="*/ 48 w 60"/>
                  <a:gd name="T49" fmla="*/ 26 h 74"/>
                  <a:gd name="T50" fmla="*/ 44 w 60"/>
                  <a:gd name="T51" fmla="*/ 28 h 74"/>
                  <a:gd name="T52" fmla="*/ 44 w 60"/>
                  <a:gd name="T53" fmla="*/ 32 h 74"/>
                  <a:gd name="T54" fmla="*/ 44 w 60"/>
                  <a:gd name="T55" fmla="*/ 32 h 74"/>
                  <a:gd name="T56" fmla="*/ 40 w 60"/>
                  <a:gd name="T57" fmla="*/ 36 h 74"/>
                  <a:gd name="T58" fmla="*/ 44 w 60"/>
                  <a:gd name="T59" fmla="*/ 36 h 74"/>
                  <a:gd name="T60" fmla="*/ 48 w 60"/>
                  <a:gd name="T61" fmla="*/ 40 h 74"/>
                  <a:gd name="T62" fmla="*/ 52 w 60"/>
                  <a:gd name="T63" fmla="*/ 40 h 74"/>
                  <a:gd name="T64" fmla="*/ 52 w 60"/>
                  <a:gd name="T65" fmla="*/ 44 h 74"/>
                  <a:gd name="T66" fmla="*/ 56 w 60"/>
                  <a:gd name="T67" fmla="*/ 48 h 74"/>
                  <a:gd name="T68" fmla="*/ 60 w 60"/>
                  <a:gd name="T69" fmla="*/ 48 h 74"/>
                  <a:gd name="T70" fmla="*/ 60 w 60"/>
                  <a:gd name="T71" fmla="*/ 52 h 74"/>
                  <a:gd name="T72" fmla="*/ 60 w 60"/>
                  <a:gd name="T73" fmla="*/ 52 h 74"/>
                  <a:gd name="T74" fmla="*/ 60 w 60"/>
                  <a:gd name="T75" fmla="*/ 54 h 74"/>
                  <a:gd name="T76" fmla="*/ 56 w 60"/>
                  <a:gd name="T77" fmla="*/ 62 h 74"/>
                  <a:gd name="T78" fmla="*/ 56 w 60"/>
                  <a:gd name="T79" fmla="*/ 66 h 74"/>
                  <a:gd name="T80" fmla="*/ 56 w 60"/>
                  <a:gd name="T81" fmla="*/ 74 h 74"/>
                  <a:gd name="T82" fmla="*/ 52 w 60"/>
                  <a:gd name="T83" fmla="*/ 70 h 74"/>
                  <a:gd name="T84" fmla="*/ 52 w 60"/>
                  <a:gd name="T85" fmla="*/ 70 h 74"/>
                  <a:gd name="T86" fmla="*/ 44 w 60"/>
                  <a:gd name="T87" fmla="*/ 66 h 74"/>
                  <a:gd name="T88" fmla="*/ 40 w 60"/>
                  <a:gd name="T89" fmla="*/ 62 h 74"/>
                  <a:gd name="T90" fmla="*/ 36 w 60"/>
                  <a:gd name="T91" fmla="*/ 62 h 74"/>
                  <a:gd name="T92" fmla="*/ 34 w 60"/>
                  <a:gd name="T93" fmla="*/ 58 h 74"/>
                  <a:gd name="T94" fmla="*/ 30 w 60"/>
                  <a:gd name="T95" fmla="*/ 54 h 74"/>
                  <a:gd name="T96" fmla="*/ 26 w 60"/>
                  <a:gd name="T97" fmla="*/ 52 h 74"/>
                  <a:gd name="T98" fmla="*/ 18 w 60"/>
                  <a:gd name="T99" fmla="*/ 44 h 74"/>
                  <a:gd name="T100" fmla="*/ 18 w 60"/>
                  <a:gd name="T101" fmla="*/ 40 h 74"/>
                  <a:gd name="T102" fmla="*/ 14 w 60"/>
                  <a:gd name="T103" fmla="*/ 40 h 74"/>
                  <a:gd name="T104" fmla="*/ 10 w 60"/>
                  <a:gd name="T105" fmla="*/ 40 h 74"/>
                  <a:gd name="T106" fmla="*/ 10 w 60"/>
                  <a:gd name="T107" fmla="*/ 36 h 74"/>
                  <a:gd name="T108" fmla="*/ 10 w 60"/>
                  <a:gd name="T109" fmla="*/ 36 h 74"/>
                  <a:gd name="T110" fmla="*/ 4 w 60"/>
                  <a:gd name="T111" fmla="*/ 32 h 74"/>
                  <a:gd name="T112" fmla="*/ 4 w 60"/>
                  <a:gd name="T113" fmla="*/ 28 h 74"/>
                  <a:gd name="T114" fmla="*/ 0 w 60"/>
                  <a:gd name="T115" fmla="*/ 28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60" h="74">
                    <a:moveTo>
                      <a:pt x="0" y="28"/>
                    </a:moveTo>
                    <a:lnTo>
                      <a:pt x="0" y="28"/>
                    </a:lnTo>
                    <a:lnTo>
                      <a:pt x="4" y="28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6" y="22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22" y="2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18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0" y="18"/>
                    </a:lnTo>
                    <a:lnTo>
                      <a:pt x="34" y="18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4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40" y="22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8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0" y="14"/>
                    </a:lnTo>
                    <a:lnTo>
                      <a:pt x="44" y="14"/>
                    </a:lnTo>
                    <a:lnTo>
                      <a:pt x="44" y="14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4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66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6" y="74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40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6" y="62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10" y="36"/>
                    </a:lnTo>
                    <a:lnTo>
                      <a:pt x="6" y="36"/>
                    </a:lnTo>
                    <a:lnTo>
                      <a:pt x="6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4" name="Freeform 153">
                <a:extLst>
                  <a:ext uri="{FF2B5EF4-FFF2-40B4-BE49-F238E27FC236}">
                    <a16:creationId xmlns:a16="http://schemas.microsoft.com/office/drawing/2014/main" id="{21B6E109-3985-4FDD-8837-6C61FF9BBB1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00575" y="3632268"/>
                <a:ext cx="355600" cy="390525"/>
              </a:xfrm>
              <a:custGeom>
                <a:avLst/>
                <a:gdLst>
                  <a:gd name="T0" fmla="*/ 74 w 224"/>
                  <a:gd name="T1" fmla="*/ 12 h 246"/>
                  <a:gd name="T2" fmla="*/ 86 w 224"/>
                  <a:gd name="T3" fmla="*/ 20 h 246"/>
                  <a:gd name="T4" fmla="*/ 90 w 224"/>
                  <a:gd name="T5" fmla="*/ 34 h 246"/>
                  <a:gd name="T6" fmla="*/ 100 w 224"/>
                  <a:gd name="T7" fmla="*/ 38 h 246"/>
                  <a:gd name="T8" fmla="*/ 116 w 224"/>
                  <a:gd name="T9" fmla="*/ 38 h 246"/>
                  <a:gd name="T10" fmla="*/ 124 w 224"/>
                  <a:gd name="T11" fmla="*/ 46 h 246"/>
                  <a:gd name="T12" fmla="*/ 134 w 224"/>
                  <a:gd name="T13" fmla="*/ 52 h 246"/>
                  <a:gd name="T14" fmla="*/ 142 w 224"/>
                  <a:gd name="T15" fmla="*/ 52 h 246"/>
                  <a:gd name="T16" fmla="*/ 154 w 224"/>
                  <a:gd name="T17" fmla="*/ 42 h 246"/>
                  <a:gd name="T18" fmla="*/ 154 w 224"/>
                  <a:gd name="T19" fmla="*/ 26 h 246"/>
                  <a:gd name="T20" fmla="*/ 160 w 224"/>
                  <a:gd name="T21" fmla="*/ 12 h 246"/>
                  <a:gd name="T22" fmla="*/ 172 w 224"/>
                  <a:gd name="T23" fmla="*/ 8 h 246"/>
                  <a:gd name="T24" fmla="*/ 182 w 224"/>
                  <a:gd name="T25" fmla="*/ 4 h 246"/>
                  <a:gd name="T26" fmla="*/ 194 w 224"/>
                  <a:gd name="T27" fmla="*/ 8 h 246"/>
                  <a:gd name="T28" fmla="*/ 198 w 224"/>
                  <a:gd name="T29" fmla="*/ 20 h 246"/>
                  <a:gd name="T30" fmla="*/ 210 w 224"/>
                  <a:gd name="T31" fmla="*/ 22 h 246"/>
                  <a:gd name="T32" fmla="*/ 224 w 224"/>
                  <a:gd name="T33" fmla="*/ 22 h 246"/>
                  <a:gd name="T34" fmla="*/ 220 w 224"/>
                  <a:gd name="T35" fmla="*/ 34 h 246"/>
                  <a:gd name="T36" fmla="*/ 224 w 224"/>
                  <a:gd name="T37" fmla="*/ 50 h 246"/>
                  <a:gd name="T38" fmla="*/ 220 w 224"/>
                  <a:gd name="T39" fmla="*/ 64 h 246"/>
                  <a:gd name="T40" fmla="*/ 224 w 224"/>
                  <a:gd name="T41" fmla="*/ 78 h 246"/>
                  <a:gd name="T42" fmla="*/ 224 w 224"/>
                  <a:gd name="T43" fmla="*/ 102 h 246"/>
                  <a:gd name="T44" fmla="*/ 224 w 224"/>
                  <a:gd name="T45" fmla="*/ 120 h 246"/>
                  <a:gd name="T46" fmla="*/ 224 w 224"/>
                  <a:gd name="T47" fmla="*/ 150 h 246"/>
                  <a:gd name="T48" fmla="*/ 224 w 224"/>
                  <a:gd name="T49" fmla="*/ 176 h 246"/>
                  <a:gd name="T50" fmla="*/ 224 w 224"/>
                  <a:gd name="T51" fmla="*/ 238 h 246"/>
                  <a:gd name="T52" fmla="*/ 210 w 224"/>
                  <a:gd name="T53" fmla="*/ 238 h 246"/>
                  <a:gd name="T54" fmla="*/ 186 w 224"/>
                  <a:gd name="T55" fmla="*/ 232 h 246"/>
                  <a:gd name="T56" fmla="*/ 156 w 224"/>
                  <a:gd name="T57" fmla="*/ 218 h 246"/>
                  <a:gd name="T58" fmla="*/ 134 w 224"/>
                  <a:gd name="T59" fmla="*/ 202 h 246"/>
                  <a:gd name="T60" fmla="*/ 108 w 224"/>
                  <a:gd name="T61" fmla="*/ 188 h 246"/>
                  <a:gd name="T62" fmla="*/ 82 w 224"/>
                  <a:gd name="T63" fmla="*/ 184 h 246"/>
                  <a:gd name="T64" fmla="*/ 72 w 224"/>
                  <a:gd name="T65" fmla="*/ 192 h 246"/>
                  <a:gd name="T66" fmla="*/ 60 w 224"/>
                  <a:gd name="T67" fmla="*/ 184 h 246"/>
                  <a:gd name="T68" fmla="*/ 44 w 224"/>
                  <a:gd name="T69" fmla="*/ 180 h 246"/>
                  <a:gd name="T70" fmla="*/ 34 w 224"/>
                  <a:gd name="T71" fmla="*/ 162 h 246"/>
                  <a:gd name="T72" fmla="*/ 18 w 224"/>
                  <a:gd name="T73" fmla="*/ 158 h 246"/>
                  <a:gd name="T74" fmla="*/ 12 w 224"/>
                  <a:gd name="T75" fmla="*/ 154 h 246"/>
                  <a:gd name="T76" fmla="*/ 8 w 224"/>
                  <a:gd name="T77" fmla="*/ 138 h 246"/>
                  <a:gd name="T78" fmla="*/ 12 w 224"/>
                  <a:gd name="T79" fmla="*/ 120 h 246"/>
                  <a:gd name="T80" fmla="*/ 8 w 224"/>
                  <a:gd name="T81" fmla="*/ 108 h 246"/>
                  <a:gd name="T82" fmla="*/ 8 w 224"/>
                  <a:gd name="T83" fmla="*/ 94 h 246"/>
                  <a:gd name="T84" fmla="*/ 8 w 224"/>
                  <a:gd name="T85" fmla="*/ 78 h 246"/>
                  <a:gd name="T86" fmla="*/ 8 w 224"/>
                  <a:gd name="T87" fmla="*/ 64 h 246"/>
                  <a:gd name="T88" fmla="*/ 4 w 224"/>
                  <a:gd name="T89" fmla="*/ 56 h 246"/>
                  <a:gd name="T90" fmla="*/ 16 w 224"/>
                  <a:gd name="T91" fmla="*/ 46 h 246"/>
                  <a:gd name="T92" fmla="*/ 12 w 224"/>
                  <a:gd name="T93" fmla="*/ 34 h 246"/>
                  <a:gd name="T94" fmla="*/ 22 w 224"/>
                  <a:gd name="T95" fmla="*/ 22 h 246"/>
                  <a:gd name="T96" fmla="*/ 34 w 224"/>
                  <a:gd name="T97" fmla="*/ 16 h 246"/>
                  <a:gd name="T98" fmla="*/ 34 w 224"/>
                  <a:gd name="T99" fmla="*/ 0 h 246"/>
                  <a:gd name="T100" fmla="*/ 42 w 224"/>
                  <a:gd name="T101" fmla="*/ 8 h 246"/>
                  <a:gd name="T102" fmla="*/ 56 w 224"/>
                  <a:gd name="T103" fmla="*/ 8 h 246"/>
                  <a:gd name="T104" fmla="*/ 64 w 224"/>
                  <a:gd name="T105" fmla="*/ 8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24" h="246">
                    <a:moveTo>
                      <a:pt x="68" y="8"/>
                    </a:moveTo>
                    <a:lnTo>
                      <a:pt x="72" y="8"/>
                    </a:lnTo>
                    <a:lnTo>
                      <a:pt x="72" y="12"/>
                    </a:lnTo>
                    <a:lnTo>
                      <a:pt x="74" y="12"/>
                    </a:lnTo>
                    <a:lnTo>
                      <a:pt x="78" y="16"/>
                    </a:lnTo>
                    <a:lnTo>
                      <a:pt x="82" y="16"/>
                    </a:lnTo>
                    <a:lnTo>
                      <a:pt x="86" y="16"/>
                    </a:lnTo>
                    <a:lnTo>
                      <a:pt x="86" y="20"/>
                    </a:lnTo>
                    <a:lnTo>
                      <a:pt x="86" y="22"/>
                    </a:lnTo>
                    <a:lnTo>
                      <a:pt x="86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94" y="34"/>
                    </a:lnTo>
                    <a:lnTo>
                      <a:pt x="98" y="34"/>
                    </a:lnTo>
                    <a:lnTo>
                      <a:pt x="98" y="38"/>
                    </a:lnTo>
                    <a:lnTo>
                      <a:pt x="100" y="38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6" y="42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4" y="46"/>
                    </a:lnTo>
                    <a:lnTo>
                      <a:pt x="128" y="46"/>
                    </a:lnTo>
                    <a:lnTo>
                      <a:pt x="128" y="50"/>
                    </a:lnTo>
                    <a:lnTo>
                      <a:pt x="130" y="50"/>
                    </a:lnTo>
                    <a:lnTo>
                      <a:pt x="134" y="52"/>
                    </a:lnTo>
                    <a:lnTo>
                      <a:pt x="138" y="52"/>
                    </a:lnTo>
                    <a:lnTo>
                      <a:pt x="138" y="56"/>
                    </a:lnTo>
                    <a:lnTo>
                      <a:pt x="142" y="56"/>
                    </a:lnTo>
                    <a:lnTo>
                      <a:pt x="142" y="52"/>
                    </a:lnTo>
                    <a:lnTo>
                      <a:pt x="146" y="52"/>
                    </a:lnTo>
                    <a:lnTo>
                      <a:pt x="150" y="50"/>
                    </a:lnTo>
                    <a:lnTo>
                      <a:pt x="154" y="46"/>
                    </a:lnTo>
                    <a:lnTo>
                      <a:pt x="154" y="42"/>
                    </a:lnTo>
                    <a:lnTo>
                      <a:pt x="154" y="38"/>
                    </a:lnTo>
                    <a:lnTo>
                      <a:pt x="154" y="34"/>
                    </a:lnTo>
                    <a:lnTo>
                      <a:pt x="154" y="30"/>
                    </a:lnTo>
                    <a:lnTo>
                      <a:pt x="154" y="26"/>
                    </a:lnTo>
                    <a:lnTo>
                      <a:pt x="154" y="22"/>
                    </a:lnTo>
                    <a:lnTo>
                      <a:pt x="154" y="20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2" y="4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4" y="8"/>
                    </a:lnTo>
                    <a:lnTo>
                      <a:pt x="194" y="12"/>
                    </a:lnTo>
                    <a:lnTo>
                      <a:pt x="198" y="12"/>
                    </a:lnTo>
                    <a:lnTo>
                      <a:pt x="198" y="16"/>
                    </a:lnTo>
                    <a:lnTo>
                      <a:pt x="198" y="20"/>
                    </a:lnTo>
                    <a:lnTo>
                      <a:pt x="202" y="20"/>
                    </a:lnTo>
                    <a:lnTo>
                      <a:pt x="206" y="20"/>
                    </a:lnTo>
                    <a:lnTo>
                      <a:pt x="210" y="20"/>
                    </a:lnTo>
                    <a:lnTo>
                      <a:pt x="210" y="22"/>
                    </a:lnTo>
                    <a:lnTo>
                      <a:pt x="212" y="22"/>
                    </a:lnTo>
                    <a:lnTo>
                      <a:pt x="216" y="22"/>
                    </a:lnTo>
                    <a:lnTo>
                      <a:pt x="220" y="22"/>
                    </a:lnTo>
                    <a:lnTo>
                      <a:pt x="224" y="22"/>
                    </a:lnTo>
                    <a:lnTo>
                      <a:pt x="224" y="26"/>
                    </a:lnTo>
                    <a:lnTo>
                      <a:pt x="224" y="30"/>
                    </a:lnTo>
                    <a:lnTo>
                      <a:pt x="224" y="34"/>
                    </a:lnTo>
                    <a:lnTo>
                      <a:pt x="220" y="34"/>
                    </a:lnTo>
                    <a:lnTo>
                      <a:pt x="220" y="38"/>
                    </a:lnTo>
                    <a:lnTo>
                      <a:pt x="224" y="42"/>
                    </a:lnTo>
                    <a:lnTo>
                      <a:pt x="224" y="46"/>
                    </a:lnTo>
                    <a:lnTo>
                      <a:pt x="224" y="50"/>
                    </a:lnTo>
                    <a:lnTo>
                      <a:pt x="220" y="52"/>
                    </a:lnTo>
                    <a:lnTo>
                      <a:pt x="220" y="56"/>
                    </a:lnTo>
                    <a:lnTo>
                      <a:pt x="220" y="60"/>
                    </a:lnTo>
                    <a:lnTo>
                      <a:pt x="220" y="64"/>
                    </a:lnTo>
                    <a:lnTo>
                      <a:pt x="220" y="68"/>
                    </a:lnTo>
                    <a:lnTo>
                      <a:pt x="224" y="72"/>
                    </a:lnTo>
                    <a:lnTo>
                      <a:pt x="224" y="76"/>
                    </a:lnTo>
                    <a:lnTo>
                      <a:pt x="224" y="78"/>
                    </a:lnTo>
                    <a:lnTo>
                      <a:pt x="224" y="90"/>
                    </a:lnTo>
                    <a:lnTo>
                      <a:pt x="224" y="94"/>
                    </a:lnTo>
                    <a:lnTo>
                      <a:pt x="224" y="98"/>
                    </a:lnTo>
                    <a:lnTo>
                      <a:pt x="224" y="102"/>
                    </a:lnTo>
                    <a:lnTo>
                      <a:pt x="224" y="106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4" y="120"/>
                    </a:lnTo>
                    <a:lnTo>
                      <a:pt x="224" y="124"/>
                    </a:lnTo>
                    <a:lnTo>
                      <a:pt x="224" y="132"/>
                    </a:lnTo>
                    <a:lnTo>
                      <a:pt x="224" y="142"/>
                    </a:lnTo>
                    <a:lnTo>
                      <a:pt x="224" y="150"/>
                    </a:lnTo>
                    <a:lnTo>
                      <a:pt x="224" y="154"/>
                    </a:lnTo>
                    <a:lnTo>
                      <a:pt x="224" y="162"/>
                    </a:lnTo>
                    <a:lnTo>
                      <a:pt x="224" y="168"/>
                    </a:lnTo>
                    <a:lnTo>
                      <a:pt x="224" y="176"/>
                    </a:lnTo>
                    <a:lnTo>
                      <a:pt x="224" y="198"/>
                    </a:lnTo>
                    <a:lnTo>
                      <a:pt x="224" y="202"/>
                    </a:lnTo>
                    <a:lnTo>
                      <a:pt x="224" y="222"/>
                    </a:lnTo>
                    <a:lnTo>
                      <a:pt x="224" y="238"/>
                    </a:lnTo>
                    <a:lnTo>
                      <a:pt x="220" y="238"/>
                    </a:lnTo>
                    <a:lnTo>
                      <a:pt x="216" y="238"/>
                    </a:lnTo>
                    <a:lnTo>
                      <a:pt x="212" y="238"/>
                    </a:lnTo>
                    <a:lnTo>
                      <a:pt x="210" y="238"/>
                    </a:lnTo>
                    <a:lnTo>
                      <a:pt x="210" y="246"/>
                    </a:lnTo>
                    <a:lnTo>
                      <a:pt x="202" y="242"/>
                    </a:lnTo>
                    <a:lnTo>
                      <a:pt x="194" y="238"/>
                    </a:lnTo>
                    <a:lnTo>
                      <a:pt x="186" y="232"/>
                    </a:lnTo>
                    <a:lnTo>
                      <a:pt x="180" y="228"/>
                    </a:lnTo>
                    <a:lnTo>
                      <a:pt x="172" y="224"/>
                    </a:lnTo>
                    <a:lnTo>
                      <a:pt x="168" y="222"/>
                    </a:lnTo>
                    <a:lnTo>
                      <a:pt x="156" y="218"/>
                    </a:lnTo>
                    <a:lnTo>
                      <a:pt x="150" y="210"/>
                    </a:lnTo>
                    <a:lnTo>
                      <a:pt x="142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0" y="198"/>
                    </a:lnTo>
                    <a:lnTo>
                      <a:pt x="124" y="194"/>
                    </a:lnTo>
                    <a:lnTo>
                      <a:pt x="120" y="192"/>
                    </a:lnTo>
                    <a:lnTo>
                      <a:pt x="108" y="188"/>
                    </a:lnTo>
                    <a:lnTo>
                      <a:pt x="100" y="180"/>
                    </a:lnTo>
                    <a:lnTo>
                      <a:pt x="98" y="180"/>
                    </a:lnTo>
                    <a:lnTo>
                      <a:pt x="86" y="184"/>
                    </a:lnTo>
                    <a:lnTo>
                      <a:pt x="82" y="184"/>
                    </a:lnTo>
                    <a:lnTo>
                      <a:pt x="82" y="188"/>
                    </a:lnTo>
                    <a:lnTo>
                      <a:pt x="78" y="188"/>
                    </a:lnTo>
                    <a:lnTo>
                      <a:pt x="74" y="192"/>
                    </a:lnTo>
                    <a:lnTo>
                      <a:pt x="72" y="192"/>
                    </a:lnTo>
                    <a:lnTo>
                      <a:pt x="72" y="194"/>
                    </a:lnTo>
                    <a:lnTo>
                      <a:pt x="68" y="188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2" y="176"/>
                    </a:lnTo>
                    <a:lnTo>
                      <a:pt x="38" y="176"/>
                    </a:lnTo>
                    <a:lnTo>
                      <a:pt x="38" y="168"/>
                    </a:lnTo>
                    <a:lnTo>
                      <a:pt x="34" y="162"/>
                    </a:lnTo>
                    <a:lnTo>
                      <a:pt x="30" y="162"/>
                    </a:lnTo>
                    <a:lnTo>
                      <a:pt x="26" y="162"/>
                    </a:lnTo>
                    <a:lnTo>
                      <a:pt x="22" y="158"/>
                    </a:lnTo>
                    <a:lnTo>
                      <a:pt x="18" y="158"/>
                    </a:lnTo>
                    <a:lnTo>
                      <a:pt x="18" y="162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2" y="154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38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8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8" y="108"/>
                    </a:lnTo>
                    <a:lnTo>
                      <a:pt x="8" y="106"/>
                    </a:lnTo>
                    <a:lnTo>
                      <a:pt x="12" y="102"/>
                    </a:lnTo>
                    <a:lnTo>
                      <a:pt x="12" y="98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0"/>
                    </a:lnTo>
                    <a:lnTo>
                      <a:pt x="16" y="46"/>
                    </a:lnTo>
                    <a:lnTo>
                      <a:pt x="16" y="42"/>
                    </a:lnTo>
                    <a:lnTo>
                      <a:pt x="16" y="38"/>
                    </a:lnTo>
                    <a:lnTo>
                      <a:pt x="16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6" y="26"/>
                    </a:lnTo>
                    <a:lnTo>
                      <a:pt x="18" y="26"/>
                    </a:lnTo>
                    <a:lnTo>
                      <a:pt x="22" y="22"/>
                    </a:lnTo>
                    <a:lnTo>
                      <a:pt x="22" y="20"/>
                    </a:lnTo>
                    <a:lnTo>
                      <a:pt x="26" y="20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4" y="12"/>
                    </a:lnTo>
                    <a:lnTo>
                      <a:pt x="34" y="8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5" name="Freeform 154">
                <a:extLst>
                  <a:ext uri="{FF2B5EF4-FFF2-40B4-BE49-F238E27FC236}">
                    <a16:creationId xmlns:a16="http://schemas.microsoft.com/office/drawing/2014/main" id="{2097081D-F6D8-44D7-90CA-83FC50D83A7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365750" y="4883218"/>
                <a:ext cx="165100" cy="384175"/>
              </a:xfrm>
              <a:custGeom>
                <a:avLst/>
                <a:gdLst>
                  <a:gd name="T0" fmla="*/ 70 w 104"/>
                  <a:gd name="T1" fmla="*/ 26 h 242"/>
                  <a:gd name="T2" fmla="*/ 74 w 104"/>
                  <a:gd name="T3" fmla="*/ 152 h 242"/>
                  <a:gd name="T4" fmla="*/ 70 w 104"/>
                  <a:gd name="T5" fmla="*/ 168 h 242"/>
                  <a:gd name="T6" fmla="*/ 66 w 104"/>
                  <a:gd name="T7" fmla="*/ 182 h 242"/>
                  <a:gd name="T8" fmla="*/ 62 w 104"/>
                  <a:gd name="T9" fmla="*/ 194 h 242"/>
                  <a:gd name="T10" fmla="*/ 62 w 104"/>
                  <a:gd name="T11" fmla="*/ 208 h 242"/>
                  <a:gd name="T12" fmla="*/ 60 w 104"/>
                  <a:gd name="T13" fmla="*/ 220 h 242"/>
                  <a:gd name="T14" fmla="*/ 52 w 104"/>
                  <a:gd name="T15" fmla="*/ 232 h 242"/>
                  <a:gd name="T16" fmla="*/ 36 w 104"/>
                  <a:gd name="T17" fmla="*/ 236 h 242"/>
                  <a:gd name="T18" fmla="*/ 30 w 104"/>
                  <a:gd name="T19" fmla="*/ 242 h 242"/>
                  <a:gd name="T20" fmla="*/ 22 w 104"/>
                  <a:gd name="T21" fmla="*/ 236 h 242"/>
                  <a:gd name="T22" fmla="*/ 14 w 104"/>
                  <a:gd name="T23" fmla="*/ 236 h 242"/>
                  <a:gd name="T24" fmla="*/ 10 w 104"/>
                  <a:gd name="T25" fmla="*/ 224 h 242"/>
                  <a:gd name="T26" fmla="*/ 6 w 104"/>
                  <a:gd name="T27" fmla="*/ 208 h 242"/>
                  <a:gd name="T28" fmla="*/ 2 w 104"/>
                  <a:gd name="T29" fmla="*/ 198 h 242"/>
                  <a:gd name="T30" fmla="*/ 0 w 104"/>
                  <a:gd name="T31" fmla="*/ 186 h 242"/>
                  <a:gd name="T32" fmla="*/ 0 w 104"/>
                  <a:gd name="T33" fmla="*/ 172 h 242"/>
                  <a:gd name="T34" fmla="*/ 6 w 104"/>
                  <a:gd name="T35" fmla="*/ 164 h 242"/>
                  <a:gd name="T36" fmla="*/ 10 w 104"/>
                  <a:gd name="T37" fmla="*/ 152 h 242"/>
                  <a:gd name="T38" fmla="*/ 18 w 104"/>
                  <a:gd name="T39" fmla="*/ 138 h 242"/>
                  <a:gd name="T40" fmla="*/ 14 w 104"/>
                  <a:gd name="T41" fmla="*/ 130 h 242"/>
                  <a:gd name="T42" fmla="*/ 14 w 104"/>
                  <a:gd name="T43" fmla="*/ 116 h 242"/>
                  <a:gd name="T44" fmla="*/ 10 w 104"/>
                  <a:gd name="T45" fmla="*/ 104 h 242"/>
                  <a:gd name="T46" fmla="*/ 14 w 104"/>
                  <a:gd name="T47" fmla="*/ 94 h 242"/>
                  <a:gd name="T48" fmla="*/ 18 w 104"/>
                  <a:gd name="T49" fmla="*/ 82 h 242"/>
                  <a:gd name="T50" fmla="*/ 22 w 104"/>
                  <a:gd name="T51" fmla="*/ 74 h 242"/>
                  <a:gd name="T52" fmla="*/ 30 w 104"/>
                  <a:gd name="T53" fmla="*/ 74 h 242"/>
                  <a:gd name="T54" fmla="*/ 32 w 104"/>
                  <a:gd name="T55" fmla="*/ 70 h 242"/>
                  <a:gd name="T56" fmla="*/ 40 w 104"/>
                  <a:gd name="T57" fmla="*/ 70 h 242"/>
                  <a:gd name="T58" fmla="*/ 44 w 104"/>
                  <a:gd name="T59" fmla="*/ 70 h 242"/>
                  <a:gd name="T60" fmla="*/ 48 w 104"/>
                  <a:gd name="T61" fmla="*/ 60 h 242"/>
                  <a:gd name="T62" fmla="*/ 52 w 104"/>
                  <a:gd name="T63" fmla="*/ 64 h 242"/>
                  <a:gd name="T64" fmla="*/ 60 w 104"/>
                  <a:gd name="T65" fmla="*/ 52 h 242"/>
                  <a:gd name="T66" fmla="*/ 60 w 104"/>
                  <a:gd name="T67" fmla="*/ 52 h 242"/>
                  <a:gd name="T68" fmla="*/ 66 w 104"/>
                  <a:gd name="T69" fmla="*/ 48 h 242"/>
                  <a:gd name="T70" fmla="*/ 62 w 104"/>
                  <a:gd name="T71" fmla="*/ 44 h 242"/>
                  <a:gd name="T72" fmla="*/ 66 w 104"/>
                  <a:gd name="T73" fmla="*/ 40 h 242"/>
                  <a:gd name="T74" fmla="*/ 70 w 104"/>
                  <a:gd name="T75" fmla="*/ 30 h 242"/>
                  <a:gd name="T76" fmla="*/ 74 w 104"/>
                  <a:gd name="T77" fmla="*/ 30 h 242"/>
                  <a:gd name="T78" fmla="*/ 78 w 104"/>
                  <a:gd name="T79" fmla="*/ 18 h 242"/>
                  <a:gd name="T80" fmla="*/ 82 w 104"/>
                  <a:gd name="T81" fmla="*/ 10 h 242"/>
                  <a:gd name="T82" fmla="*/ 82 w 104"/>
                  <a:gd name="T83" fmla="*/ 4 h 242"/>
                  <a:gd name="T84" fmla="*/ 86 w 104"/>
                  <a:gd name="T85" fmla="*/ 8 h 242"/>
                  <a:gd name="T86" fmla="*/ 88 w 104"/>
                  <a:gd name="T87" fmla="*/ 10 h 242"/>
                  <a:gd name="T88" fmla="*/ 96 w 104"/>
                  <a:gd name="T89" fmla="*/ 18 h 242"/>
                  <a:gd name="T90" fmla="*/ 96 w 104"/>
                  <a:gd name="T91" fmla="*/ 26 h 242"/>
                  <a:gd name="T92" fmla="*/ 96 w 104"/>
                  <a:gd name="T93" fmla="*/ 40 h 242"/>
                  <a:gd name="T94" fmla="*/ 100 w 104"/>
                  <a:gd name="T95" fmla="*/ 48 h 242"/>
                  <a:gd name="T96" fmla="*/ 100 w 104"/>
                  <a:gd name="T97" fmla="*/ 64 h 242"/>
                  <a:gd name="T98" fmla="*/ 96 w 104"/>
                  <a:gd name="T99" fmla="*/ 66 h 242"/>
                  <a:gd name="T100" fmla="*/ 92 w 104"/>
                  <a:gd name="T101" fmla="*/ 66 h 242"/>
                  <a:gd name="T102" fmla="*/ 92 w 104"/>
                  <a:gd name="T103" fmla="*/ 82 h 242"/>
                  <a:gd name="T104" fmla="*/ 88 w 104"/>
                  <a:gd name="T105" fmla="*/ 94 h 242"/>
                  <a:gd name="T106" fmla="*/ 88 w 104"/>
                  <a:gd name="T107" fmla="*/ 108 h 242"/>
                  <a:gd name="T108" fmla="*/ 86 w 104"/>
                  <a:gd name="T109" fmla="*/ 122 h 242"/>
                  <a:gd name="T110" fmla="*/ 82 w 104"/>
                  <a:gd name="T111" fmla="*/ 134 h 242"/>
                  <a:gd name="T112" fmla="*/ 78 w 104"/>
                  <a:gd name="T113" fmla="*/ 146 h 242"/>
                  <a:gd name="T114" fmla="*/ 74 w 104"/>
                  <a:gd name="T115" fmla="*/ 150 h 242"/>
                  <a:gd name="T116" fmla="*/ 96 w 104"/>
                  <a:gd name="T117" fmla="*/ 90 h 2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04" h="242">
                    <a:moveTo>
                      <a:pt x="70" y="26"/>
                    </a:moveTo>
                    <a:lnTo>
                      <a:pt x="70" y="22"/>
                    </a:lnTo>
                    <a:lnTo>
                      <a:pt x="74" y="2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70" y="26"/>
                    </a:lnTo>
                    <a:close/>
                    <a:moveTo>
                      <a:pt x="74" y="150"/>
                    </a:moveTo>
                    <a:lnTo>
                      <a:pt x="74" y="152"/>
                    </a:lnTo>
                    <a:lnTo>
                      <a:pt x="74" y="156"/>
                    </a:lnTo>
                    <a:lnTo>
                      <a:pt x="74" y="160"/>
                    </a:lnTo>
                    <a:lnTo>
                      <a:pt x="74" y="164"/>
                    </a:lnTo>
                    <a:lnTo>
                      <a:pt x="70" y="168"/>
                    </a:lnTo>
                    <a:lnTo>
                      <a:pt x="70" y="172"/>
                    </a:lnTo>
                    <a:lnTo>
                      <a:pt x="70" y="176"/>
                    </a:lnTo>
                    <a:lnTo>
                      <a:pt x="66" y="180"/>
                    </a:lnTo>
                    <a:lnTo>
                      <a:pt x="66" y="182"/>
                    </a:lnTo>
                    <a:lnTo>
                      <a:pt x="66" y="186"/>
                    </a:lnTo>
                    <a:lnTo>
                      <a:pt x="66" y="190"/>
                    </a:lnTo>
                    <a:lnTo>
                      <a:pt x="66" y="194"/>
                    </a:lnTo>
                    <a:lnTo>
                      <a:pt x="62" y="194"/>
                    </a:lnTo>
                    <a:lnTo>
                      <a:pt x="62" y="198"/>
                    </a:lnTo>
                    <a:lnTo>
                      <a:pt x="62" y="202"/>
                    </a:lnTo>
                    <a:lnTo>
                      <a:pt x="62" y="206"/>
                    </a:lnTo>
                    <a:lnTo>
                      <a:pt x="62" y="208"/>
                    </a:lnTo>
                    <a:lnTo>
                      <a:pt x="60" y="208"/>
                    </a:lnTo>
                    <a:lnTo>
                      <a:pt x="60" y="212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6"/>
                    </a:lnTo>
                    <a:lnTo>
                      <a:pt x="44" y="236"/>
                    </a:lnTo>
                    <a:lnTo>
                      <a:pt x="40" y="236"/>
                    </a:lnTo>
                    <a:lnTo>
                      <a:pt x="36" y="236"/>
                    </a:lnTo>
                    <a:lnTo>
                      <a:pt x="36" y="238"/>
                    </a:lnTo>
                    <a:lnTo>
                      <a:pt x="32" y="238"/>
                    </a:lnTo>
                    <a:lnTo>
                      <a:pt x="32" y="242"/>
                    </a:lnTo>
                    <a:lnTo>
                      <a:pt x="30" y="242"/>
                    </a:lnTo>
                    <a:lnTo>
                      <a:pt x="26" y="242"/>
                    </a:lnTo>
                    <a:lnTo>
                      <a:pt x="26" y="238"/>
                    </a:lnTo>
                    <a:lnTo>
                      <a:pt x="22" y="238"/>
                    </a:lnTo>
                    <a:lnTo>
                      <a:pt x="22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8" y="236"/>
                    </a:lnTo>
                    <a:lnTo>
                      <a:pt x="14" y="236"/>
                    </a:lnTo>
                    <a:lnTo>
                      <a:pt x="14" y="232"/>
                    </a:lnTo>
                    <a:lnTo>
                      <a:pt x="10" y="232"/>
                    </a:lnTo>
                    <a:lnTo>
                      <a:pt x="10" y="228"/>
                    </a:lnTo>
                    <a:lnTo>
                      <a:pt x="10" y="224"/>
                    </a:lnTo>
                    <a:lnTo>
                      <a:pt x="6" y="220"/>
                    </a:lnTo>
                    <a:lnTo>
                      <a:pt x="6" y="216"/>
                    </a:lnTo>
                    <a:lnTo>
                      <a:pt x="6" y="212"/>
                    </a:lnTo>
                    <a:lnTo>
                      <a:pt x="6" y="208"/>
                    </a:lnTo>
                    <a:lnTo>
                      <a:pt x="6" y="206"/>
                    </a:lnTo>
                    <a:lnTo>
                      <a:pt x="6" y="202"/>
                    </a:lnTo>
                    <a:lnTo>
                      <a:pt x="2" y="202"/>
                    </a:lnTo>
                    <a:lnTo>
                      <a:pt x="2" y="198"/>
                    </a:lnTo>
                    <a:lnTo>
                      <a:pt x="2" y="194"/>
                    </a:lnTo>
                    <a:lnTo>
                      <a:pt x="2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80"/>
                    </a:lnTo>
                    <a:lnTo>
                      <a:pt x="0" y="176"/>
                    </a:lnTo>
                    <a:lnTo>
                      <a:pt x="0" y="172"/>
                    </a:lnTo>
                    <a:lnTo>
                      <a:pt x="2" y="172"/>
                    </a:lnTo>
                    <a:lnTo>
                      <a:pt x="2" y="168"/>
                    </a:lnTo>
                    <a:lnTo>
                      <a:pt x="2" y="164"/>
                    </a:lnTo>
                    <a:lnTo>
                      <a:pt x="6" y="164"/>
                    </a:lnTo>
                    <a:lnTo>
                      <a:pt x="6" y="160"/>
                    </a:lnTo>
                    <a:lnTo>
                      <a:pt x="10" y="160"/>
                    </a:lnTo>
                    <a:lnTo>
                      <a:pt x="10" y="156"/>
                    </a:lnTo>
                    <a:lnTo>
                      <a:pt x="10" y="152"/>
                    </a:lnTo>
                    <a:lnTo>
                      <a:pt x="14" y="150"/>
                    </a:lnTo>
                    <a:lnTo>
                      <a:pt x="14" y="146"/>
                    </a:lnTo>
                    <a:lnTo>
                      <a:pt x="18" y="142"/>
                    </a:lnTo>
                    <a:lnTo>
                      <a:pt x="18" y="138"/>
                    </a:lnTo>
                    <a:lnTo>
                      <a:pt x="14" y="138"/>
                    </a:lnTo>
                    <a:lnTo>
                      <a:pt x="18" y="134"/>
                    </a:lnTo>
                    <a:lnTo>
                      <a:pt x="18" y="130"/>
                    </a:lnTo>
                    <a:lnTo>
                      <a:pt x="14" y="130"/>
                    </a:lnTo>
                    <a:lnTo>
                      <a:pt x="14" y="126"/>
                    </a:lnTo>
                    <a:lnTo>
                      <a:pt x="14" y="122"/>
                    </a:lnTo>
                    <a:lnTo>
                      <a:pt x="14" y="120"/>
                    </a:lnTo>
                    <a:lnTo>
                      <a:pt x="14" y="116"/>
                    </a:lnTo>
                    <a:lnTo>
                      <a:pt x="10" y="116"/>
                    </a:lnTo>
                    <a:lnTo>
                      <a:pt x="10" y="112"/>
                    </a:lnTo>
                    <a:lnTo>
                      <a:pt x="10" y="108"/>
                    </a:lnTo>
                    <a:lnTo>
                      <a:pt x="10" y="104"/>
                    </a:lnTo>
                    <a:lnTo>
                      <a:pt x="10" y="100"/>
                    </a:lnTo>
                    <a:lnTo>
                      <a:pt x="10" y="96"/>
                    </a:lnTo>
                    <a:lnTo>
                      <a:pt x="10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78"/>
                    </a:lnTo>
                    <a:lnTo>
                      <a:pt x="14" y="78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2" y="70"/>
                    </a:lnTo>
                    <a:lnTo>
                      <a:pt x="32" y="74"/>
                    </a:lnTo>
                    <a:lnTo>
                      <a:pt x="32" y="70"/>
                    </a:lnTo>
                    <a:lnTo>
                      <a:pt x="32" y="66"/>
                    </a:lnTo>
                    <a:lnTo>
                      <a:pt x="36" y="66"/>
                    </a:lnTo>
                    <a:lnTo>
                      <a:pt x="36" y="70"/>
                    </a:lnTo>
                    <a:lnTo>
                      <a:pt x="40" y="70"/>
                    </a:lnTo>
                    <a:lnTo>
                      <a:pt x="40" y="66"/>
                    </a:lnTo>
                    <a:lnTo>
                      <a:pt x="44" y="66"/>
                    </a:lnTo>
                    <a:lnTo>
                      <a:pt x="40" y="66"/>
                    </a:lnTo>
                    <a:lnTo>
                      <a:pt x="44" y="70"/>
                    </a:lnTo>
                    <a:lnTo>
                      <a:pt x="44" y="66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2" y="52"/>
                    </a:lnTo>
                    <a:lnTo>
                      <a:pt x="62" y="48"/>
                    </a:lnTo>
                    <a:lnTo>
                      <a:pt x="66" y="48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2" y="48"/>
                    </a:lnTo>
                    <a:lnTo>
                      <a:pt x="62" y="44"/>
                    </a:lnTo>
                    <a:lnTo>
                      <a:pt x="62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0"/>
                    </a:lnTo>
                    <a:lnTo>
                      <a:pt x="70" y="30"/>
                    </a:lnTo>
                    <a:lnTo>
                      <a:pt x="74" y="30"/>
                    </a:lnTo>
                    <a:lnTo>
                      <a:pt x="74" y="26"/>
                    </a:lnTo>
                    <a:lnTo>
                      <a:pt x="78" y="26"/>
                    </a:lnTo>
                    <a:lnTo>
                      <a:pt x="78" y="22"/>
                    </a:lnTo>
                    <a:lnTo>
                      <a:pt x="78" y="18"/>
                    </a:lnTo>
                    <a:lnTo>
                      <a:pt x="82" y="18"/>
                    </a:lnTo>
                    <a:lnTo>
                      <a:pt x="82" y="14"/>
                    </a:lnTo>
                    <a:lnTo>
                      <a:pt x="78" y="10"/>
                    </a:lnTo>
                    <a:lnTo>
                      <a:pt x="82" y="10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6" y="8"/>
                    </a:lnTo>
                    <a:lnTo>
                      <a:pt x="88" y="8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2" y="18"/>
                    </a:lnTo>
                    <a:lnTo>
                      <a:pt x="96" y="18"/>
                    </a:lnTo>
                    <a:lnTo>
                      <a:pt x="96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96" y="26"/>
                    </a:lnTo>
                    <a:lnTo>
                      <a:pt x="96" y="30"/>
                    </a:lnTo>
                    <a:lnTo>
                      <a:pt x="96" y="34"/>
                    </a:lnTo>
                    <a:lnTo>
                      <a:pt x="96" y="38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96" y="44"/>
                    </a:lnTo>
                    <a:lnTo>
                      <a:pt x="100" y="48"/>
                    </a:lnTo>
                    <a:lnTo>
                      <a:pt x="100" y="52"/>
                    </a:lnTo>
                    <a:lnTo>
                      <a:pt x="100" y="56"/>
                    </a:lnTo>
                    <a:lnTo>
                      <a:pt x="104" y="60"/>
                    </a:lnTo>
                    <a:lnTo>
                      <a:pt x="100" y="64"/>
                    </a:lnTo>
                    <a:lnTo>
                      <a:pt x="100" y="66"/>
                    </a:lnTo>
                    <a:lnTo>
                      <a:pt x="100" y="70"/>
                    </a:lnTo>
                    <a:lnTo>
                      <a:pt x="96" y="70"/>
                    </a:lnTo>
                    <a:lnTo>
                      <a:pt x="96" y="66"/>
                    </a:lnTo>
                    <a:lnTo>
                      <a:pt x="92" y="64"/>
                    </a:lnTo>
                    <a:lnTo>
                      <a:pt x="88" y="64"/>
                    </a:lnTo>
                    <a:lnTo>
                      <a:pt x="88" y="66"/>
                    </a:lnTo>
                    <a:lnTo>
                      <a:pt x="92" y="66"/>
                    </a:lnTo>
                    <a:lnTo>
                      <a:pt x="92" y="70"/>
                    </a:lnTo>
                    <a:lnTo>
                      <a:pt x="92" y="74"/>
                    </a:lnTo>
                    <a:lnTo>
                      <a:pt x="92" y="78"/>
                    </a:lnTo>
                    <a:lnTo>
                      <a:pt x="92" y="82"/>
                    </a:lnTo>
                    <a:lnTo>
                      <a:pt x="92" y="86"/>
                    </a:lnTo>
                    <a:lnTo>
                      <a:pt x="88" y="86"/>
                    </a:lnTo>
                    <a:lnTo>
                      <a:pt x="88" y="90"/>
                    </a:lnTo>
                    <a:lnTo>
                      <a:pt x="88" y="94"/>
                    </a:lnTo>
                    <a:lnTo>
                      <a:pt x="88" y="96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8"/>
                    </a:lnTo>
                    <a:lnTo>
                      <a:pt x="86" y="112"/>
                    </a:lnTo>
                    <a:lnTo>
                      <a:pt x="86" y="116"/>
                    </a:lnTo>
                    <a:lnTo>
                      <a:pt x="86" y="120"/>
                    </a:lnTo>
                    <a:lnTo>
                      <a:pt x="86" y="122"/>
                    </a:lnTo>
                    <a:lnTo>
                      <a:pt x="82" y="122"/>
                    </a:lnTo>
                    <a:lnTo>
                      <a:pt x="82" y="126"/>
                    </a:lnTo>
                    <a:lnTo>
                      <a:pt x="82" y="130"/>
                    </a:lnTo>
                    <a:lnTo>
                      <a:pt x="82" y="134"/>
                    </a:lnTo>
                    <a:lnTo>
                      <a:pt x="78" y="134"/>
                    </a:lnTo>
                    <a:lnTo>
                      <a:pt x="78" y="138"/>
                    </a:lnTo>
                    <a:lnTo>
                      <a:pt x="78" y="142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0"/>
                    </a:lnTo>
                    <a:lnTo>
                      <a:pt x="74" y="150"/>
                    </a:lnTo>
                    <a:close/>
                    <a:moveTo>
                      <a:pt x="92" y="90"/>
                    </a:moveTo>
                    <a:lnTo>
                      <a:pt x="92" y="86"/>
                    </a:lnTo>
                    <a:lnTo>
                      <a:pt x="96" y="86"/>
                    </a:lnTo>
                    <a:lnTo>
                      <a:pt x="96" y="90"/>
                    </a:lnTo>
                    <a:lnTo>
                      <a:pt x="92" y="90"/>
                    </a:lnTo>
                    <a:lnTo>
                      <a:pt x="92" y="90"/>
                    </a:lnTo>
                    <a:lnTo>
                      <a:pt x="92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6" name="Freeform 155">
                <a:extLst>
                  <a:ext uri="{FF2B5EF4-FFF2-40B4-BE49-F238E27FC236}">
                    <a16:creationId xmlns:a16="http://schemas.microsoft.com/office/drawing/2014/main" id="{5B231CF8-0818-4797-B05A-8F3F261DB97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127625" y="4816543"/>
                <a:ext cx="69850" cy="212725"/>
              </a:xfrm>
              <a:custGeom>
                <a:avLst/>
                <a:gdLst>
                  <a:gd name="T0" fmla="*/ 4 w 44"/>
                  <a:gd name="T1" fmla="*/ 78 h 134"/>
                  <a:gd name="T2" fmla="*/ 0 w 44"/>
                  <a:gd name="T3" fmla="*/ 72 h 134"/>
                  <a:gd name="T4" fmla="*/ 4 w 44"/>
                  <a:gd name="T5" fmla="*/ 68 h 134"/>
                  <a:gd name="T6" fmla="*/ 4 w 44"/>
                  <a:gd name="T7" fmla="*/ 60 h 134"/>
                  <a:gd name="T8" fmla="*/ 4 w 44"/>
                  <a:gd name="T9" fmla="*/ 56 h 134"/>
                  <a:gd name="T10" fmla="*/ 10 w 44"/>
                  <a:gd name="T11" fmla="*/ 52 h 134"/>
                  <a:gd name="T12" fmla="*/ 10 w 44"/>
                  <a:gd name="T13" fmla="*/ 48 h 134"/>
                  <a:gd name="T14" fmla="*/ 10 w 44"/>
                  <a:gd name="T15" fmla="*/ 48 h 134"/>
                  <a:gd name="T16" fmla="*/ 6 w 44"/>
                  <a:gd name="T17" fmla="*/ 38 h 134"/>
                  <a:gd name="T18" fmla="*/ 10 w 44"/>
                  <a:gd name="T19" fmla="*/ 30 h 134"/>
                  <a:gd name="T20" fmla="*/ 6 w 44"/>
                  <a:gd name="T21" fmla="*/ 26 h 134"/>
                  <a:gd name="T22" fmla="*/ 10 w 44"/>
                  <a:gd name="T23" fmla="*/ 22 h 134"/>
                  <a:gd name="T24" fmla="*/ 14 w 44"/>
                  <a:gd name="T25" fmla="*/ 20 h 134"/>
                  <a:gd name="T26" fmla="*/ 10 w 44"/>
                  <a:gd name="T27" fmla="*/ 16 h 134"/>
                  <a:gd name="T28" fmla="*/ 6 w 44"/>
                  <a:gd name="T29" fmla="*/ 12 h 134"/>
                  <a:gd name="T30" fmla="*/ 6 w 44"/>
                  <a:gd name="T31" fmla="*/ 4 h 134"/>
                  <a:gd name="T32" fmla="*/ 6 w 44"/>
                  <a:gd name="T33" fmla="*/ 4 h 134"/>
                  <a:gd name="T34" fmla="*/ 4 w 44"/>
                  <a:gd name="T35" fmla="*/ 0 h 134"/>
                  <a:gd name="T36" fmla="*/ 4 w 44"/>
                  <a:gd name="T37" fmla="*/ 0 h 134"/>
                  <a:gd name="T38" fmla="*/ 10 w 44"/>
                  <a:gd name="T39" fmla="*/ 0 h 134"/>
                  <a:gd name="T40" fmla="*/ 14 w 44"/>
                  <a:gd name="T41" fmla="*/ 4 h 134"/>
                  <a:gd name="T42" fmla="*/ 18 w 44"/>
                  <a:gd name="T43" fmla="*/ 4 h 134"/>
                  <a:gd name="T44" fmla="*/ 18 w 44"/>
                  <a:gd name="T45" fmla="*/ 0 h 134"/>
                  <a:gd name="T46" fmla="*/ 26 w 44"/>
                  <a:gd name="T47" fmla="*/ 8 h 134"/>
                  <a:gd name="T48" fmla="*/ 26 w 44"/>
                  <a:gd name="T49" fmla="*/ 16 h 134"/>
                  <a:gd name="T50" fmla="*/ 26 w 44"/>
                  <a:gd name="T51" fmla="*/ 20 h 134"/>
                  <a:gd name="T52" fmla="*/ 26 w 44"/>
                  <a:gd name="T53" fmla="*/ 26 h 134"/>
                  <a:gd name="T54" fmla="*/ 30 w 44"/>
                  <a:gd name="T55" fmla="*/ 30 h 134"/>
                  <a:gd name="T56" fmla="*/ 34 w 44"/>
                  <a:gd name="T57" fmla="*/ 38 h 134"/>
                  <a:gd name="T58" fmla="*/ 26 w 44"/>
                  <a:gd name="T59" fmla="*/ 38 h 134"/>
                  <a:gd name="T60" fmla="*/ 26 w 44"/>
                  <a:gd name="T61" fmla="*/ 42 h 134"/>
                  <a:gd name="T62" fmla="*/ 22 w 44"/>
                  <a:gd name="T63" fmla="*/ 48 h 134"/>
                  <a:gd name="T64" fmla="*/ 26 w 44"/>
                  <a:gd name="T65" fmla="*/ 52 h 134"/>
                  <a:gd name="T66" fmla="*/ 26 w 44"/>
                  <a:gd name="T67" fmla="*/ 56 h 134"/>
                  <a:gd name="T68" fmla="*/ 26 w 44"/>
                  <a:gd name="T69" fmla="*/ 68 h 134"/>
                  <a:gd name="T70" fmla="*/ 30 w 44"/>
                  <a:gd name="T71" fmla="*/ 72 h 134"/>
                  <a:gd name="T72" fmla="*/ 40 w 44"/>
                  <a:gd name="T73" fmla="*/ 82 h 134"/>
                  <a:gd name="T74" fmla="*/ 44 w 44"/>
                  <a:gd name="T75" fmla="*/ 94 h 134"/>
                  <a:gd name="T76" fmla="*/ 44 w 44"/>
                  <a:gd name="T77" fmla="*/ 102 h 134"/>
                  <a:gd name="T78" fmla="*/ 44 w 44"/>
                  <a:gd name="T79" fmla="*/ 112 h 134"/>
                  <a:gd name="T80" fmla="*/ 40 w 44"/>
                  <a:gd name="T81" fmla="*/ 116 h 134"/>
                  <a:gd name="T82" fmla="*/ 38 w 44"/>
                  <a:gd name="T83" fmla="*/ 124 h 134"/>
                  <a:gd name="T84" fmla="*/ 38 w 44"/>
                  <a:gd name="T85" fmla="*/ 124 h 134"/>
                  <a:gd name="T86" fmla="*/ 38 w 44"/>
                  <a:gd name="T87" fmla="*/ 132 h 134"/>
                  <a:gd name="T88" fmla="*/ 34 w 44"/>
                  <a:gd name="T89" fmla="*/ 132 h 134"/>
                  <a:gd name="T90" fmla="*/ 34 w 44"/>
                  <a:gd name="T91" fmla="*/ 128 h 134"/>
                  <a:gd name="T92" fmla="*/ 30 w 44"/>
                  <a:gd name="T93" fmla="*/ 124 h 134"/>
                  <a:gd name="T94" fmla="*/ 26 w 44"/>
                  <a:gd name="T95" fmla="*/ 120 h 134"/>
                  <a:gd name="T96" fmla="*/ 26 w 44"/>
                  <a:gd name="T97" fmla="*/ 116 h 134"/>
                  <a:gd name="T98" fmla="*/ 22 w 44"/>
                  <a:gd name="T99" fmla="*/ 112 h 134"/>
                  <a:gd name="T100" fmla="*/ 22 w 44"/>
                  <a:gd name="T101" fmla="*/ 108 h 134"/>
                  <a:gd name="T102" fmla="*/ 26 w 44"/>
                  <a:gd name="T103" fmla="*/ 104 h 134"/>
                  <a:gd name="T104" fmla="*/ 26 w 44"/>
                  <a:gd name="T105" fmla="*/ 102 h 134"/>
                  <a:gd name="T106" fmla="*/ 26 w 44"/>
                  <a:gd name="T107" fmla="*/ 98 h 134"/>
                  <a:gd name="T108" fmla="*/ 26 w 44"/>
                  <a:gd name="T109" fmla="*/ 90 h 134"/>
                  <a:gd name="T110" fmla="*/ 22 w 44"/>
                  <a:gd name="T111" fmla="*/ 86 h 134"/>
                  <a:gd name="T112" fmla="*/ 14 w 44"/>
                  <a:gd name="T113" fmla="*/ 86 h 134"/>
                  <a:gd name="T114" fmla="*/ 6 w 44"/>
                  <a:gd name="T115" fmla="*/ 78 h 134"/>
                  <a:gd name="T116" fmla="*/ 26 w 44"/>
                  <a:gd name="T117" fmla="*/ 46 h 134"/>
                  <a:gd name="T118" fmla="*/ 30 w 44"/>
                  <a:gd name="T119" fmla="*/ 46 h 1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44" h="134">
                    <a:moveTo>
                      <a:pt x="6" y="78"/>
                    </a:move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6" y="34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6" y="26"/>
                    </a:lnTo>
                    <a:lnTo>
                      <a:pt x="6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6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6" y="12"/>
                    </a:lnTo>
                    <a:lnTo>
                      <a:pt x="6" y="8"/>
                    </a:lnTo>
                    <a:lnTo>
                      <a:pt x="10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26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0" y="34"/>
                    </a:lnTo>
                    <a:lnTo>
                      <a:pt x="34" y="34"/>
                    </a:lnTo>
                    <a:lnTo>
                      <a:pt x="34" y="34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0" y="38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2" y="46"/>
                    </a:lnTo>
                    <a:lnTo>
                      <a:pt x="22" y="46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2" y="48"/>
                    </a:lnTo>
                    <a:lnTo>
                      <a:pt x="26" y="48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2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76"/>
                    </a:lnTo>
                    <a:lnTo>
                      <a:pt x="38" y="76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0" y="82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4"/>
                    </a:lnTo>
                    <a:lnTo>
                      <a:pt x="44" y="98"/>
                    </a:lnTo>
                    <a:lnTo>
                      <a:pt x="44" y="98"/>
                    </a:lnTo>
                    <a:lnTo>
                      <a:pt x="44" y="102"/>
                    </a:lnTo>
                    <a:lnTo>
                      <a:pt x="44" y="102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40" y="116"/>
                    </a:lnTo>
                    <a:lnTo>
                      <a:pt x="38" y="116"/>
                    </a:lnTo>
                    <a:lnTo>
                      <a:pt x="38" y="116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0"/>
                    </a:lnTo>
                    <a:lnTo>
                      <a:pt x="38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4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4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8" y="134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4" y="134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4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6" y="116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6" y="108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4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102"/>
                    </a:lnTo>
                    <a:lnTo>
                      <a:pt x="26" y="98"/>
                    </a:lnTo>
                    <a:lnTo>
                      <a:pt x="26" y="98"/>
                    </a:lnTo>
                    <a:lnTo>
                      <a:pt x="26" y="94"/>
                    </a:lnTo>
                    <a:lnTo>
                      <a:pt x="26" y="94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18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lnTo>
                      <a:pt x="6" y="78"/>
                    </a:lnTo>
                    <a:close/>
                    <a:moveTo>
                      <a:pt x="26" y="46"/>
                    </a:move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close/>
                    <a:moveTo>
                      <a:pt x="30" y="46"/>
                    </a:move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7" name="Freeform 156">
                <a:extLst>
                  <a:ext uri="{FF2B5EF4-FFF2-40B4-BE49-F238E27FC236}">
                    <a16:creationId xmlns:a16="http://schemas.microsoft.com/office/drawing/2014/main" id="{CFBAC58E-DE49-4120-A243-6A8131B8999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121150" y="3870393"/>
                <a:ext cx="368300" cy="412750"/>
              </a:xfrm>
              <a:custGeom>
                <a:avLst/>
                <a:gdLst>
                  <a:gd name="T0" fmla="*/ 26 w 232"/>
                  <a:gd name="T1" fmla="*/ 226 h 260"/>
                  <a:gd name="T2" fmla="*/ 18 w 232"/>
                  <a:gd name="T3" fmla="*/ 224 h 260"/>
                  <a:gd name="T4" fmla="*/ 8 w 232"/>
                  <a:gd name="T5" fmla="*/ 224 h 260"/>
                  <a:gd name="T6" fmla="*/ 12 w 232"/>
                  <a:gd name="T7" fmla="*/ 208 h 260"/>
                  <a:gd name="T8" fmla="*/ 0 w 232"/>
                  <a:gd name="T9" fmla="*/ 200 h 260"/>
                  <a:gd name="T10" fmla="*/ 4 w 232"/>
                  <a:gd name="T11" fmla="*/ 190 h 260"/>
                  <a:gd name="T12" fmla="*/ 0 w 232"/>
                  <a:gd name="T13" fmla="*/ 182 h 260"/>
                  <a:gd name="T14" fmla="*/ 8 w 232"/>
                  <a:gd name="T15" fmla="*/ 168 h 260"/>
                  <a:gd name="T16" fmla="*/ 18 w 232"/>
                  <a:gd name="T17" fmla="*/ 174 h 260"/>
                  <a:gd name="T18" fmla="*/ 30 w 232"/>
                  <a:gd name="T19" fmla="*/ 170 h 260"/>
                  <a:gd name="T20" fmla="*/ 42 w 232"/>
                  <a:gd name="T21" fmla="*/ 168 h 260"/>
                  <a:gd name="T22" fmla="*/ 60 w 232"/>
                  <a:gd name="T23" fmla="*/ 168 h 260"/>
                  <a:gd name="T24" fmla="*/ 82 w 232"/>
                  <a:gd name="T25" fmla="*/ 168 h 260"/>
                  <a:gd name="T26" fmla="*/ 98 w 232"/>
                  <a:gd name="T27" fmla="*/ 152 h 260"/>
                  <a:gd name="T28" fmla="*/ 90 w 232"/>
                  <a:gd name="T29" fmla="*/ 122 h 260"/>
                  <a:gd name="T30" fmla="*/ 86 w 232"/>
                  <a:gd name="T31" fmla="*/ 92 h 260"/>
                  <a:gd name="T32" fmla="*/ 86 w 232"/>
                  <a:gd name="T33" fmla="*/ 68 h 260"/>
                  <a:gd name="T34" fmla="*/ 82 w 232"/>
                  <a:gd name="T35" fmla="*/ 42 h 260"/>
                  <a:gd name="T36" fmla="*/ 78 w 232"/>
                  <a:gd name="T37" fmla="*/ 12 h 260"/>
                  <a:gd name="T38" fmla="*/ 90 w 232"/>
                  <a:gd name="T39" fmla="*/ 0 h 260"/>
                  <a:gd name="T40" fmla="*/ 120 w 232"/>
                  <a:gd name="T41" fmla="*/ 12 h 260"/>
                  <a:gd name="T42" fmla="*/ 142 w 232"/>
                  <a:gd name="T43" fmla="*/ 34 h 260"/>
                  <a:gd name="T44" fmla="*/ 164 w 232"/>
                  <a:gd name="T45" fmla="*/ 52 h 260"/>
                  <a:gd name="T46" fmla="*/ 188 w 232"/>
                  <a:gd name="T47" fmla="*/ 72 h 260"/>
                  <a:gd name="T48" fmla="*/ 194 w 232"/>
                  <a:gd name="T49" fmla="*/ 78 h 260"/>
                  <a:gd name="T50" fmla="*/ 206 w 232"/>
                  <a:gd name="T51" fmla="*/ 86 h 260"/>
                  <a:gd name="T52" fmla="*/ 218 w 232"/>
                  <a:gd name="T53" fmla="*/ 96 h 260"/>
                  <a:gd name="T54" fmla="*/ 228 w 232"/>
                  <a:gd name="T55" fmla="*/ 104 h 260"/>
                  <a:gd name="T56" fmla="*/ 232 w 232"/>
                  <a:gd name="T57" fmla="*/ 130 h 260"/>
                  <a:gd name="T58" fmla="*/ 232 w 232"/>
                  <a:gd name="T59" fmla="*/ 152 h 260"/>
                  <a:gd name="T60" fmla="*/ 224 w 232"/>
                  <a:gd name="T61" fmla="*/ 164 h 260"/>
                  <a:gd name="T62" fmla="*/ 214 w 232"/>
                  <a:gd name="T63" fmla="*/ 168 h 260"/>
                  <a:gd name="T64" fmla="*/ 188 w 232"/>
                  <a:gd name="T65" fmla="*/ 174 h 260"/>
                  <a:gd name="T66" fmla="*/ 176 w 232"/>
                  <a:gd name="T67" fmla="*/ 178 h 260"/>
                  <a:gd name="T68" fmla="*/ 164 w 232"/>
                  <a:gd name="T69" fmla="*/ 174 h 260"/>
                  <a:gd name="T70" fmla="*/ 146 w 232"/>
                  <a:gd name="T71" fmla="*/ 186 h 260"/>
                  <a:gd name="T72" fmla="*/ 132 w 232"/>
                  <a:gd name="T73" fmla="*/ 194 h 260"/>
                  <a:gd name="T74" fmla="*/ 128 w 232"/>
                  <a:gd name="T75" fmla="*/ 200 h 260"/>
                  <a:gd name="T76" fmla="*/ 120 w 232"/>
                  <a:gd name="T77" fmla="*/ 204 h 260"/>
                  <a:gd name="T78" fmla="*/ 112 w 232"/>
                  <a:gd name="T79" fmla="*/ 212 h 260"/>
                  <a:gd name="T80" fmla="*/ 104 w 232"/>
                  <a:gd name="T81" fmla="*/ 226 h 260"/>
                  <a:gd name="T82" fmla="*/ 98 w 232"/>
                  <a:gd name="T83" fmla="*/ 242 h 260"/>
                  <a:gd name="T84" fmla="*/ 94 w 232"/>
                  <a:gd name="T85" fmla="*/ 256 h 260"/>
                  <a:gd name="T86" fmla="*/ 82 w 232"/>
                  <a:gd name="T87" fmla="*/ 256 h 260"/>
                  <a:gd name="T88" fmla="*/ 82 w 232"/>
                  <a:gd name="T89" fmla="*/ 250 h 260"/>
                  <a:gd name="T90" fmla="*/ 74 w 232"/>
                  <a:gd name="T91" fmla="*/ 260 h 260"/>
                  <a:gd name="T92" fmla="*/ 60 w 232"/>
                  <a:gd name="T93" fmla="*/ 256 h 260"/>
                  <a:gd name="T94" fmla="*/ 52 w 232"/>
                  <a:gd name="T95" fmla="*/ 250 h 260"/>
                  <a:gd name="T96" fmla="*/ 48 w 232"/>
                  <a:gd name="T97" fmla="*/ 242 h 260"/>
                  <a:gd name="T98" fmla="*/ 44 w 232"/>
                  <a:gd name="T99" fmla="*/ 234 h 260"/>
                  <a:gd name="T100" fmla="*/ 42 w 232"/>
                  <a:gd name="T101" fmla="*/ 220 h 260"/>
                  <a:gd name="T102" fmla="*/ 34 w 232"/>
                  <a:gd name="T103" fmla="*/ 226 h 2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232" h="260">
                    <a:moveTo>
                      <a:pt x="34" y="226"/>
                    </a:moveTo>
                    <a:lnTo>
                      <a:pt x="30" y="226"/>
                    </a:lnTo>
                    <a:lnTo>
                      <a:pt x="30" y="224"/>
                    </a:lnTo>
                    <a:lnTo>
                      <a:pt x="26" y="224"/>
                    </a:lnTo>
                    <a:lnTo>
                      <a:pt x="26" y="226"/>
                    </a:lnTo>
                    <a:lnTo>
                      <a:pt x="22" y="226"/>
                    </a:lnTo>
                    <a:lnTo>
                      <a:pt x="22" y="230"/>
                    </a:lnTo>
                    <a:lnTo>
                      <a:pt x="18" y="230"/>
                    </a:lnTo>
                    <a:lnTo>
                      <a:pt x="18" y="226"/>
                    </a:lnTo>
                    <a:lnTo>
                      <a:pt x="18" y="224"/>
                    </a:lnTo>
                    <a:lnTo>
                      <a:pt x="14" y="224"/>
                    </a:lnTo>
                    <a:lnTo>
                      <a:pt x="14" y="226"/>
                    </a:lnTo>
                    <a:lnTo>
                      <a:pt x="12" y="226"/>
                    </a:lnTo>
                    <a:lnTo>
                      <a:pt x="8" y="226"/>
                    </a:lnTo>
                    <a:lnTo>
                      <a:pt x="8" y="224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2" y="216"/>
                    </a:lnTo>
                    <a:lnTo>
                      <a:pt x="12" y="212"/>
                    </a:lnTo>
                    <a:lnTo>
                      <a:pt x="12" y="208"/>
                    </a:lnTo>
                    <a:lnTo>
                      <a:pt x="8" y="208"/>
                    </a:lnTo>
                    <a:lnTo>
                      <a:pt x="8" y="204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4" y="196"/>
                    </a:lnTo>
                    <a:lnTo>
                      <a:pt x="4" y="194"/>
                    </a:lnTo>
                    <a:lnTo>
                      <a:pt x="0" y="194"/>
                    </a:lnTo>
                    <a:lnTo>
                      <a:pt x="4" y="190"/>
                    </a:lnTo>
                    <a:lnTo>
                      <a:pt x="0" y="190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0" y="178"/>
                    </a:lnTo>
                    <a:lnTo>
                      <a:pt x="0" y="182"/>
                    </a:lnTo>
                    <a:lnTo>
                      <a:pt x="4" y="178"/>
                    </a:lnTo>
                    <a:lnTo>
                      <a:pt x="4" y="174"/>
                    </a:lnTo>
                    <a:lnTo>
                      <a:pt x="4" y="170"/>
                    </a:lnTo>
                    <a:lnTo>
                      <a:pt x="4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8"/>
                    </a:lnTo>
                    <a:lnTo>
                      <a:pt x="14" y="170"/>
                    </a:lnTo>
                    <a:lnTo>
                      <a:pt x="18" y="174"/>
                    </a:lnTo>
                    <a:lnTo>
                      <a:pt x="18" y="170"/>
                    </a:lnTo>
                    <a:lnTo>
                      <a:pt x="18" y="168"/>
                    </a:lnTo>
                    <a:lnTo>
                      <a:pt x="22" y="168"/>
                    </a:lnTo>
                    <a:lnTo>
                      <a:pt x="26" y="168"/>
                    </a:lnTo>
                    <a:lnTo>
                      <a:pt x="30" y="170"/>
                    </a:lnTo>
                    <a:lnTo>
                      <a:pt x="34" y="170"/>
                    </a:lnTo>
                    <a:lnTo>
                      <a:pt x="34" y="168"/>
                    </a:lnTo>
                    <a:lnTo>
                      <a:pt x="38" y="168"/>
                    </a:lnTo>
                    <a:lnTo>
                      <a:pt x="42" y="164"/>
                    </a:lnTo>
                    <a:lnTo>
                      <a:pt x="42" y="168"/>
                    </a:lnTo>
                    <a:lnTo>
                      <a:pt x="44" y="168"/>
                    </a:lnTo>
                    <a:lnTo>
                      <a:pt x="48" y="168"/>
                    </a:lnTo>
                    <a:lnTo>
                      <a:pt x="52" y="168"/>
                    </a:lnTo>
                    <a:lnTo>
                      <a:pt x="56" y="168"/>
                    </a:lnTo>
                    <a:lnTo>
                      <a:pt x="60" y="168"/>
                    </a:lnTo>
                    <a:lnTo>
                      <a:pt x="64" y="168"/>
                    </a:lnTo>
                    <a:lnTo>
                      <a:pt x="68" y="168"/>
                    </a:lnTo>
                    <a:lnTo>
                      <a:pt x="72" y="168"/>
                    </a:lnTo>
                    <a:lnTo>
                      <a:pt x="78" y="168"/>
                    </a:lnTo>
                    <a:lnTo>
                      <a:pt x="82" y="168"/>
                    </a:lnTo>
                    <a:lnTo>
                      <a:pt x="86" y="168"/>
                    </a:lnTo>
                    <a:lnTo>
                      <a:pt x="94" y="168"/>
                    </a:lnTo>
                    <a:lnTo>
                      <a:pt x="94" y="160"/>
                    </a:lnTo>
                    <a:lnTo>
                      <a:pt x="98" y="156"/>
                    </a:lnTo>
                    <a:lnTo>
                      <a:pt x="98" y="152"/>
                    </a:lnTo>
                    <a:lnTo>
                      <a:pt x="94" y="148"/>
                    </a:lnTo>
                    <a:lnTo>
                      <a:pt x="94" y="144"/>
                    </a:lnTo>
                    <a:lnTo>
                      <a:pt x="90" y="134"/>
                    </a:lnTo>
                    <a:lnTo>
                      <a:pt x="90" y="126"/>
                    </a:lnTo>
                    <a:lnTo>
                      <a:pt x="90" y="122"/>
                    </a:lnTo>
                    <a:lnTo>
                      <a:pt x="90" y="118"/>
                    </a:lnTo>
                    <a:lnTo>
                      <a:pt x="90" y="112"/>
                    </a:lnTo>
                    <a:lnTo>
                      <a:pt x="90" y="104"/>
                    </a:lnTo>
                    <a:lnTo>
                      <a:pt x="90" y="100"/>
                    </a:lnTo>
                    <a:lnTo>
                      <a:pt x="86" y="92"/>
                    </a:lnTo>
                    <a:lnTo>
                      <a:pt x="86" y="86"/>
                    </a:lnTo>
                    <a:lnTo>
                      <a:pt x="86" y="78"/>
                    </a:lnTo>
                    <a:lnTo>
                      <a:pt x="86" y="74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2" y="56"/>
                    </a:lnTo>
                    <a:lnTo>
                      <a:pt x="82" y="52"/>
                    </a:lnTo>
                    <a:lnTo>
                      <a:pt x="82" y="42"/>
                    </a:lnTo>
                    <a:lnTo>
                      <a:pt x="82" y="38"/>
                    </a:lnTo>
                    <a:lnTo>
                      <a:pt x="82" y="30"/>
                    </a:lnTo>
                    <a:lnTo>
                      <a:pt x="82" y="22"/>
                    </a:lnTo>
                    <a:lnTo>
                      <a:pt x="78" y="16"/>
                    </a:lnTo>
                    <a:lnTo>
                      <a:pt x="78" y="12"/>
                    </a:lnTo>
                    <a:lnTo>
                      <a:pt x="78" y="8"/>
                    </a:lnTo>
                    <a:lnTo>
                      <a:pt x="78" y="0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102" y="0"/>
                    </a:lnTo>
                    <a:lnTo>
                      <a:pt x="104" y="0"/>
                    </a:lnTo>
                    <a:lnTo>
                      <a:pt x="108" y="4"/>
                    </a:lnTo>
                    <a:lnTo>
                      <a:pt x="112" y="8"/>
                    </a:lnTo>
                    <a:lnTo>
                      <a:pt x="120" y="12"/>
                    </a:lnTo>
                    <a:lnTo>
                      <a:pt x="124" y="16"/>
                    </a:lnTo>
                    <a:lnTo>
                      <a:pt x="128" y="18"/>
                    </a:lnTo>
                    <a:lnTo>
                      <a:pt x="132" y="22"/>
                    </a:lnTo>
                    <a:lnTo>
                      <a:pt x="138" y="26"/>
                    </a:lnTo>
                    <a:lnTo>
                      <a:pt x="142" y="34"/>
                    </a:lnTo>
                    <a:lnTo>
                      <a:pt x="146" y="38"/>
                    </a:lnTo>
                    <a:lnTo>
                      <a:pt x="154" y="42"/>
                    </a:lnTo>
                    <a:lnTo>
                      <a:pt x="158" y="44"/>
                    </a:lnTo>
                    <a:lnTo>
                      <a:pt x="160" y="48"/>
                    </a:lnTo>
                    <a:lnTo>
                      <a:pt x="164" y="52"/>
                    </a:lnTo>
                    <a:lnTo>
                      <a:pt x="172" y="56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8"/>
                    </a:lnTo>
                    <a:lnTo>
                      <a:pt x="188" y="72"/>
                    </a:lnTo>
                    <a:lnTo>
                      <a:pt x="190" y="72"/>
                    </a:lnTo>
                    <a:lnTo>
                      <a:pt x="190" y="74"/>
                    </a:lnTo>
                    <a:lnTo>
                      <a:pt x="188" y="74"/>
                    </a:lnTo>
                    <a:lnTo>
                      <a:pt x="190" y="78"/>
                    </a:lnTo>
                    <a:lnTo>
                      <a:pt x="194" y="78"/>
                    </a:lnTo>
                    <a:lnTo>
                      <a:pt x="194" y="82"/>
                    </a:lnTo>
                    <a:lnTo>
                      <a:pt x="198" y="82"/>
                    </a:lnTo>
                    <a:lnTo>
                      <a:pt x="198" y="86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88"/>
                    </a:lnTo>
                    <a:lnTo>
                      <a:pt x="218" y="92"/>
                    </a:lnTo>
                    <a:lnTo>
                      <a:pt x="218" y="96"/>
                    </a:lnTo>
                    <a:lnTo>
                      <a:pt x="218" y="100"/>
                    </a:lnTo>
                    <a:lnTo>
                      <a:pt x="218" y="104"/>
                    </a:lnTo>
                    <a:lnTo>
                      <a:pt x="220" y="108"/>
                    </a:lnTo>
                    <a:lnTo>
                      <a:pt x="224" y="104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2" y="108"/>
                    </a:lnTo>
                    <a:lnTo>
                      <a:pt x="232" y="112"/>
                    </a:lnTo>
                    <a:lnTo>
                      <a:pt x="232" y="122"/>
                    </a:lnTo>
                    <a:lnTo>
                      <a:pt x="232" y="130"/>
                    </a:lnTo>
                    <a:lnTo>
                      <a:pt x="232" y="134"/>
                    </a:lnTo>
                    <a:lnTo>
                      <a:pt x="232" y="138"/>
                    </a:lnTo>
                    <a:lnTo>
                      <a:pt x="232" y="142"/>
                    </a:lnTo>
                    <a:lnTo>
                      <a:pt x="232" y="144"/>
                    </a:lnTo>
                    <a:lnTo>
                      <a:pt x="232" y="152"/>
                    </a:lnTo>
                    <a:lnTo>
                      <a:pt x="228" y="152"/>
                    </a:lnTo>
                    <a:lnTo>
                      <a:pt x="228" y="156"/>
                    </a:lnTo>
                    <a:lnTo>
                      <a:pt x="228" y="160"/>
                    </a:lnTo>
                    <a:lnTo>
                      <a:pt x="228" y="164"/>
                    </a:lnTo>
                    <a:lnTo>
                      <a:pt x="224" y="164"/>
                    </a:lnTo>
                    <a:lnTo>
                      <a:pt x="224" y="168"/>
                    </a:lnTo>
                    <a:lnTo>
                      <a:pt x="220" y="168"/>
                    </a:lnTo>
                    <a:lnTo>
                      <a:pt x="220" y="170"/>
                    </a:lnTo>
                    <a:lnTo>
                      <a:pt x="218" y="168"/>
                    </a:lnTo>
                    <a:lnTo>
                      <a:pt x="214" y="168"/>
                    </a:lnTo>
                    <a:lnTo>
                      <a:pt x="214" y="170"/>
                    </a:lnTo>
                    <a:lnTo>
                      <a:pt x="210" y="170"/>
                    </a:lnTo>
                    <a:lnTo>
                      <a:pt x="198" y="170"/>
                    </a:lnTo>
                    <a:lnTo>
                      <a:pt x="190" y="170"/>
                    </a:lnTo>
                    <a:lnTo>
                      <a:pt x="188" y="174"/>
                    </a:lnTo>
                    <a:lnTo>
                      <a:pt x="184" y="178"/>
                    </a:lnTo>
                    <a:lnTo>
                      <a:pt x="180" y="178"/>
                    </a:lnTo>
                    <a:lnTo>
                      <a:pt x="180" y="174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74"/>
                    </a:lnTo>
                    <a:lnTo>
                      <a:pt x="176" y="178"/>
                    </a:lnTo>
                    <a:lnTo>
                      <a:pt x="172" y="174"/>
                    </a:lnTo>
                    <a:lnTo>
                      <a:pt x="168" y="174"/>
                    </a:lnTo>
                    <a:lnTo>
                      <a:pt x="164" y="174"/>
                    </a:lnTo>
                    <a:lnTo>
                      <a:pt x="160" y="174"/>
                    </a:lnTo>
                    <a:lnTo>
                      <a:pt x="158" y="178"/>
                    </a:lnTo>
                    <a:lnTo>
                      <a:pt x="154" y="182"/>
                    </a:lnTo>
                    <a:lnTo>
                      <a:pt x="150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42" y="190"/>
                    </a:lnTo>
                    <a:lnTo>
                      <a:pt x="138" y="190"/>
                    </a:lnTo>
                    <a:lnTo>
                      <a:pt x="134" y="190"/>
                    </a:lnTo>
                    <a:lnTo>
                      <a:pt x="132" y="194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8" y="196"/>
                    </a:lnTo>
                    <a:lnTo>
                      <a:pt x="128" y="200"/>
                    </a:lnTo>
                    <a:lnTo>
                      <a:pt x="128" y="204"/>
                    </a:lnTo>
                    <a:lnTo>
                      <a:pt x="124" y="204"/>
                    </a:lnTo>
                    <a:lnTo>
                      <a:pt x="124" y="208"/>
                    </a:lnTo>
                    <a:lnTo>
                      <a:pt x="120" y="208"/>
                    </a:lnTo>
                    <a:lnTo>
                      <a:pt x="120" y="204"/>
                    </a:lnTo>
                    <a:lnTo>
                      <a:pt x="116" y="204"/>
                    </a:lnTo>
                    <a:lnTo>
                      <a:pt x="116" y="200"/>
                    </a:lnTo>
                    <a:lnTo>
                      <a:pt x="112" y="204"/>
                    </a:lnTo>
                    <a:lnTo>
                      <a:pt x="112" y="208"/>
                    </a:lnTo>
                    <a:lnTo>
                      <a:pt x="112" y="212"/>
                    </a:lnTo>
                    <a:lnTo>
                      <a:pt x="112" y="216"/>
                    </a:lnTo>
                    <a:lnTo>
                      <a:pt x="108" y="216"/>
                    </a:lnTo>
                    <a:lnTo>
                      <a:pt x="108" y="220"/>
                    </a:lnTo>
                    <a:lnTo>
                      <a:pt x="108" y="224"/>
                    </a:lnTo>
                    <a:lnTo>
                      <a:pt x="104" y="226"/>
                    </a:lnTo>
                    <a:lnTo>
                      <a:pt x="102" y="226"/>
                    </a:lnTo>
                    <a:lnTo>
                      <a:pt x="98" y="230"/>
                    </a:lnTo>
                    <a:lnTo>
                      <a:pt x="98" y="234"/>
                    </a:lnTo>
                    <a:lnTo>
                      <a:pt x="98" y="238"/>
                    </a:lnTo>
                    <a:lnTo>
                      <a:pt x="98" y="242"/>
                    </a:lnTo>
                    <a:lnTo>
                      <a:pt x="98" y="246"/>
                    </a:lnTo>
                    <a:lnTo>
                      <a:pt x="94" y="246"/>
                    </a:lnTo>
                    <a:lnTo>
                      <a:pt x="94" y="250"/>
                    </a:lnTo>
                    <a:lnTo>
                      <a:pt x="94" y="252"/>
                    </a:lnTo>
                    <a:lnTo>
                      <a:pt x="94" y="256"/>
                    </a:lnTo>
                    <a:lnTo>
                      <a:pt x="94" y="252"/>
                    </a:lnTo>
                    <a:lnTo>
                      <a:pt x="90" y="256"/>
                    </a:lnTo>
                    <a:lnTo>
                      <a:pt x="86" y="256"/>
                    </a:lnTo>
                    <a:lnTo>
                      <a:pt x="86" y="260"/>
                    </a:lnTo>
                    <a:lnTo>
                      <a:pt x="82" y="256"/>
                    </a:lnTo>
                    <a:lnTo>
                      <a:pt x="86" y="256"/>
                    </a:lnTo>
                    <a:lnTo>
                      <a:pt x="86" y="252"/>
                    </a:lnTo>
                    <a:lnTo>
                      <a:pt x="82" y="252"/>
                    </a:lnTo>
                    <a:lnTo>
                      <a:pt x="86" y="252"/>
                    </a:lnTo>
                    <a:lnTo>
                      <a:pt x="82" y="250"/>
                    </a:lnTo>
                    <a:lnTo>
                      <a:pt x="82" y="252"/>
                    </a:lnTo>
                    <a:lnTo>
                      <a:pt x="78" y="252"/>
                    </a:lnTo>
                    <a:lnTo>
                      <a:pt x="78" y="256"/>
                    </a:lnTo>
                    <a:lnTo>
                      <a:pt x="74" y="256"/>
                    </a:lnTo>
                    <a:lnTo>
                      <a:pt x="74" y="260"/>
                    </a:lnTo>
                    <a:lnTo>
                      <a:pt x="72" y="260"/>
                    </a:lnTo>
                    <a:lnTo>
                      <a:pt x="72" y="256"/>
                    </a:lnTo>
                    <a:lnTo>
                      <a:pt x="68" y="256"/>
                    </a:lnTo>
                    <a:lnTo>
                      <a:pt x="64" y="256"/>
                    </a:lnTo>
                    <a:lnTo>
                      <a:pt x="60" y="256"/>
                    </a:lnTo>
                    <a:lnTo>
                      <a:pt x="60" y="260"/>
                    </a:lnTo>
                    <a:lnTo>
                      <a:pt x="60" y="256"/>
                    </a:lnTo>
                    <a:lnTo>
                      <a:pt x="56" y="256"/>
                    </a:lnTo>
                    <a:lnTo>
                      <a:pt x="56" y="252"/>
                    </a:lnTo>
                    <a:lnTo>
                      <a:pt x="52" y="250"/>
                    </a:lnTo>
                    <a:lnTo>
                      <a:pt x="56" y="250"/>
                    </a:lnTo>
                    <a:lnTo>
                      <a:pt x="56" y="246"/>
                    </a:lnTo>
                    <a:lnTo>
                      <a:pt x="52" y="246"/>
                    </a:lnTo>
                    <a:lnTo>
                      <a:pt x="48" y="246"/>
                    </a:lnTo>
                    <a:lnTo>
                      <a:pt x="48" y="242"/>
                    </a:lnTo>
                    <a:lnTo>
                      <a:pt x="52" y="242"/>
                    </a:lnTo>
                    <a:lnTo>
                      <a:pt x="52" y="238"/>
                    </a:lnTo>
                    <a:lnTo>
                      <a:pt x="48" y="238"/>
                    </a:lnTo>
                    <a:lnTo>
                      <a:pt x="48" y="234"/>
                    </a:lnTo>
                    <a:lnTo>
                      <a:pt x="44" y="234"/>
                    </a:lnTo>
                    <a:lnTo>
                      <a:pt x="48" y="230"/>
                    </a:lnTo>
                    <a:lnTo>
                      <a:pt x="48" y="226"/>
                    </a:lnTo>
                    <a:lnTo>
                      <a:pt x="44" y="224"/>
                    </a:lnTo>
                    <a:lnTo>
                      <a:pt x="44" y="220"/>
                    </a:lnTo>
                    <a:lnTo>
                      <a:pt x="42" y="220"/>
                    </a:lnTo>
                    <a:lnTo>
                      <a:pt x="38" y="220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4" y="226"/>
                    </a:lnTo>
                    <a:lnTo>
                      <a:pt x="34" y="226"/>
                    </a:lnTo>
                    <a:lnTo>
                      <a:pt x="34" y="2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8" name="Freeform 157">
                <a:extLst>
                  <a:ext uri="{FF2B5EF4-FFF2-40B4-BE49-F238E27FC236}">
                    <a16:creationId xmlns:a16="http://schemas.microsoft.com/office/drawing/2014/main" id="{8BF71D11-DD90-4048-B66C-B7C67099AE3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06850" y="3803718"/>
                <a:ext cx="279400" cy="355600"/>
              </a:xfrm>
              <a:custGeom>
                <a:avLst/>
                <a:gdLst>
                  <a:gd name="T0" fmla="*/ 90 w 176"/>
                  <a:gd name="T1" fmla="*/ 218 h 224"/>
                  <a:gd name="T2" fmla="*/ 84 w 176"/>
                  <a:gd name="T3" fmla="*/ 210 h 224"/>
                  <a:gd name="T4" fmla="*/ 80 w 176"/>
                  <a:gd name="T5" fmla="*/ 206 h 224"/>
                  <a:gd name="T6" fmla="*/ 76 w 176"/>
                  <a:gd name="T7" fmla="*/ 210 h 224"/>
                  <a:gd name="T8" fmla="*/ 76 w 176"/>
                  <a:gd name="T9" fmla="*/ 218 h 224"/>
                  <a:gd name="T10" fmla="*/ 72 w 176"/>
                  <a:gd name="T11" fmla="*/ 220 h 224"/>
                  <a:gd name="T12" fmla="*/ 64 w 176"/>
                  <a:gd name="T13" fmla="*/ 218 h 224"/>
                  <a:gd name="T14" fmla="*/ 60 w 176"/>
                  <a:gd name="T15" fmla="*/ 214 h 224"/>
                  <a:gd name="T16" fmla="*/ 60 w 176"/>
                  <a:gd name="T17" fmla="*/ 210 h 224"/>
                  <a:gd name="T18" fmla="*/ 54 w 176"/>
                  <a:gd name="T19" fmla="*/ 198 h 224"/>
                  <a:gd name="T20" fmla="*/ 50 w 176"/>
                  <a:gd name="T21" fmla="*/ 198 h 224"/>
                  <a:gd name="T22" fmla="*/ 38 w 176"/>
                  <a:gd name="T23" fmla="*/ 190 h 224"/>
                  <a:gd name="T24" fmla="*/ 30 w 176"/>
                  <a:gd name="T25" fmla="*/ 190 h 224"/>
                  <a:gd name="T26" fmla="*/ 26 w 176"/>
                  <a:gd name="T27" fmla="*/ 190 h 224"/>
                  <a:gd name="T28" fmla="*/ 20 w 176"/>
                  <a:gd name="T29" fmla="*/ 190 h 224"/>
                  <a:gd name="T30" fmla="*/ 16 w 176"/>
                  <a:gd name="T31" fmla="*/ 190 h 224"/>
                  <a:gd name="T32" fmla="*/ 12 w 176"/>
                  <a:gd name="T33" fmla="*/ 194 h 224"/>
                  <a:gd name="T34" fmla="*/ 8 w 176"/>
                  <a:gd name="T35" fmla="*/ 194 h 224"/>
                  <a:gd name="T36" fmla="*/ 12 w 176"/>
                  <a:gd name="T37" fmla="*/ 190 h 224"/>
                  <a:gd name="T38" fmla="*/ 16 w 176"/>
                  <a:gd name="T39" fmla="*/ 180 h 224"/>
                  <a:gd name="T40" fmla="*/ 16 w 176"/>
                  <a:gd name="T41" fmla="*/ 172 h 224"/>
                  <a:gd name="T42" fmla="*/ 16 w 176"/>
                  <a:gd name="T43" fmla="*/ 158 h 224"/>
                  <a:gd name="T44" fmla="*/ 16 w 176"/>
                  <a:gd name="T45" fmla="*/ 154 h 224"/>
                  <a:gd name="T46" fmla="*/ 12 w 176"/>
                  <a:gd name="T47" fmla="*/ 146 h 224"/>
                  <a:gd name="T48" fmla="*/ 12 w 176"/>
                  <a:gd name="T49" fmla="*/ 142 h 224"/>
                  <a:gd name="T50" fmla="*/ 12 w 176"/>
                  <a:gd name="T51" fmla="*/ 138 h 224"/>
                  <a:gd name="T52" fmla="*/ 12 w 176"/>
                  <a:gd name="T53" fmla="*/ 138 h 224"/>
                  <a:gd name="T54" fmla="*/ 12 w 176"/>
                  <a:gd name="T55" fmla="*/ 124 h 224"/>
                  <a:gd name="T56" fmla="*/ 8 w 176"/>
                  <a:gd name="T57" fmla="*/ 120 h 224"/>
                  <a:gd name="T58" fmla="*/ 4 w 176"/>
                  <a:gd name="T59" fmla="*/ 114 h 224"/>
                  <a:gd name="T60" fmla="*/ 0 w 176"/>
                  <a:gd name="T61" fmla="*/ 118 h 224"/>
                  <a:gd name="T62" fmla="*/ 4 w 176"/>
                  <a:gd name="T63" fmla="*/ 110 h 224"/>
                  <a:gd name="T64" fmla="*/ 30 w 176"/>
                  <a:gd name="T65" fmla="*/ 110 h 224"/>
                  <a:gd name="T66" fmla="*/ 60 w 176"/>
                  <a:gd name="T67" fmla="*/ 110 h 224"/>
                  <a:gd name="T68" fmla="*/ 56 w 176"/>
                  <a:gd name="T69" fmla="*/ 88 h 224"/>
                  <a:gd name="T70" fmla="*/ 60 w 176"/>
                  <a:gd name="T71" fmla="*/ 80 h 224"/>
                  <a:gd name="T72" fmla="*/ 72 w 176"/>
                  <a:gd name="T73" fmla="*/ 72 h 224"/>
                  <a:gd name="T74" fmla="*/ 72 w 176"/>
                  <a:gd name="T75" fmla="*/ 46 h 224"/>
                  <a:gd name="T76" fmla="*/ 72 w 176"/>
                  <a:gd name="T77" fmla="*/ 30 h 224"/>
                  <a:gd name="T78" fmla="*/ 102 w 176"/>
                  <a:gd name="T79" fmla="*/ 24 h 224"/>
                  <a:gd name="T80" fmla="*/ 120 w 176"/>
                  <a:gd name="T81" fmla="*/ 24 h 224"/>
                  <a:gd name="T82" fmla="*/ 120 w 176"/>
                  <a:gd name="T83" fmla="*/ 0 h 224"/>
                  <a:gd name="T84" fmla="*/ 142 w 176"/>
                  <a:gd name="T85" fmla="*/ 20 h 224"/>
                  <a:gd name="T86" fmla="*/ 166 w 176"/>
                  <a:gd name="T87" fmla="*/ 34 h 224"/>
                  <a:gd name="T88" fmla="*/ 172 w 176"/>
                  <a:gd name="T89" fmla="*/ 42 h 224"/>
                  <a:gd name="T90" fmla="*/ 150 w 176"/>
                  <a:gd name="T91" fmla="*/ 50 h 224"/>
                  <a:gd name="T92" fmla="*/ 154 w 176"/>
                  <a:gd name="T93" fmla="*/ 80 h 224"/>
                  <a:gd name="T94" fmla="*/ 158 w 176"/>
                  <a:gd name="T95" fmla="*/ 110 h 224"/>
                  <a:gd name="T96" fmla="*/ 162 w 176"/>
                  <a:gd name="T97" fmla="*/ 142 h 224"/>
                  <a:gd name="T98" fmla="*/ 162 w 176"/>
                  <a:gd name="T99" fmla="*/ 168 h 224"/>
                  <a:gd name="T100" fmla="*/ 166 w 176"/>
                  <a:gd name="T101" fmla="*/ 202 h 224"/>
                  <a:gd name="T102" fmla="*/ 154 w 176"/>
                  <a:gd name="T103" fmla="*/ 210 h 224"/>
                  <a:gd name="T104" fmla="*/ 132 w 176"/>
                  <a:gd name="T105" fmla="*/ 210 h 224"/>
                  <a:gd name="T106" fmla="*/ 116 w 176"/>
                  <a:gd name="T107" fmla="*/ 210 h 224"/>
                  <a:gd name="T108" fmla="*/ 110 w 176"/>
                  <a:gd name="T109" fmla="*/ 210 h 224"/>
                  <a:gd name="T110" fmla="*/ 106 w 176"/>
                  <a:gd name="T111" fmla="*/ 214 h 224"/>
                  <a:gd name="T112" fmla="*/ 98 w 176"/>
                  <a:gd name="T113" fmla="*/ 210 h 224"/>
                  <a:gd name="T114" fmla="*/ 90 w 176"/>
                  <a:gd name="T115" fmla="*/ 210 h 224"/>
                  <a:gd name="T116" fmla="*/ 12 w 176"/>
                  <a:gd name="T117" fmla="*/ 134 h 224"/>
                  <a:gd name="T118" fmla="*/ 12 w 176"/>
                  <a:gd name="T119" fmla="*/ 138 h 224"/>
                  <a:gd name="T120" fmla="*/ 12 w 176"/>
                  <a:gd name="T121" fmla="*/ 138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6" h="224">
                    <a:moveTo>
                      <a:pt x="90" y="210"/>
                    </a:move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4"/>
                    </a:lnTo>
                    <a:lnTo>
                      <a:pt x="90" y="218"/>
                    </a:lnTo>
                    <a:lnTo>
                      <a:pt x="90" y="218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6" y="214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10"/>
                    </a:lnTo>
                    <a:lnTo>
                      <a:pt x="84" y="206"/>
                    </a:lnTo>
                    <a:lnTo>
                      <a:pt x="84" y="206"/>
                    </a:lnTo>
                    <a:lnTo>
                      <a:pt x="80" y="206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80" y="210"/>
                    </a:lnTo>
                    <a:lnTo>
                      <a:pt x="76" y="210"/>
                    </a:lnTo>
                    <a:lnTo>
                      <a:pt x="76" y="210"/>
                    </a:lnTo>
                    <a:lnTo>
                      <a:pt x="76" y="214"/>
                    </a:lnTo>
                    <a:lnTo>
                      <a:pt x="76" y="214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18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6" y="220"/>
                    </a:lnTo>
                    <a:lnTo>
                      <a:pt x="72" y="224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72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20"/>
                    </a:lnTo>
                    <a:lnTo>
                      <a:pt x="68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4" y="218"/>
                    </a:lnTo>
                    <a:lnTo>
                      <a:pt x="60" y="218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4"/>
                    </a:lnTo>
                    <a:lnTo>
                      <a:pt x="60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10"/>
                    </a:lnTo>
                    <a:lnTo>
                      <a:pt x="56" y="206"/>
                    </a:lnTo>
                    <a:lnTo>
                      <a:pt x="56" y="206"/>
                    </a:lnTo>
                    <a:lnTo>
                      <a:pt x="54" y="202"/>
                    </a:lnTo>
                    <a:lnTo>
                      <a:pt x="54" y="198"/>
                    </a:lnTo>
                    <a:lnTo>
                      <a:pt x="54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50" y="198"/>
                    </a:lnTo>
                    <a:lnTo>
                      <a:pt x="46" y="198"/>
                    </a:lnTo>
                    <a:lnTo>
                      <a:pt x="46" y="194"/>
                    </a:lnTo>
                    <a:lnTo>
                      <a:pt x="46" y="194"/>
                    </a:lnTo>
                    <a:lnTo>
                      <a:pt x="42" y="190"/>
                    </a:lnTo>
                    <a:lnTo>
                      <a:pt x="42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8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4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88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30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4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20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4"/>
                    </a:lnTo>
                    <a:lnTo>
                      <a:pt x="12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8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8" y="194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90"/>
                    </a:lnTo>
                    <a:lnTo>
                      <a:pt x="12" y="188"/>
                    </a:lnTo>
                    <a:lnTo>
                      <a:pt x="12" y="188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2" y="184"/>
                    </a:lnTo>
                    <a:lnTo>
                      <a:pt x="16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6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60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8"/>
                    </a:lnTo>
                    <a:lnTo>
                      <a:pt x="16" y="154"/>
                    </a:lnTo>
                    <a:lnTo>
                      <a:pt x="16" y="154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6" y="150"/>
                    </a:lnTo>
                    <a:lnTo>
                      <a:pt x="12" y="150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6"/>
                    </a:lnTo>
                    <a:lnTo>
                      <a:pt x="12" y="142"/>
                    </a:lnTo>
                    <a:lnTo>
                      <a:pt x="8" y="142"/>
                    </a:lnTo>
                    <a:lnTo>
                      <a:pt x="8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42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2"/>
                    </a:lnTo>
                    <a:lnTo>
                      <a:pt x="12" y="132"/>
                    </a:lnTo>
                    <a:lnTo>
                      <a:pt x="16" y="128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12" y="120"/>
                    </a:lnTo>
                    <a:lnTo>
                      <a:pt x="8" y="120"/>
                    </a:lnTo>
                    <a:lnTo>
                      <a:pt x="8" y="118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8" y="120"/>
                    </a:lnTo>
                    <a:lnTo>
                      <a:pt x="4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0" y="114"/>
                    </a:lnTo>
                    <a:lnTo>
                      <a:pt x="4" y="114"/>
                    </a:lnTo>
                    <a:lnTo>
                      <a:pt x="4" y="110"/>
                    </a:lnTo>
                    <a:lnTo>
                      <a:pt x="4" y="110"/>
                    </a:lnTo>
                    <a:lnTo>
                      <a:pt x="8" y="110"/>
                    </a:lnTo>
                    <a:lnTo>
                      <a:pt x="16" y="110"/>
                    </a:lnTo>
                    <a:lnTo>
                      <a:pt x="16" y="110"/>
                    </a:lnTo>
                    <a:lnTo>
                      <a:pt x="20" y="110"/>
                    </a:lnTo>
                    <a:lnTo>
                      <a:pt x="20" y="110"/>
                    </a:lnTo>
                    <a:lnTo>
                      <a:pt x="26" y="110"/>
                    </a:lnTo>
                    <a:lnTo>
                      <a:pt x="30" y="110"/>
                    </a:lnTo>
                    <a:lnTo>
                      <a:pt x="34" y="110"/>
                    </a:lnTo>
                    <a:lnTo>
                      <a:pt x="38" y="110"/>
                    </a:lnTo>
                    <a:lnTo>
                      <a:pt x="42" y="110"/>
                    </a:lnTo>
                    <a:lnTo>
                      <a:pt x="42" y="110"/>
                    </a:lnTo>
                    <a:lnTo>
                      <a:pt x="46" y="110"/>
                    </a:lnTo>
                    <a:lnTo>
                      <a:pt x="54" y="110"/>
                    </a:lnTo>
                    <a:lnTo>
                      <a:pt x="60" y="110"/>
                    </a:lnTo>
                    <a:lnTo>
                      <a:pt x="60" y="106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8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72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4"/>
                    </a:lnTo>
                    <a:lnTo>
                      <a:pt x="72" y="54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46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8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30"/>
                    </a:lnTo>
                    <a:lnTo>
                      <a:pt x="72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90" y="24"/>
                    </a:lnTo>
                    <a:lnTo>
                      <a:pt x="94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2" y="24"/>
                    </a:lnTo>
                    <a:lnTo>
                      <a:pt x="106" y="24"/>
                    </a:lnTo>
                    <a:lnTo>
                      <a:pt x="106" y="24"/>
                    </a:lnTo>
                    <a:lnTo>
                      <a:pt x="110" y="24"/>
                    </a:lnTo>
                    <a:lnTo>
                      <a:pt x="11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24"/>
                    </a:lnTo>
                    <a:lnTo>
                      <a:pt x="120" y="16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36" y="12"/>
                    </a:lnTo>
                    <a:lnTo>
                      <a:pt x="136" y="12"/>
                    </a:lnTo>
                    <a:lnTo>
                      <a:pt x="140" y="16"/>
                    </a:lnTo>
                    <a:lnTo>
                      <a:pt x="142" y="16"/>
                    </a:lnTo>
                    <a:lnTo>
                      <a:pt x="142" y="20"/>
                    </a:lnTo>
                    <a:lnTo>
                      <a:pt x="146" y="20"/>
                    </a:lnTo>
                    <a:lnTo>
                      <a:pt x="150" y="24"/>
                    </a:lnTo>
                    <a:lnTo>
                      <a:pt x="154" y="28"/>
                    </a:lnTo>
                    <a:lnTo>
                      <a:pt x="154" y="28"/>
                    </a:lnTo>
                    <a:lnTo>
                      <a:pt x="162" y="30"/>
                    </a:lnTo>
                    <a:lnTo>
                      <a:pt x="162" y="30"/>
                    </a:lnTo>
                    <a:lnTo>
                      <a:pt x="166" y="34"/>
                    </a:lnTo>
                    <a:lnTo>
                      <a:pt x="170" y="38"/>
                    </a:lnTo>
                    <a:lnTo>
                      <a:pt x="172" y="42"/>
                    </a:lnTo>
                    <a:lnTo>
                      <a:pt x="172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6" y="42"/>
                    </a:lnTo>
                    <a:lnTo>
                      <a:pt x="172" y="42"/>
                    </a:lnTo>
                    <a:lnTo>
                      <a:pt x="162" y="42"/>
                    </a:lnTo>
                    <a:lnTo>
                      <a:pt x="158" y="42"/>
                    </a:lnTo>
                    <a:lnTo>
                      <a:pt x="154" y="42"/>
                    </a:lnTo>
                    <a:lnTo>
                      <a:pt x="154" y="42"/>
                    </a:lnTo>
                    <a:lnTo>
                      <a:pt x="150" y="42"/>
                    </a:lnTo>
                    <a:lnTo>
                      <a:pt x="150" y="42"/>
                    </a:lnTo>
                    <a:lnTo>
                      <a:pt x="150" y="50"/>
                    </a:lnTo>
                    <a:lnTo>
                      <a:pt x="150" y="50"/>
                    </a:lnTo>
                    <a:lnTo>
                      <a:pt x="150" y="54"/>
                    </a:lnTo>
                    <a:lnTo>
                      <a:pt x="150" y="58"/>
                    </a:lnTo>
                    <a:lnTo>
                      <a:pt x="154" y="64"/>
                    </a:lnTo>
                    <a:lnTo>
                      <a:pt x="154" y="72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0"/>
                    </a:lnTo>
                    <a:lnTo>
                      <a:pt x="154" y="84"/>
                    </a:lnTo>
                    <a:lnTo>
                      <a:pt x="154" y="94"/>
                    </a:lnTo>
                    <a:lnTo>
                      <a:pt x="154" y="98"/>
                    </a:lnTo>
                    <a:lnTo>
                      <a:pt x="158" y="102"/>
                    </a:lnTo>
                    <a:lnTo>
                      <a:pt x="158" y="106"/>
                    </a:lnTo>
                    <a:lnTo>
                      <a:pt x="158" y="110"/>
                    </a:lnTo>
                    <a:lnTo>
                      <a:pt x="158" y="114"/>
                    </a:lnTo>
                    <a:lnTo>
                      <a:pt x="158" y="118"/>
                    </a:lnTo>
                    <a:lnTo>
                      <a:pt x="158" y="120"/>
                    </a:lnTo>
                    <a:lnTo>
                      <a:pt x="158" y="128"/>
                    </a:lnTo>
                    <a:lnTo>
                      <a:pt x="158" y="134"/>
                    </a:lnTo>
                    <a:lnTo>
                      <a:pt x="158" y="134"/>
                    </a:lnTo>
                    <a:lnTo>
                      <a:pt x="162" y="142"/>
                    </a:lnTo>
                    <a:lnTo>
                      <a:pt x="162" y="146"/>
                    </a:lnTo>
                    <a:lnTo>
                      <a:pt x="162" y="146"/>
                    </a:lnTo>
                    <a:lnTo>
                      <a:pt x="162" y="154"/>
                    </a:lnTo>
                    <a:lnTo>
                      <a:pt x="162" y="154"/>
                    </a:lnTo>
                    <a:lnTo>
                      <a:pt x="162" y="160"/>
                    </a:lnTo>
                    <a:lnTo>
                      <a:pt x="162" y="164"/>
                    </a:lnTo>
                    <a:lnTo>
                      <a:pt x="162" y="168"/>
                    </a:lnTo>
                    <a:lnTo>
                      <a:pt x="162" y="176"/>
                    </a:lnTo>
                    <a:lnTo>
                      <a:pt x="166" y="188"/>
                    </a:lnTo>
                    <a:lnTo>
                      <a:pt x="166" y="190"/>
                    </a:lnTo>
                    <a:lnTo>
                      <a:pt x="170" y="194"/>
                    </a:lnTo>
                    <a:lnTo>
                      <a:pt x="170" y="198"/>
                    </a:lnTo>
                    <a:lnTo>
                      <a:pt x="170" y="198"/>
                    </a:lnTo>
                    <a:lnTo>
                      <a:pt x="166" y="202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66" y="210"/>
                    </a:lnTo>
                    <a:lnTo>
                      <a:pt x="158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4" y="210"/>
                    </a:lnTo>
                    <a:lnTo>
                      <a:pt x="150" y="210"/>
                    </a:lnTo>
                    <a:lnTo>
                      <a:pt x="142" y="210"/>
                    </a:lnTo>
                    <a:lnTo>
                      <a:pt x="140" y="210"/>
                    </a:lnTo>
                    <a:lnTo>
                      <a:pt x="140" y="210"/>
                    </a:lnTo>
                    <a:lnTo>
                      <a:pt x="136" y="210"/>
                    </a:lnTo>
                    <a:lnTo>
                      <a:pt x="132" y="210"/>
                    </a:lnTo>
                    <a:lnTo>
                      <a:pt x="128" y="210"/>
                    </a:lnTo>
                    <a:lnTo>
                      <a:pt x="124" y="210"/>
                    </a:lnTo>
                    <a:lnTo>
                      <a:pt x="124" y="210"/>
                    </a:lnTo>
                    <a:lnTo>
                      <a:pt x="120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6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10"/>
                    </a:lnTo>
                    <a:lnTo>
                      <a:pt x="112" y="206"/>
                    </a:lnTo>
                    <a:lnTo>
                      <a:pt x="112" y="206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10" y="210"/>
                    </a:lnTo>
                    <a:lnTo>
                      <a:pt x="106" y="210"/>
                    </a:lnTo>
                    <a:lnTo>
                      <a:pt x="106" y="210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6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102" y="214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8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4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lnTo>
                      <a:pt x="90" y="210"/>
                    </a:lnTo>
                    <a:close/>
                    <a:moveTo>
                      <a:pt x="12" y="138"/>
                    </a:move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4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lnTo>
                      <a:pt x="12" y="1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19" name="Freeform 158">
                <a:extLst>
                  <a:ext uri="{FF2B5EF4-FFF2-40B4-BE49-F238E27FC236}">
                    <a16:creationId xmlns:a16="http://schemas.microsoft.com/office/drawing/2014/main" id="{0D7D3FB4-CC95-43AC-946B-A87F19C1865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98925" y="3549718"/>
                <a:ext cx="273050" cy="244475"/>
              </a:xfrm>
              <a:custGeom>
                <a:avLst/>
                <a:gdLst>
                  <a:gd name="T0" fmla="*/ 126 w 172"/>
                  <a:gd name="T1" fmla="*/ 16 h 154"/>
                  <a:gd name="T2" fmla="*/ 134 w 172"/>
                  <a:gd name="T3" fmla="*/ 16 h 154"/>
                  <a:gd name="T4" fmla="*/ 142 w 172"/>
                  <a:gd name="T5" fmla="*/ 16 h 154"/>
                  <a:gd name="T6" fmla="*/ 146 w 172"/>
                  <a:gd name="T7" fmla="*/ 16 h 154"/>
                  <a:gd name="T8" fmla="*/ 146 w 172"/>
                  <a:gd name="T9" fmla="*/ 16 h 154"/>
                  <a:gd name="T10" fmla="*/ 148 w 172"/>
                  <a:gd name="T11" fmla="*/ 16 h 154"/>
                  <a:gd name="T12" fmla="*/ 156 w 172"/>
                  <a:gd name="T13" fmla="*/ 20 h 154"/>
                  <a:gd name="T14" fmla="*/ 160 w 172"/>
                  <a:gd name="T15" fmla="*/ 26 h 154"/>
                  <a:gd name="T16" fmla="*/ 164 w 172"/>
                  <a:gd name="T17" fmla="*/ 38 h 154"/>
                  <a:gd name="T18" fmla="*/ 164 w 172"/>
                  <a:gd name="T19" fmla="*/ 46 h 154"/>
                  <a:gd name="T20" fmla="*/ 164 w 172"/>
                  <a:gd name="T21" fmla="*/ 56 h 154"/>
                  <a:gd name="T22" fmla="*/ 172 w 172"/>
                  <a:gd name="T23" fmla="*/ 64 h 154"/>
                  <a:gd name="T24" fmla="*/ 168 w 172"/>
                  <a:gd name="T25" fmla="*/ 72 h 154"/>
                  <a:gd name="T26" fmla="*/ 168 w 172"/>
                  <a:gd name="T27" fmla="*/ 76 h 154"/>
                  <a:gd name="T28" fmla="*/ 160 w 172"/>
                  <a:gd name="T29" fmla="*/ 72 h 154"/>
                  <a:gd name="T30" fmla="*/ 152 w 172"/>
                  <a:gd name="T31" fmla="*/ 72 h 154"/>
                  <a:gd name="T32" fmla="*/ 146 w 172"/>
                  <a:gd name="T33" fmla="*/ 76 h 154"/>
                  <a:gd name="T34" fmla="*/ 142 w 172"/>
                  <a:gd name="T35" fmla="*/ 78 h 154"/>
                  <a:gd name="T36" fmla="*/ 134 w 172"/>
                  <a:gd name="T37" fmla="*/ 78 h 154"/>
                  <a:gd name="T38" fmla="*/ 130 w 172"/>
                  <a:gd name="T39" fmla="*/ 86 h 154"/>
                  <a:gd name="T40" fmla="*/ 134 w 172"/>
                  <a:gd name="T41" fmla="*/ 94 h 154"/>
                  <a:gd name="T42" fmla="*/ 130 w 172"/>
                  <a:gd name="T43" fmla="*/ 94 h 154"/>
                  <a:gd name="T44" fmla="*/ 126 w 172"/>
                  <a:gd name="T45" fmla="*/ 98 h 154"/>
                  <a:gd name="T46" fmla="*/ 118 w 172"/>
                  <a:gd name="T47" fmla="*/ 102 h 154"/>
                  <a:gd name="T48" fmla="*/ 116 w 172"/>
                  <a:gd name="T49" fmla="*/ 108 h 154"/>
                  <a:gd name="T50" fmla="*/ 112 w 172"/>
                  <a:gd name="T51" fmla="*/ 112 h 154"/>
                  <a:gd name="T52" fmla="*/ 100 w 172"/>
                  <a:gd name="T53" fmla="*/ 116 h 154"/>
                  <a:gd name="T54" fmla="*/ 96 w 172"/>
                  <a:gd name="T55" fmla="*/ 116 h 154"/>
                  <a:gd name="T56" fmla="*/ 92 w 172"/>
                  <a:gd name="T57" fmla="*/ 120 h 154"/>
                  <a:gd name="T58" fmla="*/ 86 w 172"/>
                  <a:gd name="T59" fmla="*/ 120 h 154"/>
                  <a:gd name="T60" fmla="*/ 78 w 172"/>
                  <a:gd name="T61" fmla="*/ 124 h 154"/>
                  <a:gd name="T62" fmla="*/ 74 w 172"/>
                  <a:gd name="T63" fmla="*/ 124 h 154"/>
                  <a:gd name="T64" fmla="*/ 66 w 172"/>
                  <a:gd name="T65" fmla="*/ 130 h 154"/>
                  <a:gd name="T66" fmla="*/ 62 w 172"/>
                  <a:gd name="T67" fmla="*/ 154 h 154"/>
                  <a:gd name="T68" fmla="*/ 44 w 172"/>
                  <a:gd name="T69" fmla="*/ 154 h 154"/>
                  <a:gd name="T70" fmla="*/ 0 w 172"/>
                  <a:gd name="T71" fmla="*/ 154 h 154"/>
                  <a:gd name="T72" fmla="*/ 4 w 172"/>
                  <a:gd name="T73" fmla="*/ 150 h 154"/>
                  <a:gd name="T74" fmla="*/ 18 w 172"/>
                  <a:gd name="T75" fmla="*/ 146 h 154"/>
                  <a:gd name="T76" fmla="*/ 30 w 172"/>
                  <a:gd name="T77" fmla="*/ 134 h 154"/>
                  <a:gd name="T78" fmla="*/ 36 w 172"/>
                  <a:gd name="T79" fmla="*/ 130 h 154"/>
                  <a:gd name="T80" fmla="*/ 40 w 172"/>
                  <a:gd name="T81" fmla="*/ 124 h 154"/>
                  <a:gd name="T82" fmla="*/ 48 w 172"/>
                  <a:gd name="T83" fmla="*/ 116 h 154"/>
                  <a:gd name="T84" fmla="*/ 52 w 172"/>
                  <a:gd name="T85" fmla="*/ 104 h 154"/>
                  <a:gd name="T86" fmla="*/ 48 w 172"/>
                  <a:gd name="T87" fmla="*/ 98 h 154"/>
                  <a:gd name="T88" fmla="*/ 48 w 172"/>
                  <a:gd name="T89" fmla="*/ 86 h 154"/>
                  <a:gd name="T90" fmla="*/ 48 w 172"/>
                  <a:gd name="T91" fmla="*/ 78 h 154"/>
                  <a:gd name="T92" fmla="*/ 56 w 172"/>
                  <a:gd name="T93" fmla="*/ 64 h 154"/>
                  <a:gd name="T94" fmla="*/ 60 w 172"/>
                  <a:gd name="T95" fmla="*/ 60 h 154"/>
                  <a:gd name="T96" fmla="*/ 66 w 172"/>
                  <a:gd name="T97" fmla="*/ 52 h 154"/>
                  <a:gd name="T98" fmla="*/ 70 w 172"/>
                  <a:gd name="T99" fmla="*/ 50 h 154"/>
                  <a:gd name="T100" fmla="*/ 82 w 172"/>
                  <a:gd name="T101" fmla="*/ 42 h 154"/>
                  <a:gd name="T102" fmla="*/ 90 w 172"/>
                  <a:gd name="T103" fmla="*/ 38 h 154"/>
                  <a:gd name="T104" fmla="*/ 96 w 172"/>
                  <a:gd name="T105" fmla="*/ 22 h 154"/>
                  <a:gd name="T106" fmla="*/ 100 w 172"/>
                  <a:gd name="T107" fmla="*/ 12 h 154"/>
                  <a:gd name="T108" fmla="*/ 108 w 172"/>
                  <a:gd name="T109" fmla="*/ 4 h 154"/>
                  <a:gd name="T110" fmla="*/ 112 w 172"/>
                  <a:gd name="T111" fmla="*/ 4 h 154"/>
                  <a:gd name="T112" fmla="*/ 112 w 172"/>
                  <a:gd name="T113" fmla="*/ 8 h 154"/>
                  <a:gd name="T114" fmla="*/ 122 w 172"/>
                  <a:gd name="T115" fmla="*/ 16 h 1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154">
                    <a:moveTo>
                      <a:pt x="122" y="16"/>
                    </a:moveTo>
                    <a:lnTo>
                      <a:pt x="122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26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0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38" y="16"/>
                    </a:lnTo>
                    <a:lnTo>
                      <a:pt x="142" y="16"/>
                    </a:lnTo>
                    <a:lnTo>
                      <a:pt x="142" y="16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2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6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48" y="20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56" y="20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2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26"/>
                    </a:lnTo>
                    <a:lnTo>
                      <a:pt x="160" y="30"/>
                    </a:lnTo>
                    <a:lnTo>
                      <a:pt x="164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0"/>
                    </a:lnTo>
                    <a:lnTo>
                      <a:pt x="160" y="34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38"/>
                    </a:lnTo>
                    <a:lnTo>
                      <a:pt x="164" y="42"/>
                    </a:lnTo>
                    <a:lnTo>
                      <a:pt x="160" y="42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46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0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4" y="56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68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68" y="72"/>
                    </a:lnTo>
                    <a:lnTo>
                      <a:pt x="172" y="72"/>
                    </a:lnTo>
                    <a:lnTo>
                      <a:pt x="172" y="72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6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52" y="72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6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6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42" y="78"/>
                    </a:lnTo>
                    <a:lnTo>
                      <a:pt x="138" y="78"/>
                    </a:lnTo>
                    <a:lnTo>
                      <a:pt x="138" y="78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8" y="82"/>
                    </a:lnTo>
                    <a:lnTo>
                      <a:pt x="134" y="82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4" y="78"/>
                    </a:lnTo>
                    <a:lnTo>
                      <a:pt x="130" y="82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86"/>
                    </a:lnTo>
                    <a:lnTo>
                      <a:pt x="134" y="86"/>
                    </a:lnTo>
                    <a:lnTo>
                      <a:pt x="130" y="90"/>
                    </a:lnTo>
                    <a:lnTo>
                      <a:pt x="130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0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4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30" y="94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6" y="98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22" y="102"/>
                    </a:lnTo>
                    <a:lnTo>
                      <a:pt x="118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08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12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8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100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6" y="116"/>
                    </a:lnTo>
                    <a:lnTo>
                      <a:pt x="92" y="116"/>
                    </a:lnTo>
                    <a:lnTo>
                      <a:pt x="92" y="116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2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90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6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0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82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8" y="124"/>
                    </a:lnTo>
                    <a:lnTo>
                      <a:pt x="74" y="124"/>
                    </a:lnTo>
                    <a:lnTo>
                      <a:pt x="74" y="128"/>
                    </a:lnTo>
                    <a:lnTo>
                      <a:pt x="70" y="128"/>
                    </a:lnTo>
                    <a:lnTo>
                      <a:pt x="70" y="130"/>
                    </a:lnTo>
                    <a:lnTo>
                      <a:pt x="70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0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6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34"/>
                    </a:lnTo>
                    <a:lnTo>
                      <a:pt x="62" y="150"/>
                    </a:lnTo>
                    <a:lnTo>
                      <a:pt x="62" y="154"/>
                    </a:lnTo>
                    <a:lnTo>
                      <a:pt x="56" y="154"/>
                    </a:lnTo>
                    <a:lnTo>
                      <a:pt x="56" y="154"/>
                    </a:lnTo>
                    <a:lnTo>
                      <a:pt x="48" y="154"/>
                    </a:lnTo>
                    <a:lnTo>
                      <a:pt x="48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4" y="154"/>
                    </a:lnTo>
                    <a:lnTo>
                      <a:pt x="40" y="154"/>
                    </a:lnTo>
                    <a:lnTo>
                      <a:pt x="4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0" y="154"/>
                    </a:lnTo>
                    <a:lnTo>
                      <a:pt x="4" y="154"/>
                    </a:lnTo>
                    <a:lnTo>
                      <a:pt x="4" y="154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4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6" y="150"/>
                    </a:lnTo>
                    <a:lnTo>
                      <a:pt x="10" y="146"/>
                    </a:lnTo>
                    <a:lnTo>
                      <a:pt x="14" y="146"/>
                    </a:lnTo>
                    <a:lnTo>
                      <a:pt x="18" y="146"/>
                    </a:lnTo>
                    <a:lnTo>
                      <a:pt x="18" y="146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6" y="138"/>
                    </a:lnTo>
                    <a:lnTo>
                      <a:pt x="26" y="138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0" y="134"/>
                    </a:lnTo>
                    <a:lnTo>
                      <a:pt x="34" y="134"/>
                    </a:lnTo>
                    <a:lnTo>
                      <a:pt x="34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30"/>
                    </a:lnTo>
                    <a:lnTo>
                      <a:pt x="36" y="128"/>
                    </a:lnTo>
                    <a:lnTo>
                      <a:pt x="36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4" y="120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8"/>
                    </a:lnTo>
                    <a:lnTo>
                      <a:pt x="48" y="94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2" y="56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2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2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0" y="50"/>
                    </a:lnTo>
                    <a:lnTo>
                      <a:pt x="74" y="50"/>
                    </a:lnTo>
                    <a:lnTo>
                      <a:pt x="74" y="46"/>
                    </a:lnTo>
                    <a:lnTo>
                      <a:pt x="74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78" y="46"/>
                    </a:lnTo>
                    <a:lnTo>
                      <a:pt x="82" y="46"/>
                    </a:lnTo>
                    <a:lnTo>
                      <a:pt x="82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86" y="42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0" y="38"/>
                    </a:lnTo>
                    <a:lnTo>
                      <a:pt x="92" y="34"/>
                    </a:lnTo>
                    <a:lnTo>
                      <a:pt x="92" y="34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30"/>
                    </a:lnTo>
                    <a:lnTo>
                      <a:pt x="92" y="26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2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12"/>
                    </a:lnTo>
                    <a:lnTo>
                      <a:pt x="100" y="12"/>
                    </a:lnTo>
                    <a:lnTo>
                      <a:pt x="100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4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8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18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lnTo>
                      <a:pt x="122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0" name="Freeform 159">
                <a:extLst>
                  <a:ext uri="{FF2B5EF4-FFF2-40B4-BE49-F238E27FC236}">
                    <a16:creationId xmlns:a16="http://schemas.microsoft.com/office/drawing/2014/main" id="{DD9F71FB-EB8D-44D4-BAC6-E0D56A8164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73650" y="4845118"/>
                <a:ext cx="238125" cy="457200"/>
              </a:xfrm>
              <a:custGeom>
                <a:avLst/>
                <a:gdLst>
                  <a:gd name="T0" fmla="*/ 22 w 150"/>
                  <a:gd name="T1" fmla="*/ 274 h 288"/>
                  <a:gd name="T2" fmla="*/ 22 w 150"/>
                  <a:gd name="T3" fmla="*/ 254 h 288"/>
                  <a:gd name="T4" fmla="*/ 22 w 150"/>
                  <a:gd name="T5" fmla="*/ 240 h 288"/>
                  <a:gd name="T6" fmla="*/ 18 w 150"/>
                  <a:gd name="T7" fmla="*/ 226 h 288"/>
                  <a:gd name="T8" fmla="*/ 22 w 150"/>
                  <a:gd name="T9" fmla="*/ 198 h 288"/>
                  <a:gd name="T10" fmla="*/ 34 w 150"/>
                  <a:gd name="T11" fmla="*/ 176 h 288"/>
                  <a:gd name="T12" fmla="*/ 38 w 150"/>
                  <a:gd name="T13" fmla="*/ 158 h 288"/>
                  <a:gd name="T14" fmla="*/ 38 w 150"/>
                  <a:gd name="T15" fmla="*/ 146 h 288"/>
                  <a:gd name="T16" fmla="*/ 42 w 150"/>
                  <a:gd name="T17" fmla="*/ 136 h 288"/>
                  <a:gd name="T18" fmla="*/ 38 w 150"/>
                  <a:gd name="T19" fmla="*/ 120 h 288"/>
                  <a:gd name="T20" fmla="*/ 34 w 150"/>
                  <a:gd name="T21" fmla="*/ 106 h 288"/>
                  <a:gd name="T22" fmla="*/ 22 w 150"/>
                  <a:gd name="T23" fmla="*/ 98 h 288"/>
                  <a:gd name="T24" fmla="*/ 8 w 150"/>
                  <a:gd name="T25" fmla="*/ 94 h 288"/>
                  <a:gd name="T26" fmla="*/ 0 w 150"/>
                  <a:gd name="T27" fmla="*/ 80 h 288"/>
                  <a:gd name="T28" fmla="*/ 12 w 150"/>
                  <a:gd name="T29" fmla="*/ 72 h 288"/>
                  <a:gd name="T30" fmla="*/ 26 w 150"/>
                  <a:gd name="T31" fmla="*/ 68 h 288"/>
                  <a:gd name="T32" fmla="*/ 44 w 150"/>
                  <a:gd name="T33" fmla="*/ 64 h 288"/>
                  <a:gd name="T34" fmla="*/ 60 w 150"/>
                  <a:gd name="T35" fmla="*/ 68 h 288"/>
                  <a:gd name="T36" fmla="*/ 60 w 150"/>
                  <a:gd name="T37" fmla="*/ 86 h 288"/>
                  <a:gd name="T38" fmla="*/ 60 w 150"/>
                  <a:gd name="T39" fmla="*/ 102 h 288"/>
                  <a:gd name="T40" fmla="*/ 68 w 150"/>
                  <a:gd name="T41" fmla="*/ 116 h 288"/>
                  <a:gd name="T42" fmla="*/ 68 w 150"/>
                  <a:gd name="T43" fmla="*/ 106 h 288"/>
                  <a:gd name="T44" fmla="*/ 78 w 150"/>
                  <a:gd name="T45" fmla="*/ 98 h 288"/>
                  <a:gd name="T46" fmla="*/ 78 w 150"/>
                  <a:gd name="T47" fmla="*/ 76 h 288"/>
                  <a:gd name="T48" fmla="*/ 68 w 150"/>
                  <a:gd name="T49" fmla="*/ 52 h 288"/>
                  <a:gd name="T50" fmla="*/ 60 w 150"/>
                  <a:gd name="T51" fmla="*/ 38 h 288"/>
                  <a:gd name="T52" fmla="*/ 60 w 150"/>
                  <a:gd name="T53" fmla="*/ 26 h 288"/>
                  <a:gd name="T54" fmla="*/ 70 w 150"/>
                  <a:gd name="T55" fmla="*/ 20 h 288"/>
                  <a:gd name="T56" fmla="*/ 90 w 150"/>
                  <a:gd name="T57" fmla="*/ 20 h 288"/>
                  <a:gd name="T58" fmla="*/ 108 w 150"/>
                  <a:gd name="T59" fmla="*/ 20 h 288"/>
                  <a:gd name="T60" fmla="*/ 112 w 150"/>
                  <a:gd name="T61" fmla="*/ 12 h 288"/>
                  <a:gd name="T62" fmla="*/ 128 w 150"/>
                  <a:gd name="T63" fmla="*/ 12 h 288"/>
                  <a:gd name="T64" fmla="*/ 138 w 150"/>
                  <a:gd name="T65" fmla="*/ 4 h 288"/>
                  <a:gd name="T66" fmla="*/ 146 w 150"/>
                  <a:gd name="T67" fmla="*/ 12 h 288"/>
                  <a:gd name="T68" fmla="*/ 146 w 150"/>
                  <a:gd name="T69" fmla="*/ 24 h 288"/>
                  <a:gd name="T70" fmla="*/ 142 w 150"/>
                  <a:gd name="T71" fmla="*/ 42 h 288"/>
                  <a:gd name="T72" fmla="*/ 146 w 150"/>
                  <a:gd name="T73" fmla="*/ 56 h 288"/>
                  <a:gd name="T74" fmla="*/ 146 w 150"/>
                  <a:gd name="T75" fmla="*/ 68 h 288"/>
                  <a:gd name="T76" fmla="*/ 146 w 150"/>
                  <a:gd name="T77" fmla="*/ 80 h 288"/>
                  <a:gd name="T78" fmla="*/ 142 w 150"/>
                  <a:gd name="T79" fmla="*/ 86 h 288"/>
                  <a:gd name="T80" fmla="*/ 134 w 150"/>
                  <a:gd name="T81" fmla="*/ 102 h 288"/>
                  <a:gd name="T82" fmla="*/ 124 w 150"/>
                  <a:gd name="T83" fmla="*/ 112 h 288"/>
                  <a:gd name="T84" fmla="*/ 108 w 150"/>
                  <a:gd name="T85" fmla="*/ 120 h 288"/>
                  <a:gd name="T86" fmla="*/ 94 w 150"/>
                  <a:gd name="T87" fmla="*/ 132 h 288"/>
                  <a:gd name="T88" fmla="*/ 86 w 150"/>
                  <a:gd name="T89" fmla="*/ 140 h 288"/>
                  <a:gd name="T90" fmla="*/ 82 w 150"/>
                  <a:gd name="T91" fmla="*/ 146 h 288"/>
                  <a:gd name="T92" fmla="*/ 70 w 150"/>
                  <a:gd name="T93" fmla="*/ 158 h 288"/>
                  <a:gd name="T94" fmla="*/ 64 w 150"/>
                  <a:gd name="T95" fmla="*/ 162 h 288"/>
                  <a:gd name="T96" fmla="*/ 68 w 150"/>
                  <a:gd name="T97" fmla="*/ 176 h 288"/>
                  <a:gd name="T98" fmla="*/ 70 w 150"/>
                  <a:gd name="T99" fmla="*/ 192 h 288"/>
                  <a:gd name="T100" fmla="*/ 70 w 150"/>
                  <a:gd name="T101" fmla="*/ 210 h 288"/>
                  <a:gd name="T102" fmla="*/ 74 w 150"/>
                  <a:gd name="T103" fmla="*/ 210 h 288"/>
                  <a:gd name="T104" fmla="*/ 70 w 150"/>
                  <a:gd name="T105" fmla="*/ 228 h 288"/>
                  <a:gd name="T106" fmla="*/ 74 w 150"/>
                  <a:gd name="T107" fmla="*/ 236 h 288"/>
                  <a:gd name="T108" fmla="*/ 68 w 150"/>
                  <a:gd name="T109" fmla="*/ 248 h 288"/>
                  <a:gd name="T110" fmla="*/ 52 w 150"/>
                  <a:gd name="T111" fmla="*/ 254 h 288"/>
                  <a:gd name="T112" fmla="*/ 38 w 150"/>
                  <a:gd name="T113" fmla="*/ 262 h 288"/>
                  <a:gd name="T114" fmla="*/ 34 w 150"/>
                  <a:gd name="T115" fmla="*/ 278 h 288"/>
                  <a:gd name="T116" fmla="*/ 38 w 150"/>
                  <a:gd name="T117" fmla="*/ 288 h 288"/>
                  <a:gd name="T118" fmla="*/ 26 w 150"/>
                  <a:gd name="T119" fmla="*/ 288 h 288"/>
                  <a:gd name="T120" fmla="*/ 74 w 150"/>
                  <a:gd name="T121" fmla="*/ 196 h 2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50" h="288">
                    <a:moveTo>
                      <a:pt x="26" y="288"/>
                    </a:moveTo>
                    <a:lnTo>
                      <a:pt x="26" y="280"/>
                    </a:lnTo>
                    <a:lnTo>
                      <a:pt x="26" y="278"/>
                    </a:lnTo>
                    <a:lnTo>
                      <a:pt x="26" y="274"/>
                    </a:lnTo>
                    <a:lnTo>
                      <a:pt x="22" y="274"/>
                    </a:lnTo>
                    <a:lnTo>
                      <a:pt x="22" y="270"/>
                    </a:lnTo>
                    <a:lnTo>
                      <a:pt x="22" y="266"/>
                    </a:lnTo>
                    <a:lnTo>
                      <a:pt x="22" y="262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22" y="252"/>
                    </a:lnTo>
                    <a:lnTo>
                      <a:pt x="22" y="248"/>
                    </a:lnTo>
                    <a:lnTo>
                      <a:pt x="26" y="244"/>
                    </a:lnTo>
                    <a:lnTo>
                      <a:pt x="22" y="244"/>
                    </a:lnTo>
                    <a:lnTo>
                      <a:pt x="22" y="240"/>
                    </a:lnTo>
                    <a:lnTo>
                      <a:pt x="22" y="236"/>
                    </a:lnTo>
                    <a:lnTo>
                      <a:pt x="22" y="232"/>
                    </a:lnTo>
                    <a:lnTo>
                      <a:pt x="18" y="232"/>
                    </a:lnTo>
                    <a:lnTo>
                      <a:pt x="18" y="228"/>
                    </a:lnTo>
                    <a:lnTo>
                      <a:pt x="18" y="226"/>
                    </a:lnTo>
                    <a:lnTo>
                      <a:pt x="18" y="222"/>
                    </a:lnTo>
                    <a:lnTo>
                      <a:pt x="14" y="210"/>
                    </a:lnTo>
                    <a:lnTo>
                      <a:pt x="14" y="206"/>
                    </a:lnTo>
                    <a:lnTo>
                      <a:pt x="18" y="202"/>
                    </a:lnTo>
                    <a:lnTo>
                      <a:pt x="22" y="198"/>
                    </a:lnTo>
                    <a:lnTo>
                      <a:pt x="30" y="188"/>
                    </a:lnTo>
                    <a:lnTo>
                      <a:pt x="30" y="184"/>
                    </a:lnTo>
                    <a:lnTo>
                      <a:pt x="30" y="180"/>
                    </a:lnTo>
                    <a:lnTo>
                      <a:pt x="30" y="176"/>
                    </a:lnTo>
                    <a:lnTo>
                      <a:pt x="34" y="176"/>
                    </a:lnTo>
                    <a:lnTo>
                      <a:pt x="34" y="172"/>
                    </a:lnTo>
                    <a:lnTo>
                      <a:pt x="38" y="168"/>
                    </a:lnTo>
                    <a:lnTo>
                      <a:pt x="38" y="166"/>
                    </a:lnTo>
                    <a:lnTo>
                      <a:pt x="38" y="162"/>
                    </a:lnTo>
                    <a:lnTo>
                      <a:pt x="38" y="158"/>
                    </a:lnTo>
                    <a:lnTo>
                      <a:pt x="34" y="158"/>
                    </a:lnTo>
                    <a:lnTo>
                      <a:pt x="34" y="154"/>
                    </a:lnTo>
                    <a:lnTo>
                      <a:pt x="38" y="154"/>
                    </a:lnTo>
                    <a:lnTo>
                      <a:pt x="38" y="150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8" y="140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2"/>
                    </a:lnTo>
                    <a:lnTo>
                      <a:pt x="38" y="128"/>
                    </a:lnTo>
                    <a:lnTo>
                      <a:pt x="38" y="124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30" y="102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8"/>
                    </a:lnTo>
                    <a:lnTo>
                      <a:pt x="14" y="94"/>
                    </a:lnTo>
                    <a:lnTo>
                      <a:pt x="12" y="94"/>
                    </a:lnTo>
                    <a:lnTo>
                      <a:pt x="8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4" y="72"/>
                    </a:lnTo>
                    <a:lnTo>
                      <a:pt x="18" y="72"/>
                    </a:lnTo>
                    <a:lnTo>
                      <a:pt x="18" y="68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30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4" y="106"/>
                    </a:lnTo>
                    <a:lnTo>
                      <a:pt x="68" y="110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70" y="116"/>
                    </a:lnTo>
                    <a:lnTo>
                      <a:pt x="70" y="112"/>
                    </a:lnTo>
                    <a:lnTo>
                      <a:pt x="70" y="110"/>
                    </a:lnTo>
                    <a:lnTo>
                      <a:pt x="70" y="106"/>
                    </a:lnTo>
                    <a:lnTo>
                      <a:pt x="68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0" y="98"/>
                    </a:lnTo>
                    <a:lnTo>
                      <a:pt x="74" y="98"/>
                    </a:lnTo>
                    <a:lnTo>
                      <a:pt x="78" y="98"/>
                    </a:lnTo>
                    <a:lnTo>
                      <a:pt x="78" y="94"/>
                    </a:lnTo>
                    <a:lnTo>
                      <a:pt x="78" y="86"/>
                    </a:lnTo>
                    <a:lnTo>
                      <a:pt x="78" y="82"/>
                    </a:lnTo>
                    <a:lnTo>
                      <a:pt x="78" y="80"/>
                    </a:lnTo>
                    <a:lnTo>
                      <a:pt x="78" y="76"/>
                    </a:lnTo>
                    <a:lnTo>
                      <a:pt x="78" y="72"/>
                    </a:lnTo>
                    <a:lnTo>
                      <a:pt x="74" y="64"/>
                    </a:lnTo>
                    <a:lnTo>
                      <a:pt x="70" y="56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64" y="52"/>
                    </a:lnTo>
                    <a:lnTo>
                      <a:pt x="60" y="50"/>
                    </a:lnTo>
                    <a:lnTo>
                      <a:pt x="60" y="46"/>
                    </a:lnTo>
                    <a:lnTo>
                      <a:pt x="60" y="42"/>
                    </a:lnTo>
                    <a:lnTo>
                      <a:pt x="60" y="38"/>
                    </a:lnTo>
                    <a:lnTo>
                      <a:pt x="60" y="34"/>
                    </a:lnTo>
                    <a:lnTo>
                      <a:pt x="60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4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0" y="20"/>
                    </a:lnTo>
                    <a:lnTo>
                      <a:pt x="74" y="20"/>
                    </a:lnTo>
                    <a:lnTo>
                      <a:pt x="78" y="16"/>
                    </a:lnTo>
                    <a:lnTo>
                      <a:pt x="82" y="20"/>
                    </a:lnTo>
                    <a:lnTo>
                      <a:pt x="86" y="20"/>
                    </a:lnTo>
                    <a:lnTo>
                      <a:pt x="90" y="20"/>
                    </a:lnTo>
                    <a:lnTo>
                      <a:pt x="94" y="20"/>
                    </a:lnTo>
                    <a:lnTo>
                      <a:pt x="98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2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8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8" y="4"/>
                    </a:lnTo>
                    <a:lnTo>
                      <a:pt x="142" y="0"/>
                    </a:lnTo>
                    <a:lnTo>
                      <a:pt x="146" y="0"/>
                    </a:lnTo>
                    <a:lnTo>
                      <a:pt x="146" y="4"/>
                    </a:lnTo>
                    <a:lnTo>
                      <a:pt x="146" y="8"/>
                    </a:lnTo>
                    <a:lnTo>
                      <a:pt x="146" y="12"/>
                    </a:lnTo>
                    <a:lnTo>
                      <a:pt x="142" y="12"/>
                    </a:lnTo>
                    <a:lnTo>
                      <a:pt x="142" y="16"/>
                    </a:lnTo>
                    <a:lnTo>
                      <a:pt x="146" y="16"/>
                    </a:lnTo>
                    <a:lnTo>
                      <a:pt x="142" y="20"/>
                    </a:lnTo>
                    <a:lnTo>
                      <a:pt x="146" y="24"/>
                    </a:lnTo>
                    <a:lnTo>
                      <a:pt x="146" y="30"/>
                    </a:lnTo>
                    <a:lnTo>
                      <a:pt x="146" y="34"/>
                    </a:lnTo>
                    <a:lnTo>
                      <a:pt x="146" y="38"/>
                    </a:lnTo>
                    <a:lnTo>
                      <a:pt x="146" y="42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46"/>
                    </a:lnTo>
                    <a:lnTo>
                      <a:pt x="146" y="50"/>
                    </a:lnTo>
                    <a:lnTo>
                      <a:pt x="146" y="52"/>
                    </a:lnTo>
                    <a:lnTo>
                      <a:pt x="146" y="56"/>
                    </a:lnTo>
                    <a:lnTo>
                      <a:pt x="146" y="60"/>
                    </a:lnTo>
                    <a:lnTo>
                      <a:pt x="146" y="64"/>
                    </a:lnTo>
                    <a:lnTo>
                      <a:pt x="150" y="64"/>
                    </a:lnTo>
                    <a:lnTo>
                      <a:pt x="150" y="68"/>
                    </a:lnTo>
                    <a:lnTo>
                      <a:pt x="146" y="68"/>
                    </a:lnTo>
                    <a:lnTo>
                      <a:pt x="150" y="68"/>
                    </a:lnTo>
                    <a:lnTo>
                      <a:pt x="150" y="72"/>
                    </a:lnTo>
                    <a:lnTo>
                      <a:pt x="150" y="76"/>
                    </a:lnTo>
                    <a:lnTo>
                      <a:pt x="150" y="80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0"/>
                    </a:lnTo>
                    <a:lnTo>
                      <a:pt x="146" y="82"/>
                    </a:lnTo>
                    <a:lnTo>
                      <a:pt x="146" y="86"/>
                    </a:lnTo>
                    <a:lnTo>
                      <a:pt x="142" y="86"/>
                    </a:lnTo>
                    <a:lnTo>
                      <a:pt x="142" y="90"/>
                    </a:lnTo>
                    <a:lnTo>
                      <a:pt x="138" y="94"/>
                    </a:lnTo>
                    <a:lnTo>
                      <a:pt x="138" y="98"/>
                    </a:lnTo>
                    <a:lnTo>
                      <a:pt x="134" y="98"/>
                    </a:lnTo>
                    <a:lnTo>
                      <a:pt x="134" y="102"/>
                    </a:lnTo>
                    <a:lnTo>
                      <a:pt x="134" y="106"/>
                    </a:lnTo>
                    <a:lnTo>
                      <a:pt x="130" y="106"/>
                    </a:lnTo>
                    <a:lnTo>
                      <a:pt x="128" y="110"/>
                    </a:lnTo>
                    <a:lnTo>
                      <a:pt x="124" y="110"/>
                    </a:lnTo>
                    <a:lnTo>
                      <a:pt x="124" y="112"/>
                    </a:lnTo>
                    <a:lnTo>
                      <a:pt x="120" y="112"/>
                    </a:lnTo>
                    <a:lnTo>
                      <a:pt x="116" y="116"/>
                    </a:lnTo>
                    <a:lnTo>
                      <a:pt x="112" y="116"/>
                    </a:lnTo>
                    <a:lnTo>
                      <a:pt x="108" y="116"/>
                    </a:lnTo>
                    <a:lnTo>
                      <a:pt x="108" y="120"/>
                    </a:lnTo>
                    <a:lnTo>
                      <a:pt x="104" y="120"/>
                    </a:lnTo>
                    <a:lnTo>
                      <a:pt x="100" y="124"/>
                    </a:lnTo>
                    <a:lnTo>
                      <a:pt x="98" y="124"/>
                    </a:lnTo>
                    <a:lnTo>
                      <a:pt x="98" y="128"/>
                    </a:lnTo>
                    <a:lnTo>
                      <a:pt x="94" y="132"/>
                    </a:lnTo>
                    <a:lnTo>
                      <a:pt x="94" y="128"/>
                    </a:lnTo>
                    <a:lnTo>
                      <a:pt x="94" y="132"/>
                    </a:lnTo>
                    <a:lnTo>
                      <a:pt x="94" y="136"/>
                    </a:lnTo>
                    <a:lnTo>
                      <a:pt x="90" y="140"/>
                    </a:lnTo>
                    <a:lnTo>
                      <a:pt x="86" y="140"/>
                    </a:lnTo>
                    <a:lnTo>
                      <a:pt x="86" y="142"/>
                    </a:lnTo>
                    <a:lnTo>
                      <a:pt x="86" y="146"/>
                    </a:lnTo>
                    <a:lnTo>
                      <a:pt x="82" y="146"/>
                    </a:lnTo>
                    <a:lnTo>
                      <a:pt x="82" y="142"/>
                    </a:lnTo>
                    <a:lnTo>
                      <a:pt x="82" y="146"/>
                    </a:lnTo>
                    <a:lnTo>
                      <a:pt x="78" y="146"/>
                    </a:lnTo>
                    <a:lnTo>
                      <a:pt x="78" y="150"/>
                    </a:lnTo>
                    <a:lnTo>
                      <a:pt x="74" y="150"/>
                    </a:lnTo>
                    <a:lnTo>
                      <a:pt x="74" y="154"/>
                    </a:lnTo>
                    <a:lnTo>
                      <a:pt x="70" y="158"/>
                    </a:lnTo>
                    <a:lnTo>
                      <a:pt x="68" y="162"/>
                    </a:lnTo>
                    <a:lnTo>
                      <a:pt x="64" y="162"/>
                    </a:lnTo>
                    <a:lnTo>
                      <a:pt x="60" y="158"/>
                    </a:lnTo>
                    <a:lnTo>
                      <a:pt x="60" y="162"/>
                    </a:lnTo>
                    <a:lnTo>
                      <a:pt x="64" y="162"/>
                    </a:lnTo>
                    <a:lnTo>
                      <a:pt x="64" y="166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4" y="176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68" y="192"/>
                    </a:lnTo>
                    <a:lnTo>
                      <a:pt x="70" y="192"/>
                    </a:lnTo>
                    <a:lnTo>
                      <a:pt x="70" y="196"/>
                    </a:lnTo>
                    <a:lnTo>
                      <a:pt x="70" y="198"/>
                    </a:lnTo>
                    <a:lnTo>
                      <a:pt x="70" y="202"/>
                    </a:lnTo>
                    <a:lnTo>
                      <a:pt x="70" y="206"/>
                    </a:lnTo>
                    <a:lnTo>
                      <a:pt x="70" y="210"/>
                    </a:lnTo>
                    <a:lnTo>
                      <a:pt x="70" y="206"/>
                    </a:lnTo>
                    <a:lnTo>
                      <a:pt x="70" y="202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4" y="210"/>
                    </a:lnTo>
                    <a:lnTo>
                      <a:pt x="74" y="214"/>
                    </a:lnTo>
                    <a:lnTo>
                      <a:pt x="74" y="218"/>
                    </a:lnTo>
                    <a:lnTo>
                      <a:pt x="74" y="222"/>
                    </a:lnTo>
                    <a:lnTo>
                      <a:pt x="74" y="226"/>
                    </a:lnTo>
                    <a:lnTo>
                      <a:pt x="70" y="228"/>
                    </a:lnTo>
                    <a:lnTo>
                      <a:pt x="70" y="232"/>
                    </a:lnTo>
                    <a:lnTo>
                      <a:pt x="70" y="236"/>
                    </a:lnTo>
                    <a:lnTo>
                      <a:pt x="70" y="232"/>
                    </a:lnTo>
                    <a:lnTo>
                      <a:pt x="74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0" y="240"/>
                    </a:lnTo>
                    <a:lnTo>
                      <a:pt x="70" y="244"/>
                    </a:lnTo>
                    <a:lnTo>
                      <a:pt x="70" y="248"/>
                    </a:lnTo>
                    <a:lnTo>
                      <a:pt x="68" y="248"/>
                    </a:lnTo>
                    <a:lnTo>
                      <a:pt x="64" y="252"/>
                    </a:lnTo>
                    <a:lnTo>
                      <a:pt x="60" y="252"/>
                    </a:lnTo>
                    <a:lnTo>
                      <a:pt x="56" y="252"/>
                    </a:lnTo>
                    <a:lnTo>
                      <a:pt x="56" y="254"/>
                    </a:lnTo>
                    <a:lnTo>
                      <a:pt x="52" y="254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2" y="258"/>
                    </a:lnTo>
                    <a:lnTo>
                      <a:pt x="42" y="262"/>
                    </a:lnTo>
                    <a:lnTo>
                      <a:pt x="38" y="262"/>
                    </a:lnTo>
                    <a:lnTo>
                      <a:pt x="38" y="266"/>
                    </a:lnTo>
                    <a:lnTo>
                      <a:pt x="34" y="266"/>
                    </a:lnTo>
                    <a:lnTo>
                      <a:pt x="34" y="270"/>
                    </a:lnTo>
                    <a:lnTo>
                      <a:pt x="34" y="274"/>
                    </a:lnTo>
                    <a:lnTo>
                      <a:pt x="34" y="278"/>
                    </a:lnTo>
                    <a:lnTo>
                      <a:pt x="38" y="278"/>
                    </a:lnTo>
                    <a:lnTo>
                      <a:pt x="38" y="274"/>
                    </a:lnTo>
                    <a:lnTo>
                      <a:pt x="38" y="278"/>
                    </a:lnTo>
                    <a:lnTo>
                      <a:pt x="38" y="284"/>
                    </a:lnTo>
                    <a:lnTo>
                      <a:pt x="38" y="288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26" y="288"/>
                    </a:lnTo>
                    <a:lnTo>
                      <a:pt x="26" y="288"/>
                    </a:lnTo>
                    <a:lnTo>
                      <a:pt x="26" y="288"/>
                    </a:lnTo>
                    <a:close/>
                    <a:moveTo>
                      <a:pt x="74" y="198"/>
                    </a:moveTo>
                    <a:lnTo>
                      <a:pt x="70" y="198"/>
                    </a:lnTo>
                    <a:lnTo>
                      <a:pt x="70" y="196"/>
                    </a:lnTo>
                    <a:lnTo>
                      <a:pt x="74" y="192"/>
                    </a:lnTo>
                    <a:lnTo>
                      <a:pt x="74" y="196"/>
                    </a:lnTo>
                    <a:lnTo>
                      <a:pt x="74" y="198"/>
                    </a:lnTo>
                    <a:lnTo>
                      <a:pt x="74" y="198"/>
                    </a:lnTo>
                    <a:lnTo>
                      <a:pt x="74" y="19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1" name="Freeform 160">
                <a:extLst>
                  <a:ext uri="{FF2B5EF4-FFF2-40B4-BE49-F238E27FC236}">
                    <a16:creationId xmlns:a16="http://schemas.microsoft.com/office/drawing/2014/main" id="{B18F570B-1875-488F-BBD5-DC707F17682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54550" y="5022918"/>
                <a:ext cx="307975" cy="339725"/>
              </a:xfrm>
              <a:custGeom>
                <a:avLst/>
                <a:gdLst>
                  <a:gd name="T0" fmla="*/ 120 w 194"/>
                  <a:gd name="T1" fmla="*/ 124 h 214"/>
                  <a:gd name="T2" fmla="*/ 120 w 194"/>
                  <a:gd name="T3" fmla="*/ 140 h 214"/>
                  <a:gd name="T4" fmla="*/ 120 w 194"/>
                  <a:gd name="T5" fmla="*/ 154 h 214"/>
                  <a:gd name="T6" fmla="*/ 120 w 194"/>
                  <a:gd name="T7" fmla="*/ 184 h 214"/>
                  <a:gd name="T8" fmla="*/ 120 w 194"/>
                  <a:gd name="T9" fmla="*/ 202 h 214"/>
                  <a:gd name="T10" fmla="*/ 108 w 194"/>
                  <a:gd name="T11" fmla="*/ 210 h 214"/>
                  <a:gd name="T12" fmla="*/ 96 w 194"/>
                  <a:gd name="T13" fmla="*/ 214 h 214"/>
                  <a:gd name="T14" fmla="*/ 86 w 194"/>
                  <a:gd name="T15" fmla="*/ 210 h 214"/>
                  <a:gd name="T16" fmla="*/ 82 w 194"/>
                  <a:gd name="T17" fmla="*/ 198 h 214"/>
                  <a:gd name="T18" fmla="*/ 74 w 194"/>
                  <a:gd name="T19" fmla="*/ 198 h 214"/>
                  <a:gd name="T20" fmla="*/ 66 w 194"/>
                  <a:gd name="T21" fmla="*/ 206 h 214"/>
                  <a:gd name="T22" fmla="*/ 60 w 194"/>
                  <a:gd name="T23" fmla="*/ 194 h 214"/>
                  <a:gd name="T24" fmla="*/ 56 w 194"/>
                  <a:gd name="T25" fmla="*/ 190 h 214"/>
                  <a:gd name="T26" fmla="*/ 52 w 194"/>
                  <a:gd name="T27" fmla="*/ 176 h 214"/>
                  <a:gd name="T28" fmla="*/ 48 w 194"/>
                  <a:gd name="T29" fmla="*/ 166 h 214"/>
                  <a:gd name="T30" fmla="*/ 44 w 194"/>
                  <a:gd name="T31" fmla="*/ 154 h 214"/>
                  <a:gd name="T32" fmla="*/ 44 w 194"/>
                  <a:gd name="T33" fmla="*/ 140 h 214"/>
                  <a:gd name="T34" fmla="*/ 40 w 194"/>
                  <a:gd name="T35" fmla="*/ 128 h 214"/>
                  <a:gd name="T36" fmla="*/ 40 w 194"/>
                  <a:gd name="T37" fmla="*/ 114 h 214"/>
                  <a:gd name="T38" fmla="*/ 40 w 194"/>
                  <a:gd name="T39" fmla="*/ 98 h 214"/>
                  <a:gd name="T40" fmla="*/ 34 w 194"/>
                  <a:gd name="T41" fmla="*/ 86 h 214"/>
                  <a:gd name="T42" fmla="*/ 30 w 194"/>
                  <a:gd name="T43" fmla="*/ 76 h 214"/>
                  <a:gd name="T44" fmla="*/ 22 w 194"/>
                  <a:gd name="T45" fmla="*/ 64 h 214"/>
                  <a:gd name="T46" fmla="*/ 18 w 194"/>
                  <a:gd name="T47" fmla="*/ 54 h 214"/>
                  <a:gd name="T48" fmla="*/ 14 w 194"/>
                  <a:gd name="T49" fmla="*/ 42 h 214"/>
                  <a:gd name="T50" fmla="*/ 8 w 194"/>
                  <a:gd name="T51" fmla="*/ 30 h 214"/>
                  <a:gd name="T52" fmla="*/ 4 w 194"/>
                  <a:gd name="T53" fmla="*/ 20 h 214"/>
                  <a:gd name="T54" fmla="*/ 4 w 194"/>
                  <a:gd name="T55" fmla="*/ 8 h 214"/>
                  <a:gd name="T56" fmla="*/ 14 w 194"/>
                  <a:gd name="T57" fmla="*/ 4 h 214"/>
                  <a:gd name="T58" fmla="*/ 30 w 194"/>
                  <a:gd name="T59" fmla="*/ 4 h 214"/>
                  <a:gd name="T60" fmla="*/ 40 w 194"/>
                  <a:gd name="T61" fmla="*/ 8 h 214"/>
                  <a:gd name="T62" fmla="*/ 64 w 194"/>
                  <a:gd name="T63" fmla="*/ 8 h 214"/>
                  <a:gd name="T64" fmla="*/ 90 w 194"/>
                  <a:gd name="T65" fmla="*/ 8 h 214"/>
                  <a:gd name="T66" fmla="*/ 100 w 194"/>
                  <a:gd name="T67" fmla="*/ 16 h 214"/>
                  <a:gd name="T68" fmla="*/ 116 w 194"/>
                  <a:gd name="T69" fmla="*/ 16 h 214"/>
                  <a:gd name="T70" fmla="*/ 126 w 194"/>
                  <a:gd name="T71" fmla="*/ 20 h 214"/>
                  <a:gd name="T72" fmla="*/ 138 w 194"/>
                  <a:gd name="T73" fmla="*/ 20 h 214"/>
                  <a:gd name="T74" fmla="*/ 160 w 194"/>
                  <a:gd name="T75" fmla="*/ 12 h 214"/>
                  <a:gd name="T76" fmla="*/ 176 w 194"/>
                  <a:gd name="T77" fmla="*/ 8 h 214"/>
                  <a:gd name="T78" fmla="*/ 190 w 194"/>
                  <a:gd name="T79" fmla="*/ 8 h 214"/>
                  <a:gd name="T80" fmla="*/ 186 w 194"/>
                  <a:gd name="T81" fmla="*/ 16 h 214"/>
                  <a:gd name="T82" fmla="*/ 178 w 194"/>
                  <a:gd name="T83" fmla="*/ 20 h 214"/>
                  <a:gd name="T84" fmla="*/ 172 w 194"/>
                  <a:gd name="T85" fmla="*/ 28 h 214"/>
                  <a:gd name="T86" fmla="*/ 164 w 194"/>
                  <a:gd name="T87" fmla="*/ 20 h 214"/>
                  <a:gd name="T88" fmla="*/ 146 w 194"/>
                  <a:gd name="T89" fmla="*/ 24 h 214"/>
                  <a:gd name="T90" fmla="*/ 134 w 194"/>
                  <a:gd name="T91" fmla="*/ 30 h 214"/>
                  <a:gd name="T92" fmla="*/ 134 w 194"/>
                  <a:gd name="T93" fmla="*/ 68 h 214"/>
                  <a:gd name="T94" fmla="*/ 134 w 194"/>
                  <a:gd name="T95" fmla="*/ 86 h 214"/>
                  <a:gd name="T96" fmla="*/ 122 w 194"/>
                  <a:gd name="T97" fmla="*/ 90 h 214"/>
                  <a:gd name="T98" fmla="*/ 120 w 194"/>
                  <a:gd name="T99" fmla="*/ 102 h 214"/>
                  <a:gd name="T100" fmla="*/ 120 w 194"/>
                  <a:gd name="T101" fmla="*/ 114 h 2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94" h="214">
                    <a:moveTo>
                      <a:pt x="120" y="114"/>
                    </a:move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20" y="132"/>
                    </a:lnTo>
                    <a:lnTo>
                      <a:pt x="120" y="136"/>
                    </a:lnTo>
                    <a:lnTo>
                      <a:pt x="120" y="140"/>
                    </a:lnTo>
                    <a:lnTo>
                      <a:pt x="120" y="144"/>
                    </a:lnTo>
                    <a:lnTo>
                      <a:pt x="120" y="146"/>
                    </a:lnTo>
                    <a:lnTo>
                      <a:pt x="120" y="150"/>
                    </a:lnTo>
                    <a:lnTo>
                      <a:pt x="120" y="154"/>
                    </a:lnTo>
                    <a:lnTo>
                      <a:pt x="120" y="158"/>
                    </a:lnTo>
                    <a:lnTo>
                      <a:pt x="120" y="168"/>
                    </a:lnTo>
                    <a:lnTo>
                      <a:pt x="120" y="180"/>
                    </a:lnTo>
                    <a:lnTo>
                      <a:pt x="120" y="184"/>
                    </a:lnTo>
                    <a:lnTo>
                      <a:pt x="120" y="186"/>
                    </a:lnTo>
                    <a:lnTo>
                      <a:pt x="120" y="194"/>
                    </a:lnTo>
                    <a:lnTo>
                      <a:pt x="120" y="198"/>
                    </a:lnTo>
                    <a:lnTo>
                      <a:pt x="120" y="202"/>
                    </a:lnTo>
                    <a:lnTo>
                      <a:pt x="116" y="206"/>
                    </a:lnTo>
                    <a:lnTo>
                      <a:pt x="112" y="206"/>
                    </a:lnTo>
                    <a:lnTo>
                      <a:pt x="112" y="210"/>
                    </a:lnTo>
                    <a:lnTo>
                      <a:pt x="108" y="210"/>
                    </a:lnTo>
                    <a:lnTo>
                      <a:pt x="108" y="214"/>
                    </a:lnTo>
                    <a:lnTo>
                      <a:pt x="104" y="214"/>
                    </a:lnTo>
                    <a:lnTo>
                      <a:pt x="100" y="210"/>
                    </a:lnTo>
                    <a:lnTo>
                      <a:pt x="96" y="214"/>
                    </a:lnTo>
                    <a:lnTo>
                      <a:pt x="94" y="214"/>
                    </a:lnTo>
                    <a:lnTo>
                      <a:pt x="90" y="214"/>
                    </a:lnTo>
                    <a:lnTo>
                      <a:pt x="90" y="210"/>
                    </a:lnTo>
                    <a:lnTo>
                      <a:pt x="86" y="210"/>
                    </a:lnTo>
                    <a:lnTo>
                      <a:pt x="82" y="210"/>
                    </a:lnTo>
                    <a:lnTo>
                      <a:pt x="82" y="206"/>
                    </a:lnTo>
                    <a:lnTo>
                      <a:pt x="82" y="202"/>
                    </a:lnTo>
                    <a:lnTo>
                      <a:pt x="82" y="198"/>
                    </a:lnTo>
                    <a:lnTo>
                      <a:pt x="82" y="202"/>
                    </a:lnTo>
                    <a:lnTo>
                      <a:pt x="78" y="202"/>
                    </a:lnTo>
                    <a:lnTo>
                      <a:pt x="78" y="198"/>
                    </a:lnTo>
                    <a:lnTo>
                      <a:pt x="74" y="198"/>
                    </a:lnTo>
                    <a:lnTo>
                      <a:pt x="74" y="202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4" y="202"/>
                    </a:lnTo>
                    <a:lnTo>
                      <a:pt x="64" y="198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6" y="190"/>
                    </a:lnTo>
                    <a:lnTo>
                      <a:pt x="52" y="186"/>
                    </a:lnTo>
                    <a:lnTo>
                      <a:pt x="52" y="184"/>
                    </a:lnTo>
                    <a:lnTo>
                      <a:pt x="52" y="180"/>
                    </a:lnTo>
                    <a:lnTo>
                      <a:pt x="52" y="176"/>
                    </a:lnTo>
                    <a:lnTo>
                      <a:pt x="48" y="172"/>
                    </a:lnTo>
                    <a:lnTo>
                      <a:pt x="52" y="172"/>
                    </a:lnTo>
                    <a:lnTo>
                      <a:pt x="48" y="168"/>
                    </a:lnTo>
                    <a:lnTo>
                      <a:pt x="48" y="166"/>
                    </a:lnTo>
                    <a:lnTo>
                      <a:pt x="48" y="162"/>
                    </a:lnTo>
                    <a:lnTo>
                      <a:pt x="48" y="158"/>
                    </a:lnTo>
                    <a:lnTo>
                      <a:pt x="44" y="158"/>
                    </a:lnTo>
                    <a:lnTo>
                      <a:pt x="44" y="154"/>
                    </a:lnTo>
                    <a:lnTo>
                      <a:pt x="44" y="150"/>
                    </a:lnTo>
                    <a:lnTo>
                      <a:pt x="44" y="146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40" y="114"/>
                    </a:lnTo>
                    <a:lnTo>
                      <a:pt x="40" y="110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40" y="98"/>
                    </a:lnTo>
                    <a:lnTo>
                      <a:pt x="40" y="94"/>
                    </a:lnTo>
                    <a:lnTo>
                      <a:pt x="38" y="90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4"/>
                    </a:lnTo>
                    <a:lnTo>
                      <a:pt x="34" y="80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26" y="68"/>
                    </a:lnTo>
                    <a:lnTo>
                      <a:pt x="26" y="64"/>
                    </a:lnTo>
                    <a:lnTo>
                      <a:pt x="22" y="64"/>
                    </a:lnTo>
                    <a:lnTo>
                      <a:pt x="22" y="60"/>
                    </a:lnTo>
                    <a:lnTo>
                      <a:pt x="22" y="58"/>
                    </a:lnTo>
                    <a:lnTo>
                      <a:pt x="22" y="54"/>
                    </a:lnTo>
                    <a:lnTo>
                      <a:pt x="18" y="54"/>
                    </a:lnTo>
                    <a:lnTo>
                      <a:pt x="18" y="50"/>
                    </a:lnTo>
                    <a:lnTo>
                      <a:pt x="18" y="46"/>
                    </a:lnTo>
                    <a:lnTo>
                      <a:pt x="14" y="46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4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6" y="8"/>
                    </a:lnTo>
                    <a:lnTo>
                      <a:pt x="64" y="8"/>
                    </a:lnTo>
                    <a:lnTo>
                      <a:pt x="70" y="8"/>
                    </a:lnTo>
                    <a:lnTo>
                      <a:pt x="82" y="8"/>
                    </a:lnTo>
                    <a:lnTo>
                      <a:pt x="86" y="8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6" y="8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2" y="16"/>
                    </a:lnTo>
                    <a:lnTo>
                      <a:pt x="126" y="16"/>
                    </a:lnTo>
                    <a:lnTo>
                      <a:pt x="126" y="20"/>
                    </a:lnTo>
                    <a:lnTo>
                      <a:pt x="130" y="20"/>
                    </a:lnTo>
                    <a:lnTo>
                      <a:pt x="134" y="16"/>
                    </a:lnTo>
                    <a:lnTo>
                      <a:pt x="138" y="16"/>
                    </a:lnTo>
                    <a:lnTo>
                      <a:pt x="138" y="20"/>
                    </a:lnTo>
                    <a:lnTo>
                      <a:pt x="146" y="16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78" y="8"/>
                    </a:lnTo>
                    <a:lnTo>
                      <a:pt x="182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12"/>
                    </a:lnTo>
                    <a:lnTo>
                      <a:pt x="194" y="16"/>
                    </a:lnTo>
                    <a:lnTo>
                      <a:pt x="190" y="16"/>
                    </a:lnTo>
                    <a:lnTo>
                      <a:pt x="186" y="16"/>
                    </a:lnTo>
                    <a:lnTo>
                      <a:pt x="182" y="20"/>
                    </a:lnTo>
                    <a:lnTo>
                      <a:pt x="182" y="16"/>
                    </a:lnTo>
                    <a:lnTo>
                      <a:pt x="178" y="16"/>
                    </a:lnTo>
                    <a:lnTo>
                      <a:pt x="178" y="20"/>
                    </a:lnTo>
                    <a:lnTo>
                      <a:pt x="176" y="20"/>
                    </a:lnTo>
                    <a:lnTo>
                      <a:pt x="176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68" y="28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56" y="20"/>
                    </a:lnTo>
                    <a:lnTo>
                      <a:pt x="152" y="20"/>
                    </a:lnTo>
                    <a:lnTo>
                      <a:pt x="150" y="20"/>
                    </a:lnTo>
                    <a:lnTo>
                      <a:pt x="146" y="24"/>
                    </a:lnTo>
                    <a:lnTo>
                      <a:pt x="138" y="24"/>
                    </a:lnTo>
                    <a:lnTo>
                      <a:pt x="134" y="24"/>
                    </a:lnTo>
                    <a:lnTo>
                      <a:pt x="134" y="28"/>
                    </a:lnTo>
                    <a:lnTo>
                      <a:pt x="134" y="30"/>
                    </a:lnTo>
                    <a:lnTo>
                      <a:pt x="134" y="38"/>
                    </a:lnTo>
                    <a:lnTo>
                      <a:pt x="134" y="54"/>
                    </a:lnTo>
                    <a:lnTo>
                      <a:pt x="134" y="58"/>
                    </a:lnTo>
                    <a:lnTo>
                      <a:pt x="134" y="68"/>
                    </a:lnTo>
                    <a:lnTo>
                      <a:pt x="134" y="72"/>
                    </a:lnTo>
                    <a:lnTo>
                      <a:pt x="134" y="76"/>
                    </a:lnTo>
                    <a:lnTo>
                      <a:pt x="134" y="84"/>
                    </a:lnTo>
                    <a:lnTo>
                      <a:pt x="134" y="86"/>
                    </a:lnTo>
                    <a:lnTo>
                      <a:pt x="134" y="90"/>
                    </a:lnTo>
                    <a:lnTo>
                      <a:pt x="130" y="90"/>
                    </a:lnTo>
                    <a:lnTo>
                      <a:pt x="126" y="90"/>
                    </a:lnTo>
                    <a:lnTo>
                      <a:pt x="122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102"/>
                    </a:lnTo>
                    <a:lnTo>
                      <a:pt x="120" y="106"/>
                    </a:lnTo>
                    <a:lnTo>
                      <a:pt x="120" y="110"/>
                    </a:lnTo>
                    <a:lnTo>
                      <a:pt x="120" y="114"/>
                    </a:lnTo>
                    <a:lnTo>
                      <a:pt x="120" y="114"/>
                    </a:lnTo>
                    <a:lnTo>
                      <a:pt x="120" y="1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2" name="Freeform 161">
                <a:extLst>
                  <a:ext uri="{FF2B5EF4-FFF2-40B4-BE49-F238E27FC236}">
                    <a16:creationId xmlns:a16="http://schemas.microsoft.com/office/drawing/2014/main" id="{CAD08282-A36B-4D46-81DC-0449B52D52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00550" y="3911668"/>
                <a:ext cx="355600" cy="330200"/>
              </a:xfrm>
              <a:custGeom>
                <a:avLst/>
                <a:gdLst>
                  <a:gd name="T0" fmla="*/ 84 w 224"/>
                  <a:gd name="T1" fmla="*/ 174 h 208"/>
                  <a:gd name="T2" fmla="*/ 80 w 224"/>
                  <a:gd name="T3" fmla="*/ 172 h 208"/>
                  <a:gd name="T4" fmla="*/ 70 w 224"/>
                  <a:gd name="T5" fmla="*/ 172 h 208"/>
                  <a:gd name="T6" fmla="*/ 60 w 224"/>
                  <a:gd name="T7" fmla="*/ 172 h 208"/>
                  <a:gd name="T8" fmla="*/ 52 w 224"/>
                  <a:gd name="T9" fmla="*/ 186 h 208"/>
                  <a:gd name="T10" fmla="*/ 48 w 224"/>
                  <a:gd name="T11" fmla="*/ 202 h 208"/>
                  <a:gd name="T12" fmla="*/ 48 w 224"/>
                  <a:gd name="T13" fmla="*/ 208 h 208"/>
                  <a:gd name="T14" fmla="*/ 44 w 224"/>
                  <a:gd name="T15" fmla="*/ 204 h 208"/>
                  <a:gd name="T16" fmla="*/ 36 w 224"/>
                  <a:gd name="T17" fmla="*/ 198 h 208"/>
                  <a:gd name="T18" fmla="*/ 30 w 224"/>
                  <a:gd name="T19" fmla="*/ 198 h 208"/>
                  <a:gd name="T20" fmla="*/ 30 w 224"/>
                  <a:gd name="T21" fmla="*/ 202 h 208"/>
                  <a:gd name="T22" fmla="*/ 26 w 224"/>
                  <a:gd name="T23" fmla="*/ 190 h 208"/>
                  <a:gd name="T24" fmla="*/ 14 w 224"/>
                  <a:gd name="T25" fmla="*/ 186 h 208"/>
                  <a:gd name="T26" fmla="*/ 10 w 224"/>
                  <a:gd name="T27" fmla="*/ 178 h 208"/>
                  <a:gd name="T28" fmla="*/ 14 w 224"/>
                  <a:gd name="T29" fmla="*/ 178 h 208"/>
                  <a:gd name="T30" fmla="*/ 8 w 224"/>
                  <a:gd name="T31" fmla="*/ 174 h 208"/>
                  <a:gd name="T32" fmla="*/ 4 w 224"/>
                  <a:gd name="T33" fmla="*/ 164 h 208"/>
                  <a:gd name="T34" fmla="*/ 0 w 224"/>
                  <a:gd name="T35" fmla="*/ 156 h 208"/>
                  <a:gd name="T36" fmla="*/ 0 w 224"/>
                  <a:gd name="T37" fmla="*/ 148 h 208"/>
                  <a:gd name="T38" fmla="*/ 4 w 224"/>
                  <a:gd name="T39" fmla="*/ 152 h 208"/>
                  <a:gd name="T40" fmla="*/ 10 w 224"/>
                  <a:gd name="T41" fmla="*/ 148 h 208"/>
                  <a:gd name="T42" fmla="*/ 36 w 224"/>
                  <a:gd name="T43" fmla="*/ 144 h 208"/>
                  <a:gd name="T44" fmla="*/ 48 w 224"/>
                  <a:gd name="T45" fmla="*/ 142 h 208"/>
                  <a:gd name="T46" fmla="*/ 52 w 224"/>
                  <a:gd name="T47" fmla="*/ 138 h 208"/>
                  <a:gd name="T48" fmla="*/ 56 w 224"/>
                  <a:gd name="T49" fmla="*/ 126 h 208"/>
                  <a:gd name="T50" fmla="*/ 56 w 224"/>
                  <a:gd name="T51" fmla="*/ 112 h 208"/>
                  <a:gd name="T52" fmla="*/ 56 w 224"/>
                  <a:gd name="T53" fmla="*/ 78 h 208"/>
                  <a:gd name="T54" fmla="*/ 74 w 224"/>
                  <a:gd name="T55" fmla="*/ 74 h 208"/>
                  <a:gd name="T56" fmla="*/ 88 w 224"/>
                  <a:gd name="T57" fmla="*/ 60 h 208"/>
                  <a:gd name="T58" fmla="*/ 118 w 224"/>
                  <a:gd name="T59" fmla="*/ 38 h 208"/>
                  <a:gd name="T60" fmla="*/ 144 w 224"/>
                  <a:gd name="T61" fmla="*/ 16 h 208"/>
                  <a:gd name="T62" fmla="*/ 168 w 224"/>
                  <a:gd name="T63" fmla="*/ 0 h 208"/>
                  <a:gd name="T64" fmla="*/ 182 w 224"/>
                  <a:gd name="T65" fmla="*/ 4 h 208"/>
                  <a:gd name="T66" fmla="*/ 190 w 224"/>
                  <a:gd name="T67" fmla="*/ 8 h 208"/>
                  <a:gd name="T68" fmla="*/ 204 w 224"/>
                  <a:gd name="T69" fmla="*/ 12 h 208"/>
                  <a:gd name="T70" fmla="*/ 212 w 224"/>
                  <a:gd name="T71" fmla="*/ 26 h 208"/>
                  <a:gd name="T72" fmla="*/ 216 w 224"/>
                  <a:gd name="T73" fmla="*/ 44 h 208"/>
                  <a:gd name="T74" fmla="*/ 216 w 224"/>
                  <a:gd name="T75" fmla="*/ 48 h 208"/>
                  <a:gd name="T76" fmla="*/ 220 w 224"/>
                  <a:gd name="T77" fmla="*/ 60 h 208"/>
                  <a:gd name="T78" fmla="*/ 216 w 224"/>
                  <a:gd name="T79" fmla="*/ 86 h 208"/>
                  <a:gd name="T80" fmla="*/ 216 w 224"/>
                  <a:gd name="T81" fmla="*/ 118 h 208"/>
                  <a:gd name="T82" fmla="*/ 200 w 224"/>
                  <a:gd name="T83" fmla="*/ 138 h 208"/>
                  <a:gd name="T84" fmla="*/ 190 w 224"/>
                  <a:gd name="T85" fmla="*/ 152 h 208"/>
                  <a:gd name="T86" fmla="*/ 190 w 224"/>
                  <a:gd name="T87" fmla="*/ 160 h 208"/>
                  <a:gd name="T88" fmla="*/ 186 w 224"/>
                  <a:gd name="T89" fmla="*/ 160 h 208"/>
                  <a:gd name="T90" fmla="*/ 182 w 224"/>
                  <a:gd name="T91" fmla="*/ 174 h 208"/>
                  <a:gd name="T92" fmla="*/ 174 w 224"/>
                  <a:gd name="T93" fmla="*/ 178 h 208"/>
                  <a:gd name="T94" fmla="*/ 174 w 224"/>
                  <a:gd name="T95" fmla="*/ 182 h 208"/>
                  <a:gd name="T96" fmla="*/ 164 w 224"/>
                  <a:gd name="T97" fmla="*/ 182 h 208"/>
                  <a:gd name="T98" fmla="*/ 156 w 224"/>
                  <a:gd name="T99" fmla="*/ 178 h 208"/>
                  <a:gd name="T100" fmla="*/ 152 w 224"/>
                  <a:gd name="T101" fmla="*/ 178 h 208"/>
                  <a:gd name="T102" fmla="*/ 148 w 224"/>
                  <a:gd name="T103" fmla="*/ 178 h 208"/>
                  <a:gd name="T104" fmla="*/ 144 w 224"/>
                  <a:gd name="T105" fmla="*/ 178 h 208"/>
                  <a:gd name="T106" fmla="*/ 138 w 224"/>
                  <a:gd name="T107" fmla="*/ 182 h 208"/>
                  <a:gd name="T108" fmla="*/ 134 w 224"/>
                  <a:gd name="T109" fmla="*/ 190 h 208"/>
                  <a:gd name="T110" fmla="*/ 122 w 224"/>
                  <a:gd name="T111" fmla="*/ 186 h 208"/>
                  <a:gd name="T112" fmla="*/ 114 w 224"/>
                  <a:gd name="T113" fmla="*/ 182 h 208"/>
                  <a:gd name="T114" fmla="*/ 110 w 224"/>
                  <a:gd name="T115" fmla="*/ 182 h 208"/>
                  <a:gd name="T116" fmla="*/ 100 w 224"/>
                  <a:gd name="T117" fmla="*/ 182 h 2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24" h="208">
                    <a:moveTo>
                      <a:pt x="96" y="186"/>
                    </a:moveTo>
                    <a:lnTo>
                      <a:pt x="92" y="186"/>
                    </a:lnTo>
                    <a:lnTo>
                      <a:pt x="92" y="182"/>
                    </a:lnTo>
                    <a:lnTo>
                      <a:pt x="92" y="182"/>
                    </a:lnTo>
                    <a:lnTo>
                      <a:pt x="88" y="178"/>
                    </a:lnTo>
                    <a:lnTo>
                      <a:pt x="88" y="178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4" y="174"/>
                    </a:lnTo>
                    <a:lnTo>
                      <a:pt x="80" y="174"/>
                    </a:lnTo>
                    <a:lnTo>
                      <a:pt x="80" y="172"/>
                    </a:lnTo>
                    <a:lnTo>
                      <a:pt x="80" y="172"/>
                    </a:lnTo>
                    <a:lnTo>
                      <a:pt x="78" y="172"/>
                    </a:lnTo>
                    <a:lnTo>
                      <a:pt x="78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4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70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6" y="172"/>
                    </a:lnTo>
                    <a:lnTo>
                      <a:pt x="64" y="172"/>
                    </a:lnTo>
                    <a:lnTo>
                      <a:pt x="60" y="172"/>
                    </a:lnTo>
                    <a:lnTo>
                      <a:pt x="56" y="174"/>
                    </a:lnTo>
                    <a:lnTo>
                      <a:pt x="56" y="174"/>
                    </a:lnTo>
                    <a:lnTo>
                      <a:pt x="56" y="178"/>
                    </a:lnTo>
                    <a:lnTo>
                      <a:pt x="56" y="178"/>
                    </a:lnTo>
                    <a:lnTo>
                      <a:pt x="56" y="182"/>
                    </a:lnTo>
                    <a:lnTo>
                      <a:pt x="56" y="186"/>
                    </a:lnTo>
                    <a:lnTo>
                      <a:pt x="52" y="186"/>
                    </a:lnTo>
                    <a:lnTo>
                      <a:pt x="52" y="190"/>
                    </a:lnTo>
                    <a:lnTo>
                      <a:pt x="52" y="190"/>
                    </a:lnTo>
                    <a:lnTo>
                      <a:pt x="48" y="194"/>
                    </a:lnTo>
                    <a:lnTo>
                      <a:pt x="48" y="194"/>
                    </a:lnTo>
                    <a:lnTo>
                      <a:pt x="48" y="198"/>
                    </a:lnTo>
                    <a:lnTo>
                      <a:pt x="48" y="198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2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4"/>
                    </a:lnTo>
                    <a:lnTo>
                      <a:pt x="48" y="208"/>
                    </a:lnTo>
                    <a:lnTo>
                      <a:pt x="48" y="208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40" y="202"/>
                    </a:lnTo>
                    <a:lnTo>
                      <a:pt x="36" y="198"/>
                    </a:lnTo>
                    <a:lnTo>
                      <a:pt x="36" y="198"/>
                    </a:lnTo>
                    <a:lnTo>
                      <a:pt x="36" y="194"/>
                    </a:lnTo>
                    <a:lnTo>
                      <a:pt x="36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4" y="198"/>
                    </a:lnTo>
                    <a:lnTo>
                      <a:pt x="30" y="198"/>
                    </a:lnTo>
                    <a:lnTo>
                      <a:pt x="30" y="198"/>
                    </a:lnTo>
                    <a:lnTo>
                      <a:pt x="30" y="202"/>
                    </a:lnTo>
                    <a:lnTo>
                      <a:pt x="30" y="202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4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8"/>
                    </a:lnTo>
                    <a:lnTo>
                      <a:pt x="26" y="194"/>
                    </a:lnTo>
                    <a:lnTo>
                      <a:pt x="26" y="194"/>
                    </a:lnTo>
                    <a:lnTo>
                      <a:pt x="30" y="194"/>
                    </a:lnTo>
                    <a:lnTo>
                      <a:pt x="26" y="194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6" y="190"/>
                    </a:lnTo>
                    <a:lnTo>
                      <a:pt x="22" y="190"/>
                    </a:lnTo>
                    <a:lnTo>
                      <a:pt x="22" y="194"/>
                    </a:lnTo>
                    <a:lnTo>
                      <a:pt x="18" y="190"/>
                    </a:lnTo>
                    <a:lnTo>
                      <a:pt x="14" y="186"/>
                    </a:lnTo>
                    <a:lnTo>
                      <a:pt x="10" y="186"/>
                    </a:lnTo>
                    <a:lnTo>
                      <a:pt x="10" y="186"/>
                    </a:lnTo>
                    <a:lnTo>
                      <a:pt x="10" y="182"/>
                    </a:lnTo>
                    <a:lnTo>
                      <a:pt x="10" y="182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4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8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10" y="174"/>
                    </a:lnTo>
                    <a:lnTo>
                      <a:pt x="8" y="174"/>
                    </a:lnTo>
                    <a:lnTo>
                      <a:pt x="4" y="174"/>
                    </a:lnTo>
                    <a:lnTo>
                      <a:pt x="4" y="172"/>
                    </a:lnTo>
                    <a:lnTo>
                      <a:pt x="4" y="172"/>
                    </a:lnTo>
                    <a:lnTo>
                      <a:pt x="4" y="168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0" y="156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52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52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4" y="148"/>
                    </a:lnTo>
                    <a:lnTo>
                      <a:pt x="4" y="152"/>
                    </a:lnTo>
                    <a:lnTo>
                      <a:pt x="4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8" y="152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0" y="148"/>
                    </a:lnTo>
                    <a:lnTo>
                      <a:pt x="14" y="144"/>
                    </a:lnTo>
                    <a:lnTo>
                      <a:pt x="22" y="144"/>
                    </a:lnTo>
                    <a:lnTo>
                      <a:pt x="22" y="144"/>
                    </a:lnTo>
                    <a:lnTo>
                      <a:pt x="34" y="144"/>
                    </a:lnTo>
                    <a:lnTo>
                      <a:pt x="34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2"/>
                    </a:lnTo>
                    <a:lnTo>
                      <a:pt x="40" y="142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2"/>
                    </a:lnTo>
                    <a:lnTo>
                      <a:pt x="48" y="142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48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8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52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26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6"/>
                    </a:lnTo>
                    <a:lnTo>
                      <a:pt x="56" y="116"/>
                    </a:lnTo>
                    <a:lnTo>
                      <a:pt x="56" y="112"/>
                    </a:lnTo>
                    <a:lnTo>
                      <a:pt x="56" y="108"/>
                    </a:lnTo>
                    <a:lnTo>
                      <a:pt x="56" y="104"/>
                    </a:lnTo>
                    <a:lnTo>
                      <a:pt x="56" y="9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2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6" y="74"/>
                    </a:lnTo>
                    <a:lnTo>
                      <a:pt x="70" y="74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8" y="74"/>
                    </a:lnTo>
                    <a:lnTo>
                      <a:pt x="78" y="74"/>
                    </a:lnTo>
                    <a:lnTo>
                      <a:pt x="80" y="70"/>
                    </a:lnTo>
                    <a:lnTo>
                      <a:pt x="80" y="70"/>
                    </a:lnTo>
                    <a:lnTo>
                      <a:pt x="84" y="66"/>
                    </a:lnTo>
                    <a:lnTo>
                      <a:pt x="88" y="62"/>
                    </a:lnTo>
                    <a:lnTo>
                      <a:pt x="88" y="60"/>
                    </a:lnTo>
                    <a:lnTo>
                      <a:pt x="92" y="56"/>
                    </a:lnTo>
                    <a:lnTo>
                      <a:pt x="100" y="48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10" y="42"/>
                    </a:lnTo>
                    <a:lnTo>
                      <a:pt x="118" y="38"/>
                    </a:lnTo>
                    <a:lnTo>
                      <a:pt x="118" y="34"/>
                    </a:lnTo>
                    <a:lnTo>
                      <a:pt x="122" y="30"/>
                    </a:lnTo>
                    <a:lnTo>
                      <a:pt x="130" y="26"/>
                    </a:lnTo>
                    <a:lnTo>
                      <a:pt x="134" y="22"/>
                    </a:lnTo>
                    <a:lnTo>
                      <a:pt x="138" y="18"/>
                    </a:lnTo>
                    <a:lnTo>
                      <a:pt x="140" y="18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0"/>
                    </a:lnTo>
                    <a:lnTo>
                      <a:pt x="168" y="0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0" y="4"/>
                    </a:lnTo>
                    <a:lnTo>
                      <a:pt x="174" y="4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86" y="8"/>
                    </a:lnTo>
                    <a:lnTo>
                      <a:pt x="190" y="8"/>
                    </a:lnTo>
                    <a:lnTo>
                      <a:pt x="190" y="8"/>
                    </a:lnTo>
                    <a:lnTo>
                      <a:pt x="194" y="12"/>
                    </a:lnTo>
                    <a:lnTo>
                      <a:pt x="198" y="18"/>
                    </a:lnTo>
                    <a:lnTo>
                      <a:pt x="198" y="16"/>
                    </a:lnTo>
                    <a:lnTo>
                      <a:pt x="200" y="16"/>
                    </a:lnTo>
                    <a:lnTo>
                      <a:pt x="200" y="16"/>
                    </a:lnTo>
                    <a:lnTo>
                      <a:pt x="204" y="12"/>
                    </a:lnTo>
                    <a:lnTo>
                      <a:pt x="204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2"/>
                    </a:lnTo>
                    <a:lnTo>
                      <a:pt x="208" y="16"/>
                    </a:lnTo>
                    <a:lnTo>
                      <a:pt x="212" y="26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2" y="34"/>
                    </a:lnTo>
                    <a:lnTo>
                      <a:pt x="212" y="34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2" y="38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4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16" y="52"/>
                    </a:lnTo>
                    <a:lnTo>
                      <a:pt x="224" y="56"/>
                    </a:lnTo>
                    <a:lnTo>
                      <a:pt x="224" y="56"/>
                    </a:lnTo>
                    <a:lnTo>
                      <a:pt x="220" y="60"/>
                    </a:lnTo>
                    <a:lnTo>
                      <a:pt x="220" y="62"/>
                    </a:lnTo>
                    <a:lnTo>
                      <a:pt x="220" y="62"/>
                    </a:lnTo>
                    <a:lnTo>
                      <a:pt x="220" y="66"/>
                    </a:lnTo>
                    <a:lnTo>
                      <a:pt x="220" y="70"/>
                    </a:lnTo>
                    <a:lnTo>
                      <a:pt x="216" y="82"/>
                    </a:lnTo>
                    <a:lnTo>
                      <a:pt x="216" y="82"/>
                    </a:lnTo>
                    <a:lnTo>
                      <a:pt x="216" y="86"/>
                    </a:lnTo>
                    <a:lnTo>
                      <a:pt x="216" y="92"/>
                    </a:lnTo>
                    <a:lnTo>
                      <a:pt x="216" y="92"/>
                    </a:lnTo>
                    <a:lnTo>
                      <a:pt x="216" y="96"/>
                    </a:lnTo>
                    <a:lnTo>
                      <a:pt x="216" y="108"/>
                    </a:lnTo>
                    <a:lnTo>
                      <a:pt x="216" y="116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6" y="118"/>
                    </a:lnTo>
                    <a:lnTo>
                      <a:pt x="212" y="118"/>
                    </a:lnTo>
                    <a:lnTo>
                      <a:pt x="212" y="122"/>
                    </a:lnTo>
                    <a:lnTo>
                      <a:pt x="208" y="122"/>
                    </a:lnTo>
                    <a:lnTo>
                      <a:pt x="208" y="126"/>
                    </a:lnTo>
                    <a:lnTo>
                      <a:pt x="200" y="134"/>
                    </a:lnTo>
                    <a:lnTo>
                      <a:pt x="200" y="138"/>
                    </a:lnTo>
                    <a:lnTo>
                      <a:pt x="198" y="142"/>
                    </a:lnTo>
                    <a:lnTo>
                      <a:pt x="198" y="142"/>
                    </a:lnTo>
                    <a:lnTo>
                      <a:pt x="194" y="144"/>
                    </a:lnTo>
                    <a:lnTo>
                      <a:pt x="194" y="144"/>
                    </a:lnTo>
                    <a:lnTo>
                      <a:pt x="194" y="148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2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56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90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0"/>
                    </a:lnTo>
                    <a:lnTo>
                      <a:pt x="186" y="168"/>
                    </a:lnTo>
                    <a:lnTo>
                      <a:pt x="190" y="172"/>
                    </a:lnTo>
                    <a:lnTo>
                      <a:pt x="190" y="172"/>
                    </a:lnTo>
                    <a:lnTo>
                      <a:pt x="186" y="172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78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4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70" y="182"/>
                    </a:lnTo>
                    <a:lnTo>
                      <a:pt x="168" y="182"/>
                    </a:lnTo>
                    <a:lnTo>
                      <a:pt x="168" y="182"/>
                    </a:lnTo>
                    <a:lnTo>
                      <a:pt x="164" y="182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60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6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52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8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4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40" y="178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8" y="182"/>
                    </a:lnTo>
                    <a:lnTo>
                      <a:pt x="134" y="182"/>
                    </a:lnTo>
                    <a:lnTo>
                      <a:pt x="134" y="186"/>
                    </a:lnTo>
                    <a:lnTo>
                      <a:pt x="134" y="190"/>
                    </a:lnTo>
                    <a:lnTo>
                      <a:pt x="134" y="190"/>
                    </a:lnTo>
                    <a:lnTo>
                      <a:pt x="130" y="190"/>
                    </a:lnTo>
                    <a:lnTo>
                      <a:pt x="126" y="186"/>
                    </a:lnTo>
                    <a:lnTo>
                      <a:pt x="126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22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8" y="186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4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82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10" y="178"/>
                    </a:lnTo>
                    <a:lnTo>
                      <a:pt x="108" y="178"/>
                    </a:lnTo>
                    <a:lnTo>
                      <a:pt x="100" y="182"/>
                    </a:lnTo>
                    <a:lnTo>
                      <a:pt x="100" y="182"/>
                    </a:lnTo>
                    <a:lnTo>
                      <a:pt x="96" y="182"/>
                    </a:lnTo>
                    <a:lnTo>
                      <a:pt x="96" y="182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lnTo>
                      <a:pt x="96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3" name="Freeform 162">
                <a:extLst>
                  <a:ext uri="{FF2B5EF4-FFF2-40B4-BE49-F238E27FC236}">
                    <a16:creationId xmlns:a16="http://schemas.microsoft.com/office/drawing/2014/main" id="{7E4244EF-874B-4CEB-90C0-7D7A905911B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54525" y="4184718"/>
                <a:ext cx="269875" cy="260350"/>
              </a:xfrm>
              <a:custGeom>
                <a:avLst/>
                <a:gdLst>
                  <a:gd name="T0" fmla="*/ 126 w 170"/>
                  <a:gd name="T1" fmla="*/ 122 h 164"/>
                  <a:gd name="T2" fmla="*/ 118 w 170"/>
                  <a:gd name="T3" fmla="*/ 122 h 164"/>
                  <a:gd name="T4" fmla="*/ 110 w 170"/>
                  <a:gd name="T5" fmla="*/ 114 h 164"/>
                  <a:gd name="T6" fmla="*/ 102 w 170"/>
                  <a:gd name="T7" fmla="*/ 118 h 164"/>
                  <a:gd name="T8" fmla="*/ 96 w 170"/>
                  <a:gd name="T9" fmla="*/ 126 h 164"/>
                  <a:gd name="T10" fmla="*/ 88 w 170"/>
                  <a:gd name="T11" fmla="*/ 140 h 164"/>
                  <a:gd name="T12" fmla="*/ 80 w 170"/>
                  <a:gd name="T13" fmla="*/ 152 h 164"/>
                  <a:gd name="T14" fmla="*/ 76 w 170"/>
                  <a:gd name="T15" fmla="*/ 156 h 164"/>
                  <a:gd name="T16" fmla="*/ 70 w 170"/>
                  <a:gd name="T17" fmla="*/ 160 h 164"/>
                  <a:gd name="T18" fmla="*/ 62 w 170"/>
                  <a:gd name="T19" fmla="*/ 156 h 164"/>
                  <a:gd name="T20" fmla="*/ 58 w 170"/>
                  <a:gd name="T21" fmla="*/ 160 h 164"/>
                  <a:gd name="T22" fmla="*/ 58 w 170"/>
                  <a:gd name="T23" fmla="*/ 160 h 164"/>
                  <a:gd name="T24" fmla="*/ 58 w 170"/>
                  <a:gd name="T25" fmla="*/ 156 h 164"/>
                  <a:gd name="T26" fmla="*/ 50 w 170"/>
                  <a:gd name="T27" fmla="*/ 160 h 164"/>
                  <a:gd name="T28" fmla="*/ 40 w 170"/>
                  <a:gd name="T29" fmla="*/ 156 h 164"/>
                  <a:gd name="T30" fmla="*/ 36 w 170"/>
                  <a:gd name="T31" fmla="*/ 148 h 164"/>
                  <a:gd name="T32" fmla="*/ 40 w 170"/>
                  <a:gd name="T33" fmla="*/ 144 h 164"/>
                  <a:gd name="T34" fmla="*/ 36 w 170"/>
                  <a:gd name="T35" fmla="*/ 140 h 164"/>
                  <a:gd name="T36" fmla="*/ 30 w 170"/>
                  <a:gd name="T37" fmla="*/ 130 h 164"/>
                  <a:gd name="T38" fmla="*/ 18 w 170"/>
                  <a:gd name="T39" fmla="*/ 126 h 164"/>
                  <a:gd name="T40" fmla="*/ 18 w 170"/>
                  <a:gd name="T41" fmla="*/ 122 h 164"/>
                  <a:gd name="T42" fmla="*/ 10 w 170"/>
                  <a:gd name="T43" fmla="*/ 126 h 164"/>
                  <a:gd name="T44" fmla="*/ 0 w 170"/>
                  <a:gd name="T45" fmla="*/ 122 h 164"/>
                  <a:gd name="T46" fmla="*/ 2 w 170"/>
                  <a:gd name="T47" fmla="*/ 110 h 164"/>
                  <a:gd name="T48" fmla="*/ 0 w 170"/>
                  <a:gd name="T49" fmla="*/ 96 h 164"/>
                  <a:gd name="T50" fmla="*/ 2 w 170"/>
                  <a:gd name="T51" fmla="*/ 82 h 164"/>
                  <a:gd name="T52" fmla="*/ 10 w 170"/>
                  <a:gd name="T53" fmla="*/ 70 h 164"/>
                  <a:gd name="T54" fmla="*/ 14 w 170"/>
                  <a:gd name="T55" fmla="*/ 58 h 164"/>
                  <a:gd name="T56" fmla="*/ 14 w 170"/>
                  <a:gd name="T57" fmla="*/ 52 h 164"/>
                  <a:gd name="T58" fmla="*/ 10 w 170"/>
                  <a:gd name="T59" fmla="*/ 36 h 164"/>
                  <a:gd name="T60" fmla="*/ 14 w 170"/>
                  <a:gd name="T61" fmla="*/ 26 h 164"/>
                  <a:gd name="T62" fmla="*/ 22 w 170"/>
                  <a:gd name="T63" fmla="*/ 14 h 164"/>
                  <a:gd name="T64" fmla="*/ 26 w 170"/>
                  <a:gd name="T65" fmla="*/ 0 h 164"/>
                  <a:gd name="T66" fmla="*/ 40 w 170"/>
                  <a:gd name="T67" fmla="*/ 0 h 164"/>
                  <a:gd name="T68" fmla="*/ 50 w 170"/>
                  <a:gd name="T69" fmla="*/ 2 h 164"/>
                  <a:gd name="T70" fmla="*/ 62 w 170"/>
                  <a:gd name="T71" fmla="*/ 14 h 164"/>
                  <a:gd name="T72" fmla="*/ 76 w 170"/>
                  <a:gd name="T73" fmla="*/ 6 h 164"/>
                  <a:gd name="T74" fmla="*/ 88 w 170"/>
                  <a:gd name="T75" fmla="*/ 14 h 164"/>
                  <a:gd name="T76" fmla="*/ 100 w 170"/>
                  <a:gd name="T77" fmla="*/ 14 h 164"/>
                  <a:gd name="T78" fmla="*/ 110 w 170"/>
                  <a:gd name="T79" fmla="*/ 6 h 164"/>
                  <a:gd name="T80" fmla="*/ 126 w 170"/>
                  <a:gd name="T81" fmla="*/ 6 h 164"/>
                  <a:gd name="T82" fmla="*/ 136 w 170"/>
                  <a:gd name="T83" fmla="*/ 10 h 164"/>
                  <a:gd name="T84" fmla="*/ 148 w 170"/>
                  <a:gd name="T85" fmla="*/ 2 h 164"/>
                  <a:gd name="T86" fmla="*/ 158 w 170"/>
                  <a:gd name="T87" fmla="*/ 6 h 164"/>
                  <a:gd name="T88" fmla="*/ 162 w 170"/>
                  <a:gd name="T89" fmla="*/ 22 h 164"/>
                  <a:gd name="T90" fmla="*/ 170 w 170"/>
                  <a:gd name="T91" fmla="*/ 28 h 164"/>
                  <a:gd name="T92" fmla="*/ 166 w 170"/>
                  <a:gd name="T93" fmla="*/ 32 h 164"/>
                  <a:gd name="T94" fmla="*/ 162 w 170"/>
                  <a:gd name="T95" fmla="*/ 40 h 164"/>
                  <a:gd name="T96" fmla="*/ 156 w 170"/>
                  <a:gd name="T97" fmla="*/ 52 h 164"/>
                  <a:gd name="T98" fmla="*/ 148 w 170"/>
                  <a:gd name="T99" fmla="*/ 62 h 164"/>
                  <a:gd name="T100" fmla="*/ 144 w 170"/>
                  <a:gd name="T101" fmla="*/ 74 h 164"/>
                  <a:gd name="T102" fmla="*/ 140 w 170"/>
                  <a:gd name="T103" fmla="*/ 88 h 164"/>
                  <a:gd name="T104" fmla="*/ 132 w 170"/>
                  <a:gd name="T105" fmla="*/ 96 h 164"/>
                  <a:gd name="T106" fmla="*/ 132 w 170"/>
                  <a:gd name="T107" fmla="*/ 104 h 164"/>
                  <a:gd name="T108" fmla="*/ 128 w 170"/>
                  <a:gd name="T109" fmla="*/ 110 h 164"/>
                  <a:gd name="T110" fmla="*/ 62 w 170"/>
                  <a:gd name="T111" fmla="*/ 160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70" h="164">
                    <a:moveTo>
                      <a:pt x="128" y="110"/>
                    </a:moveTo>
                    <a:lnTo>
                      <a:pt x="128" y="114"/>
                    </a:lnTo>
                    <a:lnTo>
                      <a:pt x="126" y="118"/>
                    </a:lnTo>
                    <a:lnTo>
                      <a:pt x="126" y="122"/>
                    </a:lnTo>
                    <a:lnTo>
                      <a:pt x="122" y="122"/>
                    </a:lnTo>
                    <a:lnTo>
                      <a:pt x="122" y="126"/>
                    </a:lnTo>
                    <a:lnTo>
                      <a:pt x="118" y="126"/>
                    </a:lnTo>
                    <a:lnTo>
                      <a:pt x="118" y="122"/>
                    </a:lnTo>
                    <a:lnTo>
                      <a:pt x="118" y="118"/>
                    </a:lnTo>
                    <a:lnTo>
                      <a:pt x="114" y="118"/>
                    </a:lnTo>
                    <a:lnTo>
                      <a:pt x="114" y="114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06" y="118"/>
                    </a:lnTo>
                    <a:lnTo>
                      <a:pt x="106" y="114"/>
                    </a:lnTo>
                    <a:lnTo>
                      <a:pt x="102" y="118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0" y="126"/>
                    </a:lnTo>
                    <a:lnTo>
                      <a:pt x="96" y="126"/>
                    </a:lnTo>
                    <a:lnTo>
                      <a:pt x="92" y="130"/>
                    </a:lnTo>
                    <a:lnTo>
                      <a:pt x="88" y="134"/>
                    </a:lnTo>
                    <a:lnTo>
                      <a:pt x="88" y="138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0" y="152"/>
                    </a:lnTo>
                    <a:lnTo>
                      <a:pt x="80" y="156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56"/>
                    </a:lnTo>
                    <a:lnTo>
                      <a:pt x="80" y="156"/>
                    </a:lnTo>
                    <a:lnTo>
                      <a:pt x="76" y="160"/>
                    </a:lnTo>
                    <a:lnTo>
                      <a:pt x="72" y="160"/>
                    </a:lnTo>
                    <a:lnTo>
                      <a:pt x="70" y="160"/>
                    </a:lnTo>
                    <a:lnTo>
                      <a:pt x="70" y="156"/>
                    </a:ln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62" y="160"/>
                    </a:lnTo>
                    <a:lnTo>
                      <a:pt x="62" y="156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62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8" y="160"/>
                    </a:lnTo>
                    <a:lnTo>
                      <a:pt x="58" y="164"/>
                    </a:lnTo>
                    <a:lnTo>
                      <a:pt x="54" y="160"/>
                    </a:lnTo>
                    <a:lnTo>
                      <a:pt x="58" y="160"/>
                    </a:lnTo>
                    <a:lnTo>
                      <a:pt x="58" y="156"/>
                    </a:lnTo>
                    <a:lnTo>
                      <a:pt x="54" y="160"/>
                    </a:lnTo>
                    <a:lnTo>
                      <a:pt x="54" y="164"/>
                    </a:lnTo>
                    <a:lnTo>
                      <a:pt x="50" y="164"/>
                    </a:lnTo>
                    <a:lnTo>
                      <a:pt x="50" y="160"/>
                    </a:lnTo>
                    <a:lnTo>
                      <a:pt x="50" y="164"/>
                    </a:lnTo>
                    <a:lnTo>
                      <a:pt x="46" y="164"/>
                    </a:lnTo>
                    <a:lnTo>
                      <a:pt x="44" y="160"/>
                    </a:lnTo>
                    <a:lnTo>
                      <a:pt x="40" y="156"/>
                    </a:lnTo>
                    <a:lnTo>
                      <a:pt x="40" y="152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36" y="148"/>
                    </a:lnTo>
                    <a:lnTo>
                      <a:pt x="36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2" y="138"/>
                    </a:lnTo>
                    <a:lnTo>
                      <a:pt x="32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2" y="126"/>
                    </a:lnTo>
                    <a:lnTo>
                      <a:pt x="18" y="126"/>
                    </a:lnTo>
                    <a:lnTo>
                      <a:pt x="14" y="126"/>
                    </a:lnTo>
                    <a:lnTo>
                      <a:pt x="10" y="126"/>
                    </a:lnTo>
                    <a:lnTo>
                      <a:pt x="14" y="126"/>
                    </a:lnTo>
                    <a:lnTo>
                      <a:pt x="18" y="122"/>
                    </a:lnTo>
                    <a:lnTo>
                      <a:pt x="14" y="122"/>
                    </a:lnTo>
                    <a:lnTo>
                      <a:pt x="10" y="126"/>
                    </a:lnTo>
                    <a:lnTo>
                      <a:pt x="10" y="122"/>
                    </a:lnTo>
                    <a:lnTo>
                      <a:pt x="10" y="126"/>
                    </a:lnTo>
                    <a:lnTo>
                      <a:pt x="6" y="126"/>
                    </a:lnTo>
                    <a:lnTo>
                      <a:pt x="2" y="126"/>
                    </a:lnTo>
                    <a:lnTo>
                      <a:pt x="0" y="126"/>
                    </a:lnTo>
                    <a:lnTo>
                      <a:pt x="0" y="122"/>
                    </a:lnTo>
                    <a:lnTo>
                      <a:pt x="0" y="118"/>
                    </a:lnTo>
                    <a:lnTo>
                      <a:pt x="0" y="114"/>
                    </a:lnTo>
                    <a:lnTo>
                      <a:pt x="2" y="114"/>
                    </a:lnTo>
                    <a:lnTo>
                      <a:pt x="2" y="110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2" y="82"/>
                    </a:lnTo>
                    <a:lnTo>
                      <a:pt x="6" y="82"/>
                    </a:lnTo>
                    <a:lnTo>
                      <a:pt x="6" y="78"/>
                    </a:lnTo>
                    <a:lnTo>
                      <a:pt x="6" y="74"/>
                    </a:lnTo>
                    <a:lnTo>
                      <a:pt x="10" y="70"/>
                    </a:lnTo>
                    <a:lnTo>
                      <a:pt x="10" y="66"/>
                    </a:lnTo>
                    <a:lnTo>
                      <a:pt x="14" y="66"/>
                    </a:lnTo>
                    <a:lnTo>
                      <a:pt x="14" y="62"/>
                    </a:lnTo>
                    <a:lnTo>
                      <a:pt x="14" y="58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0" y="40"/>
                    </a:lnTo>
                    <a:lnTo>
                      <a:pt x="10" y="36"/>
                    </a:lnTo>
                    <a:lnTo>
                      <a:pt x="14" y="36"/>
                    </a:lnTo>
                    <a:lnTo>
                      <a:pt x="14" y="32"/>
                    </a:lnTo>
                    <a:lnTo>
                      <a:pt x="14" y="28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8" y="18"/>
                    </a:lnTo>
                    <a:lnTo>
                      <a:pt x="18" y="14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2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6" y="0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4" y="6"/>
                    </a:lnTo>
                    <a:lnTo>
                      <a:pt x="58" y="10"/>
                    </a:lnTo>
                    <a:lnTo>
                      <a:pt x="58" y="14"/>
                    </a:lnTo>
                    <a:lnTo>
                      <a:pt x="62" y="14"/>
                    </a:lnTo>
                    <a:lnTo>
                      <a:pt x="62" y="10"/>
                    </a:lnTo>
                    <a:lnTo>
                      <a:pt x="66" y="10"/>
                    </a:lnTo>
                    <a:lnTo>
                      <a:pt x="72" y="6"/>
                    </a:lnTo>
                    <a:lnTo>
                      <a:pt x="76" y="6"/>
                    </a:lnTo>
                    <a:lnTo>
                      <a:pt x="76" y="10"/>
                    </a:lnTo>
                    <a:lnTo>
                      <a:pt x="80" y="10"/>
                    </a:lnTo>
                    <a:lnTo>
                      <a:pt x="84" y="14"/>
                    </a:lnTo>
                    <a:lnTo>
                      <a:pt x="88" y="14"/>
                    </a:lnTo>
                    <a:lnTo>
                      <a:pt x="92" y="14"/>
                    </a:lnTo>
                    <a:lnTo>
                      <a:pt x="96" y="18"/>
                    </a:lnTo>
                    <a:lnTo>
                      <a:pt x="100" y="18"/>
                    </a:lnTo>
                    <a:lnTo>
                      <a:pt x="100" y="14"/>
                    </a:lnTo>
                    <a:lnTo>
                      <a:pt x="100" y="10"/>
                    </a:lnTo>
                    <a:lnTo>
                      <a:pt x="102" y="10"/>
                    </a:lnTo>
                    <a:lnTo>
                      <a:pt x="106" y="6"/>
                    </a:lnTo>
                    <a:lnTo>
                      <a:pt x="110" y="6"/>
                    </a:lnTo>
                    <a:lnTo>
                      <a:pt x="114" y="6"/>
                    </a:lnTo>
                    <a:lnTo>
                      <a:pt x="118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8" y="6"/>
                    </a:lnTo>
                    <a:lnTo>
                      <a:pt x="128" y="10"/>
                    </a:lnTo>
                    <a:lnTo>
                      <a:pt x="132" y="10"/>
                    </a:lnTo>
                    <a:lnTo>
                      <a:pt x="136" y="10"/>
                    </a:lnTo>
                    <a:lnTo>
                      <a:pt x="140" y="10"/>
                    </a:lnTo>
                    <a:lnTo>
                      <a:pt x="140" y="6"/>
                    </a:lnTo>
                    <a:lnTo>
                      <a:pt x="144" y="2"/>
                    </a:lnTo>
                    <a:lnTo>
                      <a:pt x="148" y="2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2"/>
                    </a:lnTo>
                    <a:lnTo>
                      <a:pt x="158" y="6"/>
                    </a:lnTo>
                    <a:lnTo>
                      <a:pt x="158" y="10"/>
                    </a:lnTo>
                    <a:lnTo>
                      <a:pt x="162" y="14"/>
                    </a:lnTo>
                    <a:lnTo>
                      <a:pt x="162" y="18"/>
                    </a:lnTo>
                    <a:lnTo>
                      <a:pt x="162" y="22"/>
                    </a:lnTo>
                    <a:lnTo>
                      <a:pt x="162" y="26"/>
                    </a:lnTo>
                    <a:lnTo>
                      <a:pt x="166" y="26"/>
                    </a:lnTo>
                    <a:lnTo>
                      <a:pt x="170" y="26"/>
                    </a:lnTo>
                    <a:lnTo>
                      <a:pt x="170" y="28"/>
                    </a:lnTo>
                    <a:lnTo>
                      <a:pt x="166" y="28"/>
                    </a:lnTo>
                    <a:lnTo>
                      <a:pt x="170" y="28"/>
                    </a:lnTo>
                    <a:lnTo>
                      <a:pt x="170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70" y="36"/>
                    </a:lnTo>
                    <a:lnTo>
                      <a:pt x="166" y="40"/>
                    </a:lnTo>
                    <a:lnTo>
                      <a:pt x="162" y="40"/>
                    </a:lnTo>
                    <a:lnTo>
                      <a:pt x="162" y="44"/>
                    </a:lnTo>
                    <a:lnTo>
                      <a:pt x="158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2" y="56"/>
                    </a:lnTo>
                    <a:lnTo>
                      <a:pt x="152" y="58"/>
                    </a:lnTo>
                    <a:lnTo>
                      <a:pt x="152" y="62"/>
                    </a:lnTo>
                    <a:lnTo>
                      <a:pt x="148" y="62"/>
                    </a:lnTo>
                    <a:lnTo>
                      <a:pt x="148" y="66"/>
                    </a:lnTo>
                    <a:lnTo>
                      <a:pt x="148" y="70"/>
                    </a:lnTo>
                    <a:lnTo>
                      <a:pt x="148" y="74"/>
                    </a:lnTo>
                    <a:lnTo>
                      <a:pt x="144" y="74"/>
                    </a:lnTo>
                    <a:lnTo>
                      <a:pt x="144" y="78"/>
                    </a:lnTo>
                    <a:lnTo>
                      <a:pt x="144" y="82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32" y="92"/>
                    </a:lnTo>
                    <a:lnTo>
                      <a:pt x="132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8" y="110"/>
                    </a:lnTo>
                    <a:lnTo>
                      <a:pt x="128" y="110"/>
                    </a:lnTo>
                    <a:lnTo>
                      <a:pt x="128" y="110"/>
                    </a:lnTo>
                    <a:close/>
                    <a:moveTo>
                      <a:pt x="62" y="160"/>
                    </a:moveTo>
                    <a:lnTo>
                      <a:pt x="66" y="160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2" y="1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4" name="Freeform 163">
                <a:extLst>
                  <a:ext uri="{FF2B5EF4-FFF2-40B4-BE49-F238E27FC236}">
                    <a16:creationId xmlns:a16="http://schemas.microsoft.com/office/drawing/2014/main" id="{C8C521AB-F0A6-46A0-AAAD-5AC4A5873BA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5075" y="4587943"/>
                <a:ext cx="41275" cy="47625"/>
              </a:xfrm>
              <a:custGeom>
                <a:avLst/>
                <a:gdLst>
                  <a:gd name="T0" fmla="*/ 0 w 26"/>
                  <a:gd name="T1" fmla="*/ 30 h 30"/>
                  <a:gd name="T2" fmla="*/ 0 w 26"/>
                  <a:gd name="T3" fmla="*/ 30 h 30"/>
                  <a:gd name="T4" fmla="*/ 0 w 26"/>
                  <a:gd name="T5" fmla="*/ 22 h 30"/>
                  <a:gd name="T6" fmla="*/ 4 w 26"/>
                  <a:gd name="T7" fmla="*/ 22 h 30"/>
                  <a:gd name="T8" fmla="*/ 4 w 26"/>
                  <a:gd name="T9" fmla="*/ 18 h 30"/>
                  <a:gd name="T10" fmla="*/ 4 w 26"/>
                  <a:gd name="T11" fmla="*/ 18 h 30"/>
                  <a:gd name="T12" fmla="*/ 4 w 26"/>
                  <a:gd name="T13" fmla="*/ 14 h 30"/>
                  <a:gd name="T14" fmla="*/ 4 w 26"/>
                  <a:gd name="T15" fmla="*/ 14 h 30"/>
                  <a:gd name="T16" fmla="*/ 4 w 26"/>
                  <a:gd name="T17" fmla="*/ 6 h 30"/>
                  <a:gd name="T18" fmla="*/ 8 w 26"/>
                  <a:gd name="T19" fmla="*/ 6 h 30"/>
                  <a:gd name="T20" fmla="*/ 8 w 26"/>
                  <a:gd name="T21" fmla="*/ 6 h 30"/>
                  <a:gd name="T22" fmla="*/ 8 w 26"/>
                  <a:gd name="T23" fmla="*/ 6 h 30"/>
                  <a:gd name="T24" fmla="*/ 10 w 26"/>
                  <a:gd name="T25" fmla="*/ 6 h 30"/>
                  <a:gd name="T26" fmla="*/ 10 w 26"/>
                  <a:gd name="T27" fmla="*/ 6 h 30"/>
                  <a:gd name="T28" fmla="*/ 14 w 26"/>
                  <a:gd name="T29" fmla="*/ 6 h 30"/>
                  <a:gd name="T30" fmla="*/ 14 w 26"/>
                  <a:gd name="T31" fmla="*/ 6 h 30"/>
                  <a:gd name="T32" fmla="*/ 18 w 26"/>
                  <a:gd name="T33" fmla="*/ 4 h 30"/>
                  <a:gd name="T34" fmla="*/ 18 w 26"/>
                  <a:gd name="T35" fmla="*/ 4 h 30"/>
                  <a:gd name="T36" fmla="*/ 22 w 26"/>
                  <a:gd name="T37" fmla="*/ 0 h 30"/>
                  <a:gd name="T38" fmla="*/ 22 w 26"/>
                  <a:gd name="T39" fmla="*/ 4 h 30"/>
                  <a:gd name="T40" fmla="*/ 22 w 26"/>
                  <a:gd name="T41" fmla="*/ 6 h 30"/>
                  <a:gd name="T42" fmla="*/ 26 w 26"/>
                  <a:gd name="T43" fmla="*/ 6 h 30"/>
                  <a:gd name="T44" fmla="*/ 26 w 26"/>
                  <a:gd name="T45" fmla="*/ 10 h 30"/>
                  <a:gd name="T46" fmla="*/ 26 w 26"/>
                  <a:gd name="T47" fmla="*/ 14 h 30"/>
                  <a:gd name="T48" fmla="*/ 26 w 26"/>
                  <a:gd name="T49" fmla="*/ 18 h 30"/>
                  <a:gd name="T50" fmla="*/ 26 w 26"/>
                  <a:gd name="T51" fmla="*/ 22 h 30"/>
                  <a:gd name="T52" fmla="*/ 26 w 26"/>
                  <a:gd name="T53" fmla="*/ 22 h 30"/>
                  <a:gd name="T54" fmla="*/ 26 w 26"/>
                  <a:gd name="T55" fmla="*/ 22 h 30"/>
                  <a:gd name="T56" fmla="*/ 22 w 26"/>
                  <a:gd name="T57" fmla="*/ 22 h 30"/>
                  <a:gd name="T58" fmla="*/ 22 w 26"/>
                  <a:gd name="T59" fmla="*/ 22 h 30"/>
                  <a:gd name="T60" fmla="*/ 18 w 26"/>
                  <a:gd name="T61" fmla="*/ 22 h 30"/>
                  <a:gd name="T62" fmla="*/ 14 w 26"/>
                  <a:gd name="T63" fmla="*/ 26 h 30"/>
                  <a:gd name="T64" fmla="*/ 14 w 26"/>
                  <a:gd name="T65" fmla="*/ 22 h 30"/>
                  <a:gd name="T66" fmla="*/ 14 w 26"/>
                  <a:gd name="T67" fmla="*/ 30 h 30"/>
                  <a:gd name="T68" fmla="*/ 10 w 26"/>
                  <a:gd name="T69" fmla="*/ 30 h 30"/>
                  <a:gd name="T70" fmla="*/ 10 w 26"/>
                  <a:gd name="T71" fmla="*/ 30 h 30"/>
                  <a:gd name="T72" fmla="*/ 8 w 26"/>
                  <a:gd name="T73" fmla="*/ 30 h 30"/>
                  <a:gd name="T74" fmla="*/ 8 w 26"/>
                  <a:gd name="T75" fmla="*/ 30 h 30"/>
                  <a:gd name="T76" fmla="*/ 4 w 26"/>
                  <a:gd name="T77" fmla="*/ 30 h 30"/>
                  <a:gd name="T78" fmla="*/ 4 w 26"/>
                  <a:gd name="T79" fmla="*/ 30 h 30"/>
                  <a:gd name="T80" fmla="*/ 4 w 26"/>
                  <a:gd name="T81" fmla="*/ 30 h 30"/>
                  <a:gd name="T82" fmla="*/ 0 w 26"/>
                  <a:gd name="T83" fmla="*/ 26 h 30"/>
                  <a:gd name="T84" fmla="*/ 0 w 26"/>
                  <a:gd name="T85" fmla="*/ 30 h 30"/>
                  <a:gd name="T86" fmla="*/ 0 w 26"/>
                  <a:gd name="T87" fmla="*/ 30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6" h="30">
                    <a:moveTo>
                      <a:pt x="0" y="30"/>
                    </a:move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0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4" y="6"/>
                    </a:lnTo>
                    <a:lnTo>
                      <a:pt x="18" y="6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4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6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22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5" name="Freeform 164">
                <a:extLst>
                  <a:ext uri="{FF2B5EF4-FFF2-40B4-BE49-F238E27FC236}">
                    <a16:creationId xmlns:a16="http://schemas.microsoft.com/office/drawing/2014/main" id="{20205312-F333-488B-B057-20558E1AE52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40250" y="4514918"/>
                <a:ext cx="19050" cy="41275"/>
              </a:xfrm>
              <a:custGeom>
                <a:avLst/>
                <a:gdLst>
                  <a:gd name="T0" fmla="*/ 12 w 12"/>
                  <a:gd name="T1" fmla="*/ 0 h 26"/>
                  <a:gd name="T2" fmla="*/ 12 w 12"/>
                  <a:gd name="T3" fmla="*/ 0 h 26"/>
                  <a:gd name="T4" fmla="*/ 12 w 12"/>
                  <a:gd name="T5" fmla="*/ 0 h 26"/>
                  <a:gd name="T6" fmla="*/ 12 w 12"/>
                  <a:gd name="T7" fmla="*/ 0 h 26"/>
                  <a:gd name="T8" fmla="*/ 12 w 12"/>
                  <a:gd name="T9" fmla="*/ 0 h 26"/>
                  <a:gd name="T10" fmla="*/ 12 w 12"/>
                  <a:gd name="T11" fmla="*/ 0 h 26"/>
                  <a:gd name="T12" fmla="*/ 12 w 12"/>
                  <a:gd name="T13" fmla="*/ 0 h 26"/>
                  <a:gd name="T14" fmla="*/ 12 w 12"/>
                  <a:gd name="T15" fmla="*/ 0 h 26"/>
                  <a:gd name="T16" fmla="*/ 12 w 12"/>
                  <a:gd name="T17" fmla="*/ 0 h 26"/>
                  <a:gd name="T18" fmla="*/ 12 w 12"/>
                  <a:gd name="T19" fmla="*/ 0 h 26"/>
                  <a:gd name="T20" fmla="*/ 12 w 12"/>
                  <a:gd name="T21" fmla="*/ 0 h 26"/>
                  <a:gd name="T22" fmla="*/ 12 w 12"/>
                  <a:gd name="T23" fmla="*/ 0 h 26"/>
                  <a:gd name="T24" fmla="*/ 12 w 12"/>
                  <a:gd name="T25" fmla="*/ 0 h 26"/>
                  <a:gd name="T26" fmla="*/ 0 w 12"/>
                  <a:gd name="T27" fmla="*/ 26 h 26"/>
                  <a:gd name="T28" fmla="*/ 0 w 12"/>
                  <a:gd name="T29" fmla="*/ 26 h 26"/>
                  <a:gd name="T30" fmla="*/ 0 w 12"/>
                  <a:gd name="T31" fmla="*/ 26 h 26"/>
                  <a:gd name="T32" fmla="*/ 0 w 12"/>
                  <a:gd name="T33" fmla="*/ 26 h 26"/>
                  <a:gd name="T34" fmla="*/ 0 w 12"/>
                  <a:gd name="T35" fmla="*/ 22 h 26"/>
                  <a:gd name="T36" fmla="*/ 0 w 12"/>
                  <a:gd name="T37" fmla="*/ 22 h 26"/>
                  <a:gd name="T38" fmla="*/ 0 w 12"/>
                  <a:gd name="T39" fmla="*/ 22 h 26"/>
                  <a:gd name="T40" fmla="*/ 0 w 12"/>
                  <a:gd name="T41" fmla="*/ 22 h 26"/>
                  <a:gd name="T42" fmla="*/ 0 w 12"/>
                  <a:gd name="T43" fmla="*/ 22 h 26"/>
                  <a:gd name="T44" fmla="*/ 0 w 12"/>
                  <a:gd name="T45" fmla="*/ 22 h 26"/>
                  <a:gd name="T46" fmla="*/ 0 w 12"/>
                  <a:gd name="T47" fmla="*/ 22 h 26"/>
                  <a:gd name="T48" fmla="*/ 4 w 12"/>
                  <a:gd name="T49" fmla="*/ 22 h 26"/>
                  <a:gd name="T50" fmla="*/ 4 w 12"/>
                  <a:gd name="T51" fmla="*/ 22 h 26"/>
                  <a:gd name="T52" fmla="*/ 4 w 12"/>
                  <a:gd name="T53" fmla="*/ 22 h 26"/>
                  <a:gd name="T54" fmla="*/ 4 w 12"/>
                  <a:gd name="T55" fmla="*/ 22 h 26"/>
                  <a:gd name="T56" fmla="*/ 4 w 12"/>
                  <a:gd name="T57" fmla="*/ 26 h 26"/>
                  <a:gd name="T58" fmla="*/ 0 w 12"/>
                  <a:gd name="T59" fmla="*/ 26 h 26"/>
                  <a:gd name="T60" fmla="*/ 0 w 12"/>
                  <a:gd name="T61" fmla="*/ 26 h 26"/>
                  <a:gd name="T62" fmla="*/ 0 w 12"/>
                  <a:gd name="T63" fmla="*/ 26 h 26"/>
                  <a:gd name="T64" fmla="*/ 0 w 12"/>
                  <a:gd name="T65" fmla="*/ 26 h 26"/>
                  <a:gd name="T66" fmla="*/ 0 w 12"/>
                  <a:gd name="T67" fmla="*/ 26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12" h="26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6"/>
                    </a:move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6" name="Freeform 165">
                <a:extLst>
                  <a:ext uri="{FF2B5EF4-FFF2-40B4-BE49-F238E27FC236}">
                    <a16:creationId xmlns:a16="http://schemas.microsoft.com/office/drawing/2014/main" id="{F88E84E0-9D19-4187-998B-ECC7129BAE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997325" y="4102168"/>
                <a:ext cx="142875" cy="120650"/>
              </a:xfrm>
              <a:custGeom>
                <a:avLst/>
                <a:gdLst>
                  <a:gd name="T0" fmla="*/ 82 w 90"/>
                  <a:gd name="T1" fmla="*/ 76 h 76"/>
                  <a:gd name="T2" fmla="*/ 78 w 90"/>
                  <a:gd name="T3" fmla="*/ 76 h 76"/>
                  <a:gd name="T4" fmla="*/ 70 w 90"/>
                  <a:gd name="T5" fmla="*/ 76 h 76"/>
                  <a:gd name="T6" fmla="*/ 64 w 90"/>
                  <a:gd name="T7" fmla="*/ 74 h 76"/>
                  <a:gd name="T8" fmla="*/ 60 w 90"/>
                  <a:gd name="T9" fmla="*/ 70 h 76"/>
                  <a:gd name="T10" fmla="*/ 44 w 90"/>
                  <a:gd name="T11" fmla="*/ 70 h 76"/>
                  <a:gd name="T12" fmla="*/ 30 w 90"/>
                  <a:gd name="T13" fmla="*/ 74 h 76"/>
                  <a:gd name="T14" fmla="*/ 22 w 90"/>
                  <a:gd name="T15" fmla="*/ 74 h 76"/>
                  <a:gd name="T16" fmla="*/ 14 w 90"/>
                  <a:gd name="T17" fmla="*/ 76 h 76"/>
                  <a:gd name="T18" fmla="*/ 14 w 90"/>
                  <a:gd name="T19" fmla="*/ 70 h 76"/>
                  <a:gd name="T20" fmla="*/ 22 w 90"/>
                  <a:gd name="T21" fmla="*/ 74 h 76"/>
                  <a:gd name="T22" fmla="*/ 26 w 90"/>
                  <a:gd name="T23" fmla="*/ 74 h 76"/>
                  <a:gd name="T24" fmla="*/ 30 w 90"/>
                  <a:gd name="T25" fmla="*/ 70 h 76"/>
                  <a:gd name="T26" fmla="*/ 30 w 90"/>
                  <a:gd name="T27" fmla="*/ 70 h 76"/>
                  <a:gd name="T28" fmla="*/ 26 w 90"/>
                  <a:gd name="T29" fmla="*/ 70 h 76"/>
                  <a:gd name="T30" fmla="*/ 22 w 90"/>
                  <a:gd name="T31" fmla="*/ 70 h 76"/>
                  <a:gd name="T32" fmla="*/ 14 w 90"/>
                  <a:gd name="T33" fmla="*/ 70 h 76"/>
                  <a:gd name="T34" fmla="*/ 12 w 90"/>
                  <a:gd name="T35" fmla="*/ 74 h 76"/>
                  <a:gd name="T36" fmla="*/ 12 w 90"/>
                  <a:gd name="T37" fmla="*/ 66 h 76"/>
                  <a:gd name="T38" fmla="*/ 26 w 90"/>
                  <a:gd name="T39" fmla="*/ 62 h 76"/>
                  <a:gd name="T40" fmla="*/ 34 w 90"/>
                  <a:gd name="T41" fmla="*/ 58 h 76"/>
                  <a:gd name="T42" fmla="*/ 38 w 90"/>
                  <a:gd name="T43" fmla="*/ 54 h 76"/>
                  <a:gd name="T44" fmla="*/ 42 w 90"/>
                  <a:gd name="T45" fmla="*/ 58 h 76"/>
                  <a:gd name="T46" fmla="*/ 44 w 90"/>
                  <a:gd name="T47" fmla="*/ 62 h 76"/>
                  <a:gd name="T48" fmla="*/ 52 w 90"/>
                  <a:gd name="T49" fmla="*/ 58 h 76"/>
                  <a:gd name="T50" fmla="*/ 56 w 90"/>
                  <a:gd name="T51" fmla="*/ 54 h 76"/>
                  <a:gd name="T52" fmla="*/ 48 w 90"/>
                  <a:gd name="T53" fmla="*/ 54 h 76"/>
                  <a:gd name="T54" fmla="*/ 44 w 90"/>
                  <a:gd name="T55" fmla="*/ 54 h 76"/>
                  <a:gd name="T56" fmla="*/ 42 w 90"/>
                  <a:gd name="T57" fmla="*/ 54 h 76"/>
                  <a:gd name="T58" fmla="*/ 42 w 90"/>
                  <a:gd name="T59" fmla="*/ 52 h 76"/>
                  <a:gd name="T60" fmla="*/ 34 w 90"/>
                  <a:gd name="T61" fmla="*/ 52 h 76"/>
                  <a:gd name="T62" fmla="*/ 30 w 90"/>
                  <a:gd name="T63" fmla="*/ 54 h 76"/>
                  <a:gd name="T64" fmla="*/ 14 w 90"/>
                  <a:gd name="T65" fmla="*/ 54 h 76"/>
                  <a:gd name="T66" fmla="*/ 14 w 90"/>
                  <a:gd name="T67" fmla="*/ 52 h 76"/>
                  <a:gd name="T68" fmla="*/ 14 w 90"/>
                  <a:gd name="T69" fmla="*/ 48 h 76"/>
                  <a:gd name="T70" fmla="*/ 18 w 90"/>
                  <a:gd name="T71" fmla="*/ 44 h 76"/>
                  <a:gd name="T72" fmla="*/ 14 w 90"/>
                  <a:gd name="T73" fmla="*/ 48 h 76"/>
                  <a:gd name="T74" fmla="*/ 12 w 90"/>
                  <a:gd name="T75" fmla="*/ 40 h 76"/>
                  <a:gd name="T76" fmla="*/ 8 w 90"/>
                  <a:gd name="T77" fmla="*/ 36 h 76"/>
                  <a:gd name="T78" fmla="*/ 4 w 90"/>
                  <a:gd name="T79" fmla="*/ 36 h 76"/>
                  <a:gd name="T80" fmla="*/ 8 w 90"/>
                  <a:gd name="T81" fmla="*/ 32 h 76"/>
                  <a:gd name="T82" fmla="*/ 12 w 90"/>
                  <a:gd name="T83" fmla="*/ 22 h 76"/>
                  <a:gd name="T84" fmla="*/ 14 w 90"/>
                  <a:gd name="T85" fmla="*/ 18 h 76"/>
                  <a:gd name="T86" fmla="*/ 18 w 90"/>
                  <a:gd name="T87" fmla="*/ 6 h 76"/>
                  <a:gd name="T88" fmla="*/ 22 w 90"/>
                  <a:gd name="T89" fmla="*/ 2 h 76"/>
                  <a:gd name="T90" fmla="*/ 30 w 90"/>
                  <a:gd name="T91" fmla="*/ 2 h 76"/>
                  <a:gd name="T92" fmla="*/ 38 w 90"/>
                  <a:gd name="T93" fmla="*/ 2 h 76"/>
                  <a:gd name="T94" fmla="*/ 44 w 90"/>
                  <a:gd name="T95" fmla="*/ 2 h 76"/>
                  <a:gd name="T96" fmla="*/ 56 w 90"/>
                  <a:gd name="T97" fmla="*/ 10 h 76"/>
                  <a:gd name="T98" fmla="*/ 60 w 90"/>
                  <a:gd name="T99" fmla="*/ 14 h 76"/>
                  <a:gd name="T100" fmla="*/ 68 w 90"/>
                  <a:gd name="T101" fmla="*/ 26 h 76"/>
                  <a:gd name="T102" fmla="*/ 68 w 90"/>
                  <a:gd name="T103" fmla="*/ 28 h 76"/>
                  <a:gd name="T104" fmla="*/ 74 w 90"/>
                  <a:gd name="T105" fmla="*/ 32 h 76"/>
                  <a:gd name="T106" fmla="*/ 78 w 90"/>
                  <a:gd name="T107" fmla="*/ 40 h 76"/>
                  <a:gd name="T108" fmla="*/ 82 w 90"/>
                  <a:gd name="T109" fmla="*/ 48 h 76"/>
                  <a:gd name="T110" fmla="*/ 78 w 90"/>
                  <a:gd name="T111" fmla="*/ 52 h 76"/>
                  <a:gd name="T112" fmla="*/ 82 w 90"/>
                  <a:gd name="T113" fmla="*/ 58 h 76"/>
                  <a:gd name="T114" fmla="*/ 86 w 90"/>
                  <a:gd name="T115" fmla="*/ 62 h 76"/>
                  <a:gd name="T116" fmla="*/ 90 w 90"/>
                  <a:gd name="T117" fmla="*/ 70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90" h="76">
                    <a:moveTo>
                      <a:pt x="90" y="74"/>
                    </a:moveTo>
                    <a:lnTo>
                      <a:pt x="90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4"/>
                    </a:lnTo>
                    <a:lnTo>
                      <a:pt x="86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6"/>
                    </a:lnTo>
                    <a:lnTo>
                      <a:pt x="82" y="74"/>
                    </a:lnTo>
                    <a:lnTo>
                      <a:pt x="78" y="74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8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6"/>
                    </a:lnTo>
                    <a:lnTo>
                      <a:pt x="74" y="74"/>
                    </a:lnTo>
                    <a:lnTo>
                      <a:pt x="74" y="74"/>
                    </a:lnTo>
                    <a:lnTo>
                      <a:pt x="70" y="76"/>
                    </a:lnTo>
                    <a:lnTo>
                      <a:pt x="70" y="76"/>
                    </a:lnTo>
                    <a:lnTo>
                      <a:pt x="70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8" y="74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0" y="70"/>
                    </a:lnTo>
                    <a:lnTo>
                      <a:pt x="60" y="70"/>
                    </a:lnTo>
                    <a:lnTo>
                      <a:pt x="56" y="70"/>
                    </a:lnTo>
                    <a:lnTo>
                      <a:pt x="56" y="70"/>
                    </a:lnTo>
                    <a:lnTo>
                      <a:pt x="52" y="70"/>
                    </a:lnTo>
                    <a:lnTo>
                      <a:pt x="52" y="70"/>
                    </a:lnTo>
                    <a:lnTo>
                      <a:pt x="48" y="70"/>
                    </a:lnTo>
                    <a:lnTo>
                      <a:pt x="48" y="70"/>
                    </a:lnTo>
                    <a:lnTo>
                      <a:pt x="44" y="70"/>
                    </a:lnTo>
                    <a:lnTo>
                      <a:pt x="44" y="70"/>
                    </a:lnTo>
                    <a:lnTo>
                      <a:pt x="42" y="70"/>
                    </a:lnTo>
                    <a:lnTo>
                      <a:pt x="42" y="70"/>
                    </a:lnTo>
                    <a:lnTo>
                      <a:pt x="38" y="70"/>
                    </a:lnTo>
                    <a:lnTo>
                      <a:pt x="34" y="70"/>
                    </a:lnTo>
                    <a:lnTo>
                      <a:pt x="34" y="70"/>
                    </a:lnTo>
                    <a:lnTo>
                      <a:pt x="34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18" y="74"/>
                    </a:lnTo>
                    <a:lnTo>
                      <a:pt x="18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4" y="76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6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30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4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4" y="62"/>
                    </a:lnTo>
                    <a:lnTo>
                      <a:pt x="14" y="62"/>
                    </a:lnTo>
                    <a:lnTo>
                      <a:pt x="22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62"/>
                    </a:lnTo>
                    <a:lnTo>
                      <a:pt x="26" y="58"/>
                    </a:lnTo>
                    <a:lnTo>
                      <a:pt x="30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8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4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4"/>
                    </a:lnTo>
                    <a:lnTo>
                      <a:pt x="38" y="58"/>
                    </a:lnTo>
                    <a:lnTo>
                      <a:pt x="38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2" y="58"/>
                    </a:lnTo>
                    <a:lnTo>
                      <a:pt x="44" y="58"/>
                    </a:lnTo>
                    <a:lnTo>
                      <a:pt x="44" y="58"/>
                    </a:lnTo>
                    <a:lnTo>
                      <a:pt x="44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52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4"/>
                    </a:lnTo>
                    <a:lnTo>
                      <a:pt x="48" y="58"/>
                    </a:lnTo>
                    <a:lnTo>
                      <a:pt x="44" y="5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4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42" y="52"/>
                    </a:lnTo>
                    <a:lnTo>
                      <a:pt x="38" y="52"/>
                    </a:lnTo>
                    <a:lnTo>
                      <a:pt x="38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4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14" y="54"/>
                    </a:lnTo>
                    <a:lnTo>
                      <a:pt x="14" y="54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4" y="52"/>
                    </a:lnTo>
                    <a:lnTo>
                      <a:pt x="14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4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4" y="2"/>
                    </a:lnTo>
                    <a:lnTo>
                      <a:pt x="48" y="2"/>
                    </a:lnTo>
                    <a:lnTo>
                      <a:pt x="48" y="2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60" y="10"/>
                    </a:lnTo>
                    <a:lnTo>
                      <a:pt x="60" y="10"/>
                    </a:lnTo>
                    <a:lnTo>
                      <a:pt x="60" y="14"/>
                    </a:lnTo>
                    <a:lnTo>
                      <a:pt x="64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68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4" y="32"/>
                    </a:lnTo>
                    <a:lnTo>
                      <a:pt x="78" y="32"/>
                    </a:lnTo>
                    <a:lnTo>
                      <a:pt x="78" y="36"/>
                    </a:lnTo>
                    <a:lnTo>
                      <a:pt x="78" y="36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0"/>
                    </a:lnTo>
                    <a:lnTo>
                      <a:pt x="78" y="44"/>
                    </a:lnTo>
                    <a:lnTo>
                      <a:pt x="82" y="44"/>
                    </a:lnTo>
                    <a:lnTo>
                      <a:pt x="82" y="44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48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2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78" y="54"/>
                    </a:lnTo>
                    <a:lnTo>
                      <a:pt x="82" y="54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2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58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86" y="62"/>
                    </a:lnTo>
                    <a:lnTo>
                      <a:pt x="90" y="62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66"/>
                    </a:lnTo>
                    <a:lnTo>
                      <a:pt x="90" y="70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lnTo>
                      <a:pt x="90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7" name="Freeform 166">
                <a:extLst>
                  <a:ext uri="{FF2B5EF4-FFF2-40B4-BE49-F238E27FC236}">
                    <a16:creationId xmlns:a16="http://schemas.microsoft.com/office/drawing/2014/main" id="{5DD471BE-FFA9-4CFC-BC09-CB1358D5AE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429250" y="4680018"/>
                <a:ext cx="212725" cy="136525"/>
              </a:xfrm>
              <a:custGeom>
                <a:avLst/>
                <a:gdLst>
                  <a:gd name="T0" fmla="*/ 4 w 134"/>
                  <a:gd name="T1" fmla="*/ 86 h 86"/>
                  <a:gd name="T2" fmla="*/ 4 w 134"/>
                  <a:gd name="T3" fmla="*/ 86 h 86"/>
                  <a:gd name="T4" fmla="*/ 0 w 134"/>
                  <a:gd name="T5" fmla="*/ 86 h 86"/>
                  <a:gd name="T6" fmla="*/ 0 w 134"/>
                  <a:gd name="T7" fmla="*/ 86 h 86"/>
                  <a:gd name="T8" fmla="*/ 0 w 134"/>
                  <a:gd name="T9" fmla="*/ 86 h 86"/>
                  <a:gd name="T10" fmla="*/ 0 w 134"/>
                  <a:gd name="T11" fmla="*/ 86 h 86"/>
                  <a:gd name="T12" fmla="*/ 0 w 134"/>
                  <a:gd name="T13" fmla="*/ 86 h 86"/>
                  <a:gd name="T14" fmla="*/ 0 w 134"/>
                  <a:gd name="T15" fmla="*/ 86 h 86"/>
                  <a:gd name="T16" fmla="*/ 0 w 134"/>
                  <a:gd name="T17" fmla="*/ 86 h 86"/>
                  <a:gd name="T18" fmla="*/ 4 w 134"/>
                  <a:gd name="T19" fmla="*/ 86 h 86"/>
                  <a:gd name="T20" fmla="*/ 4 w 134"/>
                  <a:gd name="T21" fmla="*/ 86 h 86"/>
                  <a:gd name="T22" fmla="*/ 4 w 134"/>
                  <a:gd name="T23" fmla="*/ 86 h 86"/>
                  <a:gd name="T24" fmla="*/ 4 w 134"/>
                  <a:gd name="T25" fmla="*/ 86 h 86"/>
                  <a:gd name="T26" fmla="*/ 4 w 134"/>
                  <a:gd name="T27" fmla="*/ 82 h 86"/>
                  <a:gd name="T28" fmla="*/ 4 w 134"/>
                  <a:gd name="T29" fmla="*/ 82 h 86"/>
                  <a:gd name="T30" fmla="*/ 4 w 134"/>
                  <a:gd name="T31" fmla="*/ 82 h 86"/>
                  <a:gd name="T32" fmla="*/ 8 w 134"/>
                  <a:gd name="T33" fmla="*/ 82 h 86"/>
                  <a:gd name="T34" fmla="*/ 8 w 134"/>
                  <a:gd name="T35" fmla="*/ 86 h 86"/>
                  <a:gd name="T36" fmla="*/ 8 w 134"/>
                  <a:gd name="T37" fmla="*/ 86 h 86"/>
                  <a:gd name="T38" fmla="*/ 4 w 134"/>
                  <a:gd name="T39" fmla="*/ 86 h 86"/>
                  <a:gd name="T40" fmla="*/ 4 w 134"/>
                  <a:gd name="T41" fmla="*/ 86 h 86"/>
                  <a:gd name="T42" fmla="*/ 4 w 134"/>
                  <a:gd name="T43" fmla="*/ 86 h 86"/>
                  <a:gd name="T44" fmla="*/ 4 w 134"/>
                  <a:gd name="T45" fmla="*/ 86 h 86"/>
                  <a:gd name="T46" fmla="*/ 4 w 134"/>
                  <a:gd name="T47" fmla="*/ 86 h 86"/>
                  <a:gd name="T48" fmla="*/ 4 w 134"/>
                  <a:gd name="T49" fmla="*/ 86 h 86"/>
                  <a:gd name="T50" fmla="*/ 4 w 134"/>
                  <a:gd name="T51" fmla="*/ 86 h 86"/>
                  <a:gd name="T52" fmla="*/ 4 w 134"/>
                  <a:gd name="T53" fmla="*/ 86 h 86"/>
                  <a:gd name="T54" fmla="*/ 4 w 134"/>
                  <a:gd name="T55" fmla="*/ 86 h 86"/>
                  <a:gd name="T56" fmla="*/ 4 w 134"/>
                  <a:gd name="T57" fmla="*/ 86 h 86"/>
                  <a:gd name="T58" fmla="*/ 4 w 134"/>
                  <a:gd name="T59" fmla="*/ 86 h 86"/>
                  <a:gd name="T60" fmla="*/ 134 w 134"/>
                  <a:gd name="T61" fmla="*/ 4 h 86"/>
                  <a:gd name="T62" fmla="*/ 134 w 134"/>
                  <a:gd name="T63" fmla="*/ 4 h 86"/>
                  <a:gd name="T64" fmla="*/ 134 w 134"/>
                  <a:gd name="T65" fmla="*/ 4 h 86"/>
                  <a:gd name="T66" fmla="*/ 134 w 134"/>
                  <a:gd name="T67" fmla="*/ 4 h 86"/>
                  <a:gd name="T68" fmla="*/ 130 w 134"/>
                  <a:gd name="T69" fmla="*/ 4 h 86"/>
                  <a:gd name="T70" fmla="*/ 130 w 134"/>
                  <a:gd name="T71" fmla="*/ 0 h 86"/>
                  <a:gd name="T72" fmla="*/ 130 w 134"/>
                  <a:gd name="T73" fmla="*/ 0 h 86"/>
                  <a:gd name="T74" fmla="*/ 134 w 134"/>
                  <a:gd name="T75" fmla="*/ 0 h 86"/>
                  <a:gd name="T76" fmla="*/ 134 w 134"/>
                  <a:gd name="T77" fmla="*/ 4 h 86"/>
                  <a:gd name="T78" fmla="*/ 134 w 134"/>
                  <a:gd name="T79" fmla="*/ 4 h 86"/>
                  <a:gd name="T80" fmla="*/ 134 w 134"/>
                  <a:gd name="T81" fmla="*/ 4 h 86"/>
                  <a:gd name="T82" fmla="*/ 134 w 134"/>
                  <a:gd name="T83" fmla="*/ 4 h 86"/>
                  <a:gd name="T84" fmla="*/ 134 w 134"/>
                  <a:gd name="T85" fmla="*/ 4 h 86"/>
                  <a:gd name="T86" fmla="*/ 134 w 134"/>
                  <a:gd name="T87" fmla="*/ 4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4" h="86">
                    <a:moveTo>
                      <a:pt x="4" y="86"/>
                    </a:moveTo>
                    <a:lnTo>
                      <a:pt x="4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8" y="82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4" y="86"/>
                    </a:lnTo>
                    <a:close/>
                    <a:moveTo>
                      <a:pt x="134" y="4"/>
                    </a:move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0" y="4"/>
                    </a:lnTo>
                    <a:lnTo>
                      <a:pt x="130" y="0"/>
                    </a:lnTo>
                    <a:lnTo>
                      <a:pt x="130" y="0"/>
                    </a:lnTo>
                    <a:lnTo>
                      <a:pt x="134" y="0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lnTo>
                      <a:pt x="13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8" name="Freeform 167">
                <a:extLst>
                  <a:ext uri="{FF2B5EF4-FFF2-40B4-BE49-F238E27FC236}">
                    <a16:creationId xmlns:a16="http://schemas.microsoft.com/office/drawing/2014/main" id="{E7C0A087-515F-424B-9015-F191C6D591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098925" y="4289493"/>
                <a:ext cx="63500" cy="85725"/>
              </a:xfrm>
              <a:custGeom>
                <a:avLst/>
                <a:gdLst>
                  <a:gd name="T0" fmla="*/ 22 w 40"/>
                  <a:gd name="T1" fmla="*/ 50 h 54"/>
                  <a:gd name="T2" fmla="*/ 18 w 40"/>
                  <a:gd name="T3" fmla="*/ 50 h 54"/>
                  <a:gd name="T4" fmla="*/ 10 w 40"/>
                  <a:gd name="T5" fmla="*/ 46 h 54"/>
                  <a:gd name="T6" fmla="*/ 10 w 40"/>
                  <a:gd name="T7" fmla="*/ 42 h 54"/>
                  <a:gd name="T8" fmla="*/ 10 w 40"/>
                  <a:gd name="T9" fmla="*/ 42 h 54"/>
                  <a:gd name="T10" fmla="*/ 14 w 40"/>
                  <a:gd name="T11" fmla="*/ 42 h 54"/>
                  <a:gd name="T12" fmla="*/ 10 w 40"/>
                  <a:gd name="T13" fmla="*/ 42 h 54"/>
                  <a:gd name="T14" fmla="*/ 6 w 40"/>
                  <a:gd name="T15" fmla="*/ 38 h 54"/>
                  <a:gd name="T16" fmla="*/ 4 w 40"/>
                  <a:gd name="T17" fmla="*/ 34 h 54"/>
                  <a:gd name="T18" fmla="*/ 4 w 40"/>
                  <a:gd name="T19" fmla="*/ 30 h 54"/>
                  <a:gd name="T20" fmla="*/ 4 w 40"/>
                  <a:gd name="T21" fmla="*/ 30 h 54"/>
                  <a:gd name="T22" fmla="*/ 0 w 40"/>
                  <a:gd name="T23" fmla="*/ 26 h 54"/>
                  <a:gd name="T24" fmla="*/ 0 w 40"/>
                  <a:gd name="T25" fmla="*/ 26 h 54"/>
                  <a:gd name="T26" fmla="*/ 0 w 40"/>
                  <a:gd name="T27" fmla="*/ 26 h 54"/>
                  <a:gd name="T28" fmla="*/ 4 w 40"/>
                  <a:gd name="T29" fmla="*/ 22 h 54"/>
                  <a:gd name="T30" fmla="*/ 4 w 40"/>
                  <a:gd name="T31" fmla="*/ 22 h 54"/>
                  <a:gd name="T32" fmla="*/ 0 w 40"/>
                  <a:gd name="T33" fmla="*/ 22 h 54"/>
                  <a:gd name="T34" fmla="*/ 0 w 40"/>
                  <a:gd name="T35" fmla="*/ 20 h 54"/>
                  <a:gd name="T36" fmla="*/ 0 w 40"/>
                  <a:gd name="T37" fmla="*/ 16 h 54"/>
                  <a:gd name="T38" fmla="*/ 0 w 40"/>
                  <a:gd name="T39" fmla="*/ 16 h 54"/>
                  <a:gd name="T40" fmla="*/ 0 w 40"/>
                  <a:gd name="T41" fmla="*/ 16 h 54"/>
                  <a:gd name="T42" fmla="*/ 4 w 40"/>
                  <a:gd name="T43" fmla="*/ 12 h 54"/>
                  <a:gd name="T44" fmla="*/ 4 w 40"/>
                  <a:gd name="T45" fmla="*/ 12 h 54"/>
                  <a:gd name="T46" fmla="*/ 6 w 40"/>
                  <a:gd name="T47" fmla="*/ 8 h 54"/>
                  <a:gd name="T48" fmla="*/ 6 w 40"/>
                  <a:gd name="T49" fmla="*/ 4 h 54"/>
                  <a:gd name="T50" fmla="*/ 14 w 40"/>
                  <a:gd name="T51" fmla="*/ 0 h 54"/>
                  <a:gd name="T52" fmla="*/ 14 w 40"/>
                  <a:gd name="T53" fmla="*/ 0 h 54"/>
                  <a:gd name="T54" fmla="*/ 22 w 40"/>
                  <a:gd name="T55" fmla="*/ 0 h 54"/>
                  <a:gd name="T56" fmla="*/ 26 w 40"/>
                  <a:gd name="T57" fmla="*/ 0 h 54"/>
                  <a:gd name="T58" fmla="*/ 30 w 40"/>
                  <a:gd name="T59" fmla="*/ 4 h 54"/>
                  <a:gd name="T60" fmla="*/ 34 w 40"/>
                  <a:gd name="T61" fmla="*/ 8 h 54"/>
                  <a:gd name="T62" fmla="*/ 36 w 40"/>
                  <a:gd name="T63" fmla="*/ 12 h 54"/>
                  <a:gd name="T64" fmla="*/ 34 w 40"/>
                  <a:gd name="T65" fmla="*/ 16 h 54"/>
                  <a:gd name="T66" fmla="*/ 36 w 40"/>
                  <a:gd name="T67" fmla="*/ 16 h 54"/>
                  <a:gd name="T68" fmla="*/ 36 w 40"/>
                  <a:gd name="T69" fmla="*/ 20 h 54"/>
                  <a:gd name="T70" fmla="*/ 36 w 40"/>
                  <a:gd name="T71" fmla="*/ 22 h 54"/>
                  <a:gd name="T72" fmla="*/ 36 w 40"/>
                  <a:gd name="T73" fmla="*/ 26 h 54"/>
                  <a:gd name="T74" fmla="*/ 40 w 40"/>
                  <a:gd name="T75" fmla="*/ 26 h 54"/>
                  <a:gd name="T76" fmla="*/ 40 w 40"/>
                  <a:gd name="T77" fmla="*/ 30 h 54"/>
                  <a:gd name="T78" fmla="*/ 36 w 40"/>
                  <a:gd name="T79" fmla="*/ 30 h 54"/>
                  <a:gd name="T80" fmla="*/ 36 w 40"/>
                  <a:gd name="T81" fmla="*/ 34 h 54"/>
                  <a:gd name="T82" fmla="*/ 34 w 40"/>
                  <a:gd name="T83" fmla="*/ 38 h 54"/>
                  <a:gd name="T84" fmla="*/ 34 w 40"/>
                  <a:gd name="T85" fmla="*/ 42 h 54"/>
                  <a:gd name="T86" fmla="*/ 30 w 40"/>
                  <a:gd name="T87" fmla="*/ 46 h 54"/>
                  <a:gd name="T88" fmla="*/ 30 w 40"/>
                  <a:gd name="T89" fmla="*/ 46 h 54"/>
                  <a:gd name="T90" fmla="*/ 26 w 40"/>
                  <a:gd name="T91" fmla="*/ 50 h 54"/>
                  <a:gd name="T92" fmla="*/ 26 w 40"/>
                  <a:gd name="T93" fmla="*/ 54 h 54"/>
                  <a:gd name="T94" fmla="*/ 22 w 40"/>
                  <a:gd name="T95" fmla="*/ 54 h 54"/>
                  <a:gd name="T96" fmla="*/ 6 w 40"/>
                  <a:gd name="T97" fmla="*/ 38 h 54"/>
                  <a:gd name="T98" fmla="*/ 10 w 40"/>
                  <a:gd name="T99" fmla="*/ 42 h 54"/>
                  <a:gd name="T100" fmla="*/ 6 w 40"/>
                  <a:gd name="T101" fmla="*/ 42 h 54"/>
                  <a:gd name="T102" fmla="*/ 6 w 40"/>
                  <a:gd name="T103" fmla="*/ 42 h 54"/>
                  <a:gd name="T104" fmla="*/ 6 w 40"/>
                  <a:gd name="T105" fmla="*/ 42 h 54"/>
                  <a:gd name="T106" fmla="*/ 4 w 40"/>
                  <a:gd name="T107" fmla="*/ 42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40" h="54">
                    <a:moveTo>
                      <a:pt x="22" y="54"/>
                    </a:moveTo>
                    <a:lnTo>
                      <a:pt x="22" y="54"/>
                    </a:lnTo>
                    <a:lnTo>
                      <a:pt x="22" y="54"/>
                    </a:lnTo>
                    <a:lnTo>
                      <a:pt x="22" y="50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8" y="50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6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8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0"/>
                    </a:lnTo>
                    <a:lnTo>
                      <a:pt x="10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4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6" y="22"/>
                    </a:lnTo>
                    <a:lnTo>
                      <a:pt x="34" y="26"/>
                    </a:lnTo>
                    <a:lnTo>
                      <a:pt x="34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0"/>
                    </a:lnTo>
                    <a:lnTo>
                      <a:pt x="36" y="34"/>
                    </a:lnTo>
                    <a:lnTo>
                      <a:pt x="36" y="34"/>
                    </a:lnTo>
                    <a:lnTo>
                      <a:pt x="36" y="38"/>
                    </a:lnTo>
                    <a:lnTo>
                      <a:pt x="36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4" y="42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30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46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0"/>
                    </a:lnTo>
                    <a:lnTo>
                      <a:pt x="26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lnTo>
                      <a:pt x="22" y="54"/>
                    </a:lnTo>
                    <a:close/>
                    <a:moveTo>
                      <a:pt x="4" y="42"/>
                    </a:move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38"/>
                    </a:lnTo>
                    <a:lnTo>
                      <a:pt x="6" y="42"/>
                    </a:lnTo>
                    <a:lnTo>
                      <a:pt x="10" y="42"/>
                    </a:lnTo>
                    <a:lnTo>
                      <a:pt x="10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6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29" name="Freeform 168">
                <a:extLst>
                  <a:ext uri="{FF2B5EF4-FFF2-40B4-BE49-F238E27FC236}">
                    <a16:creationId xmlns:a16="http://schemas.microsoft.com/office/drawing/2014/main" id="{37A24BC8-CBE6-4B45-BA33-5DF15C0F1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18125" y="4229168"/>
                <a:ext cx="228600" cy="374650"/>
              </a:xfrm>
              <a:custGeom>
                <a:avLst/>
                <a:gdLst>
                  <a:gd name="T0" fmla="*/ 78 w 144"/>
                  <a:gd name="T1" fmla="*/ 24 h 236"/>
                  <a:gd name="T2" fmla="*/ 92 w 144"/>
                  <a:gd name="T3" fmla="*/ 16 h 236"/>
                  <a:gd name="T4" fmla="*/ 108 w 144"/>
                  <a:gd name="T5" fmla="*/ 12 h 236"/>
                  <a:gd name="T6" fmla="*/ 118 w 144"/>
                  <a:gd name="T7" fmla="*/ 12 h 236"/>
                  <a:gd name="T8" fmla="*/ 134 w 144"/>
                  <a:gd name="T9" fmla="*/ 8 h 236"/>
                  <a:gd name="T10" fmla="*/ 140 w 144"/>
                  <a:gd name="T11" fmla="*/ 4 h 236"/>
                  <a:gd name="T12" fmla="*/ 140 w 144"/>
                  <a:gd name="T13" fmla="*/ 16 h 236"/>
                  <a:gd name="T14" fmla="*/ 140 w 144"/>
                  <a:gd name="T15" fmla="*/ 30 h 236"/>
                  <a:gd name="T16" fmla="*/ 140 w 144"/>
                  <a:gd name="T17" fmla="*/ 30 h 236"/>
                  <a:gd name="T18" fmla="*/ 136 w 144"/>
                  <a:gd name="T19" fmla="*/ 46 h 236"/>
                  <a:gd name="T20" fmla="*/ 130 w 144"/>
                  <a:gd name="T21" fmla="*/ 58 h 236"/>
                  <a:gd name="T22" fmla="*/ 126 w 144"/>
                  <a:gd name="T23" fmla="*/ 68 h 236"/>
                  <a:gd name="T24" fmla="*/ 122 w 144"/>
                  <a:gd name="T25" fmla="*/ 80 h 236"/>
                  <a:gd name="T26" fmla="*/ 114 w 144"/>
                  <a:gd name="T27" fmla="*/ 88 h 236"/>
                  <a:gd name="T28" fmla="*/ 110 w 144"/>
                  <a:gd name="T29" fmla="*/ 102 h 236"/>
                  <a:gd name="T30" fmla="*/ 104 w 144"/>
                  <a:gd name="T31" fmla="*/ 120 h 236"/>
                  <a:gd name="T32" fmla="*/ 96 w 144"/>
                  <a:gd name="T33" fmla="*/ 128 h 236"/>
                  <a:gd name="T34" fmla="*/ 88 w 144"/>
                  <a:gd name="T35" fmla="*/ 140 h 236"/>
                  <a:gd name="T36" fmla="*/ 82 w 144"/>
                  <a:gd name="T37" fmla="*/ 150 h 236"/>
                  <a:gd name="T38" fmla="*/ 74 w 144"/>
                  <a:gd name="T39" fmla="*/ 162 h 236"/>
                  <a:gd name="T40" fmla="*/ 62 w 144"/>
                  <a:gd name="T41" fmla="*/ 170 h 236"/>
                  <a:gd name="T42" fmla="*/ 56 w 144"/>
                  <a:gd name="T43" fmla="*/ 176 h 236"/>
                  <a:gd name="T44" fmla="*/ 44 w 144"/>
                  <a:gd name="T45" fmla="*/ 188 h 236"/>
                  <a:gd name="T46" fmla="*/ 36 w 144"/>
                  <a:gd name="T47" fmla="*/ 196 h 236"/>
                  <a:gd name="T48" fmla="*/ 26 w 144"/>
                  <a:gd name="T49" fmla="*/ 206 h 236"/>
                  <a:gd name="T50" fmla="*/ 18 w 144"/>
                  <a:gd name="T51" fmla="*/ 214 h 236"/>
                  <a:gd name="T52" fmla="*/ 10 w 144"/>
                  <a:gd name="T53" fmla="*/ 226 h 236"/>
                  <a:gd name="T54" fmla="*/ 6 w 144"/>
                  <a:gd name="T55" fmla="*/ 236 h 236"/>
                  <a:gd name="T56" fmla="*/ 0 w 144"/>
                  <a:gd name="T57" fmla="*/ 206 h 236"/>
                  <a:gd name="T58" fmla="*/ 4 w 144"/>
                  <a:gd name="T59" fmla="*/ 154 h 236"/>
                  <a:gd name="T60" fmla="*/ 14 w 144"/>
                  <a:gd name="T61" fmla="*/ 136 h 236"/>
                  <a:gd name="T62" fmla="*/ 26 w 144"/>
                  <a:gd name="T63" fmla="*/ 132 h 236"/>
                  <a:gd name="T64" fmla="*/ 32 w 144"/>
                  <a:gd name="T65" fmla="*/ 124 h 236"/>
                  <a:gd name="T66" fmla="*/ 48 w 144"/>
                  <a:gd name="T67" fmla="*/ 124 h 236"/>
                  <a:gd name="T68" fmla="*/ 62 w 144"/>
                  <a:gd name="T69" fmla="*/ 114 h 236"/>
                  <a:gd name="T70" fmla="*/ 70 w 144"/>
                  <a:gd name="T71" fmla="*/ 102 h 236"/>
                  <a:gd name="T72" fmla="*/ 92 w 144"/>
                  <a:gd name="T73" fmla="*/ 76 h 236"/>
                  <a:gd name="T74" fmla="*/ 82 w 144"/>
                  <a:gd name="T75" fmla="*/ 72 h 236"/>
                  <a:gd name="T76" fmla="*/ 70 w 144"/>
                  <a:gd name="T77" fmla="*/ 64 h 236"/>
                  <a:gd name="T78" fmla="*/ 48 w 144"/>
                  <a:gd name="T79" fmla="*/ 58 h 236"/>
                  <a:gd name="T80" fmla="*/ 32 w 144"/>
                  <a:gd name="T81" fmla="*/ 46 h 236"/>
                  <a:gd name="T82" fmla="*/ 26 w 144"/>
                  <a:gd name="T83" fmla="*/ 34 h 236"/>
                  <a:gd name="T84" fmla="*/ 26 w 144"/>
                  <a:gd name="T85" fmla="*/ 24 h 236"/>
                  <a:gd name="T86" fmla="*/ 30 w 144"/>
                  <a:gd name="T87" fmla="*/ 12 h 236"/>
                  <a:gd name="T88" fmla="*/ 36 w 144"/>
                  <a:gd name="T89" fmla="*/ 24 h 236"/>
                  <a:gd name="T90" fmla="*/ 48 w 144"/>
                  <a:gd name="T91" fmla="*/ 30 h 236"/>
                  <a:gd name="T92" fmla="*/ 56 w 144"/>
                  <a:gd name="T93" fmla="*/ 28 h 236"/>
                  <a:gd name="T94" fmla="*/ 62 w 144"/>
                  <a:gd name="T95" fmla="*/ 24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44" h="236">
                    <a:moveTo>
                      <a:pt x="66" y="24"/>
                    </a:moveTo>
                    <a:lnTo>
                      <a:pt x="70" y="24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82" y="20"/>
                    </a:lnTo>
                    <a:lnTo>
                      <a:pt x="84" y="20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0" y="16"/>
                    </a:lnTo>
                    <a:lnTo>
                      <a:pt x="114" y="16"/>
                    </a:lnTo>
                    <a:lnTo>
                      <a:pt x="118" y="12"/>
                    </a:lnTo>
                    <a:lnTo>
                      <a:pt x="122" y="12"/>
                    </a:lnTo>
                    <a:lnTo>
                      <a:pt x="126" y="12"/>
                    </a:lnTo>
                    <a:lnTo>
                      <a:pt x="130" y="8"/>
                    </a:lnTo>
                    <a:lnTo>
                      <a:pt x="134" y="8"/>
                    </a:lnTo>
                    <a:lnTo>
                      <a:pt x="134" y="4"/>
                    </a:lnTo>
                    <a:lnTo>
                      <a:pt x="136" y="0"/>
                    </a:lnTo>
                    <a:lnTo>
                      <a:pt x="136" y="4"/>
                    </a:lnTo>
                    <a:lnTo>
                      <a:pt x="140" y="4"/>
                    </a:lnTo>
                    <a:lnTo>
                      <a:pt x="144" y="4"/>
                    </a:lnTo>
                    <a:lnTo>
                      <a:pt x="140" y="8"/>
                    </a:lnTo>
                    <a:lnTo>
                      <a:pt x="140" y="12"/>
                    </a:lnTo>
                    <a:lnTo>
                      <a:pt x="140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0"/>
                    </a:lnTo>
                    <a:lnTo>
                      <a:pt x="140" y="28"/>
                    </a:lnTo>
                    <a:lnTo>
                      <a:pt x="144" y="28"/>
                    </a:lnTo>
                    <a:lnTo>
                      <a:pt x="144" y="30"/>
                    </a:lnTo>
                    <a:lnTo>
                      <a:pt x="140" y="30"/>
                    </a:lnTo>
                    <a:lnTo>
                      <a:pt x="136" y="30"/>
                    </a:lnTo>
                    <a:lnTo>
                      <a:pt x="136" y="34"/>
                    </a:lnTo>
                    <a:lnTo>
                      <a:pt x="136" y="42"/>
                    </a:lnTo>
                    <a:lnTo>
                      <a:pt x="136" y="46"/>
                    </a:lnTo>
                    <a:lnTo>
                      <a:pt x="136" y="50"/>
                    </a:lnTo>
                    <a:lnTo>
                      <a:pt x="134" y="50"/>
                    </a:lnTo>
                    <a:lnTo>
                      <a:pt x="134" y="54"/>
                    </a:lnTo>
                    <a:lnTo>
                      <a:pt x="130" y="58"/>
                    </a:lnTo>
                    <a:lnTo>
                      <a:pt x="130" y="60"/>
                    </a:lnTo>
                    <a:lnTo>
                      <a:pt x="130" y="64"/>
                    </a:lnTo>
                    <a:lnTo>
                      <a:pt x="126" y="64"/>
                    </a:lnTo>
                    <a:lnTo>
                      <a:pt x="126" y="68"/>
                    </a:lnTo>
                    <a:lnTo>
                      <a:pt x="126" y="72"/>
                    </a:lnTo>
                    <a:lnTo>
                      <a:pt x="122" y="72"/>
                    </a:lnTo>
                    <a:lnTo>
                      <a:pt x="122" y="76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8"/>
                    </a:lnTo>
                    <a:lnTo>
                      <a:pt x="114" y="88"/>
                    </a:lnTo>
                    <a:lnTo>
                      <a:pt x="114" y="90"/>
                    </a:lnTo>
                    <a:lnTo>
                      <a:pt x="114" y="94"/>
                    </a:lnTo>
                    <a:lnTo>
                      <a:pt x="110" y="98"/>
                    </a:lnTo>
                    <a:lnTo>
                      <a:pt x="110" y="102"/>
                    </a:lnTo>
                    <a:lnTo>
                      <a:pt x="108" y="110"/>
                    </a:lnTo>
                    <a:lnTo>
                      <a:pt x="108" y="114"/>
                    </a:lnTo>
                    <a:lnTo>
                      <a:pt x="104" y="118"/>
                    </a:lnTo>
                    <a:lnTo>
                      <a:pt x="104" y="120"/>
                    </a:lnTo>
                    <a:lnTo>
                      <a:pt x="100" y="120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32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6"/>
                    </a:lnTo>
                    <a:lnTo>
                      <a:pt x="84" y="150"/>
                    </a:lnTo>
                    <a:lnTo>
                      <a:pt x="82" y="150"/>
                    </a:lnTo>
                    <a:lnTo>
                      <a:pt x="78" y="154"/>
                    </a:lnTo>
                    <a:lnTo>
                      <a:pt x="78" y="158"/>
                    </a:lnTo>
                    <a:lnTo>
                      <a:pt x="74" y="158"/>
                    </a:lnTo>
                    <a:lnTo>
                      <a:pt x="74" y="162"/>
                    </a:lnTo>
                    <a:lnTo>
                      <a:pt x="70" y="162"/>
                    </a:lnTo>
                    <a:lnTo>
                      <a:pt x="70" y="166"/>
                    </a:lnTo>
                    <a:lnTo>
                      <a:pt x="66" y="170"/>
                    </a:lnTo>
                    <a:lnTo>
                      <a:pt x="62" y="170"/>
                    </a:lnTo>
                    <a:lnTo>
                      <a:pt x="62" y="174"/>
                    </a:lnTo>
                    <a:lnTo>
                      <a:pt x="58" y="174"/>
                    </a:lnTo>
                    <a:lnTo>
                      <a:pt x="58" y="176"/>
                    </a:lnTo>
                    <a:lnTo>
                      <a:pt x="56" y="176"/>
                    </a:lnTo>
                    <a:lnTo>
                      <a:pt x="52" y="176"/>
                    </a:lnTo>
                    <a:lnTo>
                      <a:pt x="48" y="180"/>
                    </a:lnTo>
                    <a:lnTo>
                      <a:pt x="44" y="184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92"/>
                    </a:lnTo>
                    <a:lnTo>
                      <a:pt x="36" y="192"/>
                    </a:lnTo>
                    <a:lnTo>
                      <a:pt x="36" y="196"/>
                    </a:lnTo>
                    <a:lnTo>
                      <a:pt x="32" y="200"/>
                    </a:lnTo>
                    <a:lnTo>
                      <a:pt x="30" y="200"/>
                    </a:lnTo>
                    <a:lnTo>
                      <a:pt x="30" y="204"/>
                    </a:lnTo>
                    <a:lnTo>
                      <a:pt x="26" y="206"/>
                    </a:lnTo>
                    <a:lnTo>
                      <a:pt x="26" y="210"/>
                    </a:lnTo>
                    <a:lnTo>
                      <a:pt x="22" y="210"/>
                    </a:lnTo>
                    <a:lnTo>
                      <a:pt x="22" y="214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14" y="222"/>
                    </a:lnTo>
                    <a:lnTo>
                      <a:pt x="14" y="226"/>
                    </a:lnTo>
                    <a:lnTo>
                      <a:pt x="10" y="226"/>
                    </a:lnTo>
                    <a:lnTo>
                      <a:pt x="10" y="230"/>
                    </a:lnTo>
                    <a:lnTo>
                      <a:pt x="10" y="234"/>
                    </a:lnTo>
                    <a:lnTo>
                      <a:pt x="6" y="234"/>
                    </a:lnTo>
                    <a:lnTo>
                      <a:pt x="6" y="236"/>
                    </a:lnTo>
                    <a:lnTo>
                      <a:pt x="4" y="234"/>
                    </a:lnTo>
                    <a:lnTo>
                      <a:pt x="0" y="226"/>
                    </a:lnTo>
                    <a:lnTo>
                      <a:pt x="0" y="222"/>
                    </a:lnTo>
                    <a:lnTo>
                      <a:pt x="0" y="206"/>
                    </a:lnTo>
                    <a:lnTo>
                      <a:pt x="0" y="184"/>
                    </a:lnTo>
                    <a:lnTo>
                      <a:pt x="0" y="170"/>
                    </a:lnTo>
                    <a:lnTo>
                      <a:pt x="0" y="162"/>
                    </a:lnTo>
                    <a:lnTo>
                      <a:pt x="4" y="154"/>
                    </a:lnTo>
                    <a:lnTo>
                      <a:pt x="10" y="144"/>
                    </a:lnTo>
                    <a:lnTo>
                      <a:pt x="10" y="140"/>
                    </a:lnTo>
                    <a:lnTo>
                      <a:pt x="14" y="140"/>
                    </a:lnTo>
                    <a:lnTo>
                      <a:pt x="14" y="136"/>
                    </a:lnTo>
                    <a:lnTo>
                      <a:pt x="18" y="136"/>
                    </a:lnTo>
                    <a:lnTo>
                      <a:pt x="22" y="136"/>
                    </a:lnTo>
                    <a:lnTo>
                      <a:pt x="26" y="136"/>
                    </a:lnTo>
                    <a:lnTo>
                      <a:pt x="26" y="132"/>
                    </a:lnTo>
                    <a:lnTo>
                      <a:pt x="26" y="128"/>
                    </a:lnTo>
                    <a:lnTo>
                      <a:pt x="30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6" y="124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8" y="124"/>
                    </a:lnTo>
                    <a:lnTo>
                      <a:pt x="56" y="124"/>
                    </a:lnTo>
                    <a:lnTo>
                      <a:pt x="56" y="120"/>
                    </a:lnTo>
                    <a:lnTo>
                      <a:pt x="58" y="118"/>
                    </a:lnTo>
                    <a:lnTo>
                      <a:pt x="62" y="114"/>
                    </a:lnTo>
                    <a:lnTo>
                      <a:pt x="62" y="110"/>
                    </a:lnTo>
                    <a:lnTo>
                      <a:pt x="66" y="106"/>
                    </a:lnTo>
                    <a:lnTo>
                      <a:pt x="70" y="106"/>
                    </a:lnTo>
                    <a:lnTo>
                      <a:pt x="70" y="102"/>
                    </a:lnTo>
                    <a:lnTo>
                      <a:pt x="78" y="94"/>
                    </a:lnTo>
                    <a:lnTo>
                      <a:pt x="82" y="88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84" y="72"/>
                    </a:lnTo>
                    <a:lnTo>
                      <a:pt x="82" y="72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4" y="68"/>
                    </a:lnTo>
                    <a:lnTo>
                      <a:pt x="70" y="64"/>
                    </a:lnTo>
                    <a:lnTo>
                      <a:pt x="62" y="64"/>
                    </a:lnTo>
                    <a:lnTo>
                      <a:pt x="58" y="60"/>
                    </a:lnTo>
                    <a:lnTo>
                      <a:pt x="56" y="60"/>
                    </a:lnTo>
                    <a:lnTo>
                      <a:pt x="48" y="58"/>
                    </a:lnTo>
                    <a:lnTo>
                      <a:pt x="40" y="54"/>
                    </a:lnTo>
                    <a:lnTo>
                      <a:pt x="36" y="50"/>
                    </a:lnTo>
                    <a:lnTo>
                      <a:pt x="32" y="50"/>
                    </a:lnTo>
                    <a:lnTo>
                      <a:pt x="32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2" y="30"/>
                    </a:lnTo>
                    <a:lnTo>
                      <a:pt x="22" y="28"/>
                    </a:lnTo>
                    <a:lnTo>
                      <a:pt x="22" y="24"/>
                    </a:lnTo>
                    <a:lnTo>
                      <a:pt x="26" y="24"/>
                    </a:lnTo>
                    <a:lnTo>
                      <a:pt x="26" y="20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4" y="28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52" y="28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8"/>
                    </a:lnTo>
                    <a:lnTo>
                      <a:pt x="58" y="28"/>
                    </a:lnTo>
                    <a:lnTo>
                      <a:pt x="58" y="24"/>
                    </a:lnTo>
                    <a:lnTo>
                      <a:pt x="58" y="28"/>
                    </a:lnTo>
                    <a:lnTo>
                      <a:pt x="62" y="24"/>
                    </a:lnTo>
                    <a:lnTo>
                      <a:pt x="66" y="24"/>
                    </a:lnTo>
                    <a:lnTo>
                      <a:pt x="66" y="24"/>
                    </a:lnTo>
                    <a:lnTo>
                      <a:pt x="66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0" name="Freeform 169">
                <a:extLst>
                  <a:ext uri="{FF2B5EF4-FFF2-40B4-BE49-F238E27FC236}">
                    <a16:creationId xmlns:a16="http://schemas.microsoft.com/office/drawing/2014/main" id="{5E58EF77-FEFF-4515-9E59-8017A70022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86350" y="5267393"/>
                <a:ext cx="28575" cy="47625"/>
              </a:xfrm>
              <a:custGeom>
                <a:avLst/>
                <a:gdLst>
                  <a:gd name="T0" fmla="*/ 0 w 18"/>
                  <a:gd name="T1" fmla="*/ 18 h 30"/>
                  <a:gd name="T2" fmla="*/ 0 w 18"/>
                  <a:gd name="T3" fmla="*/ 22 h 30"/>
                  <a:gd name="T4" fmla="*/ 0 w 18"/>
                  <a:gd name="T5" fmla="*/ 22 h 30"/>
                  <a:gd name="T6" fmla="*/ 0 w 18"/>
                  <a:gd name="T7" fmla="*/ 18 h 30"/>
                  <a:gd name="T8" fmla="*/ 0 w 18"/>
                  <a:gd name="T9" fmla="*/ 18 h 30"/>
                  <a:gd name="T10" fmla="*/ 0 w 18"/>
                  <a:gd name="T11" fmla="*/ 18 h 30"/>
                  <a:gd name="T12" fmla="*/ 0 w 18"/>
                  <a:gd name="T13" fmla="*/ 18 h 30"/>
                  <a:gd name="T14" fmla="*/ 0 w 18"/>
                  <a:gd name="T15" fmla="*/ 14 h 30"/>
                  <a:gd name="T16" fmla="*/ 0 w 18"/>
                  <a:gd name="T17" fmla="*/ 14 h 30"/>
                  <a:gd name="T18" fmla="*/ 0 w 18"/>
                  <a:gd name="T19" fmla="*/ 14 h 30"/>
                  <a:gd name="T20" fmla="*/ 0 w 18"/>
                  <a:gd name="T21" fmla="*/ 14 h 30"/>
                  <a:gd name="T22" fmla="*/ 0 w 18"/>
                  <a:gd name="T23" fmla="*/ 12 h 30"/>
                  <a:gd name="T24" fmla="*/ 4 w 18"/>
                  <a:gd name="T25" fmla="*/ 12 h 30"/>
                  <a:gd name="T26" fmla="*/ 4 w 18"/>
                  <a:gd name="T27" fmla="*/ 12 h 30"/>
                  <a:gd name="T28" fmla="*/ 4 w 18"/>
                  <a:gd name="T29" fmla="*/ 8 h 30"/>
                  <a:gd name="T30" fmla="*/ 4 w 18"/>
                  <a:gd name="T31" fmla="*/ 8 h 30"/>
                  <a:gd name="T32" fmla="*/ 4 w 18"/>
                  <a:gd name="T33" fmla="*/ 8 h 30"/>
                  <a:gd name="T34" fmla="*/ 4 w 18"/>
                  <a:gd name="T35" fmla="*/ 8 h 30"/>
                  <a:gd name="T36" fmla="*/ 4 w 18"/>
                  <a:gd name="T37" fmla="*/ 8 h 30"/>
                  <a:gd name="T38" fmla="*/ 4 w 18"/>
                  <a:gd name="T39" fmla="*/ 4 h 30"/>
                  <a:gd name="T40" fmla="*/ 6 w 18"/>
                  <a:gd name="T41" fmla="*/ 0 h 30"/>
                  <a:gd name="T42" fmla="*/ 6 w 18"/>
                  <a:gd name="T43" fmla="*/ 0 h 30"/>
                  <a:gd name="T44" fmla="*/ 10 w 18"/>
                  <a:gd name="T45" fmla="*/ 4 h 30"/>
                  <a:gd name="T46" fmla="*/ 10 w 18"/>
                  <a:gd name="T47" fmla="*/ 4 h 30"/>
                  <a:gd name="T48" fmla="*/ 14 w 18"/>
                  <a:gd name="T49" fmla="*/ 4 h 30"/>
                  <a:gd name="T50" fmla="*/ 14 w 18"/>
                  <a:gd name="T51" fmla="*/ 4 h 30"/>
                  <a:gd name="T52" fmla="*/ 14 w 18"/>
                  <a:gd name="T53" fmla="*/ 8 h 30"/>
                  <a:gd name="T54" fmla="*/ 14 w 18"/>
                  <a:gd name="T55" fmla="*/ 4 h 30"/>
                  <a:gd name="T56" fmla="*/ 14 w 18"/>
                  <a:gd name="T57" fmla="*/ 8 h 30"/>
                  <a:gd name="T58" fmla="*/ 18 w 18"/>
                  <a:gd name="T59" fmla="*/ 8 h 30"/>
                  <a:gd name="T60" fmla="*/ 18 w 18"/>
                  <a:gd name="T61" fmla="*/ 8 h 30"/>
                  <a:gd name="T62" fmla="*/ 18 w 18"/>
                  <a:gd name="T63" fmla="*/ 12 h 30"/>
                  <a:gd name="T64" fmla="*/ 18 w 18"/>
                  <a:gd name="T65" fmla="*/ 14 h 30"/>
                  <a:gd name="T66" fmla="*/ 18 w 18"/>
                  <a:gd name="T67" fmla="*/ 14 h 30"/>
                  <a:gd name="T68" fmla="*/ 18 w 18"/>
                  <a:gd name="T69" fmla="*/ 14 h 30"/>
                  <a:gd name="T70" fmla="*/ 18 w 18"/>
                  <a:gd name="T71" fmla="*/ 22 h 30"/>
                  <a:gd name="T72" fmla="*/ 18 w 18"/>
                  <a:gd name="T73" fmla="*/ 22 h 30"/>
                  <a:gd name="T74" fmla="*/ 18 w 18"/>
                  <a:gd name="T75" fmla="*/ 22 h 30"/>
                  <a:gd name="T76" fmla="*/ 14 w 18"/>
                  <a:gd name="T77" fmla="*/ 22 h 30"/>
                  <a:gd name="T78" fmla="*/ 14 w 18"/>
                  <a:gd name="T79" fmla="*/ 26 h 30"/>
                  <a:gd name="T80" fmla="*/ 14 w 18"/>
                  <a:gd name="T81" fmla="*/ 26 h 30"/>
                  <a:gd name="T82" fmla="*/ 14 w 18"/>
                  <a:gd name="T83" fmla="*/ 26 h 30"/>
                  <a:gd name="T84" fmla="*/ 14 w 18"/>
                  <a:gd name="T85" fmla="*/ 30 h 30"/>
                  <a:gd name="T86" fmla="*/ 14 w 18"/>
                  <a:gd name="T87" fmla="*/ 30 h 30"/>
                  <a:gd name="T88" fmla="*/ 14 w 18"/>
                  <a:gd name="T89" fmla="*/ 30 h 30"/>
                  <a:gd name="T90" fmla="*/ 14 w 18"/>
                  <a:gd name="T91" fmla="*/ 30 h 30"/>
                  <a:gd name="T92" fmla="*/ 14 w 18"/>
                  <a:gd name="T93" fmla="*/ 30 h 30"/>
                  <a:gd name="T94" fmla="*/ 14 w 18"/>
                  <a:gd name="T95" fmla="*/ 30 h 30"/>
                  <a:gd name="T96" fmla="*/ 10 w 18"/>
                  <a:gd name="T97" fmla="*/ 30 h 30"/>
                  <a:gd name="T98" fmla="*/ 10 w 18"/>
                  <a:gd name="T99" fmla="*/ 30 h 30"/>
                  <a:gd name="T100" fmla="*/ 6 w 18"/>
                  <a:gd name="T101" fmla="*/ 30 h 30"/>
                  <a:gd name="T102" fmla="*/ 6 w 18"/>
                  <a:gd name="T103" fmla="*/ 30 h 30"/>
                  <a:gd name="T104" fmla="*/ 4 w 18"/>
                  <a:gd name="T105" fmla="*/ 30 h 30"/>
                  <a:gd name="T106" fmla="*/ 4 w 18"/>
                  <a:gd name="T107" fmla="*/ 30 h 30"/>
                  <a:gd name="T108" fmla="*/ 4 w 18"/>
                  <a:gd name="T109" fmla="*/ 26 h 30"/>
                  <a:gd name="T110" fmla="*/ 4 w 18"/>
                  <a:gd name="T111" fmla="*/ 22 h 30"/>
                  <a:gd name="T112" fmla="*/ 0 w 18"/>
                  <a:gd name="T113" fmla="*/ 22 h 30"/>
                  <a:gd name="T114" fmla="*/ 0 w 18"/>
                  <a:gd name="T115" fmla="*/ 18 h 30"/>
                  <a:gd name="T116" fmla="*/ 0 w 18"/>
                  <a:gd name="T117" fmla="*/ 18 h 30"/>
                  <a:gd name="T118" fmla="*/ 0 w 18"/>
                  <a:gd name="T119" fmla="*/ 18 h 3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18" h="30">
                    <a:moveTo>
                      <a:pt x="0" y="18"/>
                    </a:move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6" y="0"/>
                    </a:lnTo>
                    <a:lnTo>
                      <a:pt x="6" y="0"/>
                    </a:lnTo>
                    <a:lnTo>
                      <a:pt x="10" y="4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4" y="4"/>
                    </a:lnTo>
                    <a:lnTo>
                      <a:pt x="14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14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6" y="30"/>
                    </a:lnTo>
                    <a:lnTo>
                      <a:pt x="6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1" name="Freeform 170">
                <a:extLst>
                  <a:ext uri="{FF2B5EF4-FFF2-40B4-BE49-F238E27FC236}">
                    <a16:creationId xmlns:a16="http://schemas.microsoft.com/office/drawing/2014/main" id="{0C0D1191-7FF1-4F6D-9CBF-8D80E54FFD2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048250" y="4587943"/>
                <a:ext cx="250825" cy="288925"/>
              </a:xfrm>
              <a:custGeom>
                <a:avLst/>
                <a:gdLst>
                  <a:gd name="T0" fmla="*/ 64 w 158"/>
                  <a:gd name="T1" fmla="*/ 148 h 182"/>
                  <a:gd name="T2" fmla="*/ 52 w 158"/>
                  <a:gd name="T3" fmla="*/ 144 h 182"/>
                  <a:gd name="T4" fmla="*/ 42 w 158"/>
                  <a:gd name="T5" fmla="*/ 136 h 182"/>
                  <a:gd name="T6" fmla="*/ 30 w 158"/>
                  <a:gd name="T7" fmla="*/ 130 h 182"/>
                  <a:gd name="T8" fmla="*/ 22 w 158"/>
                  <a:gd name="T9" fmla="*/ 122 h 182"/>
                  <a:gd name="T10" fmla="*/ 20 w 158"/>
                  <a:gd name="T11" fmla="*/ 110 h 182"/>
                  <a:gd name="T12" fmla="*/ 16 w 158"/>
                  <a:gd name="T13" fmla="*/ 100 h 182"/>
                  <a:gd name="T14" fmla="*/ 4 w 158"/>
                  <a:gd name="T15" fmla="*/ 88 h 182"/>
                  <a:gd name="T16" fmla="*/ 4 w 158"/>
                  <a:gd name="T17" fmla="*/ 74 h 182"/>
                  <a:gd name="T18" fmla="*/ 0 w 158"/>
                  <a:gd name="T19" fmla="*/ 62 h 182"/>
                  <a:gd name="T20" fmla="*/ 12 w 158"/>
                  <a:gd name="T21" fmla="*/ 54 h 182"/>
                  <a:gd name="T22" fmla="*/ 20 w 158"/>
                  <a:gd name="T23" fmla="*/ 44 h 182"/>
                  <a:gd name="T24" fmla="*/ 22 w 158"/>
                  <a:gd name="T25" fmla="*/ 34 h 182"/>
                  <a:gd name="T26" fmla="*/ 20 w 158"/>
                  <a:gd name="T27" fmla="*/ 22 h 182"/>
                  <a:gd name="T28" fmla="*/ 22 w 158"/>
                  <a:gd name="T29" fmla="*/ 10 h 182"/>
                  <a:gd name="T30" fmla="*/ 20 w 158"/>
                  <a:gd name="T31" fmla="*/ 0 h 182"/>
                  <a:gd name="T32" fmla="*/ 34 w 158"/>
                  <a:gd name="T33" fmla="*/ 0 h 182"/>
                  <a:gd name="T34" fmla="*/ 56 w 158"/>
                  <a:gd name="T35" fmla="*/ 0 h 182"/>
                  <a:gd name="T36" fmla="*/ 80 w 158"/>
                  <a:gd name="T37" fmla="*/ 6 h 182"/>
                  <a:gd name="T38" fmla="*/ 98 w 158"/>
                  <a:gd name="T39" fmla="*/ 18 h 182"/>
                  <a:gd name="T40" fmla="*/ 112 w 158"/>
                  <a:gd name="T41" fmla="*/ 30 h 182"/>
                  <a:gd name="T42" fmla="*/ 120 w 158"/>
                  <a:gd name="T43" fmla="*/ 40 h 182"/>
                  <a:gd name="T44" fmla="*/ 132 w 158"/>
                  <a:gd name="T45" fmla="*/ 54 h 182"/>
                  <a:gd name="T46" fmla="*/ 142 w 158"/>
                  <a:gd name="T47" fmla="*/ 66 h 182"/>
                  <a:gd name="T48" fmla="*/ 136 w 158"/>
                  <a:gd name="T49" fmla="*/ 80 h 182"/>
                  <a:gd name="T50" fmla="*/ 140 w 158"/>
                  <a:gd name="T51" fmla="*/ 92 h 182"/>
                  <a:gd name="T52" fmla="*/ 146 w 158"/>
                  <a:gd name="T53" fmla="*/ 104 h 182"/>
                  <a:gd name="T54" fmla="*/ 142 w 158"/>
                  <a:gd name="T55" fmla="*/ 114 h 182"/>
                  <a:gd name="T56" fmla="*/ 142 w 158"/>
                  <a:gd name="T57" fmla="*/ 126 h 182"/>
                  <a:gd name="T58" fmla="*/ 142 w 158"/>
                  <a:gd name="T59" fmla="*/ 134 h 182"/>
                  <a:gd name="T60" fmla="*/ 146 w 158"/>
                  <a:gd name="T61" fmla="*/ 140 h 182"/>
                  <a:gd name="T62" fmla="*/ 150 w 158"/>
                  <a:gd name="T63" fmla="*/ 156 h 182"/>
                  <a:gd name="T64" fmla="*/ 158 w 158"/>
                  <a:gd name="T65" fmla="*/ 156 h 182"/>
                  <a:gd name="T66" fmla="*/ 150 w 158"/>
                  <a:gd name="T67" fmla="*/ 166 h 182"/>
                  <a:gd name="T68" fmla="*/ 142 w 158"/>
                  <a:gd name="T69" fmla="*/ 174 h 182"/>
                  <a:gd name="T70" fmla="*/ 128 w 158"/>
                  <a:gd name="T71" fmla="*/ 178 h 182"/>
                  <a:gd name="T72" fmla="*/ 120 w 158"/>
                  <a:gd name="T73" fmla="*/ 178 h 182"/>
                  <a:gd name="T74" fmla="*/ 116 w 158"/>
                  <a:gd name="T75" fmla="*/ 182 h 182"/>
                  <a:gd name="T76" fmla="*/ 102 w 158"/>
                  <a:gd name="T77" fmla="*/ 182 h 182"/>
                  <a:gd name="T78" fmla="*/ 86 w 158"/>
                  <a:gd name="T79" fmla="*/ 182 h 182"/>
                  <a:gd name="T80" fmla="*/ 80 w 158"/>
                  <a:gd name="T81" fmla="*/ 174 h 182"/>
                  <a:gd name="T82" fmla="*/ 80 w 158"/>
                  <a:gd name="T83" fmla="*/ 164 h 182"/>
                  <a:gd name="T84" fmla="*/ 76 w 158"/>
                  <a:gd name="T85" fmla="*/ 152 h 182"/>
                  <a:gd name="T86" fmla="*/ 72 w 158"/>
                  <a:gd name="T87" fmla="*/ 144 h 182"/>
                  <a:gd name="T88" fmla="*/ 150 w 158"/>
                  <a:gd name="T89" fmla="*/ 70 h 182"/>
                  <a:gd name="T90" fmla="*/ 150 w 158"/>
                  <a:gd name="T91" fmla="*/ 74 h 182"/>
                  <a:gd name="T92" fmla="*/ 142 w 158"/>
                  <a:gd name="T93" fmla="*/ 84 h 182"/>
                  <a:gd name="T94" fmla="*/ 146 w 158"/>
                  <a:gd name="T95" fmla="*/ 88 h 182"/>
                  <a:gd name="T96" fmla="*/ 142 w 158"/>
                  <a:gd name="T97" fmla="*/ 84 h 182"/>
                  <a:gd name="T98" fmla="*/ 150 w 158"/>
                  <a:gd name="T99" fmla="*/ 114 h 182"/>
                  <a:gd name="T100" fmla="*/ 146 w 158"/>
                  <a:gd name="T101" fmla="*/ 118 h 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58" h="182">
                    <a:moveTo>
                      <a:pt x="72" y="144"/>
                    </a:moveTo>
                    <a:lnTo>
                      <a:pt x="68" y="144"/>
                    </a:lnTo>
                    <a:lnTo>
                      <a:pt x="68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4"/>
                    </a:lnTo>
                    <a:lnTo>
                      <a:pt x="56" y="144"/>
                    </a:lnTo>
                    <a:lnTo>
                      <a:pt x="52" y="144"/>
                    </a:lnTo>
                    <a:lnTo>
                      <a:pt x="50" y="140"/>
                    </a:lnTo>
                    <a:lnTo>
                      <a:pt x="46" y="140"/>
                    </a:lnTo>
                    <a:lnTo>
                      <a:pt x="46" y="136"/>
                    </a:lnTo>
                    <a:lnTo>
                      <a:pt x="42" y="136"/>
                    </a:lnTo>
                    <a:lnTo>
                      <a:pt x="38" y="136"/>
                    </a:lnTo>
                    <a:lnTo>
                      <a:pt x="38" y="134"/>
                    </a:lnTo>
                    <a:lnTo>
                      <a:pt x="34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2"/>
                    </a:lnTo>
                    <a:lnTo>
                      <a:pt x="22" y="118"/>
                    </a:lnTo>
                    <a:lnTo>
                      <a:pt x="20" y="118"/>
                    </a:lnTo>
                    <a:lnTo>
                      <a:pt x="20" y="114"/>
                    </a:lnTo>
                    <a:lnTo>
                      <a:pt x="20" y="110"/>
                    </a:lnTo>
                    <a:lnTo>
                      <a:pt x="16" y="110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2"/>
                    </a:lnTo>
                    <a:lnTo>
                      <a:pt x="4" y="62"/>
                    </a:lnTo>
                    <a:lnTo>
                      <a:pt x="4" y="58"/>
                    </a:lnTo>
                    <a:lnTo>
                      <a:pt x="8" y="58"/>
                    </a:lnTo>
                    <a:lnTo>
                      <a:pt x="12" y="54"/>
                    </a:lnTo>
                    <a:lnTo>
                      <a:pt x="16" y="50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2" y="34"/>
                    </a:lnTo>
                    <a:lnTo>
                      <a:pt x="20" y="34"/>
                    </a:lnTo>
                    <a:lnTo>
                      <a:pt x="16" y="34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2" y="22"/>
                    </a:lnTo>
                    <a:lnTo>
                      <a:pt x="22" y="18"/>
                    </a:lnTo>
                    <a:lnTo>
                      <a:pt x="22" y="14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0" y="6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46" y="0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8" y="0"/>
                    </a:lnTo>
                    <a:lnTo>
                      <a:pt x="76" y="4"/>
                    </a:lnTo>
                    <a:lnTo>
                      <a:pt x="80" y="6"/>
                    </a:lnTo>
                    <a:lnTo>
                      <a:pt x="86" y="10"/>
                    </a:lnTo>
                    <a:lnTo>
                      <a:pt x="90" y="14"/>
                    </a:lnTo>
                    <a:lnTo>
                      <a:pt x="94" y="18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102" y="22"/>
                    </a:lnTo>
                    <a:lnTo>
                      <a:pt x="106" y="26"/>
                    </a:lnTo>
                    <a:lnTo>
                      <a:pt x="112" y="30"/>
                    </a:lnTo>
                    <a:lnTo>
                      <a:pt x="116" y="34"/>
                    </a:lnTo>
                    <a:lnTo>
                      <a:pt x="120" y="34"/>
                    </a:lnTo>
                    <a:lnTo>
                      <a:pt x="120" y="36"/>
                    </a:lnTo>
                    <a:lnTo>
                      <a:pt x="120" y="40"/>
                    </a:lnTo>
                    <a:lnTo>
                      <a:pt x="120" y="44"/>
                    </a:lnTo>
                    <a:lnTo>
                      <a:pt x="124" y="44"/>
                    </a:lnTo>
                    <a:lnTo>
                      <a:pt x="132" y="50"/>
                    </a:lnTo>
                    <a:lnTo>
                      <a:pt x="132" y="54"/>
                    </a:lnTo>
                    <a:lnTo>
                      <a:pt x="136" y="54"/>
                    </a:lnTo>
                    <a:lnTo>
                      <a:pt x="140" y="58"/>
                    </a:lnTo>
                    <a:lnTo>
                      <a:pt x="142" y="62"/>
                    </a:lnTo>
                    <a:lnTo>
                      <a:pt x="142" y="66"/>
                    </a:lnTo>
                    <a:lnTo>
                      <a:pt x="140" y="70"/>
                    </a:lnTo>
                    <a:lnTo>
                      <a:pt x="140" y="74"/>
                    </a:lnTo>
                    <a:lnTo>
                      <a:pt x="140" y="78"/>
                    </a:lnTo>
                    <a:lnTo>
                      <a:pt x="136" y="80"/>
                    </a:lnTo>
                    <a:lnTo>
                      <a:pt x="136" y="84"/>
                    </a:lnTo>
                    <a:lnTo>
                      <a:pt x="136" y="88"/>
                    </a:lnTo>
                    <a:lnTo>
                      <a:pt x="136" y="92"/>
                    </a:lnTo>
                    <a:lnTo>
                      <a:pt x="140" y="92"/>
                    </a:lnTo>
                    <a:lnTo>
                      <a:pt x="142" y="96"/>
                    </a:lnTo>
                    <a:lnTo>
                      <a:pt x="142" y="100"/>
                    </a:lnTo>
                    <a:lnTo>
                      <a:pt x="146" y="100"/>
                    </a:lnTo>
                    <a:lnTo>
                      <a:pt x="146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42" y="110"/>
                    </a:lnTo>
                    <a:lnTo>
                      <a:pt x="142" y="114"/>
                    </a:lnTo>
                    <a:lnTo>
                      <a:pt x="146" y="114"/>
                    </a:lnTo>
                    <a:lnTo>
                      <a:pt x="146" y="118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22"/>
                    </a:lnTo>
                    <a:lnTo>
                      <a:pt x="142" y="126"/>
                    </a:lnTo>
                    <a:lnTo>
                      <a:pt x="142" y="130"/>
                    </a:lnTo>
                    <a:lnTo>
                      <a:pt x="142" y="134"/>
                    </a:lnTo>
                    <a:lnTo>
                      <a:pt x="146" y="134"/>
                    </a:lnTo>
                    <a:lnTo>
                      <a:pt x="142" y="134"/>
                    </a:lnTo>
                    <a:lnTo>
                      <a:pt x="146" y="136"/>
                    </a:lnTo>
                    <a:lnTo>
                      <a:pt x="146" y="140"/>
                    </a:lnTo>
                    <a:lnTo>
                      <a:pt x="150" y="144"/>
                    </a:lnTo>
                    <a:lnTo>
                      <a:pt x="150" y="148"/>
                    </a:lnTo>
                    <a:lnTo>
                      <a:pt x="150" y="152"/>
                    </a:lnTo>
                    <a:lnTo>
                      <a:pt x="150" y="156"/>
                    </a:lnTo>
                    <a:lnTo>
                      <a:pt x="154" y="156"/>
                    </a:lnTo>
                    <a:lnTo>
                      <a:pt x="154" y="160"/>
                    </a:lnTo>
                    <a:lnTo>
                      <a:pt x="158" y="160"/>
                    </a:lnTo>
                    <a:lnTo>
                      <a:pt x="158" y="156"/>
                    </a:lnTo>
                    <a:lnTo>
                      <a:pt x="158" y="160"/>
                    </a:lnTo>
                    <a:lnTo>
                      <a:pt x="158" y="164"/>
                    </a:lnTo>
                    <a:lnTo>
                      <a:pt x="154" y="166"/>
                    </a:lnTo>
                    <a:lnTo>
                      <a:pt x="150" y="166"/>
                    </a:lnTo>
                    <a:lnTo>
                      <a:pt x="150" y="170"/>
                    </a:lnTo>
                    <a:lnTo>
                      <a:pt x="146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40" y="174"/>
                    </a:lnTo>
                    <a:lnTo>
                      <a:pt x="136" y="174"/>
                    </a:lnTo>
                    <a:lnTo>
                      <a:pt x="132" y="178"/>
                    </a:lnTo>
                    <a:lnTo>
                      <a:pt x="128" y="178"/>
                    </a:lnTo>
                    <a:lnTo>
                      <a:pt x="128" y="174"/>
                    </a:lnTo>
                    <a:lnTo>
                      <a:pt x="124" y="174"/>
                    </a:lnTo>
                    <a:lnTo>
                      <a:pt x="124" y="178"/>
                    </a:lnTo>
                    <a:lnTo>
                      <a:pt x="120" y="178"/>
                    </a:lnTo>
                    <a:lnTo>
                      <a:pt x="124" y="178"/>
                    </a:lnTo>
                    <a:lnTo>
                      <a:pt x="124" y="182"/>
                    </a:lnTo>
                    <a:lnTo>
                      <a:pt x="120" y="182"/>
                    </a:lnTo>
                    <a:lnTo>
                      <a:pt x="116" y="182"/>
                    </a:lnTo>
                    <a:lnTo>
                      <a:pt x="112" y="182"/>
                    </a:lnTo>
                    <a:lnTo>
                      <a:pt x="110" y="182"/>
                    </a:lnTo>
                    <a:lnTo>
                      <a:pt x="106" y="182"/>
                    </a:lnTo>
                    <a:lnTo>
                      <a:pt x="102" y="182"/>
                    </a:lnTo>
                    <a:lnTo>
                      <a:pt x="98" y="182"/>
                    </a:lnTo>
                    <a:lnTo>
                      <a:pt x="94" y="178"/>
                    </a:lnTo>
                    <a:lnTo>
                      <a:pt x="90" y="182"/>
                    </a:lnTo>
                    <a:lnTo>
                      <a:pt x="86" y="182"/>
                    </a:lnTo>
                    <a:lnTo>
                      <a:pt x="82" y="182"/>
                    </a:lnTo>
                    <a:lnTo>
                      <a:pt x="82" y="178"/>
                    </a:lnTo>
                    <a:lnTo>
                      <a:pt x="80" y="178"/>
                    </a:lnTo>
                    <a:lnTo>
                      <a:pt x="80" y="174"/>
                    </a:lnTo>
                    <a:lnTo>
                      <a:pt x="76" y="174"/>
                    </a:lnTo>
                    <a:lnTo>
                      <a:pt x="76" y="170"/>
                    </a:lnTo>
                    <a:lnTo>
                      <a:pt x="80" y="166"/>
                    </a:lnTo>
                    <a:lnTo>
                      <a:pt x="80" y="164"/>
                    </a:lnTo>
                    <a:lnTo>
                      <a:pt x="76" y="164"/>
                    </a:lnTo>
                    <a:lnTo>
                      <a:pt x="76" y="160"/>
                    </a:lnTo>
                    <a:lnTo>
                      <a:pt x="76" y="156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48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close/>
                    <a:moveTo>
                      <a:pt x="150" y="70"/>
                    </a:moveTo>
                    <a:lnTo>
                      <a:pt x="150" y="66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50" y="78"/>
                    </a:lnTo>
                    <a:lnTo>
                      <a:pt x="146" y="74"/>
                    </a:lnTo>
                    <a:lnTo>
                      <a:pt x="150" y="74"/>
                    </a:lnTo>
                    <a:lnTo>
                      <a:pt x="150" y="70"/>
                    </a:lnTo>
                    <a:lnTo>
                      <a:pt x="150" y="70"/>
                    </a:lnTo>
                    <a:lnTo>
                      <a:pt x="150" y="70"/>
                    </a:lnTo>
                    <a:close/>
                    <a:moveTo>
                      <a:pt x="142" y="84"/>
                    </a:moveTo>
                    <a:lnTo>
                      <a:pt x="142" y="80"/>
                    </a:lnTo>
                    <a:lnTo>
                      <a:pt x="142" y="84"/>
                    </a:lnTo>
                    <a:lnTo>
                      <a:pt x="146" y="84"/>
                    </a:lnTo>
                    <a:lnTo>
                      <a:pt x="146" y="88"/>
                    </a:lnTo>
                    <a:lnTo>
                      <a:pt x="146" y="92"/>
                    </a:lnTo>
                    <a:lnTo>
                      <a:pt x="146" y="88"/>
                    </a:lnTo>
                    <a:lnTo>
                      <a:pt x="142" y="88"/>
                    </a:lnTo>
                    <a:lnTo>
                      <a:pt x="142" y="84"/>
                    </a:lnTo>
                    <a:lnTo>
                      <a:pt x="142" y="84"/>
                    </a:lnTo>
                    <a:lnTo>
                      <a:pt x="142" y="84"/>
                    </a:lnTo>
                    <a:close/>
                    <a:moveTo>
                      <a:pt x="146" y="118"/>
                    </a:moveTo>
                    <a:lnTo>
                      <a:pt x="150" y="114"/>
                    </a:lnTo>
                    <a:lnTo>
                      <a:pt x="150" y="118"/>
                    </a:lnTo>
                    <a:lnTo>
                      <a:pt x="146" y="118"/>
                    </a:lnTo>
                    <a:lnTo>
                      <a:pt x="146" y="118"/>
                    </a:lnTo>
                    <a:lnTo>
                      <a:pt x="146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2" name="Freeform 171">
                <a:extLst>
                  <a:ext uri="{FF2B5EF4-FFF2-40B4-BE49-F238E27FC236}">
                    <a16:creationId xmlns:a16="http://schemas.microsoft.com/office/drawing/2014/main" id="{CB37BBF2-A1E9-45FD-8CFA-61A1557EB74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13200" y="4184718"/>
                <a:ext cx="73025" cy="15875"/>
              </a:xfrm>
              <a:custGeom>
                <a:avLst/>
                <a:gdLst>
                  <a:gd name="T0" fmla="*/ 4 w 46"/>
                  <a:gd name="T1" fmla="*/ 6 h 10"/>
                  <a:gd name="T2" fmla="*/ 4 w 46"/>
                  <a:gd name="T3" fmla="*/ 6 h 10"/>
                  <a:gd name="T4" fmla="*/ 4 w 46"/>
                  <a:gd name="T5" fmla="*/ 6 h 10"/>
                  <a:gd name="T6" fmla="*/ 8 w 46"/>
                  <a:gd name="T7" fmla="*/ 10 h 10"/>
                  <a:gd name="T8" fmla="*/ 8 w 46"/>
                  <a:gd name="T9" fmla="*/ 6 h 10"/>
                  <a:gd name="T10" fmla="*/ 12 w 46"/>
                  <a:gd name="T11" fmla="*/ 6 h 10"/>
                  <a:gd name="T12" fmla="*/ 12 w 46"/>
                  <a:gd name="T13" fmla="*/ 6 h 10"/>
                  <a:gd name="T14" fmla="*/ 8 w 46"/>
                  <a:gd name="T15" fmla="*/ 6 h 10"/>
                  <a:gd name="T16" fmla="*/ 12 w 46"/>
                  <a:gd name="T17" fmla="*/ 6 h 10"/>
                  <a:gd name="T18" fmla="*/ 20 w 46"/>
                  <a:gd name="T19" fmla="*/ 6 h 10"/>
                  <a:gd name="T20" fmla="*/ 24 w 46"/>
                  <a:gd name="T21" fmla="*/ 6 h 10"/>
                  <a:gd name="T22" fmla="*/ 24 w 46"/>
                  <a:gd name="T23" fmla="*/ 6 h 10"/>
                  <a:gd name="T24" fmla="*/ 24 w 46"/>
                  <a:gd name="T25" fmla="*/ 2 h 10"/>
                  <a:gd name="T26" fmla="*/ 24 w 46"/>
                  <a:gd name="T27" fmla="*/ 6 h 10"/>
                  <a:gd name="T28" fmla="*/ 20 w 46"/>
                  <a:gd name="T29" fmla="*/ 2 h 10"/>
                  <a:gd name="T30" fmla="*/ 12 w 46"/>
                  <a:gd name="T31" fmla="*/ 6 h 10"/>
                  <a:gd name="T32" fmla="*/ 12 w 46"/>
                  <a:gd name="T33" fmla="*/ 6 h 10"/>
                  <a:gd name="T34" fmla="*/ 8 w 46"/>
                  <a:gd name="T35" fmla="*/ 6 h 10"/>
                  <a:gd name="T36" fmla="*/ 4 w 46"/>
                  <a:gd name="T37" fmla="*/ 6 h 10"/>
                  <a:gd name="T38" fmla="*/ 4 w 46"/>
                  <a:gd name="T39" fmla="*/ 2 h 10"/>
                  <a:gd name="T40" fmla="*/ 12 w 46"/>
                  <a:gd name="T41" fmla="*/ 2 h 10"/>
                  <a:gd name="T42" fmla="*/ 20 w 46"/>
                  <a:gd name="T43" fmla="*/ 2 h 10"/>
                  <a:gd name="T44" fmla="*/ 20 w 46"/>
                  <a:gd name="T45" fmla="*/ 2 h 10"/>
                  <a:gd name="T46" fmla="*/ 20 w 46"/>
                  <a:gd name="T47" fmla="*/ 0 h 10"/>
                  <a:gd name="T48" fmla="*/ 24 w 46"/>
                  <a:gd name="T49" fmla="*/ 0 h 10"/>
                  <a:gd name="T50" fmla="*/ 24 w 46"/>
                  <a:gd name="T51" fmla="*/ 0 h 10"/>
                  <a:gd name="T52" fmla="*/ 26 w 46"/>
                  <a:gd name="T53" fmla="*/ 0 h 10"/>
                  <a:gd name="T54" fmla="*/ 30 w 46"/>
                  <a:gd name="T55" fmla="*/ 0 h 10"/>
                  <a:gd name="T56" fmla="*/ 30 w 46"/>
                  <a:gd name="T57" fmla="*/ 0 h 10"/>
                  <a:gd name="T58" fmla="*/ 30 w 46"/>
                  <a:gd name="T59" fmla="*/ 2 h 10"/>
                  <a:gd name="T60" fmla="*/ 30 w 46"/>
                  <a:gd name="T61" fmla="*/ 2 h 10"/>
                  <a:gd name="T62" fmla="*/ 34 w 46"/>
                  <a:gd name="T63" fmla="*/ 2 h 10"/>
                  <a:gd name="T64" fmla="*/ 34 w 46"/>
                  <a:gd name="T65" fmla="*/ 2 h 10"/>
                  <a:gd name="T66" fmla="*/ 34 w 46"/>
                  <a:gd name="T67" fmla="*/ 2 h 10"/>
                  <a:gd name="T68" fmla="*/ 34 w 46"/>
                  <a:gd name="T69" fmla="*/ 6 h 10"/>
                  <a:gd name="T70" fmla="*/ 38 w 46"/>
                  <a:gd name="T71" fmla="*/ 2 h 10"/>
                  <a:gd name="T72" fmla="*/ 42 w 46"/>
                  <a:gd name="T73" fmla="*/ 2 h 10"/>
                  <a:gd name="T74" fmla="*/ 42 w 46"/>
                  <a:gd name="T75" fmla="*/ 2 h 10"/>
                  <a:gd name="T76" fmla="*/ 46 w 46"/>
                  <a:gd name="T77" fmla="*/ 2 h 10"/>
                  <a:gd name="T78" fmla="*/ 46 w 46"/>
                  <a:gd name="T79" fmla="*/ 6 h 10"/>
                  <a:gd name="T80" fmla="*/ 42 w 46"/>
                  <a:gd name="T81" fmla="*/ 6 h 10"/>
                  <a:gd name="T82" fmla="*/ 42 w 46"/>
                  <a:gd name="T83" fmla="*/ 6 h 10"/>
                  <a:gd name="T84" fmla="*/ 38 w 46"/>
                  <a:gd name="T85" fmla="*/ 10 h 10"/>
                  <a:gd name="T86" fmla="*/ 38 w 46"/>
                  <a:gd name="T87" fmla="*/ 10 h 10"/>
                  <a:gd name="T88" fmla="*/ 34 w 46"/>
                  <a:gd name="T89" fmla="*/ 6 h 10"/>
                  <a:gd name="T90" fmla="*/ 30 w 46"/>
                  <a:gd name="T91" fmla="*/ 6 h 10"/>
                  <a:gd name="T92" fmla="*/ 30 w 46"/>
                  <a:gd name="T93" fmla="*/ 6 h 10"/>
                  <a:gd name="T94" fmla="*/ 26 w 46"/>
                  <a:gd name="T95" fmla="*/ 6 h 10"/>
                  <a:gd name="T96" fmla="*/ 26 w 46"/>
                  <a:gd name="T97" fmla="*/ 2 h 10"/>
                  <a:gd name="T98" fmla="*/ 26 w 46"/>
                  <a:gd name="T99" fmla="*/ 2 h 10"/>
                  <a:gd name="T100" fmla="*/ 24 w 46"/>
                  <a:gd name="T101" fmla="*/ 2 h 10"/>
                  <a:gd name="T102" fmla="*/ 24 w 46"/>
                  <a:gd name="T103" fmla="*/ 6 h 10"/>
                  <a:gd name="T104" fmla="*/ 24 w 46"/>
                  <a:gd name="T105" fmla="*/ 6 h 10"/>
                  <a:gd name="T106" fmla="*/ 20 w 46"/>
                  <a:gd name="T107" fmla="*/ 6 h 10"/>
                  <a:gd name="T108" fmla="*/ 16 w 46"/>
                  <a:gd name="T109" fmla="*/ 10 h 10"/>
                  <a:gd name="T110" fmla="*/ 12 w 46"/>
                  <a:gd name="T111" fmla="*/ 10 h 10"/>
                  <a:gd name="T112" fmla="*/ 0 w 46"/>
                  <a:gd name="T113" fmla="*/ 10 h 10"/>
                  <a:gd name="T114" fmla="*/ 0 w 46"/>
                  <a:gd name="T115" fmla="*/ 6 h 10"/>
                  <a:gd name="T116" fmla="*/ 0 w 46"/>
                  <a:gd name="T117" fmla="*/ 6 h 10"/>
                  <a:gd name="T118" fmla="*/ 4 w 46"/>
                  <a:gd name="T119" fmla="*/ 2 h 10"/>
                  <a:gd name="T120" fmla="*/ 4 w 46"/>
                  <a:gd name="T121" fmla="*/ 6 h 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6" h="10">
                    <a:moveTo>
                      <a:pt x="4" y="6"/>
                    </a:move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16" y="2"/>
                    </a:lnTo>
                    <a:lnTo>
                      <a:pt x="16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6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6" y="0"/>
                    </a:lnTo>
                    <a:lnTo>
                      <a:pt x="26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4" y="6"/>
                    </a:lnTo>
                    <a:lnTo>
                      <a:pt x="38" y="6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38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2" y="2"/>
                    </a:lnTo>
                    <a:lnTo>
                      <a:pt x="46" y="2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38" y="6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4" y="10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2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4" y="6"/>
                    </a:lnTo>
                    <a:lnTo>
                      <a:pt x="20" y="6"/>
                    </a:lnTo>
                    <a:lnTo>
                      <a:pt x="16" y="6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6" y="10"/>
                    </a:lnTo>
                    <a:lnTo>
                      <a:pt x="12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3" name="Freeform 172">
                <a:extLst>
                  <a:ext uri="{FF2B5EF4-FFF2-40B4-BE49-F238E27FC236}">
                    <a16:creationId xmlns:a16="http://schemas.microsoft.com/office/drawing/2014/main" id="{F1AE8E41-C86C-4F60-B034-A3A49AA7CEF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387850" y="4254568"/>
                <a:ext cx="47625" cy="142875"/>
              </a:xfrm>
              <a:custGeom>
                <a:avLst/>
                <a:gdLst>
                  <a:gd name="T0" fmla="*/ 26 w 30"/>
                  <a:gd name="T1" fmla="*/ 68 h 90"/>
                  <a:gd name="T2" fmla="*/ 26 w 30"/>
                  <a:gd name="T3" fmla="*/ 74 h 90"/>
                  <a:gd name="T4" fmla="*/ 26 w 30"/>
                  <a:gd name="T5" fmla="*/ 78 h 90"/>
                  <a:gd name="T6" fmla="*/ 26 w 30"/>
                  <a:gd name="T7" fmla="*/ 78 h 90"/>
                  <a:gd name="T8" fmla="*/ 30 w 30"/>
                  <a:gd name="T9" fmla="*/ 82 h 90"/>
                  <a:gd name="T10" fmla="*/ 26 w 30"/>
                  <a:gd name="T11" fmla="*/ 86 h 90"/>
                  <a:gd name="T12" fmla="*/ 26 w 30"/>
                  <a:gd name="T13" fmla="*/ 86 h 90"/>
                  <a:gd name="T14" fmla="*/ 24 w 30"/>
                  <a:gd name="T15" fmla="*/ 86 h 90"/>
                  <a:gd name="T16" fmla="*/ 20 w 30"/>
                  <a:gd name="T17" fmla="*/ 86 h 90"/>
                  <a:gd name="T18" fmla="*/ 16 w 30"/>
                  <a:gd name="T19" fmla="*/ 82 h 90"/>
                  <a:gd name="T20" fmla="*/ 16 w 30"/>
                  <a:gd name="T21" fmla="*/ 82 h 90"/>
                  <a:gd name="T22" fmla="*/ 16 w 30"/>
                  <a:gd name="T23" fmla="*/ 78 h 90"/>
                  <a:gd name="T24" fmla="*/ 12 w 30"/>
                  <a:gd name="T25" fmla="*/ 78 h 90"/>
                  <a:gd name="T26" fmla="*/ 12 w 30"/>
                  <a:gd name="T27" fmla="*/ 70 h 90"/>
                  <a:gd name="T28" fmla="*/ 12 w 30"/>
                  <a:gd name="T29" fmla="*/ 68 h 90"/>
                  <a:gd name="T30" fmla="*/ 12 w 30"/>
                  <a:gd name="T31" fmla="*/ 64 h 90"/>
                  <a:gd name="T32" fmla="*/ 12 w 30"/>
                  <a:gd name="T33" fmla="*/ 64 h 90"/>
                  <a:gd name="T34" fmla="*/ 12 w 30"/>
                  <a:gd name="T35" fmla="*/ 52 h 90"/>
                  <a:gd name="T36" fmla="*/ 16 w 30"/>
                  <a:gd name="T37" fmla="*/ 48 h 90"/>
                  <a:gd name="T38" fmla="*/ 12 w 30"/>
                  <a:gd name="T39" fmla="*/ 48 h 90"/>
                  <a:gd name="T40" fmla="*/ 8 w 30"/>
                  <a:gd name="T41" fmla="*/ 42 h 90"/>
                  <a:gd name="T42" fmla="*/ 12 w 30"/>
                  <a:gd name="T43" fmla="*/ 42 h 90"/>
                  <a:gd name="T44" fmla="*/ 12 w 30"/>
                  <a:gd name="T45" fmla="*/ 38 h 90"/>
                  <a:gd name="T46" fmla="*/ 12 w 30"/>
                  <a:gd name="T47" fmla="*/ 30 h 90"/>
                  <a:gd name="T48" fmla="*/ 12 w 30"/>
                  <a:gd name="T49" fmla="*/ 30 h 90"/>
                  <a:gd name="T50" fmla="*/ 8 w 30"/>
                  <a:gd name="T51" fmla="*/ 30 h 90"/>
                  <a:gd name="T52" fmla="*/ 8 w 30"/>
                  <a:gd name="T53" fmla="*/ 26 h 90"/>
                  <a:gd name="T54" fmla="*/ 12 w 30"/>
                  <a:gd name="T55" fmla="*/ 18 h 90"/>
                  <a:gd name="T56" fmla="*/ 8 w 30"/>
                  <a:gd name="T57" fmla="*/ 18 h 90"/>
                  <a:gd name="T58" fmla="*/ 8 w 30"/>
                  <a:gd name="T59" fmla="*/ 16 h 90"/>
                  <a:gd name="T60" fmla="*/ 4 w 30"/>
                  <a:gd name="T61" fmla="*/ 12 h 90"/>
                  <a:gd name="T62" fmla="*/ 4 w 30"/>
                  <a:gd name="T63" fmla="*/ 8 h 90"/>
                  <a:gd name="T64" fmla="*/ 4 w 30"/>
                  <a:gd name="T65" fmla="*/ 4 h 90"/>
                  <a:gd name="T66" fmla="*/ 4 w 30"/>
                  <a:gd name="T67" fmla="*/ 4 h 90"/>
                  <a:gd name="T68" fmla="*/ 4 w 30"/>
                  <a:gd name="T69" fmla="*/ 0 h 90"/>
                  <a:gd name="T70" fmla="*/ 12 w 30"/>
                  <a:gd name="T71" fmla="*/ 4 h 90"/>
                  <a:gd name="T72" fmla="*/ 12 w 30"/>
                  <a:gd name="T73" fmla="*/ 4 h 90"/>
                  <a:gd name="T74" fmla="*/ 16 w 30"/>
                  <a:gd name="T75" fmla="*/ 4 h 90"/>
                  <a:gd name="T76" fmla="*/ 16 w 30"/>
                  <a:gd name="T77" fmla="*/ 8 h 90"/>
                  <a:gd name="T78" fmla="*/ 16 w 30"/>
                  <a:gd name="T79" fmla="*/ 12 h 90"/>
                  <a:gd name="T80" fmla="*/ 16 w 30"/>
                  <a:gd name="T81" fmla="*/ 12 h 90"/>
                  <a:gd name="T82" fmla="*/ 20 w 30"/>
                  <a:gd name="T83" fmla="*/ 18 h 90"/>
                  <a:gd name="T84" fmla="*/ 24 w 30"/>
                  <a:gd name="T85" fmla="*/ 22 h 90"/>
                  <a:gd name="T86" fmla="*/ 24 w 30"/>
                  <a:gd name="T87" fmla="*/ 30 h 90"/>
                  <a:gd name="T88" fmla="*/ 24 w 30"/>
                  <a:gd name="T89" fmla="*/ 30 h 90"/>
                  <a:gd name="T90" fmla="*/ 26 w 30"/>
                  <a:gd name="T91" fmla="*/ 34 h 90"/>
                  <a:gd name="T92" fmla="*/ 26 w 30"/>
                  <a:gd name="T93" fmla="*/ 34 h 90"/>
                  <a:gd name="T94" fmla="*/ 26 w 30"/>
                  <a:gd name="T95" fmla="*/ 42 h 90"/>
                  <a:gd name="T96" fmla="*/ 26 w 30"/>
                  <a:gd name="T97" fmla="*/ 48 h 90"/>
                  <a:gd name="T98" fmla="*/ 26 w 30"/>
                  <a:gd name="T99" fmla="*/ 64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0" h="90">
                    <a:moveTo>
                      <a:pt x="26" y="64"/>
                    </a:move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6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4" y="90"/>
                    </a:lnTo>
                    <a:lnTo>
                      <a:pt x="24" y="86"/>
                    </a:lnTo>
                    <a:lnTo>
                      <a:pt x="24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12" y="74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42"/>
                    </a:lnTo>
                    <a:lnTo>
                      <a:pt x="12" y="38"/>
                    </a:lnTo>
                    <a:lnTo>
                      <a:pt x="12" y="38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4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22"/>
                    </a:lnTo>
                    <a:lnTo>
                      <a:pt x="24" y="22"/>
                    </a:lnTo>
                    <a:lnTo>
                      <a:pt x="24" y="26"/>
                    </a:lnTo>
                    <a:lnTo>
                      <a:pt x="24" y="26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0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4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6" y="38"/>
                    </a:lnTo>
                    <a:lnTo>
                      <a:pt x="26" y="42"/>
                    </a:lnTo>
                    <a:lnTo>
                      <a:pt x="26" y="42"/>
                    </a:lnTo>
                    <a:lnTo>
                      <a:pt x="26" y="44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48"/>
                    </a:lnTo>
                    <a:lnTo>
                      <a:pt x="26" y="56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4" name="Freeform 173">
                <a:extLst>
                  <a:ext uri="{FF2B5EF4-FFF2-40B4-BE49-F238E27FC236}">
                    <a16:creationId xmlns:a16="http://schemas.microsoft.com/office/drawing/2014/main" id="{52FB2303-C750-4C47-B5AE-B2CE185712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559300" y="3508443"/>
                <a:ext cx="95250" cy="215900"/>
              </a:xfrm>
              <a:custGeom>
                <a:avLst/>
                <a:gdLst>
                  <a:gd name="T0" fmla="*/ 40 w 60"/>
                  <a:gd name="T1" fmla="*/ 12 h 136"/>
                  <a:gd name="T2" fmla="*/ 44 w 60"/>
                  <a:gd name="T3" fmla="*/ 12 h 136"/>
                  <a:gd name="T4" fmla="*/ 44 w 60"/>
                  <a:gd name="T5" fmla="*/ 8 h 136"/>
                  <a:gd name="T6" fmla="*/ 48 w 60"/>
                  <a:gd name="T7" fmla="*/ 8 h 136"/>
                  <a:gd name="T8" fmla="*/ 48 w 60"/>
                  <a:gd name="T9" fmla="*/ 14 h 136"/>
                  <a:gd name="T10" fmla="*/ 48 w 60"/>
                  <a:gd name="T11" fmla="*/ 18 h 136"/>
                  <a:gd name="T12" fmla="*/ 44 w 60"/>
                  <a:gd name="T13" fmla="*/ 18 h 136"/>
                  <a:gd name="T14" fmla="*/ 44 w 60"/>
                  <a:gd name="T15" fmla="*/ 30 h 136"/>
                  <a:gd name="T16" fmla="*/ 48 w 60"/>
                  <a:gd name="T17" fmla="*/ 34 h 136"/>
                  <a:gd name="T18" fmla="*/ 52 w 60"/>
                  <a:gd name="T19" fmla="*/ 34 h 136"/>
                  <a:gd name="T20" fmla="*/ 52 w 60"/>
                  <a:gd name="T21" fmla="*/ 42 h 136"/>
                  <a:gd name="T22" fmla="*/ 48 w 60"/>
                  <a:gd name="T23" fmla="*/ 52 h 136"/>
                  <a:gd name="T24" fmla="*/ 44 w 60"/>
                  <a:gd name="T25" fmla="*/ 56 h 136"/>
                  <a:gd name="T26" fmla="*/ 38 w 60"/>
                  <a:gd name="T27" fmla="*/ 60 h 136"/>
                  <a:gd name="T28" fmla="*/ 38 w 60"/>
                  <a:gd name="T29" fmla="*/ 64 h 136"/>
                  <a:gd name="T30" fmla="*/ 40 w 60"/>
                  <a:gd name="T31" fmla="*/ 72 h 136"/>
                  <a:gd name="T32" fmla="*/ 44 w 60"/>
                  <a:gd name="T33" fmla="*/ 72 h 136"/>
                  <a:gd name="T34" fmla="*/ 48 w 60"/>
                  <a:gd name="T35" fmla="*/ 74 h 136"/>
                  <a:gd name="T36" fmla="*/ 52 w 60"/>
                  <a:gd name="T37" fmla="*/ 72 h 136"/>
                  <a:gd name="T38" fmla="*/ 52 w 60"/>
                  <a:gd name="T39" fmla="*/ 74 h 136"/>
                  <a:gd name="T40" fmla="*/ 56 w 60"/>
                  <a:gd name="T41" fmla="*/ 78 h 136"/>
                  <a:gd name="T42" fmla="*/ 60 w 60"/>
                  <a:gd name="T43" fmla="*/ 82 h 136"/>
                  <a:gd name="T44" fmla="*/ 60 w 60"/>
                  <a:gd name="T45" fmla="*/ 90 h 136"/>
                  <a:gd name="T46" fmla="*/ 60 w 60"/>
                  <a:gd name="T47" fmla="*/ 94 h 136"/>
                  <a:gd name="T48" fmla="*/ 48 w 60"/>
                  <a:gd name="T49" fmla="*/ 102 h 136"/>
                  <a:gd name="T50" fmla="*/ 44 w 60"/>
                  <a:gd name="T51" fmla="*/ 106 h 136"/>
                  <a:gd name="T52" fmla="*/ 38 w 60"/>
                  <a:gd name="T53" fmla="*/ 108 h 136"/>
                  <a:gd name="T54" fmla="*/ 40 w 60"/>
                  <a:gd name="T55" fmla="*/ 124 h 136"/>
                  <a:gd name="T56" fmla="*/ 34 w 60"/>
                  <a:gd name="T57" fmla="*/ 132 h 136"/>
                  <a:gd name="T58" fmla="*/ 30 w 60"/>
                  <a:gd name="T59" fmla="*/ 124 h 136"/>
                  <a:gd name="T60" fmla="*/ 22 w 60"/>
                  <a:gd name="T61" fmla="*/ 102 h 136"/>
                  <a:gd name="T62" fmla="*/ 14 w 60"/>
                  <a:gd name="T63" fmla="*/ 90 h 136"/>
                  <a:gd name="T64" fmla="*/ 10 w 60"/>
                  <a:gd name="T65" fmla="*/ 82 h 136"/>
                  <a:gd name="T66" fmla="*/ 4 w 60"/>
                  <a:gd name="T67" fmla="*/ 78 h 136"/>
                  <a:gd name="T68" fmla="*/ 4 w 60"/>
                  <a:gd name="T69" fmla="*/ 68 h 136"/>
                  <a:gd name="T70" fmla="*/ 4 w 60"/>
                  <a:gd name="T71" fmla="*/ 64 h 136"/>
                  <a:gd name="T72" fmla="*/ 4 w 60"/>
                  <a:gd name="T73" fmla="*/ 60 h 136"/>
                  <a:gd name="T74" fmla="*/ 10 w 60"/>
                  <a:gd name="T75" fmla="*/ 52 h 136"/>
                  <a:gd name="T76" fmla="*/ 10 w 60"/>
                  <a:gd name="T77" fmla="*/ 48 h 136"/>
                  <a:gd name="T78" fmla="*/ 14 w 60"/>
                  <a:gd name="T79" fmla="*/ 42 h 136"/>
                  <a:gd name="T80" fmla="*/ 14 w 60"/>
                  <a:gd name="T81" fmla="*/ 34 h 136"/>
                  <a:gd name="T82" fmla="*/ 10 w 60"/>
                  <a:gd name="T83" fmla="*/ 30 h 136"/>
                  <a:gd name="T84" fmla="*/ 14 w 60"/>
                  <a:gd name="T85" fmla="*/ 22 h 136"/>
                  <a:gd name="T86" fmla="*/ 10 w 60"/>
                  <a:gd name="T87" fmla="*/ 14 h 136"/>
                  <a:gd name="T88" fmla="*/ 10 w 60"/>
                  <a:gd name="T89" fmla="*/ 14 h 136"/>
                  <a:gd name="T90" fmla="*/ 18 w 60"/>
                  <a:gd name="T91" fmla="*/ 8 h 136"/>
                  <a:gd name="T92" fmla="*/ 22 w 60"/>
                  <a:gd name="T93" fmla="*/ 8 h 136"/>
                  <a:gd name="T94" fmla="*/ 22 w 60"/>
                  <a:gd name="T95" fmla="*/ 4 h 136"/>
                  <a:gd name="T96" fmla="*/ 34 w 60"/>
                  <a:gd name="T97" fmla="*/ 0 h 136"/>
                  <a:gd name="T98" fmla="*/ 34 w 60"/>
                  <a:gd name="T99" fmla="*/ 4 h 136"/>
                  <a:gd name="T100" fmla="*/ 40 w 60"/>
                  <a:gd name="T101" fmla="*/ 4 h 136"/>
                  <a:gd name="T102" fmla="*/ 40 w 60"/>
                  <a:gd name="T103" fmla="*/ 8 h 136"/>
                  <a:gd name="T104" fmla="*/ 52 w 60"/>
                  <a:gd name="T105" fmla="*/ 52 h 136"/>
                  <a:gd name="T106" fmla="*/ 56 w 60"/>
                  <a:gd name="T107" fmla="*/ 48 h 136"/>
                  <a:gd name="T108" fmla="*/ 52 w 60"/>
                  <a:gd name="T109" fmla="*/ 52 h 136"/>
                  <a:gd name="T110" fmla="*/ 48 w 60"/>
                  <a:gd name="T111" fmla="*/ 68 h 136"/>
                  <a:gd name="T112" fmla="*/ 48 w 60"/>
                  <a:gd name="T113" fmla="*/ 68 h 136"/>
                  <a:gd name="T114" fmla="*/ 48 w 60"/>
                  <a:gd name="T115" fmla="*/ 68 h 136"/>
                  <a:gd name="T116" fmla="*/ 52 w 60"/>
                  <a:gd name="T117" fmla="*/ 68 h 136"/>
                  <a:gd name="T118" fmla="*/ 48 w 60"/>
                  <a:gd name="T119" fmla="*/ 72 h 1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60" h="136">
                    <a:moveTo>
                      <a:pt x="40" y="8"/>
                    </a:move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18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4" y="26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2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8" y="56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0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38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0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4"/>
                    </a:lnTo>
                    <a:lnTo>
                      <a:pt x="52" y="78"/>
                    </a:lnTo>
                    <a:lnTo>
                      <a:pt x="52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56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0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60" y="94"/>
                    </a:lnTo>
                    <a:lnTo>
                      <a:pt x="56" y="94"/>
                    </a:lnTo>
                    <a:lnTo>
                      <a:pt x="56" y="94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52" y="98"/>
                    </a:lnTo>
                    <a:lnTo>
                      <a:pt x="48" y="98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40" y="106"/>
                    </a:lnTo>
                    <a:lnTo>
                      <a:pt x="38" y="108"/>
                    </a:lnTo>
                    <a:lnTo>
                      <a:pt x="38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38" y="128"/>
                    </a:lnTo>
                    <a:lnTo>
                      <a:pt x="38" y="132"/>
                    </a:lnTo>
                    <a:lnTo>
                      <a:pt x="38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4" y="132"/>
                    </a:lnTo>
                    <a:lnTo>
                      <a:pt x="30" y="136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0" y="128"/>
                    </a:lnTo>
                    <a:lnTo>
                      <a:pt x="30" y="124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08"/>
                    </a:lnTo>
                    <a:lnTo>
                      <a:pt x="26" y="108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22" y="98"/>
                    </a:lnTo>
                    <a:lnTo>
                      <a:pt x="18" y="94"/>
                    </a:lnTo>
                    <a:lnTo>
                      <a:pt x="14" y="94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4" y="86"/>
                    </a:lnTo>
                    <a:lnTo>
                      <a:pt x="10" y="86"/>
                    </a:lnTo>
                    <a:lnTo>
                      <a:pt x="10" y="82"/>
                    </a:lnTo>
                    <a:lnTo>
                      <a:pt x="10" y="78"/>
                    </a:lnTo>
                    <a:lnTo>
                      <a:pt x="10" y="78"/>
                    </a:lnTo>
                    <a:lnTo>
                      <a:pt x="6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6"/>
                    </a:lnTo>
                    <a:lnTo>
                      <a:pt x="6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52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42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0" y="26"/>
                    </a:lnTo>
                    <a:lnTo>
                      <a:pt x="14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4" y="18"/>
                    </a:lnTo>
                    <a:lnTo>
                      <a:pt x="10" y="14"/>
                    </a:lnTo>
                    <a:lnTo>
                      <a:pt x="10" y="18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0" y="14"/>
                    </a:lnTo>
                    <a:lnTo>
                      <a:pt x="14" y="14"/>
                    </a:lnTo>
                    <a:lnTo>
                      <a:pt x="14" y="14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34" y="4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8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close/>
                    <a:moveTo>
                      <a:pt x="52" y="52"/>
                    </a:move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close/>
                    <a:moveTo>
                      <a:pt x="48" y="72"/>
                    </a:moveTo>
                    <a:lnTo>
                      <a:pt x="48" y="72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5" name="Freeform 174">
                <a:extLst>
                  <a:ext uri="{FF2B5EF4-FFF2-40B4-BE49-F238E27FC236}">
                    <a16:creationId xmlns:a16="http://schemas.microsoft.com/office/drawing/2014/main" id="{C73B5D00-3437-4FCD-A101-958EED41DA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4600" y="4445068"/>
                <a:ext cx="127000" cy="155575"/>
              </a:xfrm>
              <a:custGeom>
                <a:avLst/>
                <a:gdLst>
                  <a:gd name="T0" fmla="*/ 42 w 80"/>
                  <a:gd name="T1" fmla="*/ 90 h 98"/>
                  <a:gd name="T2" fmla="*/ 22 w 80"/>
                  <a:gd name="T3" fmla="*/ 90 h 98"/>
                  <a:gd name="T4" fmla="*/ 16 w 80"/>
                  <a:gd name="T5" fmla="*/ 90 h 98"/>
                  <a:gd name="T6" fmla="*/ 12 w 80"/>
                  <a:gd name="T7" fmla="*/ 94 h 98"/>
                  <a:gd name="T8" fmla="*/ 8 w 80"/>
                  <a:gd name="T9" fmla="*/ 98 h 98"/>
                  <a:gd name="T10" fmla="*/ 4 w 80"/>
                  <a:gd name="T11" fmla="*/ 98 h 98"/>
                  <a:gd name="T12" fmla="*/ 4 w 80"/>
                  <a:gd name="T13" fmla="*/ 98 h 98"/>
                  <a:gd name="T14" fmla="*/ 0 w 80"/>
                  <a:gd name="T15" fmla="*/ 98 h 98"/>
                  <a:gd name="T16" fmla="*/ 0 w 80"/>
                  <a:gd name="T17" fmla="*/ 90 h 98"/>
                  <a:gd name="T18" fmla="*/ 4 w 80"/>
                  <a:gd name="T19" fmla="*/ 82 h 98"/>
                  <a:gd name="T20" fmla="*/ 4 w 80"/>
                  <a:gd name="T21" fmla="*/ 74 h 98"/>
                  <a:gd name="T22" fmla="*/ 4 w 80"/>
                  <a:gd name="T23" fmla="*/ 70 h 98"/>
                  <a:gd name="T24" fmla="*/ 8 w 80"/>
                  <a:gd name="T25" fmla="*/ 64 h 98"/>
                  <a:gd name="T26" fmla="*/ 8 w 80"/>
                  <a:gd name="T27" fmla="*/ 60 h 98"/>
                  <a:gd name="T28" fmla="*/ 8 w 80"/>
                  <a:gd name="T29" fmla="*/ 56 h 98"/>
                  <a:gd name="T30" fmla="*/ 12 w 80"/>
                  <a:gd name="T31" fmla="*/ 52 h 98"/>
                  <a:gd name="T32" fmla="*/ 16 w 80"/>
                  <a:gd name="T33" fmla="*/ 52 h 98"/>
                  <a:gd name="T34" fmla="*/ 22 w 80"/>
                  <a:gd name="T35" fmla="*/ 40 h 98"/>
                  <a:gd name="T36" fmla="*/ 22 w 80"/>
                  <a:gd name="T37" fmla="*/ 34 h 98"/>
                  <a:gd name="T38" fmla="*/ 20 w 80"/>
                  <a:gd name="T39" fmla="*/ 34 h 98"/>
                  <a:gd name="T40" fmla="*/ 20 w 80"/>
                  <a:gd name="T41" fmla="*/ 30 h 98"/>
                  <a:gd name="T42" fmla="*/ 20 w 80"/>
                  <a:gd name="T43" fmla="*/ 22 h 98"/>
                  <a:gd name="T44" fmla="*/ 20 w 80"/>
                  <a:gd name="T45" fmla="*/ 18 h 98"/>
                  <a:gd name="T46" fmla="*/ 20 w 80"/>
                  <a:gd name="T47" fmla="*/ 10 h 98"/>
                  <a:gd name="T48" fmla="*/ 20 w 80"/>
                  <a:gd name="T49" fmla="*/ 10 h 98"/>
                  <a:gd name="T50" fmla="*/ 26 w 80"/>
                  <a:gd name="T51" fmla="*/ 6 h 98"/>
                  <a:gd name="T52" fmla="*/ 34 w 80"/>
                  <a:gd name="T53" fmla="*/ 6 h 98"/>
                  <a:gd name="T54" fmla="*/ 34 w 80"/>
                  <a:gd name="T55" fmla="*/ 10 h 98"/>
                  <a:gd name="T56" fmla="*/ 38 w 80"/>
                  <a:gd name="T57" fmla="*/ 10 h 98"/>
                  <a:gd name="T58" fmla="*/ 42 w 80"/>
                  <a:gd name="T59" fmla="*/ 6 h 98"/>
                  <a:gd name="T60" fmla="*/ 46 w 80"/>
                  <a:gd name="T61" fmla="*/ 6 h 98"/>
                  <a:gd name="T62" fmla="*/ 50 w 80"/>
                  <a:gd name="T63" fmla="*/ 6 h 98"/>
                  <a:gd name="T64" fmla="*/ 56 w 80"/>
                  <a:gd name="T65" fmla="*/ 6 h 98"/>
                  <a:gd name="T66" fmla="*/ 64 w 80"/>
                  <a:gd name="T67" fmla="*/ 0 h 98"/>
                  <a:gd name="T68" fmla="*/ 68 w 80"/>
                  <a:gd name="T69" fmla="*/ 6 h 98"/>
                  <a:gd name="T70" fmla="*/ 72 w 80"/>
                  <a:gd name="T71" fmla="*/ 10 h 98"/>
                  <a:gd name="T72" fmla="*/ 72 w 80"/>
                  <a:gd name="T73" fmla="*/ 18 h 98"/>
                  <a:gd name="T74" fmla="*/ 76 w 80"/>
                  <a:gd name="T75" fmla="*/ 22 h 98"/>
                  <a:gd name="T76" fmla="*/ 76 w 80"/>
                  <a:gd name="T77" fmla="*/ 26 h 98"/>
                  <a:gd name="T78" fmla="*/ 76 w 80"/>
                  <a:gd name="T79" fmla="*/ 34 h 98"/>
                  <a:gd name="T80" fmla="*/ 80 w 80"/>
                  <a:gd name="T81" fmla="*/ 40 h 98"/>
                  <a:gd name="T82" fmla="*/ 76 w 80"/>
                  <a:gd name="T83" fmla="*/ 44 h 98"/>
                  <a:gd name="T84" fmla="*/ 76 w 80"/>
                  <a:gd name="T85" fmla="*/ 48 h 98"/>
                  <a:gd name="T86" fmla="*/ 76 w 80"/>
                  <a:gd name="T87" fmla="*/ 52 h 98"/>
                  <a:gd name="T88" fmla="*/ 76 w 80"/>
                  <a:gd name="T89" fmla="*/ 52 h 98"/>
                  <a:gd name="T90" fmla="*/ 72 w 80"/>
                  <a:gd name="T91" fmla="*/ 56 h 98"/>
                  <a:gd name="T92" fmla="*/ 72 w 80"/>
                  <a:gd name="T93" fmla="*/ 60 h 98"/>
                  <a:gd name="T94" fmla="*/ 64 w 80"/>
                  <a:gd name="T95" fmla="*/ 66 h 98"/>
                  <a:gd name="T96" fmla="*/ 64 w 80"/>
                  <a:gd name="T97" fmla="*/ 70 h 98"/>
                  <a:gd name="T98" fmla="*/ 64 w 80"/>
                  <a:gd name="T99" fmla="*/ 78 h 98"/>
                  <a:gd name="T100" fmla="*/ 56 w 80"/>
                  <a:gd name="T101" fmla="*/ 90 h 98"/>
                  <a:gd name="T102" fmla="*/ 52 w 80"/>
                  <a:gd name="T103" fmla="*/ 90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</a:cxnLst>
                <a:rect l="0" t="0" r="r" b="b"/>
                <a:pathLst>
                  <a:path w="80" h="98">
                    <a:moveTo>
                      <a:pt x="50" y="90"/>
                    </a:moveTo>
                    <a:lnTo>
                      <a:pt x="46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2" y="90"/>
                    </a:lnTo>
                    <a:lnTo>
                      <a:pt x="30" y="90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20" y="90"/>
                    </a:lnTo>
                    <a:lnTo>
                      <a:pt x="20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8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4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8"/>
                    </a:lnTo>
                    <a:lnTo>
                      <a:pt x="0" y="94"/>
                    </a:lnTo>
                    <a:lnTo>
                      <a:pt x="0" y="94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90"/>
                    </a:lnTo>
                    <a:lnTo>
                      <a:pt x="0" y="86"/>
                    </a:lnTo>
                    <a:lnTo>
                      <a:pt x="0" y="86"/>
                    </a:lnTo>
                    <a:lnTo>
                      <a:pt x="0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20" y="44"/>
                    </a:lnTo>
                    <a:lnTo>
                      <a:pt x="22" y="40"/>
                    </a:lnTo>
                    <a:lnTo>
                      <a:pt x="22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4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30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6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4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0" y="10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8" y="2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68" y="6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0"/>
                    </a:lnTo>
                    <a:lnTo>
                      <a:pt x="72" y="14"/>
                    </a:lnTo>
                    <a:lnTo>
                      <a:pt x="72" y="14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18"/>
                    </a:lnTo>
                    <a:lnTo>
                      <a:pt x="72" y="22"/>
                    </a:lnTo>
                    <a:lnTo>
                      <a:pt x="72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2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26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0"/>
                    </a:lnTo>
                    <a:lnTo>
                      <a:pt x="76" y="34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4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0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4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64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6" name="Freeform 175">
                <a:extLst>
                  <a:ext uri="{FF2B5EF4-FFF2-40B4-BE49-F238E27FC236}">
                    <a16:creationId xmlns:a16="http://schemas.microsoft.com/office/drawing/2014/main" id="{3CD1BFE5-A292-44B8-A2CB-0C2ADE36F6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006850" y="3794193"/>
                <a:ext cx="190500" cy="196850"/>
              </a:xfrm>
              <a:custGeom>
                <a:avLst/>
                <a:gdLst>
                  <a:gd name="T0" fmla="*/ 0 w 120"/>
                  <a:gd name="T1" fmla="*/ 120 h 124"/>
                  <a:gd name="T2" fmla="*/ 0 w 120"/>
                  <a:gd name="T3" fmla="*/ 112 h 124"/>
                  <a:gd name="T4" fmla="*/ 4 w 120"/>
                  <a:gd name="T5" fmla="*/ 108 h 124"/>
                  <a:gd name="T6" fmla="*/ 4 w 120"/>
                  <a:gd name="T7" fmla="*/ 104 h 124"/>
                  <a:gd name="T8" fmla="*/ 8 w 120"/>
                  <a:gd name="T9" fmla="*/ 96 h 124"/>
                  <a:gd name="T10" fmla="*/ 12 w 120"/>
                  <a:gd name="T11" fmla="*/ 96 h 124"/>
                  <a:gd name="T12" fmla="*/ 12 w 120"/>
                  <a:gd name="T13" fmla="*/ 94 h 124"/>
                  <a:gd name="T14" fmla="*/ 12 w 120"/>
                  <a:gd name="T15" fmla="*/ 90 h 124"/>
                  <a:gd name="T16" fmla="*/ 16 w 120"/>
                  <a:gd name="T17" fmla="*/ 86 h 124"/>
                  <a:gd name="T18" fmla="*/ 16 w 120"/>
                  <a:gd name="T19" fmla="*/ 82 h 124"/>
                  <a:gd name="T20" fmla="*/ 16 w 120"/>
                  <a:gd name="T21" fmla="*/ 78 h 124"/>
                  <a:gd name="T22" fmla="*/ 16 w 120"/>
                  <a:gd name="T23" fmla="*/ 78 h 124"/>
                  <a:gd name="T24" fmla="*/ 20 w 120"/>
                  <a:gd name="T25" fmla="*/ 74 h 124"/>
                  <a:gd name="T26" fmla="*/ 20 w 120"/>
                  <a:gd name="T27" fmla="*/ 70 h 124"/>
                  <a:gd name="T28" fmla="*/ 20 w 120"/>
                  <a:gd name="T29" fmla="*/ 70 h 124"/>
                  <a:gd name="T30" fmla="*/ 20 w 120"/>
                  <a:gd name="T31" fmla="*/ 70 h 124"/>
                  <a:gd name="T32" fmla="*/ 20 w 120"/>
                  <a:gd name="T33" fmla="*/ 66 h 124"/>
                  <a:gd name="T34" fmla="*/ 28 w 120"/>
                  <a:gd name="T35" fmla="*/ 64 h 124"/>
                  <a:gd name="T36" fmla="*/ 28 w 120"/>
                  <a:gd name="T37" fmla="*/ 60 h 124"/>
                  <a:gd name="T38" fmla="*/ 30 w 120"/>
                  <a:gd name="T39" fmla="*/ 56 h 124"/>
                  <a:gd name="T40" fmla="*/ 34 w 120"/>
                  <a:gd name="T41" fmla="*/ 52 h 124"/>
                  <a:gd name="T42" fmla="*/ 34 w 120"/>
                  <a:gd name="T43" fmla="*/ 48 h 124"/>
                  <a:gd name="T44" fmla="*/ 34 w 120"/>
                  <a:gd name="T45" fmla="*/ 40 h 124"/>
                  <a:gd name="T46" fmla="*/ 34 w 120"/>
                  <a:gd name="T47" fmla="*/ 34 h 124"/>
                  <a:gd name="T48" fmla="*/ 38 w 120"/>
                  <a:gd name="T49" fmla="*/ 34 h 124"/>
                  <a:gd name="T50" fmla="*/ 38 w 120"/>
                  <a:gd name="T51" fmla="*/ 30 h 124"/>
                  <a:gd name="T52" fmla="*/ 38 w 120"/>
                  <a:gd name="T53" fmla="*/ 30 h 124"/>
                  <a:gd name="T54" fmla="*/ 42 w 120"/>
                  <a:gd name="T55" fmla="*/ 26 h 124"/>
                  <a:gd name="T56" fmla="*/ 42 w 120"/>
                  <a:gd name="T57" fmla="*/ 26 h 124"/>
                  <a:gd name="T58" fmla="*/ 46 w 120"/>
                  <a:gd name="T59" fmla="*/ 22 h 124"/>
                  <a:gd name="T60" fmla="*/ 50 w 120"/>
                  <a:gd name="T61" fmla="*/ 18 h 124"/>
                  <a:gd name="T62" fmla="*/ 54 w 120"/>
                  <a:gd name="T63" fmla="*/ 14 h 124"/>
                  <a:gd name="T64" fmla="*/ 54 w 120"/>
                  <a:gd name="T65" fmla="*/ 10 h 124"/>
                  <a:gd name="T66" fmla="*/ 54 w 120"/>
                  <a:gd name="T67" fmla="*/ 6 h 124"/>
                  <a:gd name="T68" fmla="*/ 58 w 120"/>
                  <a:gd name="T69" fmla="*/ 4 h 124"/>
                  <a:gd name="T70" fmla="*/ 58 w 120"/>
                  <a:gd name="T71" fmla="*/ 0 h 124"/>
                  <a:gd name="T72" fmla="*/ 102 w 120"/>
                  <a:gd name="T73" fmla="*/ 0 h 124"/>
                  <a:gd name="T74" fmla="*/ 106 w 120"/>
                  <a:gd name="T75" fmla="*/ 0 h 124"/>
                  <a:gd name="T76" fmla="*/ 120 w 120"/>
                  <a:gd name="T77" fmla="*/ 0 h 124"/>
                  <a:gd name="T78" fmla="*/ 120 w 120"/>
                  <a:gd name="T79" fmla="*/ 14 h 124"/>
                  <a:gd name="T80" fmla="*/ 120 w 120"/>
                  <a:gd name="T81" fmla="*/ 30 h 124"/>
                  <a:gd name="T82" fmla="*/ 106 w 120"/>
                  <a:gd name="T83" fmla="*/ 30 h 124"/>
                  <a:gd name="T84" fmla="*/ 102 w 120"/>
                  <a:gd name="T85" fmla="*/ 30 h 124"/>
                  <a:gd name="T86" fmla="*/ 84 w 120"/>
                  <a:gd name="T87" fmla="*/ 30 h 124"/>
                  <a:gd name="T88" fmla="*/ 72 w 120"/>
                  <a:gd name="T89" fmla="*/ 36 h 124"/>
                  <a:gd name="T90" fmla="*/ 72 w 120"/>
                  <a:gd name="T91" fmla="*/ 44 h 124"/>
                  <a:gd name="T92" fmla="*/ 72 w 120"/>
                  <a:gd name="T93" fmla="*/ 60 h 124"/>
                  <a:gd name="T94" fmla="*/ 72 w 120"/>
                  <a:gd name="T95" fmla="*/ 78 h 124"/>
                  <a:gd name="T96" fmla="*/ 64 w 120"/>
                  <a:gd name="T97" fmla="*/ 78 h 124"/>
                  <a:gd name="T98" fmla="*/ 60 w 120"/>
                  <a:gd name="T99" fmla="*/ 86 h 124"/>
                  <a:gd name="T100" fmla="*/ 58 w 120"/>
                  <a:gd name="T101" fmla="*/ 90 h 124"/>
                  <a:gd name="T102" fmla="*/ 58 w 120"/>
                  <a:gd name="T103" fmla="*/ 96 h 124"/>
                  <a:gd name="T104" fmla="*/ 60 w 120"/>
                  <a:gd name="T105" fmla="*/ 104 h 124"/>
                  <a:gd name="T106" fmla="*/ 46 w 120"/>
                  <a:gd name="T107" fmla="*/ 116 h 124"/>
                  <a:gd name="T108" fmla="*/ 34 w 120"/>
                  <a:gd name="T109" fmla="*/ 116 h 124"/>
                  <a:gd name="T110" fmla="*/ 20 w 120"/>
                  <a:gd name="T111" fmla="*/ 116 h 124"/>
                  <a:gd name="T112" fmla="*/ 4 w 120"/>
                  <a:gd name="T113" fmla="*/ 116 h 124"/>
                  <a:gd name="T114" fmla="*/ 0 w 120"/>
                  <a:gd name="T115" fmla="*/ 120 h 124"/>
                  <a:gd name="T116" fmla="*/ 0 w 120"/>
                  <a:gd name="T117" fmla="*/ 124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120" h="124"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4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6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82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6" y="74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16" y="74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70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24" y="66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4" y="52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8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4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30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0" y="18"/>
                    </a:lnTo>
                    <a:lnTo>
                      <a:pt x="54" y="18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10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4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8" y="4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58" y="0"/>
                    </a:lnTo>
                    <a:lnTo>
                      <a:pt x="60" y="0"/>
                    </a:lnTo>
                    <a:lnTo>
                      <a:pt x="98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2" y="0"/>
                    </a:lnTo>
                    <a:lnTo>
                      <a:pt x="106" y="0"/>
                    </a:lnTo>
                    <a:lnTo>
                      <a:pt x="106" y="0"/>
                    </a:lnTo>
                    <a:lnTo>
                      <a:pt x="114" y="0"/>
                    </a:lnTo>
                    <a:lnTo>
                      <a:pt x="114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6"/>
                    </a:lnTo>
                    <a:lnTo>
                      <a:pt x="120" y="14"/>
                    </a:lnTo>
                    <a:lnTo>
                      <a:pt x="120" y="14"/>
                    </a:lnTo>
                    <a:lnTo>
                      <a:pt x="120" y="22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20" y="30"/>
                    </a:lnTo>
                    <a:lnTo>
                      <a:pt x="110" y="30"/>
                    </a:lnTo>
                    <a:lnTo>
                      <a:pt x="110" y="30"/>
                    </a:lnTo>
                    <a:lnTo>
                      <a:pt x="106" y="30"/>
                    </a:lnTo>
                    <a:lnTo>
                      <a:pt x="106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102" y="30"/>
                    </a:lnTo>
                    <a:lnTo>
                      <a:pt x="94" y="30"/>
                    </a:lnTo>
                    <a:lnTo>
                      <a:pt x="90" y="30"/>
                    </a:lnTo>
                    <a:lnTo>
                      <a:pt x="84" y="30"/>
                    </a:lnTo>
                    <a:lnTo>
                      <a:pt x="80" y="30"/>
                    </a:lnTo>
                    <a:lnTo>
                      <a:pt x="72" y="30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72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6"/>
                    </a:lnTo>
                    <a:lnTo>
                      <a:pt x="58" y="86"/>
                    </a:lnTo>
                    <a:lnTo>
                      <a:pt x="58" y="86"/>
                    </a:lnTo>
                    <a:lnTo>
                      <a:pt x="58" y="90"/>
                    </a:lnTo>
                    <a:lnTo>
                      <a:pt x="58" y="90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4"/>
                    </a:lnTo>
                    <a:lnTo>
                      <a:pt x="58" y="96"/>
                    </a:lnTo>
                    <a:lnTo>
                      <a:pt x="58" y="96"/>
                    </a:lnTo>
                    <a:lnTo>
                      <a:pt x="58" y="100"/>
                    </a:lnTo>
                    <a:lnTo>
                      <a:pt x="58" y="100"/>
                    </a:lnTo>
                    <a:lnTo>
                      <a:pt x="60" y="104"/>
                    </a:lnTo>
                    <a:lnTo>
                      <a:pt x="60" y="112"/>
                    </a:lnTo>
                    <a:lnTo>
                      <a:pt x="60" y="116"/>
                    </a:lnTo>
                    <a:lnTo>
                      <a:pt x="54" y="116"/>
                    </a:lnTo>
                    <a:lnTo>
                      <a:pt x="46" y="116"/>
                    </a:lnTo>
                    <a:lnTo>
                      <a:pt x="42" y="116"/>
                    </a:lnTo>
                    <a:lnTo>
                      <a:pt x="42" y="116"/>
                    </a:lnTo>
                    <a:lnTo>
                      <a:pt x="38" y="116"/>
                    </a:lnTo>
                    <a:lnTo>
                      <a:pt x="34" y="116"/>
                    </a:lnTo>
                    <a:lnTo>
                      <a:pt x="30" y="116"/>
                    </a:lnTo>
                    <a:lnTo>
                      <a:pt x="28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7" name="Freeform 176">
                <a:extLst>
                  <a:ext uri="{FF2B5EF4-FFF2-40B4-BE49-F238E27FC236}">
                    <a16:creationId xmlns:a16="http://schemas.microsoft.com/office/drawing/2014/main" id="{1AF0E386-DCAE-4617-B9BF-C5C8B8E167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83150" y="4781618"/>
                <a:ext cx="266700" cy="273050"/>
              </a:xfrm>
              <a:custGeom>
                <a:avLst/>
                <a:gdLst>
                  <a:gd name="T0" fmla="*/ 120 w 168"/>
                  <a:gd name="T1" fmla="*/ 130 h 172"/>
                  <a:gd name="T2" fmla="*/ 108 w 168"/>
                  <a:gd name="T3" fmla="*/ 130 h 172"/>
                  <a:gd name="T4" fmla="*/ 98 w 168"/>
                  <a:gd name="T5" fmla="*/ 138 h 172"/>
                  <a:gd name="T6" fmla="*/ 90 w 168"/>
                  <a:gd name="T7" fmla="*/ 148 h 172"/>
                  <a:gd name="T8" fmla="*/ 84 w 168"/>
                  <a:gd name="T9" fmla="*/ 160 h 172"/>
                  <a:gd name="T10" fmla="*/ 72 w 168"/>
                  <a:gd name="T11" fmla="*/ 168 h 172"/>
                  <a:gd name="T12" fmla="*/ 60 w 168"/>
                  <a:gd name="T13" fmla="*/ 168 h 172"/>
                  <a:gd name="T14" fmla="*/ 54 w 168"/>
                  <a:gd name="T15" fmla="*/ 168 h 172"/>
                  <a:gd name="T16" fmla="*/ 42 w 168"/>
                  <a:gd name="T17" fmla="*/ 160 h 172"/>
                  <a:gd name="T18" fmla="*/ 28 w 168"/>
                  <a:gd name="T19" fmla="*/ 164 h 172"/>
                  <a:gd name="T20" fmla="*/ 8 w 168"/>
                  <a:gd name="T21" fmla="*/ 148 h 172"/>
                  <a:gd name="T22" fmla="*/ 4 w 168"/>
                  <a:gd name="T23" fmla="*/ 138 h 172"/>
                  <a:gd name="T24" fmla="*/ 0 w 168"/>
                  <a:gd name="T25" fmla="*/ 116 h 172"/>
                  <a:gd name="T26" fmla="*/ 0 w 168"/>
                  <a:gd name="T27" fmla="*/ 96 h 172"/>
                  <a:gd name="T28" fmla="*/ 16 w 168"/>
                  <a:gd name="T29" fmla="*/ 82 h 172"/>
                  <a:gd name="T30" fmla="*/ 30 w 168"/>
                  <a:gd name="T31" fmla="*/ 82 h 172"/>
                  <a:gd name="T32" fmla="*/ 30 w 168"/>
                  <a:gd name="T33" fmla="*/ 62 h 172"/>
                  <a:gd name="T34" fmla="*/ 30 w 168"/>
                  <a:gd name="T35" fmla="*/ 48 h 172"/>
                  <a:gd name="T36" fmla="*/ 38 w 168"/>
                  <a:gd name="T37" fmla="*/ 48 h 172"/>
                  <a:gd name="T38" fmla="*/ 42 w 168"/>
                  <a:gd name="T39" fmla="*/ 56 h 172"/>
                  <a:gd name="T40" fmla="*/ 50 w 168"/>
                  <a:gd name="T41" fmla="*/ 60 h 172"/>
                  <a:gd name="T42" fmla="*/ 64 w 168"/>
                  <a:gd name="T43" fmla="*/ 62 h 172"/>
                  <a:gd name="T44" fmla="*/ 76 w 168"/>
                  <a:gd name="T45" fmla="*/ 60 h 172"/>
                  <a:gd name="T46" fmla="*/ 84 w 168"/>
                  <a:gd name="T47" fmla="*/ 70 h 172"/>
                  <a:gd name="T48" fmla="*/ 94 w 168"/>
                  <a:gd name="T49" fmla="*/ 78 h 172"/>
                  <a:gd name="T50" fmla="*/ 102 w 168"/>
                  <a:gd name="T51" fmla="*/ 90 h 172"/>
                  <a:gd name="T52" fmla="*/ 112 w 168"/>
                  <a:gd name="T53" fmla="*/ 90 h 172"/>
                  <a:gd name="T54" fmla="*/ 112 w 168"/>
                  <a:gd name="T55" fmla="*/ 78 h 172"/>
                  <a:gd name="T56" fmla="*/ 108 w 168"/>
                  <a:gd name="T57" fmla="*/ 70 h 172"/>
                  <a:gd name="T58" fmla="*/ 98 w 168"/>
                  <a:gd name="T59" fmla="*/ 66 h 172"/>
                  <a:gd name="T60" fmla="*/ 94 w 168"/>
                  <a:gd name="T61" fmla="*/ 56 h 172"/>
                  <a:gd name="T62" fmla="*/ 98 w 168"/>
                  <a:gd name="T63" fmla="*/ 44 h 172"/>
                  <a:gd name="T64" fmla="*/ 98 w 168"/>
                  <a:gd name="T65" fmla="*/ 30 h 172"/>
                  <a:gd name="T66" fmla="*/ 98 w 168"/>
                  <a:gd name="T67" fmla="*/ 14 h 172"/>
                  <a:gd name="T68" fmla="*/ 102 w 168"/>
                  <a:gd name="T69" fmla="*/ 4 h 172"/>
                  <a:gd name="T70" fmla="*/ 120 w 168"/>
                  <a:gd name="T71" fmla="*/ 0 h 172"/>
                  <a:gd name="T72" fmla="*/ 128 w 168"/>
                  <a:gd name="T73" fmla="*/ 6 h 172"/>
                  <a:gd name="T74" fmla="*/ 142 w 168"/>
                  <a:gd name="T75" fmla="*/ 10 h 172"/>
                  <a:gd name="T76" fmla="*/ 150 w 168"/>
                  <a:gd name="T77" fmla="*/ 18 h 172"/>
                  <a:gd name="T78" fmla="*/ 162 w 168"/>
                  <a:gd name="T79" fmla="*/ 26 h 172"/>
                  <a:gd name="T80" fmla="*/ 162 w 168"/>
                  <a:gd name="T81" fmla="*/ 32 h 172"/>
                  <a:gd name="T82" fmla="*/ 166 w 168"/>
                  <a:gd name="T83" fmla="*/ 44 h 172"/>
                  <a:gd name="T84" fmla="*/ 166 w 168"/>
                  <a:gd name="T85" fmla="*/ 52 h 172"/>
                  <a:gd name="T86" fmla="*/ 162 w 168"/>
                  <a:gd name="T87" fmla="*/ 66 h 172"/>
                  <a:gd name="T88" fmla="*/ 158 w 168"/>
                  <a:gd name="T89" fmla="*/ 74 h 172"/>
                  <a:gd name="T90" fmla="*/ 158 w 168"/>
                  <a:gd name="T91" fmla="*/ 90 h 172"/>
                  <a:gd name="T92" fmla="*/ 158 w 168"/>
                  <a:gd name="T93" fmla="*/ 100 h 172"/>
                  <a:gd name="T94" fmla="*/ 146 w 168"/>
                  <a:gd name="T95" fmla="*/ 108 h 172"/>
                  <a:gd name="T96" fmla="*/ 136 w 168"/>
                  <a:gd name="T97" fmla="*/ 112 h 172"/>
                  <a:gd name="T98" fmla="*/ 124 w 168"/>
                  <a:gd name="T99" fmla="*/ 116 h 172"/>
                  <a:gd name="T100" fmla="*/ 120 w 168"/>
                  <a:gd name="T101" fmla="*/ 118 h 1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168" h="172">
                    <a:moveTo>
                      <a:pt x="120" y="118"/>
                    </a:moveTo>
                    <a:lnTo>
                      <a:pt x="120" y="122"/>
                    </a:lnTo>
                    <a:lnTo>
                      <a:pt x="120" y="126"/>
                    </a:lnTo>
                    <a:lnTo>
                      <a:pt x="120" y="130"/>
                    </a:lnTo>
                    <a:lnTo>
                      <a:pt x="116" y="130"/>
                    </a:lnTo>
                    <a:lnTo>
                      <a:pt x="112" y="126"/>
                    </a:lnTo>
                    <a:lnTo>
                      <a:pt x="112" y="130"/>
                    </a:lnTo>
                    <a:lnTo>
                      <a:pt x="108" y="130"/>
                    </a:lnTo>
                    <a:lnTo>
                      <a:pt x="104" y="130"/>
                    </a:lnTo>
                    <a:lnTo>
                      <a:pt x="102" y="134"/>
                    </a:lnTo>
                    <a:lnTo>
                      <a:pt x="102" y="138"/>
                    </a:lnTo>
                    <a:lnTo>
                      <a:pt x="98" y="138"/>
                    </a:lnTo>
                    <a:lnTo>
                      <a:pt x="98" y="142"/>
                    </a:lnTo>
                    <a:lnTo>
                      <a:pt x="98" y="146"/>
                    </a:lnTo>
                    <a:lnTo>
                      <a:pt x="94" y="146"/>
                    </a:lnTo>
                    <a:lnTo>
                      <a:pt x="90" y="148"/>
                    </a:lnTo>
                    <a:lnTo>
                      <a:pt x="88" y="148"/>
                    </a:lnTo>
                    <a:lnTo>
                      <a:pt x="88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0" y="168"/>
                    </a:lnTo>
                    <a:lnTo>
                      <a:pt x="60" y="172"/>
                    </a:lnTo>
                    <a:lnTo>
                      <a:pt x="58" y="172"/>
                    </a:lnTo>
                    <a:lnTo>
                      <a:pt x="58" y="168"/>
                    </a:lnTo>
                    <a:lnTo>
                      <a:pt x="54" y="168"/>
                    </a:lnTo>
                    <a:lnTo>
                      <a:pt x="50" y="168"/>
                    </a:lnTo>
                    <a:lnTo>
                      <a:pt x="46" y="164"/>
                    </a:lnTo>
                    <a:lnTo>
                      <a:pt x="46" y="160"/>
                    </a:lnTo>
                    <a:lnTo>
                      <a:pt x="42" y="160"/>
                    </a:lnTo>
                    <a:lnTo>
                      <a:pt x="38" y="160"/>
                    </a:lnTo>
                    <a:lnTo>
                      <a:pt x="34" y="160"/>
                    </a:lnTo>
                    <a:lnTo>
                      <a:pt x="30" y="160"/>
                    </a:lnTo>
                    <a:lnTo>
                      <a:pt x="28" y="164"/>
                    </a:lnTo>
                    <a:lnTo>
                      <a:pt x="24" y="164"/>
                    </a:lnTo>
                    <a:lnTo>
                      <a:pt x="20" y="160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26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0"/>
                    </a:lnTo>
                    <a:lnTo>
                      <a:pt x="0" y="82"/>
                    </a:lnTo>
                    <a:lnTo>
                      <a:pt x="8" y="82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4" y="82"/>
                    </a:lnTo>
                    <a:lnTo>
                      <a:pt x="28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30" y="74"/>
                    </a:lnTo>
                    <a:lnTo>
                      <a:pt x="30" y="70"/>
                    </a:lnTo>
                    <a:lnTo>
                      <a:pt x="30" y="62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4" y="48"/>
                    </a:lnTo>
                    <a:lnTo>
                      <a:pt x="38" y="48"/>
                    </a:lnTo>
                    <a:lnTo>
                      <a:pt x="38" y="52"/>
                    </a:lnTo>
                    <a:lnTo>
                      <a:pt x="34" y="56"/>
                    </a:lnTo>
                    <a:lnTo>
                      <a:pt x="38" y="56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50" y="52"/>
                    </a:lnTo>
                    <a:lnTo>
                      <a:pt x="50" y="56"/>
                    </a:lnTo>
                    <a:lnTo>
                      <a:pt x="50" y="60"/>
                    </a:lnTo>
                    <a:lnTo>
                      <a:pt x="54" y="60"/>
                    </a:lnTo>
                    <a:lnTo>
                      <a:pt x="58" y="62"/>
                    </a:lnTo>
                    <a:lnTo>
                      <a:pt x="60" y="62"/>
                    </a:lnTo>
                    <a:lnTo>
                      <a:pt x="64" y="62"/>
                    </a:lnTo>
                    <a:lnTo>
                      <a:pt x="68" y="66"/>
                    </a:lnTo>
                    <a:lnTo>
                      <a:pt x="72" y="66"/>
                    </a:lnTo>
                    <a:lnTo>
                      <a:pt x="72" y="62"/>
                    </a:lnTo>
                    <a:lnTo>
                      <a:pt x="76" y="60"/>
                    </a:lnTo>
                    <a:lnTo>
                      <a:pt x="76" y="62"/>
                    </a:lnTo>
                    <a:lnTo>
                      <a:pt x="80" y="62"/>
                    </a:lnTo>
                    <a:lnTo>
                      <a:pt x="80" y="66"/>
                    </a:lnTo>
                    <a:lnTo>
                      <a:pt x="84" y="70"/>
                    </a:lnTo>
                    <a:lnTo>
                      <a:pt x="88" y="70"/>
                    </a:lnTo>
                    <a:lnTo>
                      <a:pt x="90" y="74"/>
                    </a:lnTo>
                    <a:lnTo>
                      <a:pt x="94" y="74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8" y="82"/>
                    </a:lnTo>
                    <a:lnTo>
                      <a:pt x="102" y="86"/>
                    </a:lnTo>
                    <a:lnTo>
                      <a:pt x="102" y="90"/>
                    </a:lnTo>
                    <a:lnTo>
                      <a:pt x="104" y="90"/>
                    </a:lnTo>
                    <a:lnTo>
                      <a:pt x="108" y="90"/>
                    </a:lnTo>
                    <a:lnTo>
                      <a:pt x="108" y="86"/>
                    </a:lnTo>
                    <a:lnTo>
                      <a:pt x="112" y="90"/>
                    </a:lnTo>
                    <a:lnTo>
                      <a:pt x="108" y="90"/>
                    </a:lnTo>
                    <a:lnTo>
                      <a:pt x="112" y="90"/>
                    </a:lnTo>
                    <a:lnTo>
                      <a:pt x="112" y="86"/>
                    </a:lnTo>
                    <a:lnTo>
                      <a:pt x="112" y="78"/>
                    </a:lnTo>
                    <a:lnTo>
                      <a:pt x="112" y="74"/>
                    </a:lnTo>
                    <a:lnTo>
                      <a:pt x="112" y="70"/>
                    </a:lnTo>
                    <a:lnTo>
                      <a:pt x="112" y="66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4" y="70"/>
                    </a:lnTo>
                    <a:lnTo>
                      <a:pt x="102" y="70"/>
                    </a:lnTo>
                    <a:lnTo>
                      <a:pt x="98" y="66"/>
                    </a:lnTo>
                    <a:lnTo>
                      <a:pt x="98" y="62"/>
                    </a:lnTo>
                    <a:lnTo>
                      <a:pt x="94" y="62"/>
                    </a:lnTo>
                    <a:lnTo>
                      <a:pt x="94" y="60"/>
                    </a:lnTo>
                    <a:lnTo>
                      <a:pt x="94" y="56"/>
                    </a:lnTo>
                    <a:lnTo>
                      <a:pt x="94" y="52"/>
                    </a:lnTo>
                    <a:lnTo>
                      <a:pt x="94" y="48"/>
                    </a:lnTo>
                    <a:lnTo>
                      <a:pt x="94" y="44"/>
                    </a:lnTo>
                    <a:lnTo>
                      <a:pt x="98" y="44"/>
                    </a:lnTo>
                    <a:lnTo>
                      <a:pt x="98" y="40"/>
                    </a:lnTo>
                    <a:lnTo>
                      <a:pt x="98" y="36"/>
                    </a:lnTo>
                    <a:lnTo>
                      <a:pt x="98" y="32"/>
                    </a:lnTo>
                    <a:lnTo>
                      <a:pt x="98" y="30"/>
                    </a:lnTo>
                    <a:lnTo>
                      <a:pt x="98" y="26"/>
                    </a:lnTo>
                    <a:lnTo>
                      <a:pt x="94" y="22"/>
                    </a:lnTo>
                    <a:lnTo>
                      <a:pt x="94" y="18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102" y="10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16" y="4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6"/>
                    </a:lnTo>
                    <a:lnTo>
                      <a:pt x="132" y="6"/>
                    </a:lnTo>
                    <a:lnTo>
                      <a:pt x="136" y="6"/>
                    </a:lnTo>
                    <a:lnTo>
                      <a:pt x="138" y="10"/>
                    </a:lnTo>
                    <a:lnTo>
                      <a:pt x="142" y="10"/>
                    </a:lnTo>
                    <a:lnTo>
                      <a:pt x="142" y="14"/>
                    </a:lnTo>
                    <a:lnTo>
                      <a:pt x="146" y="14"/>
                    </a:lnTo>
                    <a:lnTo>
                      <a:pt x="150" y="14"/>
                    </a:lnTo>
                    <a:lnTo>
                      <a:pt x="150" y="18"/>
                    </a:lnTo>
                    <a:lnTo>
                      <a:pt x="154" y="18"/>
                    </a:lnTo>
                    <a:lnTo>
                      <a:pt x="158" y="22"/>
                    </a:lnTo>
                    <a:lnTo>
                      <a:pt x="158" y="26"/>
                    </a:lnTo>
                    <a:lnTo>
                      <a:pt x="162" y="26"/>
                    </a:lnTo>
                    <a:lnTo>
                      <a:pt x="162" y="30"/>
                    </a:lnTo>
                    <a:lnTo>
                      <a:pt x="166" y="30"/>
                    </a:lnTo>
                    <a:lnTo>
                      <a:pt x="162" y="30"/>
                    </a:lnTo>
                    <a:lnTo>
                      <a:pt x="162" y="32"/>
                    </a:lnTo>
                    <a:lnTo>
                      <a:pt x="166" y="32"/>
                    </a:lnTo>
                    <a:lnTo>
                      <a:pt x="166" y="36"/>
                    </a:lnTo>
                    <a:lnTo>
                      <a:pt x="168" y="40"/>
                    </a:lnTo>
                    <a:lnTo>
                      <a:pt x="166" y="44"/>
                    </a:lnTo>
                    <a:lnTo>
                      <a:pt x="162" y="44"/>
                    </a:lnTo>
                    <a:lnTo>
                      <a:pt x="162" y="48"/>
                    </a:lnTo>
                    <a:lnTo>
                      <a:pt x="166" y="48"/>
                    </a:lnTo>
                    <a:lnTo>
                      <a:pt x="166" y="52"/>
                    </a:lnTo>
                    <a:lnTo>
                      <a:pt x="162" y="56"/>
                    </a:lnTo>
                    <a:lnTo>
                      <a:pt x="162" y="60"/>
                    </a:lnTo>
                    <a:lnTo>
                      <a:pt x="162" y="62"/>
                    </a:lnTo>
                    <a:lnTo>
                      <a:pt x="162" y="66"/>
                    </a:lnTo>
                    <a:lnTo>
                      <a:pt x="166" y="70"/>
                    </a:lnTo>
                    <a:lnTo>
                      <a:pt x="166" y="74"/>
                    </a:lnTo>
                    <a:lnTo>
                      <a:pt x="162" y="74"/>
                    </a:lnTo>
                    <a:lnTo>
                      <a:pt x="158" y="74"/>
                    </a:lnTo>
                    <a:lnTo>
                      <a:pt x="158" y="78"/>
                    </a:lnTo>
                    <a:lnTo>
                      <a:pt x="158" y="82"/>
                    </a:lnTo>
                    <a:lnTo>
                      <a:pt x="158" y="86"/>
                    </a:lnTo>
                    <a:lnTo>
                      <a:pt x="158" y="90"/>
                    </a:lnTo>
                    <a:lnTo>
                      <a:pt x="158" y="92"/>
                    </a:lnTo>
                    <a:lnTo>
                      <a:pt x="154" y="92"/>
                    </a:lnTo>
                    <a:lnTo>
                      <a:pt x="158" y="96"/>
                    </a:lnTo>
                    <a:lnTo>
                      <a:pt x="158" y="100"/>
                    </a:lnTo>
                    <a:lnTo>
                      <a:pt x="162" y="100"/>
                    </a:lnTo>
                    <a:lnTo>
                      <a:pt x="158" y="100"/>
                    </a:lnTo>
                    <a:lnTo>
                      <a:pt x="150" y="104"/>
                    </a:lnTo>
                    <a:lnTo>
                      <a:pt x="146" y="108"/>
                    </a:lnTo>
                    <a:lnTo>
                      <a:pt x="142" y="108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36" y="112"/>
                    </a:lnTo>
                    <a:lnTo>
                      <a:pt x="132" y="112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8"/>
                    </a:lnTo>
                    <a:lnTo>
                      <a:pt x="120" y="118"/>
                    </a:lnTo>
                    <a:lnTo>
                      <a:pt x="120" y="11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8" name="Freeform 177">
                <a:extLst>
                  <a:ext uri="{FF2B5EF4-FFF2-40B4-BE49-F238E27FC236}">
                    <a16:creationId xmlns:a16="http://schemas.microsoft.com/office/drawing/2014/main" id="{88530DFF-27CE-479E-B8C6-4E8DCAA55B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2525" y="4984818"/>
                <a:ext cx="177800" cy="193675"/>
              </a:xfrm>
              <a:custGeom>
                <a:avLst/>
                <a:gdLst>
                  <a:gd name="T0" fmla="*/ 88 w 112"/>
                  <a:gd name="T1" fmla="*/ 114 h 122"/>
                  <a:gd name="T2" fmla="*/ 84 w 112"/>
                  <a:gd name="T3" fmla="*/ 118 h 122"/>
                  <a:gd name="T4" fmla="*/ 82 w 112"/>
                  <a:gd name="T5" fmla="*/ 118 h 122"/>
                  <a:gd name="T6" fmla="*/ 74 w 112"/>
                  <a:gd name="T7" fmla="*/ 118 h 122"/>
                  <a:gd name="T8" fmla="*/ 70 w 112"/>
                  <a:gd name="T9" fmla="*/ 118 h 122"/>
                  <a:gd name="T10" fmla="*/ 62 w 112"/>
                  <a:gd name="T11" fmla="*/ 114 h 122"/>
                  <a:gd name="T12" fmla="*/ 54 w 112"/>
                  <a:gd name="T13" fmla="*/ 114 h 122"/>
                  <a:gd name="T14" fmla="*/ 52 w 112"/>
                  <a:gd name="T15" fmla="*/ 114 h 122"/>
                  <a:gd name="T16" fmla="*/ 52 w 112"/>
                  <a:gd name="T17" fmla="*/ 110 h 122"/>
                  <a:gd name="T18" fmla="*/ 52 w 112"/>
                  <a:gd name="T19" fmla="*/ 108 h 122"/>
                  <a:gd name="T20" fmla="*/ 44 w 112"/>
                  <a:gd name="T21" fmla="*/ 108 h 122"/>
                  <a:gd name="T22" fmla="*/ 40 w 112"/>
                  <a:gd name="T23" fmla="*/ 108 h 122"/>
                  <a:gd name="T24" fmla="*/ 38 w 112"/>
                  <a:gd name="T25" fmla="*/ 104 h 122"/>
                  <a:gd name="T26" fmla="*/ 34 w 112"/>
                  <a:gd name="T27" fmla="*/ 96 h 122"/>
                  <a:gd name="T28" fmla="*/ 34 w 112"/>
                  <a:gd name="T29" fmla="*/ 92 h 122"/>
                  <a:gd name="T30" fmla="*/ 30 w 112"/>
                  <a:gd name="T31" fmla="*/ 84 h 122"/>
                  <a:gd name="T32" fmla="*/ 30 w 112"/>
                  <a:gd name="T33" fmla="*/ 84 h 122"/>
                  <a:gd name="T34" fmla="*/ 26 w 112"/>
                  <a:gd name="T35" fmla="*/ 78 h 122"/>
                  <a:gd name="T36" fmla="*/ 18 w 112"/>
                  <a:gd name="T37" fmla="*/ 74 h 122"/>
                  <a:gd name="T38" fmla="*/ 14 w 112"/>
                  <a:gd name="T39" fmla="*/ 70 h 122"/>
                  <a:gd name="T40" fmla="*/ 12 w 112"/>
                  <a:gd name="T41" fmla="*/ 66 h 122"/>
                  <a:gd name="T42" fmla="*/ 12 w 112"/>
                  <a:gd name="T43" fmla="*/ 58 h 122"/>
                  <a:gd name="T44" fmla="*/ 8 w 112"/>
                  <a:gd name="T45" fmla="*/ 52 h 122"/>
                  <a:gd name="T46" fmla="*/ 4 w 112"/>
                  <a:gd name="T47" fmla="*/ 48 h 122"/>
                  <a:gd name="T48" fmla="*/ 0 w 112"/>
                  <a:gd name="T49" fmla="*/ 44 h 122"/>
                  <a:gd name="T50" fmla="*/ 0 w 112"/>
                  <a:gd name="T51" fmla="*/ 40 h 122"/>
                  <a:gd name="T52" fmla="*/ 4 w 112"/>
                  <a:gd name="T53" fmla="*/ 40 h 122"/>
                  <a:gd name="T54" fmla="*/ 12 w 112"/>
                  <a:gd name="T55" fmla="*/ 44 h 122"/>
                  <a:gd name="T56" fmla="*/ 14 w 112"/>
                  <a:gd name="T57" fmla="*/ 40 h 122"/>
                  <a:gd name="T58" fmla="*/ 22 w 112"/>
                  <a:gd name="T59" fmla="*/ 44 h 122"/>
                  <a:gd name="T60" fmla="*/ 26 w 112"/>
                  <a:gd name="T61" fmla="*/ 40 h 122"/>
                  <a:gd name="T62" fmla="*/ 38 w 112"/>
                  <a:gd name="T63" fmla="*/ 26 h 122"/>
                  <a:gd name="T64" fmla="*/ 48 w 112"/>
                  <a:gd name="T65" fmla="*/ 18 h 122"/>
                  <a:gd name="T66" fmla="*/ 48 w 112"/>
                  <a:gd name="T67" fmla="*/ 10 h 122"/>
                  <a:gd name="T68" fmla="*/ 52 w 112"/>
                  <a:gd name="T69" fmla="*/ 6 h 122"/>
                  <a:gd name="T70" fmla="*/ 62 w 112"/>
                  <a:gd name="T71" fmla="*/ 2 h 122"/>
                  <a:gd name="T72" fmla="*/ 70 w 112"/>
                  <a:gd name="T73" fmla="*/ 2 h 122"/>
                  <a:gd name="T74" fmla="*/ 78 w 112"/>
                  <a:gd name="T75" fmla="*/ 6 h 122"/>
                  <a:gd name="T76" fmla="*/ 84 w 112"/>
                  <a:gd name="T77" fmla="*/ 10 h 122"/>
                  <a:gd name="T78" fmla="*/ 88 w 112"/>
                  <a:gd name="T79" fmla="*/ 10 h 122"/>
                  <a:gd name="T80" fmla="*/ 96 w 112"/>
                  <a:gd name="T81" fmla="*/ 14 h 122"/>
                  <a:gd name="T82" fmla="*/ 100 w 112"/>
                  <a:gd name="T83" fmla="*/ 14 h 122"/>
                  <a:gd name="T84" fmla="*/ 104 w 112"/>
                  <a:gd name="T85" fmla="*/ 22 h 122"/>
                  <a:gd name="T86" fmla="*/ 108 w 112"/>
                  <a:gd name="T87" fmla="*/ 22 h 122"/>
                  <a:gd name="T88" fmla="*/ 108 w 112"/>
                  <a:gd name="T89" fmla="*/ 26 h 122"/>
                  <a:gd name="T90" fmla="*/ 108 w 112"/>
                  <a:gd name="T91" fmla="*/ 28 h 122"/>
                  <a:gd name="T92" fmla="*/ 108 w 112"/>
                  <a:gd name="T93" fmla="*/ 32 h 122"/>
                  <a:gd name="T94" fmla="*/ 108 w 112"/>
                  <a:gd name="T95" fmla="*/ 40 h 122"/>
                  <a:gd name="T96" fmla="*/ 108 w 112"/>
                  <a:gd name="T97" fmla="*/ 44 h 122"/>
                  <a:gd name="T98" fmla="*/ 108 w 112"/>
                  <a:gd name="T99" fmla="*/ 52 h 122"/>
                  <a:gd name="T100" fmla="*/ 108 w 112"/>
                  <a:gd name="T101" fmla="*/ 54 h 122"/>
                  <a:gd name="T102" fmla="*/ 104 w 112"/>
                  <a:gd name="T103" fmla="*/ 54 h 122"/>
                  <a:gd name="T104" fmla="*/ 108 w 112"/>
                  <a:gd name="T105" fmla="*/ 58 h 122"/>
                  <a:gd name="T106" fmla="*/ 108 w 112"/>
                  <a:gd name="T107" fmla="*/ 70 h 122"/>
                  <a:gd name="T108" fmla="*/ 108 w 112"/>
                  <a:gd name="T109" fmla="*/ 78 h 122"/>
                  <a:gd name="T110" fmla="*/ 104 w 112"/>
                  <a:gd name="T111" fmla="*/ 84 h 122"/>
                  <a:gd name="T112" fmla="*/ 100 w 112"/>
                  <a:gd name="T113" fmla="*/ 92 h 122"/>
                  <a:gd name="T114" fmla="*/ 100 w 112"/>
                  <a:gd name="T115" fmla="*/ 100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12" h="122">
                    <a:moveTo>
                      <a:pt x="100" y="100"/>
                    </a:move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92" y="110"/>
                    </a:lnTo>
                    <a:lnTo>
                      <a:pt x="88" y="114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4" y="122"/>
                    </a:lnTo>
                    <a:lnTo>
                      <a:pt x="84" y="118"/>
                    </a:lnTo>
                    <a:lnTo>
                      <a:pt x="84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82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8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66" y="118"/>
                    </a:lnTo>
                    <a:lnTo>
                      <a:pt x="66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62" y="114"/>
                    </a:lnTo>
                    <a:lnTo>
                      <a:pt x="58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4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4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10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8" y="108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4"/>
                    </a:lnTo>
                    <a:lnTo>
                      <a:pt x="38" y="100"/>
                    </a:lnTo>
                    <a:lnTo>
                      <a:pt x="38" y="100"/>
                    </a:lnTo>
                    <a:lnTo>
                      <a:pt x="34" y="100"/>
                    </a:lnTo>
                    <a:lnTo>
                      <a:pt x="34" y="100"/>
                    </a:lnTo>
                    <a:lnTo>
                      <a:pt x="34" y="96"/>
                    </a:lnTo>
                    <a:lnTo>
                      <a:pt x="34" y="96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92"/>
                    </a:lnTo>
                    <a:lnTo>
                      <a:pt x="34" y="88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4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4"/>
                    </a:lnTo>
                    <a:lnTo>
                      <a:pt x="30" y="80"/>
                    </a:lnTo>
                    <a:lnTo>
                      <a:pt x="30" y="80"/>
                    </a:lnTo>
                    <a:lnTo>
                      <a:pt x="26" y="80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2" y="78"/>
                    </a:lnTo>
                    <a:lnTo>
                      <a:pt x="18" y="78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8" y="74"/>
                    </a:lnTo>
                    <a:lnTo>
                      <a:pt x="14" y="74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4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70"/>
                    </a:lnTo>
                    <a:lnTo>
                      <a:pt x="12" y="66"/>
                    </a:lnTo>
                    <a:lnTo>
                      <a:pt x="12" y="66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62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4"/>
                    </a:lnTo>
                    <a:lnTo>
                      <a:pt x="8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4" y="40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30" y="36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4" y="18"/>
                    </a:lnTo>
                    <a:lnTo>
                      <a:pt x="48" y="18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2" y="6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58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62" y="0"/>
                    </a:lnTo>
                    <a:lnTo>
                      <a:pt x="66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2"/>
                    </a:lnTo>
                    <a:lnTo>
                      <a:pt x="70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2" y="6"/>
                    </a:lnTo>
                    <a:lnTo>
                      <a:pt x="84" y="6"/>
                    </a:lnTo>
                    <a:lnTo>
                      <a:pt x="84" y="6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88" y="10"/>
                    </a:lnTo>
                    <a:lnTo>
                      <a:pt x="92" y="10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2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96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4"/>
                    </a:lnTo>
                    <a:lnTo>
                      <a:pt x="100" y="18"/>
                    </a:lnTo>
                    <a:lnTo>
                      <a:pt x="104" y="18"/>
                    </a:lnTo>
                    <a:lnTo>
                      <a:pt x="104" y="18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4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2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6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8" y="54"/>
                    </a:lnTo>
                    <a:lnTo>
                      <a:pt x="104" y="54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4" y="58"/>
                    </a:lnTo>
                    <a:lnTo>
                      <a:pt x="108" y="58"/>
                    </a:lnTo>
                    <a:lnTo>
                      <a:pt x="108" y="62"/>
                    </a:lnTo>
                    <a:lnTo>
                      <a:pt x="108" y="66"/>
                    </a:lnTo>
                    <a:lnTo>
                      <a:pt x="108" y="66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0"/>
                    </a:lnTo>
                    <a:lnTo>
                      <a:pt x="108" y="74"/>
                    </a:lnTo>
                    <a:lnTo>
                      <a:pt x="108" y="74"/>
                    </a:lnTo>
                    <a:lnTo>
                      <a:pt x="108" y="78"/>
                    </a:lnTo>
                    <a:lnTo>
                      <a:pt x="108" y="78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4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0" y="88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39" name="Freeform 178">
                <a:extLst>
                  <a:ext uri="{FF2B5EF4-FFF2-40B4-BE49-F238E27FC236}">
                    <a16:creationId xmlns:a16="http://schemas.microsoft.com/office/drawing/2014/main" id="{E77B3D41-37D3-42F1-851A-9ED560AADA9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3200" y="5156268"/>
                <a:ext cx="444500" cy="1022350"/>
              </a:xfrm>
              <a:custGeom>
                <a:avLst/>
                <a:gdLst>
                  <a:gd name="T0" fmla="*/ 28 w 280"/>
                  <a:gd name="T1" fmla="*/ 328 h 644"/>
                  <a:gd name="T2" fmla="*/ 38 w 280"/>
                  <a:gd name="T3" fmla="*/ 304 h 644"/>
                  <a:gd name="T4" fmla="*/ 38 w 280"/>
                  <a:gd name="T5" fmla="*/ 272 h 644"/>
                  <a:gd name="T6" fmla="*/ 46 w 280"/>
                  <a:gd name="T7" fmla="*/ 242 h 644"/>
                  <a:gd name="T8" fmla="*/ 54 w 280"/>
                  <a:gd name="T9" fmla="*/ 208 h 644"/>
                  <a:gd name="T10" fmla="*/ 42 w 280"/>
                  <a:gd name="T11" fmla="*/ 174 h 644"/>
                  <a:gd name="T12" fmla="*/ 54 w 280"/>
                  <a:gd name="T13" fmla="*/ 144 h 644"/>
                  <a:gd name="T14" fmla="*/ 60 w 280"/>
                  <a:gd name="T15" fmla="*/ 114 h 644"/>
                  <a:gd name="T16" fmla="*/ 72 w 280"/>
                  <a:gd name="T17" fmla="*/ 84 h 644"/>
                  <a:gd name="T18" fmla="*/ 76 w 280"/>
                  <a:gd name="T19" fmla="*/ 48 h 644"/>
                  <a:gd name="T20" fmla="*/ 90 w 280"/>
                  <a:gd name="T21" fmla="*/ 22 h 644"/>
                  <a:gd name="T22" fmla="*/ 106 w 280"/>
                  <a:gd name="T23" fmla="*/ 4 h 644"/>
                  <a:gd name="T24" fmla="*/ 130 w 280"/>
                  <a:gd name="T25" fmla="*/ 22 h 644"/>
                  <a:gd name="T26" fmla="*/ 156 w 280"/>
                  <a:gd name="T27" fmla="*/ 10 h 644"/>
                  <a:gd name="T28" fmla="*/ 176 w 280"/>
                  <a:gd name="T29" fmla="*/ 36 h 644"/>
                  <a:gd name="T30" fmla="*/ 208 w 280"/>
                  <a:gd name="T31" fmla="*/ 56 h 644"/>
                  <a:gd name="T32" fmla="*/ 220 w 280"/>
                  <a:gd name="T33" fmla="*/ 78 h 644"/>
                  <a:gd name="T34" fmla="*/ 224 w 280"/>
                  <a:gd name="T35" fmla="*/ 100 h 644"/>
                  <a:gd name="T36" fmla="*/ 254 w 280"/>
                  <a:gd name="T37" fmla="*/ 100 h 644"/>
                  <a:gd name="T38" fmla="*/ 272 w 280"/>
                  <a:gd name="T39" fmla="*/ 70 h 644"/>
                  <a:gd name="T40" fmla="*/ 276 w 280"/>
                  <a:gd name="T41" fmla="*/ 96 h 644"/>
                  <a:gd name="T42" fmla="*/ 250 w 280"/>
                  <a:gd name="T43" fmla="*/ 114 h 644"/>
                  <a:gd name="T44" fmla="*/ 238 w 280"/>
                  <a:gd name="T45" fmla="*/ 136 h 644"/>
                  <a:gd name="T46" fmla="*/ 220 w 280"/>
                  <a:gd name="T47" fmla="*/ 170 h 644"/>
                  <a:gd name="T48" fmla="*/ 216 w 280"/>
                  <a:gd name="T49" fmla="*/ 200 h 644"/>
                  <a:gd name="T50" fmla="*/ 216 w 280"/>
                  <a:gd name="T51" fmla="*/ 234 h 644"/>
                  <a:gd name="T52" fmla="*/ 230 w 280"/>
                  <a:gd name="T53" fmla="*/ 264 h 644"/>
                  <a:gd name="T54" fmla="*/ 228 w 280"/>
                  <a:gd name="T55" fmla="*/ 294 h 644"/>
                  <a:gd name="T56" fmla="*/ 194 w 280"/>
                  <a:gd name="T57" fmla="*/ 316 h 644"/>
                  <a:gd name="T58" fmla="*/ 156 w 280"/>
                  <a:gd name="T59" fmla="*/ 312 h 644"/>
                  <a:gd name="T60" fmla="*/ 160 w 280"/>
                  <a:gd name="T61" fmla="*/ 330 h 644"/>
                  <a:gd name="T62" fmla="*/ 152 w 280"/>
                  <a:gd name="T63" fmla="*/ 358 h 644"/>
                  <a:gd name="T64" fmla="*/ 122 w 280"/>
                  <a:gd name="T65" fmla="*/ 350 h 644"/>
                  <a:gd name="T66" fmla="*/ 126 w 280"/>
                  <a:gd name="T67" fmla="*/ 380 h 644"/>
                  <a:gd name="T68" fmla="*/ 142 w 280"/>
                  <a:gd name="T69" fmla="*/ 386 h 644"/>
                  <a:gd name="T70" fmla="*/ 126 w 280"/>
                  <a:gd name="T71" fmla="*/ 394 h 644"/>
                  <a:gd name="T72" fmla="*/ 120 w 280"/>
                  <a:gd name="T73" fmla="*/ 414 h 644"/>
                  <a:gd name="T74" fmla="*/ 98 w 280"/>
                  <a:gd name="T75" fmla="*/ 440 h 644"/>
                  <a:gd name="T76" fmla="*/ 86 w 280"/>
                  <a:gd name="T77" fmla="*/ 470 h 644"/>
                  <a:gd name="T78" fmla="*/ 108 w 280"/>
                  <a:gd name="T79" fmla="*/ 490 h 644"/>
                  <a:gd name="T80" fmla="*/ 90 w 280"/>
                  <a:gd name="T81" fmla="*/ 510 h 644"/>
                  <a:gd name="T82" fmla="*/ 82 w 280"/>
                  <a:gd name="T83" fmla="*/ 536 h 644"/>
                  <a:gd name="T84" fmla="*/ 76 w 280"/>
                  <a:gd name="T85" fmla="*/ 540 h 644"/>
                  <a:gd name="T86" fmla="*/ 64 w 280"/>
                  <a:gd name="T87" fmla="*/ 566 h 644"/>
                  <a:gd name="T88" fmla="*/ 72 w 280"/>
                  <a:gd name="T89" fmla="*/ 584 h 644"/>
                  <a:gd name="T90" fmla="*/ 34 w 280"/>
                  <a:gd name="T91" fmla="*/ 580 h 644"/>
                  <a:gd name="T92" fmla="*/ 16 w 280"/>
                  <a:gd name="T93" fmla="*/ 550 h 644"/>
                  <a:gd name="T94" fmla="*/ 0 w 280"/>
                  <a:gd name="T95" fmla="*/ 536 h 644"/>
                  <a:gd name="T96" fmla="*/ 16 w 280"/>
                  <a:gd name="T97" fmla="*/ 512 h 644"/>
                  <a:gd name="T98" fmla="*/ 20 w 280"/>
                  <a:gd name="T99" fmla="*/ 488 h 644"/>
                  <a:gd name="T100" fmla="*/ 28 w 280"/>
                  <a:gd name="T101" fmla="*/ 458 h 644"/>
                  <a:gd name="T102" fmla="*/ 24 w 280"/>
                  <a:gd name="T103" fmla="*/ 432 h 644"/>
                  <a:gd name="T104" fmla="*/ 24 w 280"/>
                  <a:gd name="T105" fmla="*/ 416 h 644"/>
                  <a:gd name="T106" fmla="*/ 20 w 280"/>
                  <a:gd name="T107" fmla="*/ 394 h 644"/>
                  <a:gd name="T108" fmla="*/ 24 w 280"/>
                  <a:gd name="T109" fmla="*/ 364 h 644"/>
                  <a:gd name="T110" fmla="*/ 72 w 280"/>
                  <a:gd name="T111" fmla="*/ 592 h 644"/>
                  <a:gd name="T112" fmla="*/ 80 w 280"/>
                  <a:gd name="T113" fmla="*/ 614 h 644"/>
                  <a:gd name="T114" fmla="*/ 108 w 280"/>
                  <a:gd name="T115" fmla="*/ 636 h 644"/>
                  <a:gd name="T116" fmla="*/ 94 w 280"/>
                  <a:gd name="T117" fmla="*/ 640 h 644"/>
                  <a:gd name="T118" fmla="*/ 72 w 280"/>
                  <a:gd name="T119" fmla="*/ 610 h 644"/>
                  <a:gd name="T120" fmla="*/ 126 w 280"/>
                  <a:gd name="T121" fmla="*/ 636 h 644"/>
                  <a:gd name="T122" fmla="*/ 126 w 280"/>
                  <a:gd name="T123" fmla="*/ 640 h 6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280" h="644">
                    <a:moveTo>
                      <a:pt x="24" y="358"/>
                    </a:moveTo>
                    <a:lnTo>
                      <a:pt x="24" y="354"/>
                    </a:lnTo>
                    <a:lnTo>
                      <a:pt x="24" y="350"/>
                    </a:lnTo>
                    <a:lnTo>
                      <a:pt x="24" y="346"/>
                    </a:lnTo>
                    <a:lnTo>
                      <a:pt x="28" y="346"/>
                    </a:lnTo>
                    <a:lnTo>
                      <a:pt x="28" y="342"/>
                    </a:lnTo>
                    <a:lnTo>
                      <a:pt x="24" y="342"/>
                    </a:lnTo>
                    <a:lnTo>
                      <a:pt x="28" y="338"/>
                    </a:lnTo>
                    <a:lnTo>
                      <a:pt x="28" y="334"/>
                    </a:lnTo>
                    <a:lnTo>
                      <a:pt x="28" y="330"/>
                    </a:lnTo>
                    <a:lnTo>
                      <a:pt x="28" y="328"/>
                    </a:lnTo>
                    <a:lnTo>
                      <a:pt x="28" y="330"/>
                    </a:lnTo>
                    <a:lnTo>
                      <a:pt x="30" y="330"/>
                    </a:lnTo>
                    <a:lnTo>
                      <a:pt x="30" y="328"/>
                    </a:lnTo>
                    <a:lnTo>
                      <a:pt x="30" y="324"/>
                    </a:lnTo>
                    <a:lnTo>
                      <a:pt x="30" y="320"/>
                    </a:lnTo>
                    <a:lnTo>
                      <a:pt x="30" y="316"/>
                    </a:lnTo>
                    <a:lnTo>
                      <a:pt x="34" y="316"/>
                    </a:lnTo>
                    <a:lnTo>
                      <a:pt x="34" y="312"/>
                    </a:lnTo>
                    <a:lnTo>
                      <a:pt x="38" y="312"/>
                    </a:lnTo>
                    <a:lnTo>
                      <a:pt x="38" y="308"/>
                    </a:lnTo>
                    <a:lnTo>
                      <a:pt x="38" y="304"/>
                    </a:lnTo>
                    <a:lnTo>
                      <a:pt x="38" y="302"/>
                    </a:lnTo>
                    <a:lnTo>
                      <a:pt x="34" y="298"/>
                    </a:lnTo>
                    <a:lnTo>
                      <a:pt x="34" y="294"/>
                    </a:lnTo>
                    <a:lnTo>
                      <a:pt x="34" y="290"/>
                    </a:lnTo>
                    <a:lnTo>
                      <a:pt x="34" y="286"/>
                    </a:lnTo>
                    <a:lnTo>
                      <a:pt x="34" y="282"/>
                    </a:lnTo>
                    <a:lnTo>
                      <a:pt x="34" y="278"/>
                    </a:lnTo>
                    <a:lnTo>
                      <a:pt x="34" y="274"/>
                    </a:lnTo>
                    <a:lnTo>
                      <a:pt x="34" y="272"/>
                    </a:lnTo>
                    <a:lnTo>
                      <a:pt x="38" y="268"/>
                    </a:lnTo>
                    <a:lnTo>
                      <a:pt x="38" y="272"/>
                    </a:lnTo>
                    <a:lnTo>
                      <a:pt x="42" y="268"/>
                    </a:lnTo>
                    <a:lnTo>
                      <a:pt x="42" y="264"/>
                    </a:lnTo>
                    <a:lnTo>
                      <a:pt x="46" y="264"/>
                    </a:lnTo>
                    <a:lnTo>
                      <a:pt x="46" y="260"/>
                    </a:lnTo>
                    <a:lnTo>
                      <a:pt x="46" y="256"/>
                    </a:lnTo>
                    <a:lnTo>
                      <a:pt x="46" y="252"/>
                    </a:lnTo>
                    <a:lnTo>
                      <a:pt x="46" y="248"/>
                    </a:lnTo>
                    <a:lnTo>
                      <a:pt x="42" y="248"/>
                    </a:lnTo>
                    <a:lnTo>
                      <a:pt x="42" y="246"/>
                    </a:lnTo>
                    <a:lnTo>
                      <a:pt x="46" y="246"/>
                    </a:lnTo>
                    <a:lnTo>
                      <a:pt x="46" y="242"/>
                    </a:lnTo>
                    <a:lnTo>
                      <a:pt x="46" y="238"/>
                    </a:lnTo>
                    <a:lnTo>
                      <a:pt x="46" y="234"/>
                    </a:lnTo>
                    <a:lnTo>
                      <a:pt x="50" y="234"/>
                    </a:lnTo>
                    <a:lnTo>
                      <a:pt x="50" y="230"/>
                    </a:lnTo>
                    <a:lnTo>
                      <a:pt x="50" y="226"/>
                    </a:lnTo>
                    <a:lnTo>
                      <a:pt x="54" y="226"/>
                    </a:lnTo>
                    <a:lnTo>
                      <a:pt x="54" y="222"/>
                    </a:lnTo>
                    <a:lnTo>
                      <a:pt x="54" y="218"/>
                    </a:lnTo>
                    <a:lnTo>
                      <a:pt x="54" y="216"/>
                    </a:lnTo>
                    <a:lnTo>
                      <a:pt x="54" y="212"/>
                    </a:lnTo>
                    <a:lnTo>
                      <a:pt x="54" y="208"/>
                    </a:lnTo>
                    <a:lnTo>
                      <a:pt x="50" y="208"/>
                    </a:lnTo>
                    <a:lnTo>
                      <a:pt x="50" y="204"/>
                    </a:lnTo>
                    <a:lnTo>
                      <a:pt x="50" y="200"/>
                    </a:lnTo>
                    <a:lnTo>
                      <a:pt x="50" y="196"/>
                    </a:lnTo>
                    <a:lnTo>
                      <a:pt x="50" y="192"/>
                    </a:lnTo>
                    <a:lnTo>
                      <a:pt x="46" y="192"/>
                    </a:lnTo>
                    <a:lnTo>
                      <a:pt x="46" y="190"/>
                    </a:lnTo>
                    <a:lnTo>
                      <a:pt x="46" y="186"/>
                    </a:lnTo>
                    <a:lnTo>
                      <a:pt x="46" y="182"/>
                    </a:lnTo>
                    <a:lnTo>
                      <a:pt x="42" y="178"/>
                    </a:lnTo>
                    <a:lnTo>
                      <a:pt x="42" y="174"/>
                    </a:lnTo>
                    <a:lnTo>
                      <a:pt x="42" y="170"/>
                    </a:lnTo>
                    <a:lnTo>
                      <a:pt x="46" y="170"/>
                    </a:lnTo>
                    <a:lnTo>
                      <a:pt x="46" y="166"/>
                    </a:lnTo>
                    <a:lnTo>
                      <a:pt x="46" y="162"/>
                    </a:lnTo>
                    <a:lnTo>
                      <a:pt x="46" y="160"/>
                    </a:lnTo>
                    <a:lnTo>
                      <a:pt x="50" y="160"/>
                    </a:lnTo>
                    <a:lnTo>
                      <a:pt x="50" y="156"/>
                    </a:lnTo>
                    <a:lnTo>
                      <a:pt x="54" y="156"/>
                    </a:lnTo>
                    <a:lnTo>
                      <a:pt x="54" y="152"/>
                    </a:lnTo>
                    <a:lnTo>
                      <a:pt x="54" y="148"/>
                    </a:lnTo>
                    <a:lnTo>
                      <a:pt x="54" y="144"/>
                    </a:lnTo>
                    <a:lnTo>
                      <a:pt x="50" y="140"/>
                    </a:lnTo>
                    <a:lnTo>
                      <a:pt x="54" y="140"/>
                    </a:lnTo>
                    <a:lnTo>
                      <a:pt x="50" y="140"/>
                    </a:lnTo>
                    <a:lnTo>
                      <a:pt x="50" y="136"/>
                    </a:lnTo>
                    <a:lnTo>
                      <a:pt x="54" y="134"/>
                    </a:lnTo>
                    <a:lnTo>
                      <a:pt x="54" y="130"/>
                    </a:lnTo>
                    <a:lnTo>
                      <a:pt x="54" y="126"/>
                    </a:lnTo>
                    <a:lnTo>
                      <a:pt x="54" y="122"/>
                    </a:lnTo>
                    <a:lnTo>
                      <a:pt x="56" y="122"/>
                    </a:lnTo>
                    <a:lnTo>
                      <a:pt x="56" y="118"/>
                    </a:lnTo>
                    <a:lnTo>
                      <a:pt x="60" y="114"/>
                    </a:lnTo>
                    <a:lnTo>
                      <a:pt x="60" y="110"/>
                    </a:lnTo>
                    <a:lnTo>
                      <a:pt x="64" y="110"/>
                    </a:lnTo>
                    <a:lnTo>
                      <a:pt x="64" y="106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96"/>
                    </a:lnTo>
                    <a:lnTo>
                      <a:pt x="72" y="96"/>
                    </a:lnTo>
                    <a:lnTo>
                      <a:pt x="76" y="96"/>
                    </a:lnTo>
                    <a:lnTo>
                      <a:pt x="76" y="92"/>
                    </a:lnTo>
                    <a:lnTo>
                      <a:pt x="72" y="88"/>
                    </a:lnTo>
                    <a:lnTo>
                      <a:pt x="72" y="84"/>
                    </a:lnTo>
                    <a:lnTo>
                      <a:pt x="72" y="82"/>
                    </a:lnTo>
                    <a:lnTo>
                      <a:pt x="72" y="78"/>
                    </a:lnTo>
                    <a:lnTo>
                      <a:pt x="72" y="74"/>
                    </a:lnTo>
                    <a:lnTo>
                      <a:pt x="72" y="70"/>
                    </a:lnTo>
                    <a:lnTo>
                      <a:pt x="72" y="66"/>
                    </a:lnTo>
                    <a:lnTo>
                      <a:pt x="72" y="64"/>
                    </a:lnTo>
                    <a:lnTo>
                      <a:pt x="76" y="60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48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2" y="44"/>
                    </a:lnTo>
                    <a:lnTo>
                      <a:pt x="86" y="44"/>
                    </a:lnTo>
                    <a:lnTo>
                      <a:pt x="86" y="40"/>
                    </a:lnTo>
                    <a:lnTo>
                      <a:pt x="90" y="36"/>
                    </a:lnTo>
                    <a:lnTo>
                      <a:pt x="90" y="34"/>
                    </a:lnTo>
                    <a:lnTo>
                      <a:pt x="90" y="30"/>
                    </a:lnTo>
                    <a:lnTo>
                      <a:pt x="90" y="26"/>
                    </a:lnTo>
                    <a:lnTo>
                      <a:pt x="94" y="26"/>
                    </a:lnTo>
                    <a:lnTo>
                      <a:pt x="94" y="22"/>
                    </a:lnTo>
                    <a:lnTo>
                      <a:pt x="90" y="22"/>
                    </a:lnTo>
                    <a:lnTo>
                      <a:pt x="90" y="18"/>
                    </a:lnTo>
                    <a:lnTo>
                      <a:pt x="94" y="18"/>
                    </a:lnTo>
                    <a:lnTo>
                      <a:pt x="94" y="14"/>
                    </a:lnTo>
                    <a:lnTo>
                      <a:pt x="98" y="14"/>
                    </a:lnTo>
                    <a:lnTo>
                      <a:pt x="98" y="10"/>
                    </a:lnTo>
                    <a:lnTo>
                      <a:pt x="98" y="6"/>
                    </a:lnTo>
                    <a:lnTo>
                      <a:pt x="102" y="6"/>
                    </a:lnTo>
                    <a:lnTo>
                      <a:pt x="102" y="4"/>
                    </a:lnTo>
                    <a:lnTo>
                      <a:pt x="106" y="4"/>
                    </a:lnTo>
                    <a:lnTo>
                      <a:pt x="106" y="0"/>
                    </a:lnTo>
                    <a:lnTo>
                      <a:pt x="106" y="4"/>
                    </a:lnTo>
                    <a:lnTo>
                      <a:pt x="108" y="4"/>
                    </a:lnTo>
                    <a:lnTo>
                      <a:pt x="108" y="6"/>
                    </a:lnTo>
                    <a:lnTo>
                      <a:pt x="112" y="6"/>
                    </a:lnTo>
                    <a:lnTo>
                      <a:pt x="120" y="6"/>
                    </a:lnTo>
                    <a:lnTo>
                      <a:pt x="122" y="6"/>
                    </a:lnTo>
                    <a:lnTo>
                      <a:pt x="126" y="6"/>
                    </a:lnTo>
                    <a:lnTo>
                      <a:pt x="126" y="10"/>
                    </a:lnTo>
                    <a:lnTo>
                      <a:pt x="126" y="14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22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0"/>
                    </a:lnTo>
                    <a:lnTo>
                      <a:pt x="134" y="6"/>
                    </a:lnTo>
                    <a:lnTo>
                      <a:pt x="138" y="6"/>
                    </a:lnTo>
                    <a:lnTo>
                      <a:pt x="142" y="6"/>
                    </a:lnTo>
                    <a:lnTo>
                      <a:pt x="146" y="6"/>
                    </a:lnTo>
                    <a:lnTo>
                      <a:pt x="150" y="6"/>
                    </a:lnTo>
                    <a:lnTo>
                      <a:pt x="152" y="6"/>
                    </a:lnTo>
                    <a:lnTo>
                      <a:pt x="152" y="10"/>
                    </a:lnTo>
                    <a:lnTo>
                      <a:pt x="156" y="10"/>
                    </a:lnTo>
                    <a:lnTo>
                      <a:pt x="156" y="14"/>
                    </a:lnTo>
                    <a:lnTo>
                      <a:pt x="160" y="14"/>
                    </a:lnTo>
                    <a:lnTo>
                      <a:pt x="160" y="18"/>
                    </a:lnTo>
                    <a:lnTo>
                      <a:pt x="164" y="22"/>
                    </a:lnTo>
                    <a:lnTo>
                      <a:pt x="164" y="26"/>
                    </a:lnTo>
                    <a:lnTo>
                      <a:pt x="168" y="26"/>
                    </a:lnTo>
                    <a:lnTo>
                      <a:pt x="168" y="30"/>
                    </a:lnTo>
                    <a:lnTo>
                      <a:pt x="172" y="30"/>
                    </a:lnTo>
                    <a:lnTo>
                      <a:pt x="172" y="34"/>
                    </a:lnTo>
                    <a:lnTo>
                      <a:pt x="176" y="34"/>
                    </a:lnTo>
                    <a:lnTo>
                      <a:pt x="176" y="36"/>
                    </a:lnTo>
                    <a:lnTo>
                      <a:pt x="178" y="36"/>
                    </a:lnTo>
                    <a:lnTo>
                      <a:pt x="182" y="36"/>
                    </a:lnTo>
                    <a:lnTo>
                      <a:pt x="182" y="40"/>
                    </a:lnTo>
                    <a:lnTo>
                      <a:pt x="186" y="40"/>
                    </a:lnTo>
                    <a:lnTo>
                      <a:pt x="190" y="40"/>
                    </a:lnTo>
                    <a:lnTo>
                      <a:pt x="198" y="44"/>
                    </a:lnTo>
                    <a:lnTo>
                      <a:pt x="198" y="48"/>
                    </a:lnTo>
                    <a:lnTo>
                      <a:pt x="202" y="48"/>
                    </a:lnTo>
                    <a:lnTo>
                      <a:pt x="202" y="52"/>
                    </a:lnTo>
                    <a:lnTo>
                      <a:pt x="204" y="52"/>
                    </a:lnTo>
                    <a:lnTo>
                      <a:pt x="208" y="56"/>
                    </a:lnTo>
                    <a:lnTo>
                      <a:pt x="212" y="56"/>
                    </a:lnTo>
                    <a:lnTo>
                      <a:pt x="216" y="60"/>
                    </a:lnTo>
                    <a:lnTo>
                      <a:pt x="220" y="60"/>
                    </a:lnTo>
                    <a:lnTo>
                      <a:pt x="224" y="64"/>
                    </a:lnTo>
                    <a:lnTo>
                      <a:pt x="224" y="66"/>
                    </a:lnTo>
                    <a:lnTo>
                      <a:pt x="228" y="66"/>
                    </a:lnTo>
                    <a:lnTo>
                      <a:pt x="228" y="70"/>
                    </a:lnTo>
                    <a:lnTo>
                      <a:pt x="224" y="70"/>
                    </a:lnTo>
                    <a:lnTo>
                      <a:pt x="224" y="74"/>
                    </a:lnTo>
                    <a:lnTo>
                      <a:pt x="220" y="74"/>
                    </a:lnTo>
                    <a:lnTo>
                      <a:pt x="220" y="78"/>
                    </a:lnTo>
                    <a:lnTo>
                      <a:pt x="216" y="82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92"/>
                    </a:lnTo>
                    <a:lnTo>
                      <a:pt x="212" y="92"/>
                    </a:lnTo>
                    <a:lnTo>
                      <a:pt x="212" y="96"/>
                    </a:lnTo>
                    <a:lnTo>
                      <a:pt x="208" y="96"/>
                    </a:lnTo>
                    <a:lnTo>
                      <a:pt x="212" y="100"/>
                    </a:lnTo>
                    <a:lnTo>
                      <a:pt x="216" y="100"/>
                    </a:lnTo>
                    <a:lnTo>
                      <a:pt x="220" y="100"/>
                    </a:lnTo>
                    <a:lnTo>
                      <a:pt x="224" y="100"/>
                    </a:lnTo>
                    <a:lnTo>
                      <a:pt x="228" y="104"/>
                    </a:lnTo>
                    <a:lnTo>
                      <a:pt x="230" y="104"/>
                    </a:lnTo>
                    <a:lnTo>
                      <a:pt x="234" y="104"/>
                    </a:lnTo>
                    <a:lnTo>
                      <a:pt x="238" y="104"/>
                    </a:lnTo>
                    <a:lnTo>
                      <a:pt x="242" y="104"/>
                    </a:lnTo>
                    <a:lnTo>
                      <a:pt x="242" y="100"/>
                    </a:lnTo>
                    <a:lnTo>
                      <a:pt x="246" y="100"/>
                    </a:lnTo>
                    <a:lnTo>
                      <a:pt x="250" y="100"/>
                    </a:lnTo>
                    <a:lnTo>
                      <a:pt x="250" y="104"/>
                    </a:lnTo>
                    <a:lnTo>
                      <a:pt x="254" y="104"/>
                    </a:lnTo>
                    <a:lnTo>
                      <a:pt x="254" y="100"/>
                    </a:lnTo>
                    <a:lnTo>
                      <a:pt x="254" y="96"/>
                    </a:lnTo>
                    <a:lnTo>
                      <a:pt x="258" y="92"/>
                    </a:lnTo>
                    <a:lnTo>
                      <a:pt x="260" y="92"/>
                    </a:lnTo>
                    <a:lnTo>
                      <a:pt x="260" y="88"/>
                    </a:lnTo>
                    <a:lnTo>
                      <a:pt x="264" y="88"/>
                    </a:lnTo>
                    <a:lnTo>
                      <a:pt x="264" y="84"/>
                    </a:lnTo>
                    <a:lnTo>
                      <a:pt x="268" y="82"/>
                    </a:lnTo>
                    <a:lnTo>
                      <a:pt x="268" y="78"/>
                    </a:lnTo>
                    <a:lnTo>
                      <a:pt x="268" y="74"/>
                    </a:lnTo>
                    <a:lnTo>
                      <a:pt x="268" y="70"/>
                    </a:lnTo>
                    <a:lnTo>
                      <a:pt x="272" y="70"/>
                    </a:lnTo>
                    <a:lnTo>
                      <a:pt x="272" y="66"/>
                    </a:lnTo>
                    <a:lnTo>
                      <a:pt x="276" y="66"/>
                    </a:lnTo>
                    <a:lnTo>
                      <a:pt x="280" y="70"/>
                    </a:lnTo>
                    <a:lnTo>
                      <a:pt x="280" y="74"/>
                    </a:lnTo>
                    <a:lnTo>
                      <a:pt x="280" y="78"/>
                    </a:lnTo>
                    <a:lnTo>
                      <a:pt x="280" y="82"/>
                    </a:lnTo>
                    <a:lnTo>
                      <a:pt x="280" y="84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80" y="96"/>
                    </a:lnTo>
                    <a:lnTo>
                      <a:pt x="276" y="96"/>
                    </a:lnTo>
                    <a:lnTo>
                      <a:pt x="276" y="100"/>
                    </a:lnTo>
                    <a:lnTo>
                      <a:pt x="272" y="100"/>
                    </a:lnTo>
                    <a:lnTo>
                      <a:pt x="272" y="104"/>
                    </a:lnTo>
                    <a:lnTo>
                      <a:pt x="268" y="104"/>
                    </a:lnTo>
                    <a:lnTo>
                      <a:pt x="264" y="104"/>
                    </a:lnTo>
                    <a:lnTo>
                      <a:pt x="264" y="106"/>
                    </a:lnTo>
                    <a:lnTo>
                      <a:pt x="260" y="110"/>
                    </a:lnTo>
                    <a:lnTo>
                      <a:pt x="258" y="110"/>
                    </a:lnTo>
                    <a:lnTo>
                      <a:pt x="258" y="114"/>
                    </a:lnTo>
                    <a:lnTo>
                      <a:pt x="254" y="114"/>
                    </a:lnTo>
                    <a:lnTo>
                      <a:pt x="250" y="114"/>
                    </a:lnTo>
                    <a:lnTo>
                      <a:pt x="250" y="118"/>
                    </a:lnTo>
                    <a:lnTo>
                      <a:pt x="254" y="118"/>
                    </a:lnTo>
                    <a:lnTo>
                      <a:pt x="250" y="118"/>
                    </a:lnTo>
                    <a:lnTo>
                      <a:pt x="250" y="122"/>
                    </a:lnTo>
                    <a:lnTo>
                      <a:pt x="246" y="122"/>
                    </a:lnTo>
                    <a:lnTo>
                      <a:pt x="246" y="126"/>
                    </a:lnTo>
                    <a:lnTo>
                      <a:pt x="242" y="126"/>
                    </a:lnTo>
                    <a:lnTo>
                      <a:pt x="242" y="130"/>
                    </a:lnTo>
                    <a:lnTo>
                      <a:pt x="242" y="134"/>
                    </a:lnTo>
                    <a:lnTo>
                      <a:pt x="238" y="134"/>
                    </a:lnTo>
                    <a:lnTo>
                      <a:pt x="238" y="136"/>
                    </a:lnTo>
                    <a:lnTo>
                      <a:pt x="234" y="140"/>
                    </a:lnTo>
                    <a:lnTo>
                      <a:pt x="234" y="144"/>
                    </a:lnTo>
                    <a:lnTo>
                      <a:pt x="230" y="144"/>
                    </a:lnTo>
                    <a:lnTo>
                      <a:pt x="228" y="148"/>
                    </a:lnTo>
                    <a:lnTo>
                      <a:pt x="228" y="152"/>
                    </a:lnTo>
                    <a:lnTo>
                      <a:pt x="224" y="152"/>
                    </a:lnTo>
                    <a:lnTo>
                      <a:pt x="224" y="156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0" y="166"/>
                    </a:lnTo>
                    <a:lnTo>
                      <a:pt x="220" y="170"/>
                    </a:lnTo>
                    <a:lnTo>
                      <a:pt x="220" y="174"/>
                    </a:lnTo>
                    <a:lnTo>
                      <a:pt x="220" y="178"/>
                    </a:lnTo>
                    <a:lnTo>
                      <a:pt x="220" y="182"/>
                    </a:lnTo>
                    <a:lnTo>
                      <a:pt x="216" y="182"/>
                    </a:lnTo>
                    <a:lnTo>
                      <a:pt x="216" y="186"/>
                    </a:lnTo>
                    <a:lnTo>
                      <a:pt x="216" y="190"/>
                    </a:lnTo>
                    <a:lnTo>
                      <a:pt x="220" y="190"/>
                    </a:lnTo>
                    <a:lnTo>
                      <a:pt x="220" y="192"/>
                    </a:lnTo>
                    <a:lnTo>
                      <a:pt x="216" y="192"/>
                    </a:lnTo>
                    <a:lnTo>
                      <a:pt x="216" y="196"/>
                    </a:lnTo>
                    <a:lnTo>
                      <a:pt x="216" y="200"/>
                    </a:lnTo>
                    <a:lnTo>
                      <a:pt x="216" y="204"/>
                    </a:lnTo>
                    <a:lnTo>
                      <a:pt x="212" y="204"/>
                    </a:lnTo>
                    <a:lnTo>
                      <a:pt x="212" y="208"/>
                    </a:lnTo>
                    <a:lnTo>
                      <a:pt x="212" y="212"/>
                    </a:lnTo>
                    <a:lnTo>
                      <a:pt x="212" y="216"/>
                    </a:lnTo>
                    <a:lnTo>
                      <a:pt x="212" y="218"/>
                    </a:lnTo>
                    <a:lnTo>
                      <a:pt x="212" y="222"/>
                    </a:lnTo>
                    <a:lnTo>
                      <a:pt x="212" y="226"/>
                    </a:lnTo>
                    <a:lnTo>
                      <a:pt x="212" y="230"/>
                    </a:lnTo>
                    <a:lnTo>
                      <a:pt x="212" y="234"/>
                    </a:lnTo>
                    <a:lnTo>
                      <a:pt x="216" y="234"/>
                    </a:lnTo>
                    <a:lnTo>
                      <a:pt x="216" y="238"/>
                    </a:lnTo>
                    <a:lnTo>
                      <a:pt x="220" y="238"/>
                    </a:lnTo>
                    <a:lnTo>
                      <a:pt x="224" y="238"/>
                    </a:lnTo>
                    <a:lnTo>
                      <a:pt x="228" y="242"/>
                    </a:lnTo>
                    <a:lnTo>
                      <a:pt x="228" y="246"/>
                    </a:lnTo>
                    <a:lnTo>
                      <a:pt x="230" y="246"/>
                    </a:lnTo>
                    <a:lnTo>
                      <a:pt x="230" y="248"/>
                    </a:lnTo>
                    <a:lnTo>
                      <a:pt x="230" y="252"/>
                    </a:lnTo>
                    <a:lnTo>
                      <a:pt x="228" y="256"/>
                    </a:lnTo>
                    <a:lnTo>
                      <a:pt x="228" y="260"/>
                    </a:lnTo>
                    <a:lnTo>
                      <a:pt x="230" y="264"/>
                    </a:lnTo>
                    <a:lnTo>
                      <a:pt x="230" y="268"/>
                    </a:lnTo>
                    <a:lnTo>
                      <a:pt x="234" y="268"/>
                    </a:lnTo>
                    <a:lnTo>
                      <a:pt x="238" y="268"/>
                    </a:lnTo>
                    <a:lnTo>
                      <a:pt x="238" y="272"/>
                    </a:lnTo>
                    <a:lnTo>
                      <a:pt x="238" y="274"/>
                    </a:lnTo>
                    <a:lnTo>
                      <a:pt x="238" y="278"/>
                    </a:lnTo>
                    <a:lnTo>
                      <a:pt x="234" y="282"/>
                    </a:lnTo>
                    <a:lnTo>
                      <a:pt x="234" y="286"/>
                    </a:lnTo>
                    <a:lnTo>
                      <a:pt x="230" y="286"/>
                    </a:lnTo>
                    <a:lnTo>
                      <a:pt x="230" y="290"/>
                    </a:lnTo>
                    <a:lnTo>
                      <a:pt x="228" y="294"/>
                    </a:lnTo>
                    <a:lnTo>
                      <a:pt x="228" y="298"/>
                    </a:lnTo>
                    <a:lnTo>
                      <a:pt x="228" y="302"/>
                    </a:lnTo>
                    <a:lnTo>
                      <a:pt x="224" y="302"/>
                    </a:lnTo>
                    <a:lnTo>
                      <a:pt x="224" y="304"/>
                    </a:lnTo>
                    <a:lnTo>
                      <a:pt x="216" y="304"/>
                    </a:lnTo>
                    <a:lnTo>
                      <a:pt x="216" y="308"/>
                    </a:lnTo>
                    <a:lnTo>
                      <a:pt x="208" y="308"/>
                    </a:lnTo>
                    <a:lnTo>
                      <a:pt x="204" y="312"/>
                    </a:lnTo>
                    <a:lnTo>
                      <a:pt x="202" y="312"/>
                    </a:lnTo>
                    <a:lnTo>
                      <a:pt x="198" y="312"/>
                    </a:lnTo>
                    <a:lnTo>
                      <a:pt x="194" y="316"/>
                    </a:lnTo>
                    <a:lnTo>
                      <a:pt x="190" y="316"/>
                    </a:lnTo>
                    <a:lnTo>
                      <a:pt x="186" y="316"/>
                    </a:lnTo>
                    <a:lnTo>
                      <a:pt x="182" y="316"/>
                    </a:lnTo>
                    <a:lnTo>
                      <a:pt x="178" y="316"/>
                    </a:lnTo>
                    <a:lnTo>
                      <a:pt x="176" y="316"/>
                    </a:lnTo>
                    <a:lnTo>
                      <a:pt x="172" y="316"/>
                    </a:lnTo>
                    <a:lnTo>
                      <a:pt x="168" y="316"/>
                    </a:lnTo>
                    <a:lnTo>
                      <a:pt x="164" y="316"/>
                    </a:lnTo>
                    <a:lnTo>
                      <a:pt x="160" y="316"/>
                    </a:lnTo>
                    <a:lnTo>
                      <a:pt x="160" y="312"/>
                    </a:lnTo>
                    <a:lnTo>
                      <a:pt x="156" y="312"/>
                    </a:lnTo>
                    <a:lnTo>
                      <a:pt x="156" y="316"/>
                    </a:lnTo>
                    <a:lnTo>
                      <a:pt x="160" y="316"/>
                    </a:lnTo>
                    <a:lnTo>
                      <a:pt x="160" y="320"/>
                    </a:lnTo>
                    <a:lnTo>
                      <a:pt x="156" y="320"/>
                    </a:lnTo>
                    <a:lnTo>
                      <a:pt x="156" y="324"/>
                    </a:lnTo>
                    <a:lnTo>
                      <a:pt x="160" y="324"/>
                    </a:lnTo>
                    <a:lnTo>
                      <a:pt x="164" y="324"/>
                    </a:lnTo>
                    <a:lnTo>
                      <a:pt x="164" y="328"/>
                    </a:lnTo>
                    <a:lnTo>
                      <a:pt x="160" y="324"/>
                    </a:lnTo>
                    <a:lnTo>
                      <a:pt x="160" y="328"/>
                    </a:lnTo>
                    <a:lnTo>
                      <a:pt x="160" y="330"/>
                    </a:lnTo>
                    <a:lnTo>
                      <a:pt x="160" y="334"/>
                    </a:lnTo>
                    <a:lnTo>
                      <a:pt x="156" y="338"/>
                    </a:lnTo>
                    <a:lnTo>
                      <a:pt x="156" y="342"/>
                    </a:lnTo>
                    <a:lnTo>
                      <a:pt x="156" y="346"/>
                    </a:lnTo>
                    <a:lnTo>
                      <a:pt x="160" y="346"/>
                    </a:lnTo>
                    <a:lnTo>
                      <a:pt x="160" y="350"/>
                    </a:lnTo>
                    <a:lnTo>
                      <a:pt x="156" y="350"/>
                    </a:lnTo>
                    <a:lnTo>
                      <a:pt x="160" y="350"/>
                    </a:lnTo>
                    <a:lnTo>
                      <a:pt x="160" y="354"/>
                    </a:lnTo>
                    <a:lnTo>
                      <a:pt x="156" y="354"/>
                    </a:lnTo>
                    <a:lnTo>
                      <a:pt x="152" y="358"/>
                    </a:lnTo>
                    <a:lnTo>
                      <a:pt x="150" y="358"/>
                    </a:lnTo>
                    <a:lnTo>
                      <a:pt x="150" y="360"/>
                    </a:lnTo>
                    <a:lnTo>
                      <a:pt x="146" y="360"/>
                    </a:lnTo>
                    <a:lnTo>
                      <a:pt x="142" y="360"/>
                    </a:lnTo>
                    <a:lnTo>
                      <a:pt x="138" y="360"/>
                    </a:lnTo>
                    <a:lnTo>
                      <a:pt x="138" y="358"/>
                    </a:lnTo>
                    <a:lnTo>
                      <a:pt x="134" y="358"/>
                    </a:lnTo>
                    <a:lnTo>
                      <a:pt x="130" y="358"/>
                    </a:lnTo>
                    <a:lnTo>
                      <a:pt x="126" y="354"/>
                    </a:lnTo>
                    <a:lnTo>
                      <a:pt x="122" y="354"/>
                    </a:lnTo>
                    <a:lnTo>
                      <a:pt x="122" y="350"/>
                    </a:lnTo>
                    <a:lnTo>
                      <a:pt x="120" y="350"/>
                    </a:lnTo>
                    <a:lnTo>
                      <a:pt x="120" y="354"/>
                    </a:lnTo>
                    <a:lnTo>
                      <a:pt x="120" y="358"/>
                    </a:lnTo>
                    <a:lnTo>
                      <a:pt x="120" y="360"/>
                    </a:lnTo>
                    <a:lnTo>
                      <a:pt x="120" y="364"/>
                    </a:lnTo>
                    <a:lnTo>
                      <a:pt x="120" y="368"/>
                    </a:lnTo>
                    <a:lnTo>
                      <a:pt x="120" y="372"/>
                    </a:lnTo>
                    <a:lnTo>
                      <a:pt x="120" y="376"/>
                    </a:lnTo>
                    <a:lnTo>
                      <a:pt x="120" y="380"/>
                    </a:lnTo>
                    <a:lnTo>
                      <a:pt x="122" y="380"/>
                    </a:lnTo>
                    <a:lnTo>
                      <a:pt x="126" y="380"/>
                    </a:lnTo>
                    <a:lnTo>
                      <a:pt x="126" y="384"/>
                    </a:lnTo>
                    <a:lnTo>
                      <a:pt x="134" y="384"/>
                    </a:lnTo>
                    <a:lnTo>
                      <a:pt x="134" y="380"/>
                    </a:lnTo>
                    <a:lnTo>
                      <a:pt x="130" y="380"/>
                    </a:lnTo>
                    <a:lnTo>
                      <a:pt x="134" y="380"/>
                    </a:lnTo>
                    <a:lnTo>
                      <a:pt x="138" y="380"/>
                    </a:lnTo>
                    <a:lnTo>
                      <a:pt x="138" y="376"/>
                    </a:lnTo>
                    <a:lnTo>
                      <a:pt x="138" y="380"/>
                    </a:lnTo>
                    <a:lnTo>
                      <a:pt x="142" y="380"/>
                    </a:lnTo>
                    <a:lnTo>
                      <a:pt x="142" y="384"/>
                    </a:lnTo>
                    <a:lnTo>
                      <a:pt x="142" y="386"/>
                    </a:lnTo>
                    <a:lnTo>
                      <a:pt x="142" y="390"/>
                    </a:lnTo>
                    <a:lnTo>
                      <a:pt x="138" y="390"/>
                    </a:lnTo>
                    <a:lnTo>
                      <a:pt x="134" y="394"/>
                    </a:lnTo>
                    <a:lnTo>
                      <a:pt x="130" y="390"/>
                    </a:lnTo>
                    <a:lnTo>
                      <a:pt x="130" y="386"/>
                    </a:lnTo>
                    <a:lnTo>
                      <a:pt x="126" y="386"/>
                    </a:lnTo>
                    <a:lnTo>
                      <a:pt x="122" y="386"/>
                    </a:lnTo>
                    <a:lnTo>
                      <a:pt x="120" y="390"/>
                    </a:lnTo>
                    <a:lnTo>
                      <a:pt x="122" y="390"/>
                    </a:lnTo>
                    <a:lnTo>
                      <a:pt x="122" y="394"/>
                    </a:lnTo>
                    <a:lnTo>
                      <a:pt x="126" y="394"/>
                    </a:lnTo>
                    <a:lnTo>
                      <a:pt x="130" y="394"/>
                    </a:lnTo>
                    <a:lnTo>
                      <a:pt x="130" y="398"/>
                    </a:lnTo>
                    <a:lnTo>
                      <a:pt x="126" y="398"/>
                    </a:lnTo>
                    <a:lnTo>
                      <a:pt x="122" y="398"/>
                    </a:lnTo>
                    <a:lnTo>
                      <a:pt x="122" y="402"/>
                    </a:lnTo>
                    <a:lnTo>
                      <a:pt x="120" y="402"/>
                    </a:lnTo>
                    <a:lnTo>
                      <a:pt x="120" y="406"/>
                    </a:lnTo>
                    <a:lnTo>
                      <a:pt x="116" y="406"/>
                    </a:lnTo>
                    <a:lnTo>
                      <a:pt x="116" y="410"/>
                    </a:lnTo>
                    <a:lnTo>
                      <a:pt x="116" y="414"/>
                    </a:lnTo>
                    <a:lnTo>
                      <a:pt x="120" y="414"/>
                    </a:lnTo>
                    <a:lnTo>
                      <a:pt x="116" y="416"/>
                    </a:lnTo>
                    <a:lnTo>
                      <a:pt x="116" y="420"/>
                    </a:lnTo>
                    <a:lnTo>
                      <a:pt x="116" y="424"/>
                    </a:lnTo>
                    <a:lnTo>
                      <a:pt x="112" y="428"/>
                    </a:lnTo>
                    <a:lnTo>
                      <a:pt x="112" y="432"/>
                    </a:lnTo>
                    <a:lnTo>
                      <a:pt x="112" y="436"/>
                    </a:lnTo>
                    <a:lnTo>
                      <a:pt x="108" y="436"/>
                    </a:lnTo>
                    <a:lnTo>
                      <a:pt x="106" y="436"/>
                    </a:lnTo>
                    <a:lnTo>
                      <a:pt x="102" y="436"/>
                    </a:lnTo>
                    <a:lnTo>
                      <a:pt x="102" y="440"/>
                    </a:lnTo>
                    <a:lnTo>
                      <a:pt x="98" y="440"/>
                    </a:lnTo>
                    <a:lnTo>
                      <a:pt x="94" y="440"/>
                    </a:lnTo>
                    <a:lnTo>
                      <a:pt x="94" y="442"/>
                    </a:lnTo>
                    <a:lnTo>
                      <a:pt x="90" y="442"/>
                    </a:lnTo>
                    <a:lnTo>
                      <a:pt x="90" y="446"/>
                    </a:lnTo>
                    <a:lnTo>
                      <a:pt x="86" y="446"/>
                    </a:lnTo>
                    <a:lnTo>
                      <a:pt x="86" y="450"/>
                    </a:lnTo>
                    <a:lnTo>
                      <a:pt x="86" y="454"/>
                    </a:lnTo>
                    <a:lnTo>
                      <a:pt x="82" y="458"/>
                    </a:lnTo>
                    <a:lnTo>
                      <a:pt x="86" y="462"/>
                    </a:lnTo>
                    <a:lnTo>
                      <a:pt x="86" y="466"/>
                    </a:lnTo>
                    <a:lnTo>
                      <a:pt x="86" y="470"/>
                    </a:lnTo>
                    <a:lnTo>
                      <a:pt x="90" y="470"/>
                    </a:lnTo>
                    <a:lnTo>
                      <a:pt x="94" y="472"/>
                    </a:lnTo>
                    <a:lnTo>
                      <a:pt x="94" y="476"/>
                    </a:lnTo>
                    <a:lnTo>
                      <a:pt x="98" y="476"/>
                    </a:lnTo>
                    <a:lnTo>
                      <a:pt x="102" y="476"/>
                    </a:lnTo>
                    <a:lnTo>
                      <a:pt x="106" y="476"/>
                    </a:lnTo>
                    <a:lnTo>
                      <a:pt x="108" y="476"/>
                    </a:lnTo>
                    <a:lnTo>
                      <a:pt x="108" y="480"/>
                    </a:lnTo>
                    <a:lnTo>
                      <a:pt x="112" y="484"/>
                    </a:lnTo>
                    <a:lnTo>
                      <a:pt x="108" y="488"/>
                    </a:lnTo>
                    <a:lnTo>
                      <a:pt x="108" y="490"/>
                    </a:lnTo>
                    <a:lnTo>
                      <a:pt x="106" y="490"/>
                    </a:lnTo>
                    <a:lnTo>
                      <a:pt x="108" y="490"/>
                    </a:lnTo>
                    <a:lnTo>
                      <a:pt x="108" y="494"/>
                    </a:lnTo>
                    <a:lnTo>
                      <a:pt x="108" y="498"/>
                    </a:lnTo>
                    <a:lnTo>
                      <a:pt x="106" y="498"/>
                    </a:lnTo>
                    <a:lnTo>
                      <a:pt x="102" y="502"/>
                    </a:lnTo>
                    <a:lnTo>
                      <a:pt x="98" y="502"/>
                    </a:lnTo>
                    <a:lnTo>
                      <a:pt x="98" y="506"/>
                    </a:lnTo>
                    <a:lnTo>
                      <a:pt x="94" y="506"/>
                    </a:lnTo>
                    <a:lnTo>
                      <a:pt x="94" y="510"/>
                    </a:lnTo>
                    <a:lnTo>
                      <a:pt x="90" y="510"/>
                    </a:lnTo>
                    <a:lnTo>
                      <a:pt x="90" y="512"/>
                    </a:lnTo>
                    <a:lnTo>
                      <a:pt x="86" y="512"/>
                    </a:lnTo>
                    <a:lnTo>
                      <a:pt x="86" y="516"/>
                    </a:lnTo>
                    <a:lnTo>
                      <a:pt x="82" y="516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0"/>
                    </a:lnTo>
                    <a:lnTo>
                      <a:pt x="82" y="524"/>
                    </a:lnTo>
                    <a:lnTo>
                      <a:pt x="82" y="528"/>
                    </a:lnTo>
                    <a:lnTo>
                      <a:pt x="82" y="532"/>
                    </a:lnTo>
                    <a:lnTo>
                      <a:pt x="82" y="536"/>
                    </a:lnTo>
                    <a:lnTo>
                      <a:pt x="80" y="536"/>
                    </a:lnTo>
                    <a:lnTo>
                      <a:pt x="80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36"/>
                    </a:lnTo>
                    <a:lnTo>
                      <a:pt x="68" y="536"/>
                    </a:lnTo>
                    <a:lnTo>
                      <a:pt x="64" y="536"/>
                    </a:lnTo>
                    <a:lnTo>
                      <a:pt x="68" y="536"/>
                    </a:lnTo>
                    <a:lnTo>
                      <a:pt x="72" y="536"/>
                    </a:lnTo>
                    <a:lnTo>
                      <a:pt x="72" y="540"/>
                    </a:lnTo>
                    <a:lnTo>
                      <a:pt x="76" y="540"/>
                    </a:lnTo>
                    <a:lnTo>
                      <a:pt x="72" y="540"/>
                    </a:lnTo>
                    <a:lnTo>
                      <a:pt x="72" y="542"/>
                    </a:lnTo>
                    <a:lnTo>
                      <a:pt x="68" y="542"/>
                    </a:lnTo>
                    <a:lnTo>
                      <a:pt x="64" y="542"/>
                    </a:lnTo>
                    <a:lnTo>
                      <a:pt x="64" y="546"/>
                    </a:lnTo>
                    <a:lnTo>
                      <a:pt x="64" y="550"/>
                    </a:lnTo>
                    <a:lnTo>
                      <a:pt x="64" y="554"/>
                    </a:lnTo>
                    <a:lnTo>
                      <a:pt x="60" y="558"/>
                    </a:lnTo>
                    <a:lnTo>
                      <a:pt x="64" y="558"/>
                    </a:lnTo>
                    <a:lnTo>
                      <a:pt x="64" y="562"/>
                    </a:lnTo>
                    <a:lnTo>
                      <a:pt x="64" y="566"/>
                    </a:lnTo>
                    <a:lnTo>
                      <a:pt x="64" y="568"/>
                    </a:lnTo>
                    <a:lnTo>
                      <a:pt x="60" y="568"/>
                    </a:lnTo>
                    <a:lnTo>
                      <a:pt x="56" y="568"/>
                    </a:lnTo>
                    <a:lnTo>
                      <a:pt x="60" y="568"/>
                    </a:lnTo>
                    <a:lnTo>
                      <a:pt x="64" y="568"/>
                    </a:lnTo>
                    <a:lnTo>
                      <a:pt x="64" y="572"/>
                    </a:lnTo>
                    <a:lnTo>
                      <a:pt x="68" y="572"/>
                    </a:lnTo>
                    <a:lnTo>
                      <a:pt x="68" y="576"/>
                    </a:lnTo>
                    <a:lnTo>
                      <a:pt x="68" y="580"/>
                    </a:lnTo>
                    <a:lnTo>
                      <a:pt x="72" y="580"/>
                    </a:lnTo>
                    <a:lnTo>
                      <a:pt x="72" y="584"/>
                    </a:lnTo>
                    <a:lnTo>
                      <a:pt x="72" y="588"/>
                    </a:lnTo>
                    <a:lnTo>
                      <a:pt x="72" y="584"/>
                    </a:lnTo>
                    <a:lnTo>
                      <a:pt x="68" y="584"/>
                    </a:lnTo>
                    <a:lnTo>
                      <a:pt x="64" y="584"/>
                    </a:lnTo>
                    <a:lnTo>
                      <a:pt x="60" y="580"/>
                    </a:lnTo>
                    <a:lnTo>
                      <a:pt x="56" y="580"/>
                    </a:lnTo>
                    <a:lnTo>
                      <a:pt x="54" y="580"/>
                    </a:lnTo>
                    <a:lnTo>
                      <a:pt x="50" y="580"/>
                    </a:lnTo>
                    <a:lnTo>
                      <a:pt x="46" y="580"/>
                    </a:lnTo>
                    <a:lnTo>
                      <a:pt x="42" y="580"/>
                    </a:lnTo>
                    <a:lnTo>
                      <a:pt x="34" y="580"/>
                    </a:lnTo>
                    <a:lnTo>
                      <a:pt x="28" y="580"/>
                    </a:lnTo>
                    <a:lnTo>
                      <a:pt x="24" y="576"/>
                    </a:lnTo>
                    <a:lnTo>
                      <a:pt x="20" y="572"/>
                    </a:lnTo>
                    <a:lnTo>
                      <a:pt x="16" y="568"/>
                    </a:lnTo>
                    <a:lnTo>
                      <a:pt x="20" y="566"/>
                    </a:lnTo>
                    <a:lnTo>
                      <a:pt x="20" y="562"/>
                    </a:lnTo>
                    <a:lnTo>
                      <a:pt x="16" y="562"/>
                    </a:lnTo>
                    <a:lnTo>
                      <a:pt x="16" y="558"/>
                    </a:lnTo>
                    <a:lnTo>
                      <a:pt x="20" y="558"/>
                    </a:lnTo>
                    <a:lnTo>
                      <a:pt x="20" y="554"/>
                    </a:lnTo>
                    <a:lnTo>
                      <a:pt x="16" y="550"/>
                    </a:lnTo>
                    <a:lnTo>
                      <a:pt x="20" y="550"/>
                    </a:lnTo>
                    <a:lnTo>
                      <a:pt x="16" y="550"/>
                    </a:lnTo>
                    <a:lnTo>
                      <a:pt x="12" y="550"/>
                    </a:lnTo>
                    <a:lnTo>
                      <a:pt x="8" y="550"/>
                    </a:lnTo>
                    <a:lnTo>
                      <a:pt x="8" y="554"/>
                    </a:lnTo>
                    <a:lnTo>
                      <a:pt x="4" y="554"/>
                    </a:lnTo>
                    <a:lnTo>
                      <a:pt x="4" y="550"/>
                    </a:lnTo>
                    <a:lnTo>
                      <a:pt x="4" y="546"/>
                    </a:lnTo>
                    <a:lnTo>
                      <a:pt x="4" y="542"/>
                    </a:lnTo>
                    <a:lnTo>
                      <a:pt x="0" y="540"/>
                    </a:lnTo>
                    <a:lnTo>
                      <a:pt x="0" y="536"/>
                    </a:lnTo>
                    <a:lnTo>
                      <a:pt x="0" y="532"/>
                    </a:lnTo>
                    <a:lnTo>
                      <a:pt x="0" y="528"/>
                    </a:lnTo>
                    <a:lnTo>
                      <a:pt x="0" y="524"/>
                    </a:lnTo>
                    <a:lnTo>
                      <a:pt x="0" y="520"/>
                    </a:lnTo>
                    <a:lnTo>
                      <a:pt x="4" y="520"/>
                    </a:lnTo>
                    <a:lnTo>
                      <a:pt x="8" y="520"/>
                    </a:lnTo>
                    <a:lnTo>
                      <a:pt x="4" y="520"/>
                    </a:lnTo>
                    <a:lnTo>
                      <a:pt x="8" y="516"/>
                    </a:lnTo>
                    <a:lnTo>
                      <a:pt x="8" y="512"/>
                    </a:lnTo>
                    <a:lnTo>
                      <a:pt x="12" y="512"/>
                    </a:lnTo>
                    <a:lnTo>
                      <a:pt x="16" y="512"/>
                    </a:lnTo>
                    <a:lnTo>
                      <a:pt x="16" y="510"/>
                    </a:lnTo>
                    <a:lnTo>
                      <a:pt x="16" y="506"/>
                    </a:lnTo>
                    <a:lnTo>
                      <a:pt x="12" y="506"/>
                    </a:lnTo>
                    <a:lnTo>
                      <a:pt x="16" y="506"/>
                    </a:lnTo>
                    <a:lnTo>
                      <a:pt x="16" y="502"/>
                    </a:lnTo>
                    <a:lnTo>
                      <a:pt x="20" y="502"/>
                    </a:lnTo>
                    <a:lnTo>
                      <a:pt x="20" y="498"/>
                    </a:lnTo>
                    <a:lnTo>
                      <a:pt x="16" y="494"/>
                    </a:lnTo>
                    <a:lnTo>
                      <a:pt x="16" y="490"/>
                    </a:lnTo>
                    <a:lnTo>
                      <a:pt x="16" y="488"/>
                    </a:lnTo>
                    <a:lnTo>
                      <a:pt x="20" y="488"/>
                    </a:lnTo>
                    <a:lnTo>
                      <a:pt x="16" y="484"/>
                    </a:lnTo>
                    <a:lnTo>
                      <a:pt x="20" y="484"/>
                    </a:lnTo>
                    <a:lnTo>
                      <a:pt x="24" y="480"/>
                    </a:lnTo>
                    <a:lnTo>
                      <a:pt x="24" y="476"/>
                    </a:lnTo>
                    <a:lnTo>
                      <a:pt x="24" y="472"/>
                    </a:lnTo>
                    <a:lnTo>
                      <a:pt x="28" y="470"/>
                    </a:lnTo>
                    <a:lnTo>
                      <a:pt x="28" y="466"/>
                    </a:lnTo>
                    <a:lnTo>
                      <a:pt x="28" y="462"/>
                    </a:lnTo>
                    <a:lnTo>
                      <a:pt x="28" y="458"/>
                    </a:lnTo>
                    <a:lnTo>
                      <a:pt x="24" y="458"/>
                    </a:lnTo>
                    <a:lnTo>
                      <a:pt x="28" y="458"/>
                    </a:lnTo>
                    <a:lnTo>
                      <a:pt x="28" y="454"/>
                    </a:lnTo>
                    <a:lnTo>
                      <a:pt x="28" y="450"/>
                    </a:lnTo>
                    <a:lnTo>
                      <a:pt x="28" y="446"/>
                    </a:lnTo>
                    <a:lnTo>
                      <a:pt x="30" y="442"/>
                    </a:lnTo>
                    <a:lnTo>
                      <a:pt x="30" y="440"/>
                    </a:lnTo>
                    <a:lnTo>
                      <a:pt x="30" y="436"/>
                    </a:lnTo>
                    <a:lnTo>
                      <a:pt x="28" y="436"/>
                    </a:lnTo>
                    <a:lnTo>
                      <a:pt x="24" y="436"/>
                    </a:lnTo>
                    <a:lnTo>
                      <a:pt x="24" y="432"/>
                    </a:lnTo>
                    <a:lnTo>
                      <a:pt x="20" y="432"/>
                    </a:lnTo>
                    <a:lnTo>
                      <a:pt x="24" y="432"/>
                    </a:lnTo>
                    <a:lnTo>
                      <a:pt x="28" y="432"/>
                    </a:lnTo>
                    <a:lnTo>
                      <a:pt x="30" y="432"/>
                    </a:lnTo>
                    <a:lnTo>
                      <a:pt x="34" y="432"/>
                    </a:lnTo>
                    <a:lnTo>
                      <a:pt x="34" y="428"/>
                    </a:lnTo>
                    <a:lnTo>
                      <a:pt x="34" y="424"/>
                    </a:lnTo>
                    <a:lnTo>
                      <a:pt x="30" y="424"/>
                    </a:lnTo>
                    <a:lnTo>
                      <a:pt x="28" y="424"/>
                    </a:lnTo>
                    <a:lnTo>
                      <a:pt x="24" y="424"/>
                    </a:lnTo>
                    <a:lnTo>
                      <a:pt x="24" y="420"/>
                    </a:lnTo>
                    <a:lnTo>
                      <a:pt x="28" y="420"/>
                    </a:lnTo>
                    <a:lnTo>
                      <a:pt x="24" y="416"/>
                    </a:lnTo>
                    <a:lnTo>
                      <a:pt x="28" y="416"/>
                    </a:lnTo>
                    <a:lnTo>
                      <a:pt x="28" y="414"/>
                    </a:lnTo>
                    <a:lnTo>
                      <a:pt x="28" y="410"/>
                    </a:lnTo>
                    <a:lnTo>
                      <a:pt x="28" y="406"/>
                    </a:lnTo>
                    <a:lnTo>
                      <a:pt x="24" y="406"/>
                    </a:lnTo>
                    <a:lnTo>
                      <a:pt x="24" y="402"/>
                    </a:lnTo>
                    <a:lnTo>
                      <a:pt x="28" y="402"/>
                    </a:lnTo>
                    <a:lnTo>
                      <a:pt x="28" y="398"/>
                    </a:lnTo>
                    <a:lnTo>
                      <a:pt x="24" y="398"/>
                    </a:lnTo>
                    <a:lnTo>
                      <a:pt x="20" y="398"/>
                    </a:lnTo>
                    <a:lnTo>
                      <a:pt x="20" y="394"/>
                    </a:lnTo>
                    <a:lnTo>
                      <a:pt x="20" y="390"/>
                    </a:lnTo>
                    <a:lnTo>
                      <a:pt x="20" y="386"/>
                    </a:lnTo>
                    <a:lnTo>
                      <a:pt x="24" y="384"/>
                    </a:lnTo>
                    <a:lnTo>
                      <a:pt x="20" y="384"/>
                    </a:lnTo>
                    <a:lnTo>
                      <a:pt x="24" y="380"/>
                    </a:lnTo>
                    <a:lnTo>
                      <a:pt x="28" y="380"/>
                    </a:lnTo>
                    <a:lnTo>
                      <a:pt x="28" y="376"/>
                    </a:lnTo>
                    <a:lnTo>
                      <a:pt x="28" y="372"/>
                    </a:lnTo>
                    <a:lnTo>
                      <a:pt x="24" y="372"/>
                    </a:lnTo>
                    <a:lnTo>
                      <a:pt x="24" y="368"/>
                    </a:lnTo>
                    <a:lnTo>
                      <a:pt x="24" y="364"/>
                    </a:lnTo>
                    <a:lnTo>
                      <a:pt x="24" y="360"/>
                    </a:lnTo>
                    <a:lnTo>
                      <a:pt x="24" y="358"/>
                    </a:lnTo>
                    <a:lnTo>
                      <a:pt x="24" y="358"/>
                    </a:lnTo>
                    <a:lnTo>
                      <a:pt x="24" y="358"/>
                    </a:lnTo>
                    <a:close/>
                    <a:moveTo>
                      <a:pt x="164" y="324"/>
                    </a:moveTo>
                    <a:lnTo>
                      <a:pt x="160" y="320"/>
                    </a:lnTo>
                    <a:lnTo>
                      <a:pt x="164" y="320"/>
                    </a:lnTo>
                    <a:lnTo>
                      <a:pt x="164" y="324"/>
                    </a:lnTo>
                    <a:lnTo>
                      <a:pt x="164" y="324"/>
                    </a:lnTo>
                    <a:lnTo>
                      <a:pt x="164" y="324"/>
                    </a:lnTo>
                    <a:close/>
                    <a:moveTo>
                      <a:pt x="72" y="592"/>
                    </a:moveTo>
                    <a:lnTo>
                      <a:pt x="72" y="596"/>
                    </a:lnTo>
                    <a:lnTo>
                      <a:pt x="76" y="598"/>
                    </a:lnTo>
                    <a:lnTo>
                      <a:pt x="76" y="602"/>
                    </a:lnTo>
                    <a:lnTo>
                      <a:pt x="76" y="598"/>
                    </a:lnTo>
                    <a:lnTo>
                      <a:pt x="72" y="598"/>
                    </a:lnTo>
                    <a:lnTo>
                      <a:pt x="72" y="602"/>
                    </a:lnTo>
                    <a:lnTo>
                      <a:pt x="72" y="606"/>
                    </a:lnTo>
                    <a:lnTo>
                      <a:pt x="76" y="606"/>
                    </a:lnTo>
                    <a:lnTo>
                      <a:pt x="80" y="606"/>
                    </a:lnTo>
                    <a:lnTo>
                      <a:pt x="80" y="610"/>
                    </a:lnTo>
                    <a:lnTo>
                      <a:pt x="80" y="614"/>
                    </a:lnTo>
                    <a:lnTo>
                      <a:pt x="82" y="614"/>
                    </a:lnTo>
                    <a:lnTo>
                      <a:pt x="82" y="618"/>
                    </a:lnTo>
                    <a:lnTo>
                      <a:pt x="86" y="618"/>
                    </a:lnTo>
                    <a:lnTo>
                      <a:pt x="86" y="622"/>
                    </a:lnTo>
                    <a:lnTo>
                      <a:pt x="90" y="622"/>
                    </a:lnTo>
                    <a:lnTo>
                      <a:pt x="94" y="626"/>
                    </a:lnTo>
                    <a:lnTo>
                      <a:pt x="98" y="626"/>
                    </a:lnTo>
                    <a:lnTo>
                      <a:pt x="98" y="628"/>
                    </a:lnTo>
                    <a:lnTo>
                      <a:pt x="102" y="632"/>
                    </a:lnTo>
                    <a:lnTo>
                      <a:pt x="106" y="632"/>
                    </a:lnTo>
                    <a:lnTo>
                      <a:pt x="108" y="636"/>
                    </a:lnTo>
                    <a:lnTo>
                      <a:pt x="112" y="636"/>
                    </a:lnTo>
                    <a:lnTo>
                      <a:pt x="116" y="636"/>
                    </a:lnTo>
                    <a:lnTo>
                      <a:pt x="120" y="636"/>
                    </a:lnTo>
                    <a:lnTo>
                      <a:pt x="116" y="640"/>
                    </a:lnTo>
                    <a:lnTo>
                      <a:pt x="112" y="640"/>
                    </a:lnTo>
                    <a:lnTo>
                      <a:pt x="108" y="640"/>
                    </a:lnTo>
                    <a:lnTo>
                      <a:pt x="106" y="644"/>
                    </a:lnTo>
                    <a:lnTo>
                      <a:pt x="102" y="644"/>
                    </a:lnTo>
                    <a:lnTo>
                      <a:pt x="98" y="644"/>
                    </a:lnTo>
                    <a:lnTo>
                      <a:pt x="98" y="640"/>
                    </a:lnTo>
                    <a:lnTo>
                      <a:pt x="94" y="640"/>
                    </a:lnTo>
                    <a:lnTo>
                      <a:pt x="90" y="640"/>
                    </a:lnTo>
                    <a:lnTo>
                      <a:pt x="86" y="640"/>
                    </a:lnTo>
                    <a:lnTo>
                      <a:pt x="82" y="640"/>
                    </a:lnTo>
                    <a:lnTo>
                      <a:pt x="80" y="640"/>
                    </a:lnTo>
                    <a:lnTo>
                      <a:pt x="76" y="640"/>
                    </a:lnTo>
                    <a:lnTo>
                      <a:pt x="72" y="640"/>
                    </a:lnTo>
                    <a:lnTo>
                      <a:pt x="72" y="632"/>
                    </a:lnTo>
                    <a:lnTo>
                      <a:pt x="72" y="628"/>
                    </a:lnTo>
                    <a:lnTo>
                      <a:pt x="72" y="622"/>
                    </a:lnTo>
                    <a:lnTo>
                      <a:pt x="72" y="618"/>
                    </a:lnTo>
                    <a:lnTo>
                      <a:pt x="72" y="610"/>
                    </a:lnTo>
                    <a:lnTo>
                      <a:pt x="72" y="606"/>
                    </a:lnTo>
                    <a:lnTo>
                      <a:pt x="72" y="602"/>
                    </a:lnTo>
                    <a:lnTo>
                      <a:pt x="72" y="596"/>
                    </a:lnTo>
                    <a:lnTo>
                      <a:pt x="72" y="592"/>
                    </a:lnTo>
                    <a:lnTo>
                      <a:pt x="72" y="592"/>
                    </a:lnTo>
                    <a:lnTo>
                      <a:pt x="72" y="592"/>
                    </a:lnTo>
                    <a:close/>
                    <a:moveTo>
                      <a:pt x="126" y="640"/>
                    </a:moveTo>
                    <a:lnTo>
                      <a:pt x="122" y="640"/>
                    </a:lnTo>
                    <a:lnTo>
                      <a:pt x="126" y="636"/>
                    </a:lnTo>
                    <a:lnTo>
                      <a:pt x="126" y="640"/>
                    </a:lnTo>
                    <a:lnTo>
                      <a:pt x="126" y="636"/>
                    </a:lnTo>
                    <a:lnTo>
                      <a:pt x="130" y="636"/>
                    </a:lnTo>
                    <a:lnTo>
                      <a:pt x="134" y="636"/>
                    </a:lnTo>
                    <a:lnTo>
                      <a:pt x="138" y="636"/>
                    </a:lnTo>
                    <a:lnTo>
                      <a:pt x="138" y="640"/>
                    </a:lnTo>
                    <a:lnTo>
                      <a:pt x="134" y="640"/>
                    </a:lnTo>
                    <a:lnTo>
                      <a:pt x="134" y="636"/>
                    </a:lnTo>
                    <a:lnTo>
                      <a:pt x="134" y="640"/>
                    </a:lnTo>
                    <a:lnTo>
                      <a:pt x="130" y="640"/>
                    </a:lnTo>
                    <a:lnTo>
                      <a:pt x="126" y="640"/>
                    </a:lnTo>
                    <a:lnTo>
                      <a:pt x="126" y="640"/>
                    </a:lnTo>
                    <a:lnTo>
                      <a:pt x="126" y="64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0" name="Freeform 179">
                <a:extLst>
                  <a:ext uri="{FF2B5EF4-FFF2-40B4-BE49-F238E27FC236}">
                    <a16:creationId xmlns:a16="http://schemas.microsoft.com/office/drawing/2014/main" id="{A203BA1F-BDE8-46B9-A25C-D5B4EE4FA03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832100" y="4822893"/>
                <a:ext cx="273050" cy="368300"/>
              </a:xfrm>
              <a:custGeom>
                <a:avLst/>
                <a:gdLst>
                  <a:gd name="T0" fmla="*/ 104 w 172"/>
                  <a:gd name="T1" fmla="*/ 198 h 232"/>
                  <a:gd name="T2" fmla="*/ 96 w 172"/>
                  <a:gd name="T3" fmla="*/ 216 h 232"/>
                  <a:gd name="T4" fmla="*/ 90 w 172"/>
                  <a:gd name="T5" fmla="*/ 216 h 232"/>
                  <a:gd name="T6" fmla="*/ 78 w 172"/>
                  <a:gd name="T7" fmla="*/ 220 h 232"/>
                  <a:gd name="T8" fmla="*/ 74 w 172"/>
                  <a:gd name="T9" fmla="*/ 228 h 232"/>
                  <a:gd name="T10" fmla="*/ 70 w 172"/>
                  <a:gd name="T11" fmla="*/ 216 h 232"/>
                  <a:gd name="T12" fmla="*/ 52 w 172"/>
                  <a:gd name="T13" fmla="*/ 216 h 232"/>
                  <a:gd name="T14" fmla="*/ 50 w 172"/>
                  <a:gd name="T15" fmla="*/ 212 h 232"/>
                  <a:gd name="T16" fmla="*/ 42 w 172"/>
                  <a:gd name="T17" fmla="*/ 220 h 232"/>
                  <a:gd name="T18" fmla="*/ 34 w 172"/>
                  <a:gd name="T19" fmla="*/ 228 h 232"/>
                  <a:gd name="T20" fmla="*/ 26 w 172"/>
                  <a:gd name="T21" fmla="*/ 224 h 232"/>
                  <a:gd name="T22" fmla="*/ 24 w 172"/>
                  <a:gd name="T23" fmla="*/ 212 h 232"/>
                  <a:gd name="T24" fmla="*/ 16 w 172"/>
                  <a:gd name="T25" fmla="*/ 194 h 232"/>
                  <a:gd name="T26" fmla="*/ 12 w 172"/>
                  <a:gd name="T27" fmla="*/ 190 h 232"/>
                  <a:gd name="T28" fmla="*/ 16 w 172"/>
                  <a:gd name="T29" fmla="*/ 180 h 232"/>
                  <a:gd name="T30" fmla="*/ 16 w 172"/>
                  <a:gd name="T31" fmla="*/ 168 h 232"/>
                  <a:gd name="T32" fmla="*/ 8 w 172"/>
                  <a:gd name="T33" fmla="*/ 156 h 232"/>
                  <a:gd name="T34" fmla="*/ 4 w 172"/>
                  <a:gd name="T35" fmla="*/ 146 h 232"/>
                  <a:gd name="T36" fmla="*/ 0 w 172"/>
                  <a:gd name="T37" fmla="*/ 134 h 232"/>
                  <a:gd name="T38" fmla="*/ 4 w 172"/>
                  <a:gd name="T39" fmla="*/ 124 h 232"/>
                  <a:gd name="T40" fmla="*/ 12 w 172"/>
                  <a:gd name="T41" fmla="*/ 116 h 232"/>
                  <a:gd name="T42" fmla="*/ 4 w 172"/>
                  <a:gd name="T43" fmla="*/ 100 h 232"/>
                  <a:gd name="T44" fmla="*/ 4 w 172"/>
                  <a:gd name="T45" fmla="*/ 94 h 232"/>
                  <a:gd name="T46" fmla="*/ 8 w 172"/>
                  <a:gd name="T47" fmla="*/ 78 h 232"/>
                  <a:gd name="T48" fmla="*/ 8 w 172"/>
                  <a:gd name="T49" fmla="*/ 72 h 232"/>
                  <a:gd name="T50" fmla="*/ 8 w 172"/>
                  <a:gd name="T51" fmla="*/ 56 h 232"/>
                  <a:gd name="T52" fmla="*/ 12 w 172"/>
                  <a:gd name="T53" fmla="*/ 46 h 232"/>
                  <a:gd name="T54" fmla="*/ 4 w 172"/>
                  <a:gd name="T55" fmla="*/ 34 h 232"/>
                  <a:gd name="T56" fmla="*/ 4 w 172"/>
                  <a:gd name="T57" fmla="*/ 22 h 232"/>
                  <a:gd name="T58" fmla="*/ 16 w 172"/>
                  <a:gd name="T59" fmla="*/ 26 h 232"/>
                  <a:gd name="T60" fmla="*/ 24 w 172"/>
                  <a:gd name="T61" fmla="*/ 18 h 232"/>
                  <a:gd name="T62" fmla="*/ 26 w 172"/>
                  <a:gd name="T63" fmla="*/ 16 h 232"/>
                  <a:gd name="T64" fmla="*/ 38 w 172"/>
                  <a:gd name="T65" fmla="*/ 12 h 232"/>
                  <a:gd name="T66" fmla="*/ 50 w 172"/>
                  <a:gd name="T67" fmla="*/ 0 h 232"/>
                  <a:gd name="T68" fmla="*/ 56 w 172"/>
                  <a:gd name="T69" fmla="*/ 0 h 232"/>
                  <a:gd name="T70" fmla="*/ 60 w 172"/>
                  <a:gd name="T71" fmla="*/ 12 h 232"/>
                  <a:gd name="T72" fmla="*/ 60 w 172"/>
                  <a:gd name="T73" fmla="*/ 26 h 232"/>
                  <a:gd name="T74" fmla="*/ 64 w 172"/>
                  <a:gd name="T75" fmla="*/ 34 h 232"/>
                  <a:gd name="T76" fmla="*/ 70 w 172"/>
                  <a:gd name="T77" fmla="*/ 46 h 232"/>
                  <a:gd name="T78" fmla="*/ 86 w 172"/>
                  <a:gd name="T79" fmla="*/ 48 h 232"/>
                  <a:gd name="T80" fmla="*/ 94 w 172"/>
                  <a:gd name="T81" fmla="*/ 56 h 232"/>
                  <a:gd name="T82" fmla="*/ 104 w 172"/>
                  <a:gd name="T83" fmla="*/ 64 h 232"/>
                  <a:gd name="T84" fmla="*/ 116 w 172"/>
                  <a:gd name="T85" fmla="*/ 68 h 232"/>
                  <a:gd name="T86" fmla="*/ 130 w 172"/>
                  <a:gd name="T87" fmla="*/ 72 h 232"/>
                  <a:gd name="T88" fmla="*/ 130 w 172"/>
                  <a:gd name="T89" fmla="*/ 82 h 232"/>
                  <a:gd name="T90" fmla="*/ 126 w 172"/>
                  <a:gd name="T91" fmla="*/ 94 h 232"/>
                  <a:gd name="T92" fmla="*/ 134 w 172"/>
                  <a:gd name="T93" fmla="*/ 116 h 232"/>
                  <a:gd name="T94" fmla="*/ 160 w 172"/>
                  <a:gd name="T95" fmla="*/ 116 h 232"/>
                  <a:gd name="T96" fmla="*/ 156 w 172"/>
                  <a:gd name="T97" fmla="*/ 128 h 232"/>
                  <a:gd name="T98" fmla="*/ 164 w 172"/>
                  <a:gd name="T99" fmla="*/ 134 h 232"/>
                  <a:gd name="T100" fmla="*/ 172 w 172"/>
                  <a:gd name="T101" fmla="*/ 150 h 232"/>
                  <a:gd name="T102" fmla="*/ 164 w 172"/>
                  <a:gd name="T103" fmla="*/ 164 h 232"/>
                  <a:gd name="T104" fmla="*/ 164 w 172"/>
                  <a:gd name="T105" fmla="*/ 176 h 232"/>
                  <a:gd name="T106" fmla="*/ 160 w 172"/>
                  <a:gd name="T107" fmla="*/ 176 h 232"/>
                  <a:gd name="T108" fmla="*/ 142 w 172"/>
                  <a:gd name="T109" fmla="*/ 168 h 232"/>
                  <a:gd name="T110" fmla="*/ 126 w 172"/>
                  <a:gd name="T111" fmla="*/ 172 h 232"/>
                  <a:gd name="T112" fmla="*/ 112 w 172"/>
                  <a:gd name="T113" fmla="*/ 176 h 232"/>
                  <a:gd name="T114" fmla="*/ 104 w 172"/>
                  <a:gd name="T115" fmla="*/ 186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2" h="232">
                    <a:moveTo>
                      <a:pt x="104" y="186"/>
                    </a:move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0" y="206"/>
                    </a:lnTo>
                    <a:lnTo>
                      <a:pt x="100" y="210"/>
                    </a:lnTo>
                    <a:lnTo>
                      <a:pt x="100" y="212"/>
                    </a:lnTo>
                    <a:lnTo>
                      <a:pt x="96" y="216"/>
                    </a:lnTo>
                    <a:lnTo>
                      <a:pt x="96" y="220"/>
                    </a:lnTo>
                    <a:lnTo>
                      <a:pt x="96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2" y="216"/>
                    </a:lnTo>
                    <a:lnTo>
                      <a:pt x="78" y="216"/>
                    </a:lnTo>
                    <a:lnTo>
                      <a:pt x="78" y="220"/>
                    </a:lnTo>
                    <a:lnTo>
                      <a:pt x="74" y="224"/>
                    </a:lnTo>
                    <a:lnTo>
                      <a:pt x="74" y="228"/>
                    </a:lnTo>
                    <a:lnTo>
                      <a:pt x="74" y="232"/>
                    </a:lnTo>
                    <a:lnTo>
                      <a:pt x="74" y="228"/>
                    </a:lnTo>
                    <a:lnTo>
                      <a:pt x="70" y="228"/>
                    </a:lnTo>
                    <a:lnTo>
                      <a:pt x="70" y="224"/>
                    </a:lnTo>
                    <a:lnTo>
                      <a:pt x="70" y="220"/>
                    </a:lnTo>
                    <a:lnTo>
                      <a:pt x="70" y="216"/>
                    </a:lnTo>
                    <a:lnTo>
                      <a:pt x="66" y="216"/>
                    </a:lnTo>
                    <a:lnTo>
                      <a:pt x="64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52" y="212"/>
                    </a:lnTo>
                    <a:lnTo>
                      <a:pt x="50" y="212"/>
                    </a:lnTo>
                    <a:lnTo>
                      <a:pt x="50" y="210"/>
                    </a:lnTo>
                    <a:lnTo>
                      <a:pt x="50" y="212"/>
                    </a:lnTo>
                    <a:lnTo>
                      <a:pt x="46" y="212"/>
                    </a:lnTo>
                    <a:lnTo>
                      <a:pt x="46" y="216"/>
                    </a:lnTo>
                    <a:lnTo>
                      <a:pt x="42" y="216"/>
                    </a:lnTo>
                    <a:lnTo>
                      <a:pt x="42" y="220"/>
                    </a:lnTo>
                    <a:lnTo>
                      <a:pt x="42" y="224"/>
                    </a:lnTo>
                    <a:lnTo>
                      <a:pt x="38" y="224"/>
                    </a:lnTo>
                    <a:lnTo>
                      <a:pt x="38" y="228"/>
                    </a:lnTo>
                    <a:lnTo>
                      <a:pt x="34" y="228"/>
                    </a:lnTo>
                    <a:lnTo>
                      <a:pt x="30" y="232"/>
                    </a:lnTo>
                    <a:lnTo>
                      <a:pt x="26" y="232"/>
                    </a:lnTo>
                    <a:lnTo>
                      <a:pt x="24" y="228"/>
                    </a:lnTo>
                    <a:lnTo>
                      <a:pt x="26" y="224"/>
                    </a:lnTo>
                    <a:lnTo>
                      <a:pt x="24" y="224"/>
                    </a:lnTo>
                    <a:lnTo>
                      <a:pt x="24" y="220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4" y="210"/>
                    </a:lnTo>
                    <a:lnTo>
                      <a:pt x="20" y="210"/>
                    </a:lnTo>
                    <a:lnTo>
                      <a:pt x="20" y="202"/>
                    </a:lnTo>
                    <a:lnTo>
                      <a:pt x="16" y="194"/>
                    </a:lnTo>
                    <a:lnTo>
                      <a:pt x="16" y="198"/>
                    </a:lnTo>
                    <a:lnTo>
                      <a:pt x="16" y="194"/>
                    </a:lnTo>
                    <a:lnTo>
                      <a:pt x="16" y="190"/>
                    </a:lnTo>
                    <a:lnTo>
                      <a:pt x="12" y="190"/>
                    </a:lnTo>
                    <a:lnTo>
                      <a:pt x="12" y="186"/>
                    </a:lnTo>
                    <a:lnTo>
                      <a:pt x="12" y="184"/>
                    </a:lnTo>
                    <a:lnTo>
                      <a:pt x="12" y="180"/>
                    </a:lnTo>
                    <a:lnTo>
                      <a:pt x="16" y="180"/>
                    </a:lnTo>
                    <a:lnTo>
                      <a:pt x="16" y="176"/>
                    </a:lnTo>
                    <a:lnTo>
                      <a:pt x="12" y="176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54"/>
                    </a:lnTo>
                    <a:lnTo>
                      <a:pt x="8" y="150"/>
                    </a:lnTo>
                    <a:lnTo>
                      <a:pt x="8" y="146"/>
                    </a:lnTo>
                    <a:lnTo>
                      <a:pt x="4" y="146"/>
                    </a:lnTo>
                    <a:lnTo>
                      <a:pt x="4" y="142"/>
                    </a:lnTo>
                    <a:lnTo>
                      <a:pt x="4" y="138"/>
                    </a:lnTo>
                    <a:lnTo>
                      <a:pt x="0" y="138"/>
                    </a:lnTo>
                    <a:lnTo>
                      <a:pt x="0" y="134"/>
                    </a:lnTo>
                    <a:lnTo>
                      <a:pt x="0" y="130"/>
                    </a:lnTo>
                    <a:lnTo>
                      <a:pt x="0" y="128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12" y="116"/>
                    </a:lnTo>
                    <a:lnTo>
                      <a:pt x="8" y="112"/>
                    </a:lnTo>
                    <a:lnTo>
                      <a:pt x="4" y="112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8"/>
                    </a:lnTo>
                    <a:lnTo>
                      <a:pt x="8" y="98"/>
                    </a:lnTo>
                    <a:lnTo>
                      <a:pt x="8" y="94"/>
                    </a:lnTo>
                    <a:lnTo>
                      <a:pt x="4" y="94"/>
                    </a:lnTo>
                    <a:lnTo>
                      <a:pt x="4" y="90"/>
                    </a:lnTo>
                    <a:lnTo>
                      <a:pt x="4" y="86"/>
                    </a:lnTo>
                    <a:lnTo>
                      <a:pt x="8" y="82"/>
                    </a:lnTo>
                    <a:lnTo>
                      <a:pt x="8" y="78"/>
                    </a:lnTo>
                    <a:lnTo>
                      <a:pt x="12" y="78"/>
                    </a:lnTo>
                    <a:lnTo>
                      <a:pt x="12" y="74"/>
                    </a:lnTo>
                    <a:lnTo>
                      <a:pt x="8" y="74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6"/>
                    </a:lnTo>
                    <a:lnTo>
                      <a:pt x="12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2" y="22"/>
                    </a:lnTo>
                    <a:lnTo>
                      <a:pt x="12" y="26"/>
                    </a:lnTo>
                    <a:lnTo>
                      <a:pt x="16" y="26"/>
                    </a:lnTo>
                    <a:lnTo>
                      <a:pt x="16" y="22"/>
                    </a:lnTo>
                    <a:lnTo>
                      <a:pt x="20" y="22"/>
                    </a:lnTo>
                    <a:lnTo>
                      <a:pt x="20" y="18"/>
                    </a:lnTo>
                    <a:lnTo>
                      <a:pt x="24" y="18"/>
                    </a:lnTo>
                    <a:lnTo>
                      <a:pt x="24" y="16"/>
                    </a:lnTo>
                    <a:lnTo>
                      <a:pt x="26" y="16"/>
                    </a:lnTo>
                    <a:lnTo>
                      <a:pt x="26" y="18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8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50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4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0" y="22"/>
                    </a:lnTo>
                    <a:lnTo>
                      <a:pt x="60" y="26"/>
                    </a:lnTo>
                    <a:lnTo>
                      <a:pt x="60" y="30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34"/>
                    </a:lnTo>
                    <a:lnTo>
                      <a:pt x="64" y="38"/>
                    </a:lnTo>
                    <a:lnTo>
                      <a:pt x="64" y="42"/>
                    </a:lnTo>
                    <a:lnTo>
                      <a:pt x="66" y="42"/>
                    </a:lnTo>
                    <a:lnTo>
                      <a:pt x="70" y="46"/>
                    </a:lnTo>
                    <a:lnTo>
                      <a:pt x="74" y="48"/>
                    </a:lnTo>
                    <a:lnTo>
                      <a:pt x="78" y="48"/>
                    </a:lnTo>
                    <a:lnTo>
                      <a:pt x="82" y="48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6"/>
                    </a:lnTo>
                    <a:lnTo>
                      <a:pt x="96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2" y="68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0" y="74"/>
                    </a:lnTo>
                    <a:lnTo>
                      <a:pt x="126" y="78"/>
                    </a:lnTo>
                    <a:lnTo>
                      <a:pt x="130" y="78"/>
                    </a:lnTo>
                    <a:lnTo>
                      <a:pt x="130" y="82"/>
                    </a:lnTo>
                    <a:lnTo>
                      <a:pt x="130" y="86"/>
                    </a:lnTo>
                    <a:lnTo>
                      <a:pt x="130" y="90"/>
                    </a:lnTo>
                    <a:lnTo>
                      <a:pt x="130" y="94"/>
                    </a:lnTo>
                    <a:lnTo>
                      <a:pt x="126" y="94"/>
                    </a:lnTo>
                    <a:lnTo>
                      <a:pt x="130" y="98"/>
                    </a:lnTo>
                    <a:lnTo>
                      <a:pt x="130" y="100"/>
                    </a:lnTo>
                    <a:lnTo>
                      <a:pt x="134" y="108"/>
                    </a:lnTo>
                    <a:lnTo>
                      <a:pt x="134" y="116"/>
                    </a:lnTo>
                    <a:lnTo>
                      <a:pt x="142" y="116"/>
                    </a:lnTo>
                    <a:lnTo>
                      <a:pt x="150" y="116"/>
                    </a:lnTo>
                    <a:lnTo>
                      <a:pt x="156" y="116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8"/>
                    </a:lnTo>
                    <a:lnTo>
                      <a:pt x="156" y="130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64" y="134"/>
                    </a:lnTo>
                    <a:lnTo>
                      <a:pt x="168" y="138"/>
                    </a:lnTo>
                    <a:lnTo>
                      <a:pt x="168" y="142"/>
                    </a:lnTo>
                    <a:lnTo>
                      <a:pt x="168" y="146"/>
                    </a:lnTo>
                    <a:lnTo>
                      <a:pt x="172" y="150"/>
                    </a:lnTo>
                    <a:lnTo>
                      <a:pt x="168" y="154"/>
                    </a:lnTo>
                    <a:lnTo>
                      <a:pt x="168" y="160"/>
                    </a:lnTo>
                    <a:lnTo>
                      <a:pt x="168" y="164"/>
                    </a:lnTo>
                    <a:lnTo>
                      <a:pt x="164" y="164"/>
                    </a:lnTo>
                    <a:lnTo>
                      <a:pt x="164" y="168"/>
                    </a:lnTo>
                    <a:lnTo>
                      <a:pt x="164" y="176"/>
                    </a:lnTo>
                    <a:lnTo>
                      <a:pt x="160" y="176"/>
                    </a:lnTo>
                    <a:lnTo>
                      <a:pt x="164" y="176"/>
                    </a:lnTo>
                    <a:lnTo>
                      <a:pt x="164" y="180"/>
                    </a:lnTo>
                    <a:lnTo>
                      <a:pt x="160" y="184"/>
                    </a:lnTo>
                    <a:lnTo>
                      <a:pt x="160" y="180"/>
                    </a:lnTo>
                    <a:lnTo>
                      <a:pt x="160" y="176"/>
                    </a:lnTo>
                    <a:lnTo>
                      <a:pt x="156" y="172"/>
                    </a:lnTo>
                    <a:lnTo>
                      <a:pt x="152" y="172"/>
                    </a:lnTo>
                    <a:lnTo>
                      <a:pt x="150" y="168"/>
                    </a:lnTo>
                    <a:lnTo>
                      <a:pt x="142" y="168"/>
                    </a:lnTo>
                    <a:lnTo>
                      <a:pt x="134" y="168"/>
                    </a:lnTo>
                    <a:lnTo>
                      <a:pt x="130" y="168"/>
                    </a:lnTo>
                    <a:lnTo>
                      <a:pt x="126" y="168"/>
                    </a:lnTo>
                    <a:lnTo>
                      <a:pt x="126" y="172"/>
                    </a:lnTo>
                    <a:lnTo>
                      <a:pt x="122" y="172"/>
                    </a:lnTo>
                    <a:lnTo>
                      <a:pt x="116" y="172"/>
                    </a:lnTo>
                    <a:lnTo>
                      <a:pt x="112" y="172"/>
                    </a:lnTo>
                    <a:lnTo>
                      <a:pt x="112" y="176"/>
                    </a:lnTo>
                    <a:lnTo>
                      <a:pt x="108" y="180"/>
                    </a:lnTo>
                    <a:lnTo>
                      <a:pt x="104" y="186"/>
                    </a:lnTo>
                    <a:lnTo>
                      <a:pt x="104" y="186"/>
                    </a:lnTo>
                    <a:lnTo>
                      <a:pt x="104" y="18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1" name="Freeform 180">
                <a:extLst>
                  <a:ext uri="{FF2B5EF4-FFF2-40B4-BE49-F238E27FC236}">
                    <a16:creationId xmlns:a16="http://schemas.microsoft.com/office/drawing/2014/main" id="{F5E3995F-2DE4-4416-AB0A-4C4F0F0561E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33675" y="4413318"/>
                <a:ext cx="879475" cy="1089025"/>
              </a:xfrm>
              <a:custGeom>
                <a:avLst/>
                <a:gdLst>
                  <a:gd name="T0" fmla="*/ 424 w 554"/>
                  <a:gd name="T1" fmla="*/ 140 h 686"/>
                  <a:gd name="T2" fmla="*/ 460 w 554"/>
                  <a:gd name="T3" fmla="*/ 142 h 686"/>
                  <a:gd name="T4" fmla="*/ 520 w 554"/>
                  <a:gd name="T5" fmla="*/ 172 h 686"/>
                  <a:gd name="T6" fmla="*/ 554 w 554"/>
                  <a:gd name="T7" fmla="*/ 224 h 686"/>
                  <a:gd name="T8" fmla="*/ 520 w 554"/>
                  <a:gd name="T9" fmla="*/ 280 h 686"/>
                  <a:gd name="T10" fmla="*/ 498 w 554"/>
                  <a:gd name="T11" fmla="*/ 310 h 686"/>
                  <a:gd name="T12" fmla="*/ 494 w 554"/>
                  <a:gd name="T13" fmla="*/ 358 h 686"/>
                  <a:gd name="T14" fmla="*/ 484 w 554"/>
                  <a:gd name="T15" fmla="*/ 418 h 686"/>
                  <a:gd name="T16" fmla="*/ 454 w 554"/>
                  <a:gd name="T17" fmla="*/ 482 h 686"/>
                  <a:gd name="T18" fmla="*/ 420 w 554"/>
                  <a:gd name="T19" fmla="*/ 490 h 686"/>
                  <a:gd name="T20" fmla="*/ 384 w 554"/>
                  <a:gd name="T21" fmla="*/ 512 h 686"/>
                  <a:gd name="T22" fmla="*/ 358 w 554"/>
                  <a:gd name="T23" fmla="*/ 546 h 686"/>
                  <a:gd name="T24" fmla="*/ 350 w 554"/>
                  <a:gd name="T25" fmla="*/ 594 h 686"/>
                  <a:gd name="T26" fmla="*/ 316 w 554"/>
                  <a:gd name="T27" fmla="*/ 650 h 686"/>
                  <a:gd name="T28" fmla="*/ 330 w 554"/>
                  <a:gd name="T29" fmla="*/ 622 h 686"/>
                  <a:gd name="T30" fmla="*/ 312 w 554"/>
                  <a:gd name="T31" fmla="*/ 646 h 686"/>
                  <a:gd name="T32" fmla="*/ 294 w 554"/>
                  <a:gd name="T33" fmla="*/ 664 h 686"/>
                  <a:gd name="T34" fmla="*/ 256 w 554"/>
                  <a:gd name="T35" fmla="*/ 630 h 686"/>
                  <a:gd name="T36" fmla="*/ 248 w 554"/>
                  <a:gd name="T37" fmla="*/ 600 h 686"/>
                  <a:gd name="T38" fmla="*/ 286 w 554"/>
                  <a:gd name="T39" fmla="*/ 564 h 686"/>
                  <a:gd name="T40" fmla="*/ 272 w 554"/>
                  <a:gd name="T41" fmla="*/ 508 h 686"/>
                  <a:gd name="T42" fmla="*/ 230 w 554"/>
                  <a:gd name="T43" fmla="*/ 474 h 686"/>
                  <a:gd name="T44" fmla="*/ 230 w 554"/>
                  <a:gd name="T45" fmla="*/ 404 h 686"/>
                  <a:gd name="T46" fmla="*/ 192 w 554"/>
                  <a:gd name="T47" fmla="*/ 348 h 686"/>
                  <a:gd name="T48" fmla="*/ 148 w 554"/>
                  <a:gd name="T49" fmla="*/ 310 h 686"/>
                  <a:gd name="T50" fmla="*/ 118 w 554"/>
                  <a:gd name="T51" fmla="*/ 258 h 686"/>
                  <a:gd name="T52" fmla="*/ 74 w 554"/>
                  <a:gd name="T53" fmla="*/ 284 h 686"/>
                  <a:gd name="T54" fmla="*/ 30 w 554"/>
                  <a:gd name="T55" fmla="*/ 262 h 686"/>
                  <a:gd name="T56" fmla="*/ 4 w 554"/>
                  <a:gd name="T57" fmla="*/ 216 h 686"/>
                  <a:gd name="T58" fmla="*/ 36 w 554"/>
                  <a:gd name="T59" fmla="*/ 168 h 686"/>
                  <a:gd name="T60" fmla="*/ 66 w 554"/>
                  <a:gd name="T61" fmla="*/ 110 h 686"/>
                  <a:gd name="T62" fmla="*/ 66 w 554"/>
                  <a:gd name="T63" fmla="*/ 64 h 686"/>
                  <a:gd name="T64" fmla="*/ 108 w 554"/>
                  <a:gd name="T65" fmla="*/ 80 h 686"/>
                  <a:gd name="T66" fmla="*/ 152 w 554"/>
                  <a:gd name="T67" fmla="*/ 54 h 686"/>
                  <a:gd name="T68" fmla="*/ 140 w 554"/>
                  <a:gd name="T69" fmla="*/ 28 h 686"/>
                  <a:gd name="T70" fmla="*/ 186 w 554"/>
                  <a:gd name="T71" fmla="*/ 16 h 686"/>
                  <a:gd name="T72" fmla="*/ 196 w 554"/>
                  <a:gd name="T73" fmla="*/ 46 h 686"/>
                  <a:gd name="T74" fmla="*/ 234 w 554"/>
                  <a:gd name="T75" fmla="*/ 60 h 686"/>
                  <a:gd name="T76" fmla="*/ 282 w 554"/>
                  <a:gd name="T77" fmla="*/ 56 h 686"/>
                  <a:gd name="T78" fmla="*/ 320 w 554"/>
                  <a:gd name="T79" fmla="*/ 24 h 686"/>
                  <a:gd name="T80" fmla="*/ 338 w 554"/>
                  <a:gd name="T81" fmla="*/ 72 h 686"/>
                  <a:gd name="T82" fmla="*/ 302 w 554"/>
                  <a:gd name="T83" fmla="*/ 120 h 686"/>
                  <a:gd name="T84" fmla="*/ 316 w 554"/>
                  <a:gd name="T85" fmla="*/ 128 h 686"/>
                  <a:gd name="T86" fmla="*/ 346 w 554"/>
                  <a:gd name="T87" fmla="*/ 120 h 686"/>
                  <a:gd name="T88" fmla="*/ 364 w 554"/>
                  <a:gd name="T89" fmla="*/ 116 h 686"/>
                  <a:gd name="T90" fmla="*/ 390 w 554"/>
                  <a:gd name="T91" fmla="*/ 114 h 686"/>
                  <a:gd name="T92" fmla="*/ 414 w 554"/>
                  <a:gd name="T93" fmla="*/ 124 h 686"/>
                  <a:gd name="T94" fmla="*/ 328 w 554"/>
                  <a:gd name="T95" fmla="*/ 110 h 686"/>
                  <a:gd name="T96" fmla="*/ 360 w 554"/>
                  <a:gd name="T97" fmla="*/ 110 h 686"/>
                  <a:gd name="T98" fmla="*/ 338 w 554"/>
                  <a:gd name="T99" fmla="*/ 76 h 686"/>
                  <a:gd name="T100" fmla="*/ 330 w 554"/>
                  <a:gd name="T101" fmla="*/ 86 h 686"/>
                  <a:gd name="T102" fmla="*/ 330 w 554"/>
                  <a:gd name="T103" fmla="*/ 90 h 686"/>
                  <a:gd name="T104" fmla="*/ 328 w 554"/>
                  <a:gd name="T105" fmla="*/ 90 h 686"/>
                  <a:gd name="T106" fmla="*/ 324 w 554"/>
                  <a:gd name="T107" fmla="*/ 98 h 686"/>
                  <a:gd name="T108" fmla="*/ 324 w 554"/>
                  <a:gd name="T109" fmla="*/ 110 h 686"/>
                  <a:gd name="T110" fmla="*/ 386 w 554"/>
                  <a:gd name="T111" fmla="*/ 110 h 686"/>
                  <a:gd name="T112" fmla="*/ 410 w 554"/>
                  <a:gd name="T113" fmla="*/ 116 h 686"/>
                  <a:gd name="T114" fmla="*/ 354 w 554"/>
                  <a:gd name="T115" fmla="*/ 120 h 686"/>
                  <a:gd name="T116" fmla="*/ 416 w 554"/>
                  <a:gd name="T117" fmla="*/ 142 h 686"/>
                  <a:gd name="T118" fmla="*/ 360 w 554"/>
                  <a:gd name="T119" fmla="*/ 546 h 686"/>
                  <a:gd name="T120" fmla="*/ 324 w 554"/>
                  <a:gd name="T121" fmla="*/ 102 h 6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554" h="686">
                    <a:moveTo>
                      <a:pt x="414" y="124"/>
                    </a:moveTo>
                    <a:lnTo>
                      <a:pt x="416" y="124"/>
                    </a:lnTo>
                    <a:lnTo>
                      <a:pt x="416" y="128"/>
                    </a:lnTo>
                    <a:lnTo>
                      <a:pt x="416" y="132"/>
                    </a:lnTo>
                    <a:lnTo>
                      <a:pt x="416" y="128"/>
                    </a:lnTo>
                    <a:lnTo>
                      <a:pt x="420" y="132"/>
                    </a:lnTo>
                    <a:lnTo>
                      <a:pt x="416" y="136"/>
                    </a:lnTo>
                    <a:lnTo>
                      <a:pt x="416" y="140"/>
                    </a:lnTo>
                    <a:lnTo>
                      <a:pt x="414" y="142"/>
                    </a:lnTo>
                    <a:lnTo>
                      <a:pt x="416" y="142"/>
                    </a:lnTo>
                    <a:lnTo>
                      <a:pt x="414" y="146"/>
                    </a:lnTo>
                    <a:lnTo>
                      <a:pt x="414" y="150"/>
                    </a:lnTo>
                    <a:lnTo>
                      <a:pt x="416" y="146"/>
                    </a:lnTo>
                    <a:lnTo>
                      <a:pt x="416" y="142"/>
                    </a:lnTo>
                    <a:lnTo>
                      <a:pt x="420" y="140"/>
                    </a:lnTo>
                    <a:lnTo>
                      <a:pt x="420" y="136"/>
                    </a:lnTo>
                    <a:lnTo>
                      <a:pt x="424" y="136"/>
                    </a:lnTo>
                    <a:lnTo>
                      <a:pt x="424" y="140"/>
                    </a:lnTo>
                    <a:lnTo>
                      <a:pt x="420" y="140"/>
                    </a:lnTo>
                    <a:lnTo>
                      <a:pt x="420" y="142"/>
                    </a:lnTo>
                    <a:lnTo>
                      <a:pt x="424" y="140"/>
                    </a:lnTo>
                    <a:lnTo>
                      <a:pt x="424" y="136"/>
                    </a:lnTo>
                    <a:lnTo>
                      <a:pt x="428" y="136"/>
                    </a:lnTo>
                    <a:lnTo>
                      <a:pt x="432" y="136"/>
                    </a:lnTo>
                    <a:lnTo>
                      <a:pt x="432" y="132"/>
                    </a:lnTo>
                    <a:lnTo>
                      <a:pt x="436" y="132"/>
                    </a:lnTo>
                    <a:lnTo>
                      <a:pt x="436" y="136"/>
                    </a:lnTo>
                    <a:lnTo>
                      <a:pt x="440" y="136"/>
                    </a:lnTo>
                    <a:lnTo>
                      <a:pt x="444" y="136"/>
                    </a:lnTo>
                    <a:lnTo>
                      <a:pt x="444" y="140"/>
                    </a:lnTo>
                    <a:lnTo>
                      <a:pt x="446" y="140"/>
                    </a:lnTo>
                    <a:lnTo>
                      <a:pt x="450" y="140"/>
                    </a:lnTo>
                    <a:lnTo>
                      <a:pt x="450" y="142"/>
                    </a:lnTo>
                    <a:lnTo>
                      <a:pt x="450" y="140"/>
                    </a:lnTo>
                    <a:lnTo>
                      <a:pt x="454" y="140"/>
                    </a:lnTo>
                    <a:lnTo>
                      <a:pt x="454" y="142"/>
                    </a:lnTo>
                    <a:lnTo>
                      <a:pt x="454" y="140"/>
                    </a:lnTo>
                    <a:lnTo>
                      <a:pt x="458" y="140"/>
                    </a:lnTo>
                    <a:lnTo>
                      <a:pt x="458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0" y="142"/>
                    </a:lnTo>
                    <a:lnTo>
                      <a:pt x="464" y="142"/>
                    </a:lnTo>
                    <a:lnTo>
                      <a:pt x="468" y="142"/>
                    </a:lnTo>
                    <a:lnTo>
                      <a:pt x="472" y="142"/>
                    </a:lnTo>
                    <a:lnTo>
                      <a:pt x="472" y="140"/>
                    </a:lnTo>
                    <a:lnTo>
                      <a:pt x="476" y="140"/>
                    </a:lnTo>
                    <a:lnTo>
                      <a:pt x="480" y="142"/>
                    </a:lnTo>
                    <a:lnTo>
                      <a:pt x="484" y="142"/>
                    </a:lnTo>
                    <a:lnTo>
                      <a:pt x="486" y="146"/>
                    </a:lnTo>
                    <a:lnTo>
                      <a:pt x="490" y="146"/>
                    </a:lnTo>
                    <a:lnTo>
                      <a:pt x="490" y="150"/>
                    </a:lnTo>
                    <a:lnTo>
                      <a:pt x="494" y="150"/>
                    </a:lnTo>
                    <a:lnTo>
                      <a:pt x="498" y="154"/>
                    </a:lnTo>
                    <a:lnTo>
                      <a:pt x="502" y="156"/>
                    </a:lnTo>
                    <a:lnTo>
                      <a:pt x="506" y="156"/>
                    </a:lnTo>
                    <a:lnTo>
                      <a:pt x="506" y="160"/>
                    </a:lnTo>
                    <a:lnTo>
                      <a:pt x="506" y="164"/>
                    </a:lnTo>
                    <a:lnTo>
                      <a:pt x="510" y="164"/>
                    </a:lnTo>
                    <a:lnTo>
                      <a:pt x="514" y="168"/>
                    </a:lnTo>
                    <a:lnTo>
                      <a:pt x="514" y="172"/>
                    </a:lnTo>
                    <a:lnTo>
                      <a:pt x="516" y="172"/>
                    </a:lnTo>
                    <a:lnTo>
                      <a:pt x="520" y="172"/>
                    </a:lnTo>
                    <a:lnTo>
                      <a:pt x="520" y="176"/>
                    </a:lnTo>
                    <a:lnTo>
                      <a:pt x="524" y="176"/>
                    </a:lnTo>
                    <a:lnTo>
                      <a:pt x="524" y="180"/>
                    </a:lnTo>
                    <a:lnTo>
                      <a:pt x="528" y="180"/>
                    </a:lnTo>
                    <a:lnTo>
                      <a:pt x="532" y="180"/>
                    </a:lnTo>
                    <a:lnTo>
                      <a:pt x="536" y="180"/>
                    </a:lnTo>
                    <a:lnTo>
                      <a:pt x="540" y="180"/>
                    </a:lnTo>
                    <a:lnTo>
                      <a:pt x="542" y="180"/>
                    </a:lnTo>
                    <a:lnTo>
                      <a:pt x="546" y="180"/>
                    </a:lnTo>
                    <a:lnTo>
                      <a:pt x="546" y="184"/>
                    </a:lnTo>
                    <a:lnTo>
                      <a:pt x="546" y="186"/>
                    </a:lnTo>
                    <a:lnTo>
                      <a:pt x="546" y="190"/>
                    </a:lnTo>
                    <a:lnTo>
                      <a:pt x="550" y="194"/>
                    </a:lnTo>
                    <a:lnTo>
                      <a:pt x="550" y="198"/>
                    </a:lnTo>
                    <a:lnTo>
                      <a:pt x="550" y="202"/>
                    </a:lnTo>
                    <a:lnTo>
                      <a:pt x="550" y="206"/>
                    </a:lnTo>
                    <a:lnTo>
                      <a:pt x="554" y="210"/>
                    </a:lnTo>
                    <a:lnTo>
                      <a:pt x="554" y="212"/>
                    </a:lnTo>
                    <a:lnTo>
                      <a:pt x="554" y="216"/>
                    </a:lnTo>
                    <a:lnTo>
                      <a:pt x="554" y="220"/>
                    </a:lnTo>
                    <a:lnTo>
                      <a:pt x="554" y="224"/>
                    </a:lnTo>
                    <a:lnTo>
                      <a:pt x="554" y="228"/>
                    </a:lnTo>
                    <a:lnTo>
                      <a:pt x="554" y="232"/>
                    </a:lnTo>
                    <a:lnTo>
                      <a:pt x="550" y="236"/>
                    </a:lnTo>
                    <a:lnTo>
                      <a:pt x="550" y="240"/>
                    </a:lnTo>
                    <a:lnTo>
                      <a:pt x="550" y="242"/>
                    </a:lnTo>
                    <a:lnTo>
                      <a:pt x="550" y="246"/>
                    </a:lnTo>
                    <a:lnTo>
                      <a:pt x="546" y="246"/>
                    </a:lnTo>
                    <a:lnTo>
                      <a:pt x="546" y="250"/>
                    </a:lnTo>
                    <a:lnTo>
                      <a:pt x="542" y="254"/>
                    </a:lnTo>
                    <a:lnTo>
                      <a:pt x="542" y="258"/>
                    </a:lnTo>
                    <a:lnTo>
                      <a:pt x="540" y="258"/>
                    </a:lnTo>
                    <a:lnTo>
                      <a:pt x="540" y="262"/>
                    </a:lnTo>
                    <a:lnTo>
                      <a:pt x="536" y="266"/>
                    </a:lnTo>
                    <a:lnTo>
                      <a:pt x="532" y="268"/>
                    </a:lnTo>
                    <a:lnTo>
                      <a:pt x="532" y="272"/>
                    </a:lnTo>
                    <a:lnTo>
                      <a:pt x="528" y="272"/>
                    </a:lnTo>
                    <a:lnTo>
                      <a:pt x="524" y="276"/>
                    </a:lnTo>
                    <a:lnTo>
                      <a:pt x="524" y="280"/>
                    </a:lnTo>
                    <a:lnTo>
                      <a:pt x="520" y="280"/>
                    </a:lnTo>
                    <a:lnTo>
                      <a:pt x="520" y="276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20" y="280"/>
                    </a:lnTo>
                    <a:lnTo>
                      <a:pt x="520" y="284"/>
                    </a:lnTo>
                    <a:lnTo>
                      <a:pt x="516" y="288"/>
                    </a:lnTo>
                    <a:lnTo>
                      <a:pt x="516" y="284"/>
                    </a:lnTo>
                    <a:lnTo>
                      <a:pt x="516" y="288"/>
                    </a:lnTo>
                    <a:lnTo>
                      <a:pt x="516" y="292"/>
                    </a:lnTo>
                    <a:lnTo>
                      <a:pt x="514" y="296"/>
                    </a:lnTo>
                    <a:lnTo>
                      <a:pt x="514" y="298"/>
                    </a:lnTo>
                    <a:lnTo>
                      <a:pt x="514" y="302"/>
                    </a:lnTo>
                    <a:lnTo>
                      <a:pt x="510" y="302"/>
                    </a:lnTo>
                    <a:lnTo>
                      <a:pt x="510" y="306"/>
                    </a:lnTo>
                    <a:lnTo>
                      <a:pt x="510" y="310"/>
                    </a:lnTo>
                    <a:lnTo>
                      <a:pt x="506" y="314"/>
                    </a:lnTo>
                    <a:lnTo>
                      <a:pt x="502" y="314"/>
                    </a:lnTo>
                    <a:lnTo>
                      <a:pt x="502" y="310"/>
                    </a:lnTo>
                    <a:lnTo>
                      <a:pt x="498" y="310"/>
                    </a:lnTo>
                    <a:lnTo>
                      <a:pt x="498" y="306"/>
                    </a:lnTo>
                    <a:lnTo>
                      <a:pt x="498" y="310"/>
                    </a:lnTo>
                    <a:lnTo>
                      <a:pt x="498" y="314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0"/>
                    </a:lnTo>
                    <a:lnTo>
                      <a:pt x="494" y="310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4" y="318"/>
                    </a:ln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32"/>
                    </a:lnTo>
                    <a:lnTo>
                      <a:pt x="494" y="328"/>
                    </a:lnTo>
                    <a:lnTo>
                      <a:pt x="494" y="332"/>
                    </a:lnTo>
                    <a:lnTo>
                      <a:pt x="494" y="336"/>
                    </a:lnTo>
                    <a:lnTo>
                      <a:pt x="494" y="340"/>
                    </a:lnTo>
                    <a:lnTo>
                      <a:pt x="494" y="344"/>
                    </a:lnTo>
                    <a:lnTo>
                      <a:pt x="494" y="348"/>
                    </a:lnTo>
                    <a:lnTo>
                      <a:pt x="494" y="352"/>
                    </a:lnTo>
                    <a:lnTo>
                      <a:pt x="494" y="354"/>
                    </a:lnTo>
                    <a:lnTo>
                      <a:pt x="494" y="358"/>
                    </a:lnTo>
                    <a:lnTo>
                      <a:pt x="494" y="362"/>
                    </a:lnTo>
                    <a:lnTo>
                      <a:pt x="494" y="366"/>
                    </a:lnTo>
                    <a:lnTo>
                      <a:pt x="494" y="370"/>
                    </a:lnTo>
                    <a:lnTo>
                      <a:pt x="494" y="374"/>
                    </a:lnTo>
                    <a:lnTo>
                      <a:pt x="494" y="378"/>
                    </a:lnTo>
                    <a:lnTo>
                      <a:pt x="494" y="382"/>
                    </a:lnTo>
                    <a:lnTo>
                      <a:pt x="490" y="382"/>
                    </a:lnTo>
                    <a:lnTo>
                      <a:pt x="494" y="382"/>
                    </a:lnTo>
                    <a:lnTo>
                      <a:pt x="490" y="384"/>
                    </a:lnTo>
                    <a:lnTo>
                      <a:pt x="490" y="388"/>
                    </a:lnTo>
                    <a:lnTo>
                      <a:pt x="490" y="392"/>
                    </a:lnTo>
                    <a:lnTo>
                      <a:pt x="490" y="396"/>
                    </a:lnTo>
                    <a:lnTo>
                      <a:pt x="494" y="396"/>
                    </a:lnTo>
                    <a:lnTo>
                      <a:pt x="490" y="400"/>
                    </a:lnTo>
                    <a:lnTo>
                      <a:pt x="486" y="400"/>
                    </a:lnTo>
                    <a:lnTo>
                      <a:pt x="486" y="404"/>
                    </a:lnTo>
                    <a:lnTo>
                      <a:pt x="486" y="408"/>
                    </a:lnTo>
                    <a:lnTo>
                      <a:pt x="484" y="408"/>
                    </a:lnTo>
                    <a:lnTo>
                      <a:pt x="484" y="410"/>
                    </a:lnTo>
                    <a:lnTo>
                      <a:pt x="484" y="414"/>
                    </a:lnTo>
                    <a:lnTo>
                      <a:pt x="484" y="418"/>
                    </a:lnTo>
                    <a:lnTo>
                      <a:pt x="484" y="422"/>
                    </a:lnTo>
                    <a:lnTo>
                      <a:pt x="484" y="426"/>
                    </a:lnTo>
                    <a:lnTo>
                      <a:pt x="484" y="430"/>
                    </a:lnTo>
                    <a:lnTo>
                      <a:pt x="484" y="434"/>
                    </a:lnTo>
                    <a:lnTo>
                      <a:pt x="480" y="434"/>
                    </a:lnTo>
                    <a:lnTo>
                      <a:pt x="480" y="438"/>
                    </a:lnTo>
                    <a:lnTo>
                      <a:pt x="480" y="440"/>
                    </a:lnTo>
                    <a:lnTo>
                      <a:pt x="476" y="440"/>
                    </a:lnTo>
                    <a:lnTo>
                      <a:pt x="476" y="444"/>
                    </a:lnTo>
                    <a:lnTo>
                      <a:pt x="476" y="448"/>
                    </a:lnTo>
                    <a:lnTo>
                      <a:pt x="472" y="452"/>
                    </a:lnTo>
                    <a:lnTo>
                      <a:pt x="468" y="452"/>
                    </a:lnTo>
                    <a:lnTo>
                      <a:pt x="468" y="456"/>
                    </a:lnTo>
                    <a:lnTo>
                      <a:pt x="468" y="460"/>
                    </a:lnTo>
                    <a:lnTo>
                      <a:pt x="464" y="464"/>
                    </a:lnTo>
                    <a:lnTo>
                      <a:pt x="464" y="466"/>
                    </a:lnTo>
                    <a:lnTo>
                      <a:pt x="468" y="470"/>
                    </a:lnTo>
                    <a:lnTo>
                      <a:pt x="464" y="474"/>
                    </a:lnTo>
                    <a:lnTo>
                      <a:pt x="460" y="474"/>
                    </a:lnTo>
                    <a:lnTo>
                      <a:pt x="458" y="478"/>
                    </a:lnTo>
                    <a:lnTo>
                      <a:pt x="454" y="482"/>
                    </a:lnTo>
                    <a:lnTo>
                      <a:pt x="454" y="486"/>
                    </a:lnTo>
                    <a:lnTo>
                      <a:pt x="450" y="490"/>
                    </a:lnTo>
                    <a:lnTo>
                      <a:pt x="446" y="490"/>
                    </a:lnTo>
                    <a:lnTo>
                      <a:pt x="444" y="490"/>
                    </a:lnTo>
                    <a:lnTo>
                      <a:pt x="440" y="490"/>
                    </a:lnTo>
                    <a:lnTo>
                      <a:pt x="436" y="490"/>
                    </a:lnTo>
                    <a:lnTo>
                      <a:pt x="436" y="486"/>
                    </a:lnTo>
                    <a:lnTo>
                      <a:pt x="440" y="486"/>
                    </a:lnTo>
                    <a:lnTo>
                      <a:pt x="436" y="486"/>
                    </a:lnTo>
                    <a:lnTo>
                      <a:pt x="436" y="490"/>
                    </a:lnTo>
                    <a:lnTo>
                      <a:pt x="432" y="490"/>
                    </a:lnTo>
                    <a:lnTo>
                      <a:pt x="428" y="494"/>
                    </a:lnTo>
                    <a:lnTo>
                      <a:pt x="424" y="494"/>
                    </a:lnTo>
                    <a:lnTo>
                      <a:pt x="424" y="490"/>
                    </a:lnTo>
                    <a:lnTo>
                      <a:pt x="424" y="494"/>
                    </a:lnTo>
                    <a:lnTo>
                      <a:pt x="428" y="494"/>
                    </a:lnTo>
                    <a:lnTo>
                      <a:pt x="432" y="490"/>
                    </a:lnTo>
                    <a:lnTo>
                      <a:pt x="428" y="490"/>
                    </a:lnTo>
                    <a:lnTo>
                      <a:pt x="424" y="490"/>
                    </a:lnTo>
                    <a:lnTo>
                      <a:pt x="420" y="494"/>
                    </a:lnTo>
                    <a:lnTo>
                      <a:pt x="420" y="490"/>
                    </a:lnTo>
                    <a:lnTo>
                      <a:pt x="416" y="490"/>
                    </a:lnTo>
                    <a:lnTo>
                      <a:pt x="416" y="494"/>
                    </a:lnTo>
                    <a:lnTo>
                      <a:pt x="414" y="494"/>
                    </a:lnTo>
                    <a:lnTo>
                      <a:pt x="416" y="494"/>
                    </a:lnTo>
                    <a:lnTo>
                      <a:pt x="416" y="496"/>
                    </a:lnTo>
                    <a:lnTo>
                      <a:pt x="414" y="496"/>
                    </a:lnTo>
                    <a:lnTo>
                      <a:pt x="410" y="496"/>
                    </a:lnTo>
                    <a:lnTo>
                      <a:pt x="410" y="500"/>
                    </a:lnTo>
                    <a:lnTo>
                      <a:pt x="406" y="500"/>
                    </a:lnTo>
                    <a:lnTo>
                      <a:pt x="406" y="504"/>
                    </a:lnTo>
                    <a:lnTo>
                      <a:pt x="402" y="504"/>
                    </a:lnTo>
                    <a:lnTo>
                      <a:pt x="398" y="504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4" y="504"/>
                    </a:lnTo>
                    <a:lnTo>
                      <a:pt x="394" y="508"/>
                    </a:lnTo>
                    <a:lnTo>
                      <a:pt x="390" y="508"/>
                    </a:lnTo>
                    <a:lnTo>
                      <a:pt x="390" y="504"/>
                    </a:lnTo>
                    <a:lnTo>
                      <a:pt x="390" y="508"/>
                    </a:lnTo>
                    <a:lnTo>
                      <a:pt x="386" y="512"/>
                    </a:lnTo>
                    <a:lnTo>
                      <a:pt x="384" y="512"/>
                    </a:lnTo>
                    <a:lnTo>
                      <a:pt x="384" y="516"/>
                    </a:lnTo>
                    <a:lnTo>
                      <a:pt x="380" y="520"/>
                    </a:lnTo>
                    <a:lnTo>
                      <a:pt x="376" y="520"/>
                    </a:lnTo>
                    <a:lnTo>
                      <a:pt x="372" y="522"/>
                    </a:lnTo>
                    <a:lnTo>
                      <a:pt x="368" y="522"/>
                    </a:lnTo>
                    <a:lnTo>
                      <a:pt x="368" y="526"/>
                    </a:lnTo>
                    <a:lnTo>
                      <a:pt x="368" y="530"/>
                    </a:lnTo>
                    <a:lnTo>
                      <a:pt x="364" y="534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60" y="534"/>
                    </a:lnTo>
                    <a:lnTo>
                      <a:pt x="358" y="534"/>
                    </a:lnTo>
                    <a:lnTo>
                      <a:pt x="360" y="534"/>
                    </a:lnTo>
                    <a:lnTo>
                      <a:pt x="360" y="538"/>
                    </a:lnTo>
                    <a:lnTo>
                      <a:pt x="360" y="542"/>
                    </a:lnTo>
                    <a:lnTo>
                      <a:pt x="358" y="542"/>
                    </a:lnTo>
                    <a:lnTo>
                      <a:pt x="360" y="542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58" y="550"/>
                    </a:lnTo>
                    <a:lnTo>
                      <a:pt x="358" y="546"/>
                    </a:lnTo>
                    <a:lnTo>
                      <a:pt x="358" y="550"/>
                    </a:lnTo>
                    <a:lnTo>
                      <a:pt x="358" y="552"/>
                    </a:lnTo>
                    <a:lnTo>
                      <a:pt x="360" y="552"/>
                    </a:lnTo>
                    <a:lnTo>
                      <a:pt x="358" y="552"/>
                    </a:lnTo>
                    <a:lnTo>
                      <a:pt x="358" y="556"/>
                    </a:lnTo>
                    <a:lnTo>
                      <a:pt x="358" y="560"/>
                    </a:lnTo>
                    <a:lnTo>
                      <a:pt x="360" y="564"/>
                    </a:lnTo>
                    <a:lnTo>
                      <a:pt x="360" y="566"/>
                    </a:lnTo>
                    <a:lnTo>
                      <a:pt x="360" y="564"/>
                    </a:lnTo>
                    <a:lnTo>
                      <a:pt x="358" y="566"/>
                    </a:lnTo>
                    <a:lnTo>
                      <a:pt x="358" y="570"/>
                    </a:lnTo>
                    <a:lnTo>
                      <a:pt x="360" y="570"/>
                    </a:lnTo>
                    <a:lnTo>
                      <a:pt x="358" y="574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58" y="582"/>
                    </a:lnTo>
                    <a:lnTo>
                      <a:pt x="358" y="590"/>
                    </a:lnTo>
                    <a:lnTo>
                      <a:pt x="358" y="586"/>
                    </a:lnTo>
                    <a:lnTo>
                      <a:pt x="358" y="590"/>
                    </a:lnTo>
                    <a:lnTo>
                      <a:pt x="354" y="594"/>
                    </a:lnTo>
                    <a:lnTo>
                      <a:pt x="350" y="594"/>
                    </a:lnTo>
                    <a:lnTo>
                      <a:pt x="350" y="596"/>
                    </a:lnTo>
                    <a:lnTo>
                      <a:pt x="346" y="596"/>
                    </a:lnTo>
                    <a:lnTo>
                      <a:pt x="346" y="600"/>
                    </a:lnTo>
                    <a:lnTo>
                      <a:pt x="346" y="604"/>
                    </a:lnTo>
                    <a:lnTo>
                      <a:pt x="342" y="604"/>
                    </a:lnTo>
                    <a:lnTo>
                      <a:pt x="342" y="608"/>
                    </a:lnTo>
                    <a:lnTo>
                      <a:pt x="338" y="608"/>
                    </a:lnTo>
                    <a:lnTo>
                      <a:pt x="338" y="612"/>
                    </a:lnTo>
                    <a:lnTo>
                      <a:pt x="338" y="616"/>
                    </a:lnTo>
                    <a:lnTo>
                      <a:pt x="338" y="620"/>
                    </a:lnTo>
                    <a:lnTo>
                      <a:pt x="334" y="620"/>
                    </a:lnTo>
                    <a:lnTo>
                      <a:pt x="334" y="622"/>
                    </a:lnTo>
                    <a:lnTo>
                      <a:pt x="334" y="626"/>
                    </a:lnTo>
                    <a:lnTo>
                      <a:pt x="330" y="630"/>
                    </a:lnTo>
                    <a:lnTo>
                      <a:pt x="330" y="634"/>
                    </a:lnTo>
                    <a:lnTo>
                      <a:pt x="328" y="634"/>
                    </a:lnTo>
                    <a:lnTo>
                      <a:pt x="328" y="638"/>
                    </a:lnTo>
                    <a:lnTo>
                      <a:pt x="324" y="642"/>
                    </a:lnTo>
                    <a:lnTo>
                      <a:pt x="324" y="646"/>
                    </a:lnTo>
                    <a:lnTo>
                      <a:pt x="320" y="650"/>
                    </a:lnTo>
                    <a:lnTo>
                      <a:pt x="316" y="650"/>
                    </a:lnTo>
                    <a:lnTo>
                      <a:pt x="312" y="652"/>
                    </a:lnTo>
                    <a:lnTo>
                      <a:pt x="308" y="656"/>
                    </a:lnTo>
                    <a:lnTo>
                      <a:pt x="308" y="652"/>
                    </a:lnTo>
                    <a:lnTo>
                      <a:pt x="312" y="652"/>
                    </a:lnTo>
                    <a:lnTo>
                      <a:pt x="308" y="652"/>
                    </a:lnTo>
                    <a:lnTo>
                      <a:pt x="308" y="650"/>
                    </a:lnTo>
                    <a:lnTo>
                      <a:pt x="312" y="650"/>
                    </a:lnTo>
                    <a:lnTo>
                      <a:pt x="316" y="650"/>
                    </a:lnTo>
                    <a:lnTo>
                      <a:pt x="316" y="646"/>
                    </a:lnTo>
                    <a:lnTo>
                      <a:pt x="320" y="646"/>
                    </a:lnTo>
                    <a:lnTo>
                      <a:pt x="320" y="642"/>
                    </a:lnTo>
                    <a:lnTo>
                      <a:pt x="324" y="642"/>
                    </a:lnTo>
                    <a:lnTo>
                      <a:pt x="324" y="638"/>
                    </a:lnTo>
                    <a:lnTo>
                      <a:pt x="324" y="634"/>
                    </a:lnTo>
                    <a:lnTo>
                      <a:pt x="324" y="638"/>
                    </a:lnTo>
                    <a:lnTo>
                      <a:pt x="328" y="638"/>
                    </a:lnTo>
                    <a:lnTo>
                      <a:pt x="328" y="634"/>
                    </a:lnTo>
                    <a:lnTo>
                      <a:pt x="328" y="630"/>
                    </a:lnTo>
                    <a:lnTo>
                      <a:pt x="330" y="630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6"/>
                    </a:lnTo>
                    <a:lnTo>
                      <a:pt x="330" y="622"/>
                    </a:lnTo>
                    <a:lnTo>
                      <a:pt x="330" y="620"/>
                    </a:lnTo>
                    <a:lnTo>
                      <a:pt x="330" y="622"/>
                    </a:lnTo>
                    <a:lnTo>
                      <a:pt x="328" y="622"/>
                    </a:lnTo>
                    <a:lnTo>
                      <a:pt x="324" y="622"/>
                    </a:lnTo>
                    <a:lnTo>
                      <a:pt x="324" y="620"/>
                    </a:lnTo>
                    <a:lnTo>
                      <a:pt x="324" y="616"/>
                    </a:lnTo>
                    <a:lnTo>
                      <a:pt x="320" y="616"/>
                    </a:lnTo>
                    <a:lnTo>
                      <a:pt x="320" y="620"/>
                    </a:lnTo>
                    <a:lnTo>
                      <a:pt x="320" y="622"/>
                    </a:lnTo>
                    <a:lnTo>
                      <a:pt x="324" y="622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26"/>
                    </a:lnTo>
                    <a:lnTo>
                      <a:pt x="320" y="630"/>
                    </a:lnTo>
                    <a:lnTo>
                      <a:pt x="320" y="634"/>
                    </a:lnTo>
                    <a:lnTo>
                      <a:pt x="320" y="638"/>
                    </a:lnTo>
                    <a:lnTo>
                      <a:pt x="316" y="638"/>
                    </a:lnTo>
                    <a:lnTo>
                      <a:pt x="312" y="642"/>
                    </a:lnTo>
                    <a:lnTo>
                      <a:pt x="312" y="646"/>
                    </a:lnTo>
                    <a:lnTo>
                      <a:pt x="308" y="646"/>
                    </a:lnTo>
                    <a:lnTo>
                      <a:pt x="308" y="650"/>
                    </a:lnTo>
                    <a:lnTo>
                      <a:pt x="308" y="652"/>
                    </a:lnTo>
                    <a:lnTo>
                      <a:pt x="308" y="656"/>
                    </a:lnTo>
                    <a:lnTo>
                      <a:pt x="308" y="660"/>
                    </a:lnTo>
                    <a:lnTo>
                      <a:pt x="304" y="664"/>
                    </a:lnTo>
                    <a:lnTo>
                      <a:pt x="304" y="668"/>
                    </a:lnTo>
                    <a:lnTo>
                      <a:pt x="304" y="672"/>
                    </a:lnTo>
                    <a:lnTo>
                      <a:pt x="302" y="676"/>
                    </a:lnTo>
                    <a:lnTo>
                      <a:pt x="298" y="678"/>
                    </a:lnTo>
                    <a:lnTo>
                      <a:pt x="294" y="682"/>
                    </a:lnTo>
                    <a:lnTo>
                      <a:pt x="294" y="686"/>
                    </a:lnTo>
                    <a:lnTo>
                      <a:pt x="290" y="686"/>
                    </a:lnTo>
                    <a:lnTo>
                      <a:pt x="290" y="682"/>
                    </a:lnTo>
                    <a:lnTo>
                      <a:pt x="290" y="678"/>
                    </a:lnTo>
                    <a:lnTo>
                      <a:pt x="290" y="676"/>
                    </a:lnTo>
                    <a:lnTo>
                      <a:pt x="290" y="672"/>
                    </a:lnTo>
                    <a:lnTo>
                      <a:pt x="294" y="672"/>
                    </a:lnTo>
                    <a:lnTo>
                      <a:pt x="294" y="668"/>
                    </a:lnTo>
                    <a:lnTo>
                      <a:pt x="298" y="668"/>
                    </a:lnTo>
                    <a:lnTo>
                      <a:pt x="294" y="664"/>
                    </a:lnTo>
                    <a:lnTo>
                      <a:pt x="290" y="664"/>
                    </a:lnTo>
                    <a:lnTo>
                      <a:pt x="290" y="660"/>
                    </a:lnTo>
                    <a:lnTo>
                      <a:pt x="286" y="660"/>
                    </a:lnTo>
                    <a:lnTo>
                      <a:pt x="286" y="656"/>
                    </a:lnTo>
                    <a:lnTo>
                      <a:pt x="286" y="652"/>
                    </a:lnTo>
                    <a:lnTo>
                      <a:pt x="282" y="652"/>
                    </a:lnTo>
                    <a:lnTo>
                      <a:pt x="282" y="650"/>
                    </a:lnTo>
                    <a:lnTo>
                      <a:pt x="278" y="650"/>
                    </a:lnTo>
                    <a:lnTo>
                      <a:pt x="274" y="646"/>
                    </a:lnTo>
                    <a:lnTo>
                      <a:pt x="274" y="642"/>
                    </a:lnTo>
                    <a:lnTo>
                      <a:pt x="272" y="642"/>
                    </a:lnTo>
                    <a:lnTo>
                      <a:pt x="268" y="642"/>
                    </a:lnTo>
                    <a:lnTo>
                      <a:pt x="264" y="638"/>
                    </a:lnTo>
                    <a:lnTo>
                      <a:pt x="264" y="634"/>
                    </a:lnTo>
                    <a:lnTo>
                      <a:pt x="260" y="634"/>
                    </a:lnTo>
                    <a:lnTo>
                      <a:pt x="260" y="630"/>
                    </a:lnTo>
                    <a:lnTo>
                      <a:pt x="260" y="634"/>
                    </a:lnTo>
                    <a:lnTo>
                      <a:pt x="256" y="634"/>
                    </a:lnTo>
                    <a:lnTo>
                      <a:pt x="252" y="634"/>
                    </a:lnTo>
                    <a:lnTo>
                      <a:pt x="256" y="634"/>
                    </a:lnTo>
                    <a:lnTo>
                      <a:pt x="256" y="630"/>
                    </a:lnTo>
                    <a:lnTo>
                      <a:pt x="252" y="630"/>
                    </a:lnTo>
                    <a:lnTo>
                      <a:pt x="252" y="626"/>
                    </a:lnTo>
                    <a:lnTo>
                      <a:pt x="248" y="626"/>
                    </a:lnTo>
                    <a:lnTo>
                      <a:pt x="248" y="622"/>
                    </a:lnTo>
                    <a:lnTo>
                      <a:pt x="244" y="622"/>
                    </a:lnTo>
                    <a:lnTo>
                      <a:pt x="244" y="620"/>
                    </a:lnTo>
                    <a:lnTo>
                      <a:pt x="242" y="620"/>
                    </a:lnTo>
                    <a:lnTo>
                      <a:pt x="238" y="620"/>
                    </a:lnTo>
                    <a:lnTo>
                      <a:pt x="238" y="622"/>
                    </a:lnTo>
                    <a:lnTo>
                      <a:pt x="234" y="620"/>
                    </a:lnTo>
                    <a:lnTo>
                      <a:pt x="234" y="622"/>
                    </a:lnTo>
                    <a:lnTo>
                      <a:pt x="234" y="620"/>
                    </a:lnTo>
                    <a:lnTo>
                      <a:pt x="230" y="620"/>
                    </a:lnTo>
                    <a:lnTo>
                      <a:pt x="234" y="620"/>
                    </a:lnTo>
                    <a:lnTo>
                      <a:pt x="234" y="616"/>
                    </a:lnTo>
                    <a:lnTo>
                      <a:pt x="238" y="612"/>
                    </a:lnTo>
                    <a:lnTo>
                      <a:pt x="242" y="612"/>
                    </a:lnTo>
                    <a:lnTo>
                      <a:pt x="242" y="608"/>
                    </a:lnTo>
                    <a:lnTo>
                      <a:pt x="244" y="604"/>
                    </a:lnTo>
                    <a:lnTo>
                      <a:pt x="244" y="600"/>
                    </a:lnTo>
                    <a:lnTo>
                      <a:pt x="248" y="600"/>
                    </a:lnTo>
                    <a:lnTo>
                      <a:pt x="248" y="596"/>
                    </a:lnTo>
                    <a:lnTo>
                      <a:pt x="248" y="594"/>
                    </a:lnTo>
                    <a:lnTo>
                      <a:pt x="252" y="594"/>
                    </a:lnTo>
                    <a:lnTo>
                      <a:pt x="252" y="590"/>
                    </a:lnTo>
                    <a:lnTo>
                      <a:pt x="256" y="590"/>
                    </a:lnTo>
                    <a:lnTo>
                      <a:pt x="256" y="586"/>
                    </a:lnTo>
                    <a:lnTo>
                      <a:pt x="260" y="586"/>
                    </a:lnTo>
                    <a:lnTo>
                      <a:pt x="256" y="586"/>
                    </a:lnTo>
                    <a:lnTo>
                      <a:pt x="256" y="582"/>
                    </a:lnTo>
                    <a:lnTo>
                      <a:pt x="260" y="582"/>
                    </a:lnTo>
                    <a:lnTo>
                      <a:pt x="264" y="582"/>
                    </a:lnTo>
                    <a:lnTo>
                      <a:pt x="264" y="578"/>
                    </a:lnTo>
                    <a:lnTo>
                      <a:pt x="268" y="578"/>
                    </a:lnTo>
                    <a:lnTo>
                      <a:pt x="272" y="574"/>
                    </a:lnTo>
                    <a:lnTo>
                      <a:pt x="272" y="570"/>
                    </a:lnTo>
                    <a:lnTo>
                      <a:pt x="274" y="570"/>
                    </a:lnTo>
                    <a:lnTo>
                      <a:pt x="278" y="570"/>
                    </a:lnTo>
                    <a:lnTo>
                      <a:pt x="278" y="566"/>
                    </a:lnTo>
                    <a:lnTo>
                      <a:pt x="282" y="566"/>
                    </a:lnTo>
                    <a:lnTo>
                      <a:pt x="282" y="564"/>
                    </a:lnTo>
                    <a:lnTo>
                      <a:pt x="286" y="564"/>
                    </a:lnTo>
                    <a:lnTo>
                      <a:pt x="286" y="560"/>
                    </a:lnTo>
                    <a:lnTo>
                      <a:pt x="286" y="556"/>
                    </a:lnTo>
                    <a:lnTo>
                      <a:pt x="286" y="552"/>
                    </a:lnTo>
                    <a:lnTo>
                      <a:pt x="286" y="550"/>
                    </a:lnTo>
                    <a:lnTo>
                      <a:pt x="286" y="546"/>
                    </a:lnTo>
                    <a:lnTo>
                      <a:pt x="286" y="542"/>
                    </a:lnTo>
                    <a:lnTo>
                      <a:pt x="286" y="538"/>
                    </a:lnTo>
                    <a:lnTo>
                      <a:pt x="282" y="534"/>
                    </a:lnTo>
                    <a:lnTo>
                      <a:pt x="278" y="534"/>
                    </a:lnTo>
                    <a:lnTo>
                      <a:pt x="278" y="538"/>
                    </a:lnTo>
                    <a:lnTo>
                      <a:pt x="274" y="538"/>
                    </a:lnTo>
                    <a:lnTo>
                      <a:pt x="274" y="534"/>
                    </a:lnTo>
                    <a:lnTo>
                      <a:pt x="274" y="530"/>
                    </a:lnTo>
                    <a:lnTo>
                      <a:pt x="274" y="526"/>
                    </a:lnTo>
                    <a:lnTo>
                      <a:pt x="278" y="522"/>
                    </a:lnTo>
                    <a:lnTo>
                      <a:pt x="278" y="520"/>
                    </a:lnTo>
                    <a:lnTo>
                      <a:pt x="278" y="516"/>
                    </a:lnTo>
                    <a:lnTo>
                      <a:pt x="278" y="512"/>
                    </a:lnTo>
                    <a:lnTo>
                      <a:pt x="278" y="508"/>
                    </a:lnTo>
                    <a:lnTo>
                      <a:pt x="274" y="504"/>
                    </a:lnTo>
                    <a:lnTo>
                      <a:pt x="272" y="508"/>
                    </a:lnTo>
                    <a:lnTo>
                      <a:pt x="268" y="508"/>
                    </a:lnTo>
                    <a:lnTo>
                      <a:pt x="264" y="508"/>
                    </a:lnTo>
                    <a:lnTo>
                      <a:pt x="264" y="504"/>
                    </a:lnTo>
                    <a:lnTo>
                      <a:pt x="264" y="500"/>
                    </a:lnTo>
                    <a:lnTo>
                      <a:pt x="260" y="500"/>
                    </a:lnTo>
                    <a:lnTo>
                      <a:pt x="260" y="496"/>
                    </a:lnTo>
                    <a:lnTo>
                      <a:pt x="260" y="494"/>
                    </a:lnTo>
                    <a:lnTo>
                      <a:pt x="260" y="490"/>
                    </a:lnTo>
                    <a:lnTo>
                      <a:pt x="260" y="486"/>
                    </a:lnTo>
                    <a:lnTo>
                      <a:pt x="260" y="482"/>
                    </a:lnTo>
                    <a:lnTo>
                      <a:pt x="256" y="482"/>
                    </a:lnTo>
                    <a:lnTo>
                      <a:pt x="256" y="478"/>
                    </a:lnTo>
                    <a:lnTo>
                      <a:pt x="252" y="478"/>
                    </a:lnTo>
                    <a:lnTo>
                      <a:pt x="248" y="478"/>
                    </a:lnTo>
                    <a:lnTo>
                      <a:pt x="248" y="474"/>
                    </a:lnTo>
                    <a:lnTo>
                      <a:pt x="244" y="474"/>
                    </a:lnTo>
                    <a:lnTo>
                      <a:pt x="244" y="478"/>
                    </a:lnTo>
                    <a:lnTo>
                      <a:pt x="242" y="478"/>
                    </a:lnTo>
                    <a:lnTo>
                      <a:pt x="238" y="478"/>
                    </a:lnTo>
                    <a:lnTo>
                      <a:pt x="234" y="478"/>
                    </a:lnTo>
                    <a:lnTo>
                      <a:pt x="230" y="474"/>
                    </a:lnTo>
                    <a:lnTo>
                      <a:pt x="226" y="474"/>
                    </a:lnTo>
                    <a:lnTo>
                      <a:pt x="226" y="470"/>
                    </a:lnTo>
                    <a:lnTo>
                      <a:pt x="226" y="466"/>
                    </a:lnTo>
                    <a:lnTo>
                      <a:pt x="226" y="464"/>
                    </a:lnTo>
                    <a:lnTo>
                      <a:pt x="226" y="460"/>
                    </a:lnTo>
                    <a:lnTo>
                      <a:pt x="230" y="456"/>
                    </a:lnTo>
                    <a:lnTo>
                      <a:pt x="226" y="452"/>
                    </a:lnTo>
                    <a:lnTo>
                      <a:pt x="226" y="448"/>
                    </a:lnTo>
                    <a:lnTo>
                      <a:pt x="226" y="444"/>
                    </a:lnTo>
                    <a:lnTo>
                      <a:pt x="222" y="440"/>
                    </a:lnTo>
                    <a:lnTo>
                      <a:pt x="226" y="438"/>
                    </a:lnTo>
                    <a:lnTo>
                      <a:pt x="226" y="434"/>
                    </a:lnTo>
                    <a:lnTo>
                      <a:pt x="222" y="434"/>
                    </a:lnTo>
                    <a:lnTo>
                      <a:pt x="226" y="434"/>
                    </a:lnTo>
                    <a:lnTo>
                      <a:pt x="226" y="426"/>
                    </a:lnTo>
                    <a:lnTo>
                      <a:pt x="226" y="422"/>
                    </a:lnTo>
                    <a:lnTo>
                      <a:pt x="230" y="422"/>
                    </a:lnTo>
                    <a:lnTo>
                      <a:pt x="230" y="418"/>
                    </a:lnTo>
                    <a:lnTo>
                      <a:pt x="230" y="410"/>
                    </a:lnTo>
                    <a:lnTo>
                      <a:pt x="234" y="408"/>
                    </a:lnTo>
                    <a:lnTo>
                      <a:pt x="230" y="404"/>
                    </a:lnTo>
                    <a:lnTo>
                      <a:pt x="230" y="400"/>
                    </a:lnTo>
                    <a:lnTo>
                      <a:pt x="230" y="396"/>
                    </a:lnTo>
                    <a:lnTo>
                      <a:pt x="226" y="392"/>
                    </a:lnTo>
                    <a:lnTo>
                      <a:pt x="222" y="392"/>
                    </a:lnTo>
                    <a:lnTo>
                      <a:pt x="222" y="388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8" y="382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18" y="374"/>
                    </a:lnTo>
                    <a:lnTo>
                      <a:pt x="212" y="374"/>
                    </a:lnTo>
                    <a:lnTo>
                      <a:pt x="204" y="374"/>
                    </a:lnTo>
                    <a:lnTo>
                      <a:pt x="196" y="374"/>
                    </a:lnTo>
                    <a:lnTo>
                      <a:pt x="196" y="366"/>
                    </a:lnTo>
                    <a:lnTo>
                      <a:pt x="192" y="358"/>
                    </a:lnTo>
                    <a:lnTo>
                      <a:pt x="192" y="354"/>
                    </a:lnTo>
                    <a:lnTo>
                      <a:pt x="188" y="352"/>
                    </a:lnTo>
                    <a:lnTo>
                      <a:pt x="192" y="352"/>
                    </a:lnTo>
                    <a:lnTo>
                      <a:pt x="192" y="348"/>
                    </a:lnTo>
                    <a:lnTo>
                      <a:pt x="192" y="344"/>
                    </a:lnTo>
                    <a:lnTo>
                      <a:pt x="192" y="340"/>
                    </a:lnTo>
                    <a:lnTo>
                      <a:pt x="192" y="336"/>
                    </a:lnTo>
                    <a:lnTo>
                      <a:pt x="188" y="336"/>
                    </a:lnTo>
                    <a:lnTo>
                      <a:pt x="192" y="332"/>
                    </a:lnTo>
                    <a:lnTo>
                      <a:pt x="192" y="328"/>
                    </a:lnTo>
                    <a:lnTo>
                      <a:pt x="188" y="328"/>
                    </a:lnTo>
                    <a:lnTo>
                      <a:pt x="186" y="326"/>
                    </a:lnTo>
                    <a:lnTo>
                      <a:pt x="182" y="326"/>
                    </a:lnTo>
                    <a:lnTo>
                      <a:pt x="178" y="326"/>
                    </a:lnTo>
                    <a:lnTo>
                      <a:pt x="174" y="326"/>
                    </a:lnTo>
                    <a:lnTo>
                      <a:pt x="170" y="326"/>
                    </a:lnTo>
                    <a:lnTo>
                      <a:pt x="170" y="322"/>
                    </a:lnTo>
                    <a:lnTo>
                      <a:pt x="166" y="322"/>
                    </a:lnTo>
                    <a:lnTo>
                      <a:pt x="166" y="318"/>
                    </a:lnTo>
                    <a:lnTo>
                      <a:pt x="162" y="318"/>
                    </a:lnTo>
                    <a:lnTo>
                      <a:pt x="160" y="314"/>
                    </a:lnTo>
                    <a:lnTo>
                      <a:pt x="156" y="314"/>
                    </a:lnTo>
                    <a:lnTo>
                      <a:pt x="156" y="310"/>
                    </a:lnTo>
                    <a:lnTo>
                      <a:pt x="152" y="310"/>
                    </a:lnTo>
                    <a:lnTo>
                      <a:pt x="148" y="310"/>
                    </a:lnTo>
                    <a:lnTo>
                      <a:pt x="148" y="306"/>
                    </a:lnTo>
                    <a:lnTo>
                      <a:pt x="144" y="306"/>
                    </a:lnTo>
                    <a:lnTo>
                      <a:pt x="140" y="306"/>
                    </a:lnTo>
                    <a:lnTo>
                      <a:pt x="136" y="306"/>
                    </a:lnTo>
                    <a:lnTo>
                      <a:pt x="132" y="302"/>
                    </a:lnTo>
                    <a:lnTo>
                      <a:pt x="130" y="298"/>
                    </a:lnTo>
                    <a:lnTo>
                      <a:pt x="126" y="298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6" y="296"/>
                    </a:lnTo>
                    <a:lnTo>
                      <a:pt x="126" y="292"/>
                    </a:lnTo>
                    <a:lnTo>
                      <a:pt x="122" y="288"/>
                    </a:lnTo>
                    <a:lnTo>
                      <a:pt x="122" y="284"/>
                    </a:lnTo>
                    <a:lnTo>
                      <a:pt x="122" y="280"/>
                    </a:lnTo>
                    <a:lnTo>
                      <a:pt x="122" y="276"/>
                    </a:lnTo>
                    <a:lnTo>
                      <a:pt x="122" y="272"/>
                    </a:lnTo>
                    <a:lnTo>
                      <a:pt x="122" y="268"/>
                    </a:lnTo>
                    <a:lnTo>
                      <a:pt x="122" y="266"/>
                    </a:lnTo>
                    <a:lnTo>
                      <a:pt x="122" y="262"/>
                    </a:lnTo>
                    <a:lnTo>
                      <a:pt x="122" y="258"/>
                    </a:lnTo>
                    <a:lnTo>
                      <a:pt x="118" y="258"/>
                    </a:lnTo>
                    <a:lnTo>
                      <a:pt x="118" y="262"/>
                    </a:lnTo>
                    <a:lnTo>
                      <a:pt x="118" y="258"/>
                    </a:lnTo>
                    <a:lnTo>
                      <a:pt x="116" y="258"/>
                    </a:lnTo>
                    <a:lnTo>
                      <a:pt x="112" y="258"/>
                    </a:lnTo>
                    <a:lnTo>
                      <a:pt x="108" y="262"/>
                    </a:lnTo>
                    <a:lnTo>
                      <a:pt x="104" y="262"/>
                    </a:lnTo>
                    <a:lnTo>
                      <a:pt x="100" y="266"/>
                    </a:lnTo>
                    <a:lnTo>
                      <a:pt x="100" y="268"/>
                    </a:lnTo>
                    <a:lnTo>
                      <a:pt x="96" y="268"/>
                    </a:lnTo>
                    <a:lnTo>
                      <a:pt x="92" y="268"/>
                    </a:lnTo>
                    <a:lnTo>
                      <a:pt x="92" y="272"/>
                    </a:lnTo>
                    <a:lnTo>
                      <a:pt x="88" y="272"/>
                    </a:lnTo>
                    <a:lnTo>
                      <a:pt x="88" y="276"/>
                    </a:lnTo>
                    <a:lnTo>
                      <a:pt x="88" y="272"/>
                    </a:lnTo>
                    <a:lnTo>
                      <a:pt x="86" y="272"/>
                    </a:lnTo>
                    <a:lnTo>
                      <a:pt x="86" y="276"/>
                    </a:lnTo>
                    <a:lnTo>
                      <a:pt x="82" y="276"/>
                    </a:lnTo>
                    <a:lnTo>
                      <a:pt x="82" y="280"/>
                    </a:lnTo>
                    <a:lnTo>
                      <a:pt x="78" y="280"/>
                    </a:lnTo>
                    <a:lnTo>
                      <a:pt x="78" y="284"/>
                    </a:lnTo>
                    <a:lnTo>
                      <a:pt x="74" y="284"/>
                    </a:lnTo>
                    <a:lnTo>
                      <a:pt x="74" y="280"/>
                    </a:lnTo>
                    <a:lnTo>
                      <a:pt x="70" y="280"/>
                    </a:lnTo>
                    <a:lnTo>
                      <a:pt x="66" y="280"/>
                    </a:lnTo>
                    <a:lnTo>
                      <a:pt x="62" y="280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2" y="280"/>
                    </a:lnTo>
                    <a:lnTo>
                      <a:pt x="48" y="280"/>
                    </a:lnTo>
                    <a:lnTo>
                      <a:pt x="48" y="276"/>
                    </a:lnTo>
                    <a:lnTo>
                      <a:pt x="48" y="272"/>
                    </a:lnTo>
                    <a:lnTo>
                      <a:pt x="48" y="268"/>
                    </a:lnTo>
                    <a:lnTo>
                      <a:pt x="48" y="266"/>
                    </a:lnTo>
                    <a:lnTo>
                      <a:pt x="48" y="262"/>
                    </a:lnTo>
                    <a:lnTo>
                      <a:pt x="48" y="258"/>
                    </a:lnTo>
                    <a:lnTo>
                      <a:pt x="48" y="254"/>
                    </a:lnTo>
                    <a:lnTo>
                      <a:pt x="44" y="258"/>
                    </a:lnTo>
                    <a:lnTo>
                      <a:pt x="44" y="262"/>
                    </a:lnTo>
                    <a:lnTo>
                      <a:pt x="40" y="262"/>
                    </a:lnTo>
                    <a:lnTo>
                      <a:pt x="36" y="262"/>
                    </a:lnTo>
                    <a:lnTo>
                      <a:pt x="32" y="262"/>
                    </a:lnTo>
                    <a:lnTo>
                      <a:pt x="30" y="262"/>
                    </a:lnTo>
                    <a:lnTo>
                      <a:pt x="26" y="262"/>
                    </a:lnTo>
                    <a:lnTo>
                      <a:pt x="26" y="258"/>
                    </a:lnTo>
                    <a:lnTo>
                      <a:pt x="26" y="254"/>
                    </a:lnTo>
                    <a:lnTo>
                      <a:pt x="22" y="254"/>
                    </a:lnTo>
                    <a:lnTo>
                      <a:pt x="18" y="254"/>
                    </a:lnTo>
                    <a:lnTo>
                      <a:pt x="14" y="254"/>
                    </a:lnTo>
                    <a:lnTo>
                      <a:pt x="10" y="254"/>
                    </a:lnTo>
                    <a:lnTo>
                      <a:pt x="10" y="250"/>
                    </a:lnTo>
                    <a:lnTo>
                      <a:pt x="14" y="250"/>
                    </a:lnTo>
                    <a:lnTo>
                      <a:pt x="14" y="246"/>
                    </a:lnTo>
                    <a:lnTo>
                      <a:pt x="14" y="242"/>
                    </a:lnTo>
                    <a:lnTo>
                      <a:pt x="10" y="242"/>
                    </a:lnTo>
                    <a:lnTo>
                      <a:pt x="10" y="240"/>
                    </a:lnTo>
                    <a:lnTo>
                      <a:pt x="6" y="236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4" y="228"/>
                    </a:lnTo>
                    <a:lnTo>
                      <a:pt x="4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10"/>
                    </a:lnTo>
                    <a:lnTo>
                      <a:pt x="6" y="206"/>
                    </a:lnTo>
                    <a:lnTo>
                      <a:pt x="10" y="206"/>
                    </a:lnTo>
                    <a:lnTo>
                      <a:pt x="10" y="202"/>
                    </a:lnTo>
                    <a:lnTo>
                      <a:pt x="14" y="202"/>
                    </a:lnTo>
                    <a:lnTo>
                      <a:pt x="10" y="198"/>
                    </a:lnTo>
                    <a:lnTo>
                      <a:pt x="10" y="194"/>
                    </a:lnTo>
                    <a:lnTo>
                      <a:pt x="10" y="190"/>
                    </a:lnTo>
                    <a:lnTo>
                      <a:pt x="14" y="190"/>
                    </a:lnTo>
                    <a:lnTo>
                      <a:pt x="14" y="186"/>
                    </a:lnTo>
                    <a:lnTo>
                      <a:pt x="14" y="184"/>
                    </a:lnTo>
                    <a:lnTo>
                      <a:pt x="14" y="180"/>
                    </a:lnTo>
                    <a:lnTo>
                      <a:pt x="18" y="180"/>
                    </a:lnTo>
                    <a:lnTo>
                      <a:pt x="22" y="176"/>
                    </a:lnTo>
                    <a:lnTo>
                      <a:pt x="22" y="172"/>
                    </a:lnTo>
                    <a:lnTo>
                      <a:pt x="26" y="172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2" y="168"/>
                    </a:lnTo>
                    <a:lnTo>
                      <a:pt x="36" y="168"/>
                    </a:lnTo>
                    <a:lnTo>
                      <a:pt x="40" y="164"/>
                    </a:lnTo>
                    <a:lnTo>
                      <a:pt x="40" y="168"/>
                    </a:lnTo>
                    <a:lnTo>
                      <a:pt x="44" y="168"/>
                    </a:lnTo>
                    <a:lnTo>
                      <a:pt x="44" y="164"/>
                    </a:lnTo>
                    <a:lnTo>
                      <a:pt x="48" y="164"/>
                    </a:lnTo>
                    <a:lnTo>
                      <a:pt x="52" y="164"/>
                    </a:lnTo>
                    <a:lnTo>
                      <a:pt x="52" y="160"/>
                    </a:lnTo>
                    <a:lnTo>
                      <a:pt x="52" y="164"/>
                    </a:lnTo>
                    <a:lnTo>
                      <a:pt x="56" y="164"/>
                    </a:lnTo>
                    <a:lnTo>
                      <a:pt x="60" y="164"/>
                    </a:lnTo>
                    <a:lnTo>
                      <a:pt x="60" y="156"/>
                    </a:lnTo>
                    <a:lnTo>
                      <a:pt x="60" y="150"/>
                    </a:lnTo>
                    <a:lnTo>
                      <a:pt x="62" y="136"/>
                    </a:lnTo>
                    <a:lnTo>
                      <a:pt x="62" y="132"/>
                    </a:lnTo>
                    <a:lnTo>
                      <a:pt x="62" y="124"/>
                    </a:lnTo>
                    <a:lnTo>
                      <a:pt x="62" y="116"/>
                    </a:lnTo>
                    <a:lnTo>
                      <a:pt x="66" y="116"/>
                    </a:lnTo>
                    <a:lnTo>
                      <a:pt x="66" y="114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62" y="106"/>
                    </a:lnTo>
                    <a:lnTo>
                      <a:pt x="62" y="102"/>
                    </a:lnTo>
                    <a:lnTo>
                      <a:pt x="60" y="102"/>
                    </a:lnTo>
                    <a:lnTo>
                      <a:pt x="60" y="98"/>
                    </a:lnTo>
                    <a:lnTo>
                      <a:pt x="56" y="94"/>
                    </a:lnTo>
                    <a:lnTo>
                      <a:pt x="56" y="90"/>
                    </a:lnTo>
                    <a:lnTo>
                      <a:pt x="56" y="86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2" y="80"/>
                    </a:lnTo>
                    <a:lnTo>
                      <a:pt x="66" y="80"/>
                    </a:lnTo>
                    <a:lnTo>
                      <a:pt x="66" y="84"/>
                    </a:lnTo>
                    <a:lnTo>
                      <a:pt x="70" y="84"/>
                    </a:lnTo>
                    <a:lnTo>
                      <a:pt x="70" y="80"/>
                    </a:lnTo>
                    <a:lnTo>
                      <a:pt x="66" y="76"/>
                    </a:lnTo>
                    <a:lnTo>
                      <a:pt x="62" y="76"/>
                    </a:lnTo>
                    <a:lnTo>
                      <a:pt x="60" y="76"/>
                    </a:lnTo>
                    <a:lnTo>
                      <a:pt x="60" y="64"/>
                    </a:lnTo>
                    <a:lnTo>
                      <a:pt x="62" y="60"/>
                    </a:lnTo>
                    <a:lnTo>
                      <a:pt x="66" y="64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82" y="64"/>
                    </a:lnTo>
                    <a:lnTo>
                      <a:pt x="82" y="60"/>
                    </a:lnTo>
                    <a:lnTo>
                      <a:pt x="82" y="56"/>
                    </a:lnTo>
                    <a:lnTo>
                      <a:pt x="82" y="60"/>
                    </a:lnTo>
                    <a:lnTo>
                      <a:pt x="86" y="60"/>
                    </a:lnTo>
                    <a:lnTo>
                      <a:pt x="86" y="64"/>
                    </a:lnTo>
                    <a:lnTo>
                      <a:pt x="86" y="60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92" y="56"/>
                    </a:lnTo>
                    <a:lnTo>
                      <a:pt x="96" y="56"/>
                    </a:lnTo>
                    <a:lnTo>
                      <a:pt x="96" y="60"/>
                    </a:lnTo>
                    <a:lnTo>
                      <a:pt x="96" y="64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4" y="72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6" y="80"/>
                    </a:lnTo>
                    <a:lnTo>
                      <a:pt x="116" y="76"/>
                    </a:lnTo>
                    <a:lnTo>
                      <a:pt x="118" y="76"/>
                    </a:lnTo>
                    <a:lnTo>
                      <a:pt x="118" y="80"/>
                    </a:lnTo>
                    <a:lnTo>
                      <a:pt x="118" y="84"/>
                    </a:lnTo>
                    <a:lnTo>
                      <a:pt x="118" y="80"/>
                    </a:lnTo>
                    <a:lnTo>
                      <a:pt x="122" y="80"/>
                    </a:lnTo>
                    <a:lnTo>
                      <a:pt x="122" y="76"/>
                    </a:lnTo>
                    <a:lnTo>
                      <a:pt x="126" y="76"/>
                    </a:lnTo>
                    <a:lnTo>
                      <a:pt x="126" y="72"/>
                    </a:lnTo>
                    <a:lnTo>
                      <a:pt x="130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40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54"/>
                    </a:lnTo>
                    <a:lnTo>
                      <a:pt x="152" y="54"/>
                    </a:lnTo>
                    <a:lnTo>
                      <a:pt x="152" y="50"/>
                    </a:lnTo>
                    <a:lnTo>
                      <a:pt x="148" y="50"/>
                    </a:lnTo>
                    <a:lnTo>
                      <a:pt x="144" y="50"/>
                    </a:lnTo>
                    <a:lnTo>
                      <a:pt x="140" y="50"/>
                    </a:lnTo>
                    <a:lnTo>
                      <a:pt x="140" y="46"/>
                    </a:lnTo>
                    <a:lnTo>
                      <a:pt x="140" y="42"/>
                    </a:lnTo>
                    <a:lnTo>
                      <a:pt x="140" y="38"/>
                    </a:lnTo>
                    <a:lnTo>
                      <a:pt x="136" y="38"/>
                    </a:lnTo>
                    <a:lnTo>
                      <a:pt x="136" y="34"/>
                    </a:lnTo>
                    <a:lnTo>
                      <a:pt x="136" y="30"/>
                    </a:lnTo>
                    <a:lnTo>
                      <a:pt x="136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2" y="20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36" y="24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24"/>
                    </a:lnTo>
                    <a:lnTo>
                      <a:pt x="144" y="24"/>
                    </a:lnTo>
                    <a:lnTo>
                      <a:pt x="148" y="24"/>
                    </a:lnTo>
                    <a:lnTo>
                      <a:pt x="148" y="28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6" y="30"/>
                    </a:lnTo>
                    <a:lnTo>
                      <a:pt x="160" y="30"/>
                    </a:lnTo>
                    <a:lnTo>
                      <a:pt x="160" y="28"/>
                    </a:lnTo>
                    <a:lnTo>
                      <a:pt x="160" y="24"/>
                    </a:lnTo>
                    <a:lnTo>
                      <a:pt x="162" y="24"/>
                    </a:lnTo>
                    <a:lnTo>
                      <a:pt x="162" y="20"/>
                    </a:lnTo>
                    <a:lnTo>
                      <a:pt x="166" y="20"/>
                    </a:lnTo>
                    <a:lnTo>
                      <a:pt x="166" y="24"/>
                    </a:lnTo>
                    <a:lnTo>
                      <a:pt x="170" y="20"/>
                    </a:lnTo>
                    <a:lnTo>
                      <a:pt x="174" y="20"/>
                    </a:lnTo>
                    <a:lnTo>
                      <a:pt x="178" y="20"/>
                    </a:lnTo>
                    <a:lnTo>
                      <a:pt x="178" y="16"/>
                    </a:lnTo>
                    <a:lnTo>
                      <a:pt x="182" y="16"/>
                    </a:lnTo>
                    <a:lnTo>
                      <a:pt x="186" y="16"/>
                    </a:lnTo>
                    <a:lnTo>
                      <a:pt x="186" y="12"/>
                    </a:lnTo>
                    <a:lnTo>
                      <a:pt x="188" y="12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196" y="12"/>
                    </a:lnTo>
                    <a:lnTo>
                      <a:pt x="196" y="16"/>
                    </a:lnTo>
                    <a:lnTo>
                      <a:pt x="200" y="16"/>
                    </a:lnTo>
                    <a:lnTo>
                      <a:pt x="204" y="16"/>
                    </a:lnTo>
                    <a:lnTo>
                      <a:pt x="200" y="20"/>
                    </a:lnTo>
                    <a:lnTo>
                      <a:pt x="204" y="24"/>
                    </a:lnTo>
                    <a:lnTo>
                      <a:pt x="204" y="28"/>
                    </a:lnTo>
                    <a:lnTo>
                      <a:pt x="200" y="30"/>
                    </a:lnTo>
                    <a:lnTo>
                      <a:pt x="200" y="34"/>
                    </a:lnTo>
                    <a:lnTo>
                      <a:pt x="200" y="38"/>
                    </a:lnTo>
                    <a:lnTo>
                      <a:pt x="196" y="42"/>
                    </a:lnTo>
                    <a:lnTo>
                      <a:pt x="196" y="46"/>
                    </a:lnTo>
                    <a:lnTo>
                      <a:pt x="196" y="50"/>
                    </a:lnTo>
                    <a:lnTo>
                      <a:pt x="200" y="50"/>
                    </a:lnTo>
                    <a:lnTo>
                      <a:pt x="200" y="54"/>
                    </a:lnTo>
                    <a:lnTo>
                      <a:pt x="200" y="56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8" y="64"/>
                    </a:lnTo>
                    <a:lnTo>
                      <a:pt x="208" y="68"/>
                    </a:lnTo>
                    <a:lnTo>
                      <a:pt x="212" y="68"/>
                    </a:lnTo>
                    <a:lnTo>
                      <a:pt x="212" y="72"/>
                    </a:lnTo>
                    <a:lnTo>
                      <a:pt x="216" y="72"/>
                    </a:lnTo>
                    <a:lnTo>
                      <a:pt x="218" y="72"/>
                    </a:lnTo>
                    <a:lnTo>
                      <a:pt x="218" y="68"/>
                    </a:lnTo>
                    <a:lnTo>
                      <a:pt x="222" y="64"/>
                    </a:lnTo>
                    <a:lnTo>
                      <a:pt x="222" y="68"/>
                    </a:lnTo>
                    <a:lnTo>
                      <a:pt x="226" y="68"/>
                    </a:lnTo>
                    <a:lnTo>
                      <a:pt x="226" y="64"/>
                    </a:lnTo>
                    <a:lnTo>
                      <a:pt x="230" y="64"/>
                    </a:lnTo>
                    <a:lnTo>
                      <a:pt x="234" y="64"/>
                    </a:lnTo>
                    <a:lnTo>
                      <a:pt x="234" y="60"/>
                    </a:lnTo>
                    <a:lnTo>
                      <a:pt x="234" y="56"/>
                    </a:lnTo>
                    <a:lnTo>
                      <a:pt x="238" y="56"/>
                    </a:lnTo>
                    <a:lnTo>
                      <a:pt x="238" y="60"/>
                    </a:lnTo>
                    <a:lnTo>
                      <a:pt x="238" y="56"/>
                    </a:lnTo>
                    <a:lnTo>
                      <a:pt x="242" y="60"/>
                    </a:lnTo>
                    <a:lnTo>
                      <a:pt x="244" y="60"/>
                    </a:lnTo>
                    <a:lnTo>
                      <a:pt x="248" y="60"/>
                    </a:lnTo>
                    <a:lnTo>
                      <a:pt x="252" y="60"/>
                    </a:lnTo>
                    <a:lnTo>
                      <a:pt x="256" y="60"/>
                    </a:lnTo>
                    <a:lnTo>
                      <a:pt x="256" y="56"/>
                    </a:lnTo>
                    <a:lnTo>
                      <a:pt x="252" y="54"/>
                    </a:lnTo>
                    <a:lnTo>
                      <a:pt x="252" y="50"/>
                    </a:lnTo>
                    <a:lnTo>
                      <a:pt x="256" y="50"/>
                    </a:lnTo>
                    <a:lnTo>
                      <a:pt x="260" y="54"/>
                    </a:lnTo>
                    <a:lnTo>
                      <a:pt x="260" y="50"/>
                    </a:lnTo>
                    <a:lnTo>
                      <a:pt x="268" y="50"/>
                    </a:lnTo>
                    <a:lnTo>
                      <a:pt x="272" y="50"/>
                    </a:lnTo>
                    <a:lnTo>
                      <a:pt x="272" y="54"/>
                    </a:lnTo>
                    <a:lnTo>
                      <a:pt x="274" y="54"/>
                    </a:lnTo>
                    <a:lnTo>
                      <a:pt x="278" y="56"/>
                    </a:lnTo>
                    <a:lnTo>
                      <a:pt x="282" y="56"/>
                    </a:lnTo>
                    <a:lnTo>
                      <a:pt x="282" y="54"/>
                    </a:lnTo>
                    <a:lnTo>
                      <a:pt x="286" y="54"/>
                    </a:lnTo>
                    <a:lnTo>
                      <a:pt x="290" y="54"/>
                    </a:lnTo>
                    <a:lnTo>
                      <a:pt x="294" y="54"/>
                    </a:lnTo>
                    <a:lnTo>
                      <a:pt x="298" y="54"/>
                    </a:lnTo>
                    <a:lnTo>
                      <a:pt x="298" y="56"/>
                    </a:lnTo>
                    <a:lnTo>
                      <a:pt x="298" y="54"/>
                    </a:lnTo>
                    <a:lnTo>
                      <a:pt x="302" y="54"/>
                    </a:lnTo>
                    <a:lnTo>
                      <a:pt x="302" y="50"/>
                    </a:lnTo>
                    <a:lnTo>
                      <a:pt x="304" y="50"/>
                    </a:lnTo>
                    <a:lnTo>
                      <a:pt x="304" y="46"/>
                    </a:lnTo>
                    <a:lnTo>
                      <a:pt x="304" y="42"/>
                    </a:lnTo>
                    <a:lnTo>
                      <a:pt x="304" y="38"/>
                    </a:lnTo>
                    <a:lnTo>
                      <a:pt x="308" y="38"/>
                    </a:lnTo>
                    <a:lnTo>
                      <a:pt x="308" y="34"/>
                    </a:lnTo>
                    <a:lnTo>
                      <a:pt x="312" y="30"/>
                    </a:lnTo>
                    <a:lnTo>
                      <a:pt x="312" y="28"/>
                    </a:lnTo>
                    <a:lnTo>
                      <a:pt x="312" y="24"/>
                    </a:lnTo>
                    <a:lnTo>
                      <a:pt x="316" y="24"/>
                    </a:lnTo>
                    <a:lnTo>
                      <a:pt x="316" y="20"/>
                    </a:lnTo>
                    <a:lnTo>
                      <a:pt x="320" y="24"/>
                    </a:lnTo>
                    <a:lnTo>
                      <a:pt x="316" y="20"/>
                    </a:lnTo>
                    <a:lnTo>
                      <a:pt x="316" y="16"/>
                    </a:lnTo>
                    <a:lnTo>
                      <a:pt x="320" y="20"/>
                    </a:lnTo>
                    <a:lnTo>
                      <a:pt x="324" y="24"/>
                    </a:lnTo>
                    <a:lnTo>
                      <a:pt x="324" y="28"/>
                    </a:lnTo>
                    <a:lnTo>
                      <a:pt x="324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4" y="42"/>
                    </a:lnTo>
                    <a:lnTo>
                      <a:pt x="328" y="42"/>
                    </a:lnTo>
                    <a:lnTo>
                      <a:pt x="328" y="46"/>
                    </a:lnTo>
                    <a:lnTo>
                      <a:pt x="328" y="50"/>
                    </a:lnTo>
                    <a:lnTo>
                      <a:pt x="330" y="56"/>
                    </a:lnTo>
                    <a:lnTo>
                      <a:pt x="330" y="60"/>
                    </a:lnTo>
                    <a:lnTo>
                      <a:pt x="334" y="60"/>
                    </a:lnTo>
                    <a:lnTo>
                      <a:pt x="338" y="60"/>
                    </a:lnTo>
                    <a:lnTo>
                      <a:pt x="342" y="64"/>
                    </a:lnTo>
                    <a:lnTo>
                      <a:pt x="342" y="68"/>
                    </a:lnTo>
                    <a:lnTo>
                      <a:pt x="338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8" y="76"/>
                    </a:lnTo>
                    <a:lnTo>
                      <a:pt x="334" y="76"/>
                    </a:lnTo>
                    <a:lnTo>
                      <a:pt x="334" y="80"/>
                    </a:lnTo>
                    <a:lnTo>
                      <a:pt x="330" y="84"/>
                    </a:lnTo>
                    <a:lnTo>
                      <a:pt x="330" y="86"/>
                    </a:lnTo>
                    <a:lnTo>
                      <a:pt x="328" y="90"/>
                    </a:lnTo>
                    <a:lnTo>
                      <a:pt x="324" y="90"/>
                    </a:lnTo>
                    <a:lnTo>
                      <a:pt x="324" y="94"/>
                    </a:lnTo>
                    <a:lnTo>
                      <a:pt x="320" y="94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6" y="102"/>
                    </a:lnTo>
                    <a:lnTo>
                      <a:pt x="316" y="106"/>
                    </a:lnTo>
                    <a:lnTo>
                      <a:pt x="316" y="110"/>
                    </a:lnTo>
                    <a:lnTo>
                      <a:pt x="312" y="114"/>
                    </a:lnTo>
                    <a:lnTo>
                      <a:pt x="312" y="116"/>
                    </a:ln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20"/>
                    </a:lnTo>
                    <a:lnTo>
                      <a:pt x="302" y="116"/>
                    </a:lnTo>
                    <a:lnTo>
                      <a:pt x="302" y="120"/>
                    </a:lnTo>
                    <a:lnTo>
                      <a:pt x="304" y="120"/>
                    </a:lnTo>
                    <a:lnTo>
                      <a:pt x="308" y="120"/>
                    </a:lnTo>
                    <a:lnTo>
                      <a:pt x="312" y="120"/>
                    </a:lnTo>
                    <a:lnTo>
                      <a:pt x="312" y="116"/>
                    </a:lnTo>
                    <a:lnTo>
                      <a:pt x="316" y="116"/>
                    </a:lnTo>
                    <a:lnTo>
                      <a:pt x="320" y="116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8" y="110"/>
                    </a:lnTo>
                    <a:lnTo>
                      <a:pt x="328" y="114"/>
                    </a:lnTo>
                    <a:lnTo>
                      <a:pt x="328" y="116"/>
                    </a:lnTo>
                    <a:lnTo>
                      <a:pt x="328" y="120"/>
                    </a:lnTo>
                    <a:lnTo>
                      <a:pt x="330" y="120"/>
                    </a:lnTo>
                    <a:lnTo>
                      <a:pt x="330" y="124"/>
                    </a:lnTo>
                    <a:lnTo>
                      <a:pt x="328" y="124"/>
                    </a:lnTo>
                    <a:lnTo>
                      <a:pt x="324" y="124"/>
                    </a:lnTo>
                    <a:lnTo>
                      <a:pt x="320" y="124"/>
                    </a:lnTo>
                    <a:lnTo>
                      <a:pt x="320" y="120"/>
                    </a:lnTo>
                    <a:lnTo>
                      <a:pt x="320" y="124"/>
                    </a:lnTo>
                    <a:lnTo>
                      <a:pt x="320" y="128"/>
                    </a:lnTo>
                    <a:lnTo>
                      <a:pt x="316" y="128"/>
                    </a:lnTo>
                    <a:lnTo>
                      <a:pt x="320" y="132"/>
                    </a:lnTo>
                    <a:lnTo>
                      <a:pt x="320" y="128"/>
                    </a:lnTo>
                    <a:lnTo>
                      <a:pt x="320" y="124"/>
                    </a:lnTo>
                    <a:lnTo>
                      <a:pt x="324" y="124"/>
                    </a:lnTo>
                    <a:lnTo>
                      <a:pt x="324" y="128"/>
                    </a:lnTo>
                    <a:lnTo>
                      <a:pt x="324" y="132"/>
                    </a:lnTo>
                    <a:lnTo>
                      <a:pt x="324" y="136"/>
                    </a:lnTo>
                    <a:lnTo>
                      <a:pt x="328" y="136"/>
                    </a:lnTo>
                    <a:lnTo>
                      <a:pt x="324" y="132"/>
                    </a:lnTo>
                    <a:lnTo>
                      <a:pt x="328" y="128"/>
                    </a:lnTo>
                    <a:lnTo>
                      <a:pt x="330" y="132"/>
                    </a:lnTo>
                    <a:lnTo>
                      <a:pt x="328" y="128"/>
                    </a:lnTo>
                    <a:lnTo>
                      <a:pt x="328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4" y="124"/>
                    </a:lnTo>
                    <a:lnTo>
                      <a:pt x="338" y="124"/>
                    </a:lnTo>
                    <a:lnTo>
                      <a:pt x="342" y="124"/>
                    </a:lnTo>
                    <a:lnTo>
                      <a:pt x="346" y="124"/>
                    </a:lnTo>
                    <a:lnTo>
                      <a:pt x="346" y="120"/>
                    </a:lnTo>
                    <a:lnTo>
                      <a:pt x="350" y="120"/>
                    </a:lnTo>
                    <a:lnTo>
                      <a:pt x="350" y="124"/>
                    </a:lnTo>
                    <a:lnTo>
                      <a:pt x="350" y="128"/>
                    </a:lnTo>
                    <a:lnTo>
                      <a:pt x="346" y="128"/>
                    </a:lnTo>
                    <a:lnTo>
                      <a:pt x="346" y="132"/>
                    </a:lnTo>
                    <a:lnTo>
                      <a:pt x="346" y="136"/>
                    </a:lnTo>
                    <a:lnTo>
                      <a:pt x="346" y="132"/>
                    </a:lnTo>
                    <a:lnTo>
                      <a:pt x="350" y="132"/>
                    </a:lnTo>
                    <a:lnTo>
                      <a:pt x="350" y="128"/>
                    </a:lnTo>
                    <a:lnTo>
                      <a:pt x="350" y="124"/>
                    </a:lnTo>
                    <a:lnTo>
                      <a:pt x="354" y="124"/>
                    </a:lnTo>
                    <a:lnTo>
                      <a:pt x="358" y="120"/>
                    </a:lnTo>
                    <a:lnTo>
                      <a:pt x="358" y="116"/>
                    </a:lnTo>
                    <a:lnTo>
                      <a:pt x="360" y="116"/>
                    </a:lnTo>
                    <a:lnTo>
                      <a:pt x="360" y="120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0" y="116"/>
                    </a:lnTo>
                    <a:lnTo>
                      <a:pt x="360" y="114"/>
                    </a:lnTo>
                    <a:lnTo>
                      <a:pt x="360" y="116"/>
                    </a:lnTo>
                    <a:lnTo>
                      <a:pt x="364" y="116"/>
                    </a:lnTo>
                    <a:lnTo>
                      <a:pt x="364" y="114"/>
                    </a:lnTo>
                    <a:lnTo>
                      <a:pt x="364" y="110"/>
                    </a:lnTo>
                    <a:lnTo>
                      <a:pt x="364" y="106"/>
                    </a:lnTo>
                    <a:lnTo>
                      <a:pt x="368" y="106"/>
                    </a:lnTo>
                    <a:lnTo>
                      <a:pt x="372" y="102"/>
                    </a:lnTo>
                    <a:lnTo>
                      <a:pt x="372" y="106"/>
                    </a:lnTo>
                    <a:lnTo>
                      <a:pt x="372" y="102"/>
                    </a:lnTo>
                    <a:lnTo>
                      <a:pt x="376" y="102"/>
                    </a:lnTo>
                    <a:lnTo>
                      <a:pt x="376" y="106"/>
                    </a:lnTo>
                    <a:lnTo>
                      <a:pt x="376" y="102"/>
                    </a:lnTo>
                    <a:lnTo>
                      <a:pt x="380" y="102"/>
                    </a:lnTo>
                    <a:lnTo>
                      <a:pt x="380" y="106"/>
                    </a:lnTo>
                    <a:lnTo>
                      <a:pt x="384" y="106"/>
                    </a:lnTo>
                    <a:lnTo>
                      <a:pt x="384" y="110"/>
                    </a:lnTo>
                    <a:lnTo>
                      <a:pt x="384" y="106"/>
                    </a:lnTo>
                    <a:lnTo>
                      <a:pt x="386" y="106"/>
                    </a:lnTo>
                    <a:lnTo>
                      <a:pt x="386" y="110"/>
                    </a:lnTo>
                    <a:lnTo>
                      <a:pt x="390" y="110"/>
                    </a:lnTo>
                    <a:lnTo>
                      <a:pt x="394" y="110"/>
                    </a:lnTo>
                    <a:lnTo>
                      <a:pt x="394" y="114"/>
                    </a:lnTo>
                    <a:lnTo>
                      <a:pt x="390" y="114"/>
                    </a:lnTo>
                    <a:lnTo>
                      <a:pt x="394" y="114"/>
                    </a:lnTo>
                    <a:lnTo>
                      <a:pt x="398" y="110"/>
                    </a:lnTo>
                    <a:lnTo>
                      <a:pt x="398" y="114"/>
                    </a:ln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6" y="116"/>
                    </a:lnTo>
                    <a:lnTo>
                      <a:pt x="402" y="116"/>
                    </a:lnTo>
                    <a:lnTo>
                      <a:pt x="402" y="120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06" y="120"/>
                    </a:lnTo>
                    <a:lnTo>
                      <a:pt x="406" y="116"/>
                    </a:lnTo>
                    <a:lnTo>
                      <a:pt x="410" y="116"/>
                    </a:lnTo>
                    <a:lnTo>
                      <a:pt x="414" y="116"/>
                    </a:lnTo>
                    <a:lnTo>
                      <a:pt x="414" y="120"/>
                    </a:lnTo>
                    <a:lnTo>
                      <a:pt x="410" y="120"/>
                    </a:lnTo>
                    <a:lnTo>
                      <a:pt x="414" y="120"/>
                    </a:lnTo>
                    <a:lnTo>
                      <a:pt x="414" y="124"/>
                    </a:lnTo>
                    <a:lnTo>
                      <a:pt x="414" y="124"/>
                    </a:lnTo>
                    <a:lnTo>
                      <a:pt x="414" y="124"/>
                    </a:lnTo>
                    <a:close/>
                    <a:moveTo>
                      <a:pt x="358" y="116"/>
                    </a:moveTo>
                    <a:lnTo>
                      <a:pt x="354" y="116"/>
                    </a:lnTo>
                    <a:lnTo>
                      <a:pt x="350" y="120"/>
                    </a:lnTo>
                    <a:lnTo>
                      <a:pt x="346" y="120"/>
                    </a:lnTo>
                    <a:lnTo>
                      <a:pt x="346" y="124"/>
                    </a:lnTo>
                    <a:lnTo>
                      <a:pt x="342" y="120"/>
                    </a:lnTo>
                    <a:lnTo>
                      <a:pt x="342" y="124"/>
                    </a:lnTo>
                    <a:lnTo>
                      <a:pt x="338" y="124"/>
                    </a:lnTo>
                    <a:lnTo>
                      <a:pt x="338" y="120"/>
                    </a:lnTo>
                    <a:lnTo>
                      <a:pt x="338" y="124"/>
                    </a:lnTo>
                    <a:lnTo>
                      <a:pt x="334" y="124"/>
                    </a:lnTo>
                    <a:lnTo>
                      <a:pt x="330" y="124"/>
                    </a:lnTo>
                    <a:lnTo>
                      <a:pt x="330" y="120"/>
                    </a:lnTo>
                    <a:lnTo>
                      <a:pt x="328" y="120"/>
                    </a:lnTo>
                    <a:lnTo>
                      <a:pt x="328" y="116"/>
                    </a:lnTo>
                    <a:lnTo>
                      <a:pt x="328" y="114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30" y="114"/>
                    </a:lnTo>
                    <a:lnTo>
                      <a:pt x="330" y="110"/>
                    </a:lnTo>
                    <a:lnTo>
                      <a:pt x="328" y="110"/>
                    </a:lnTo>
                    <a:lnTo>
                      <a:pt x="328" y="106"/>
                    </a:lnTo>
                    <a:lnTo>
                      <a:pt x="328" y="102"/>
                    </a:lnTo>
                    <a:lnTo>
                      <a:pt x="330" y="102"/>
                    </a:lnTo>
                    <a:lnTo>
                      <a:pt x="330" y="106"/>
                    </a:lnTo>
                    <a:lnTo>
                      <a:pt x="330" y="102"/>
                    </a:lnTo>
                    <a:lnTo>
                      <a:pt x="330" y="98"/>
                    </a:lnTo>
                    <a:lnTo>
                      <a:pt x="330" y="94"/>
                    </a:lnTo>
                    <a:lnTo>
                      <a:pt x="334" y="94"/>
                    </a:lnTo>
                    <a:lnTo>
                      <a:pt x="338" y="94"/>
                    </a:lnTo>
                    <a:lnTo>
                      <a:pt x="342" y="94"/>
                    </a:lnTo>
                    <a:lnTo>
                      <a:pt x="342" y="98"/>
                    </a:lnTo>
                    <a:lnTo>
                      <a:pt x="346" y="98"/>
                    </a:lnTo>
                    <a:lnTo>
                      <a:pt x="350" y="98"/>
                    </a:lnTo>
                    <a:lnTo>
                      <a:pt x="350" y="94"/>
                    </a:lnTo>
                    <a:lnTo>
                      <a:pt x="354" y="94"/>
                    </a:lnTo>
                    <a:lnTo>
                      <a:pt x="358" y="94"/>
                    </a:lnTo>
                    <a:lnTo>
                      <a:pt x="358" y="98"/>
                    </a:lnTo>
                    <a:lnTo>
                      <a:pt x="360" y="98"/>
                    </a:lnTo>
                    <a:lnTo>
                      <a:pt x="360" y="102"/>
                    </a:lnTo>
                    <a:lnTo>
                      <a:pt x="360" y="106"/>
                    </a:lnTo>
                    <a:lnTo>
                      <a:pt x="360" y="110"/>
                    </a:lnTo>
                    <a:lnTo>
                      <a:pt x="358" y="110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58" y="116"/>
                    </a:lnTo>
                    <a:lnTo>
                      <a:pt x="358" y="116"/>
                    </a:lnTo>
                    <a:close/>
                    <a:moveTo>
                      <a:pt x="330" y="56"/>
                    </a:moveTo>
                    <a:lnTo>
                      <a:pt x="330" y="54"/>
                    </a:lnTo>
                    <a:lnTo>
                      <a:pt x="334" y="54"/>
                    </a:lnTo>
                    <a:lnTo>
                      <a:pt x="334" y="56"/>
                    </a:lnTo>
                    <a:lnTo>
                      <a:pt x="330" y="56"/>
                    </a:lnTo>
                    <a:lnTo>
                      <a:pt x="330" y="56"/>
                    </a:lnTo>
                    <a:lnTo>
                      <a:pt x="330" y="56"/>
                    </a:lnTo>
                    <a:close/>
                    <a:moveTo>
                      <a:pt x="334" y="60"/>
                    </a:moveTo>
                    <a:lnTo>
                      <a:pt x="330" y="56"/>
                    </a:lnTo>
                    <a:lnTo>
                      <a:pt x="334" y="56"/>
                    </a:lnTo>
                    <a:lnTo>
                      <a:pt x="334" y="60"/>
                    </a:lnTo>
                    <a:lnTo>
                      <a:pt x="334" y="60"/>
                    </a:lnTo>
                    <a:lnTo>
                      <a:pt x="334" y="60"/>
                    </a:lnTo>
                    <a:close/>
                    <a:moveTo>
                      <a:pt x="338" y="76"/>
                    </a:moveTo>
                    <a:lnTo>
                      <a:pt x="342" y="76"/>
                    </a:lnTo>
                    <a:lnTo>
                      <a:pt x="338" y="76"/>
                    </a:lnTo>
                    <a:lnTo>
                      <a:pt x="338" y="76"/>
                    </a:lnTo>
                    <a:lnTo>
                      <a:pt x="338" y="76"/>
                    </a:lnTo>
                    <a:close/>
                    <a:moveTo>
                      <a:pt x="334" y="80"/>
                    </a:moveTo>
                    <a:lnTo>
                      <a:pt x="334" y="76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8" y="76"/>
                    </a:lnTo>
                    <a:lnTo>
                      <a:pt x="338" y="80"/>
                    </a:lnTo>
                    <a:lnTo>
                      <a:pt x="334" y="80"/>
                    </a:lnTo>
                    <a:lnTo>
                      <a:pt x="334" y="80"/>
                    </a:lnTo>
                    <a:lnTo>
                      <a:pt x="334" y="80"/>
                    </a:lnTo>
                    <a:close/>
                    <a:moveTo>
                      <a:pt x="334" y="86"/>
                    </a:moveTo>
                    <a:lnTo>
                      <a:pt x="334" y="84"/>
                    </a:lnTo>
                    <a:lnTo>
                      <a:pt x="338" y="84"/>
                    </a:lnTo>
                    <a:lnTo>
                      <a:pt x="338" y="86"/>
                    </a:lnTo>
                    <a:lnTo>
                      <a:pt x="334" y="86"/>
                    </a:lnTo>
                    <a:lnTo>
                      <a:pt x="334" y="86"/>
                    </a:lnTo>
                    <a:lnTo>
                      <a:pt x="334" y="86"/>
                    </a:lnTo>
                    <a:close/>
                    <a:moveTo>
                      <a:pt x="334" y="90"/>
                    </a:moveTo>
                    <a:lnTo>
                      <a:pt x="330" y="90"/>
                    </a:lnTo>
                    <a:lnTo>
                      <a:pt x="330" y="86"/>
                    </a:lnTo>
                    <a:lnTo>
                      <a:pt x="334" y="86"/>
                    </a:lnTo>
                    <a:lnTo>
                      <a:pt x="334" y="84"/>
                    </a:lnTo>
                    <a:lnTo>
                      <a:pt x="334" y="86"/>
                    </a:lnTo>
                    <a:lnTo>
                      <a:pt x="334" y="90"/>
                    </a:lnTo>
                    <a:lnTo>
                      <a:pt x="334" y="90"/>
                    </a:lnTo>
                    <a:lnTo>
                      <a:pt x="334" y="90"/>
                    </a:lnTo>
                    <a:close/>
                    <a:moveTo>
                      <a:pt x="338" y="90"/>
                    </a:moveTo>
                    <a:lnTo>
                      <a:pt x="334" y="90"/>
                    </a:lnTo>
                    <a:lnTo>
                      <a:pt x="338" y="90"/>
                    </a:lnTo>
                    <a:lnTo>
                      <a:pt x="338" y="86"/>
                    </a:lnTo>
                    <a:lnTo>
                      <a:pt x="342" y="86"/>
                    </a:lnTo>
                    <a:lnTo>
                      <a:pt x="346" y="86"/>
                    </a:lnTo>
                    <a:lnTo>
                      <a:pt x="346" y="90"/>
                    </a:lnTo>
                    <a:lnTo>
                      <a:pt x="342" y="90"/>
                    </a:lnTo>
                    <a:lnTo>
                      <a:pt x="342" y="94"/>
                    </a:lnTo>
                    <a:lnTo>
                      <a:pt x="338" y="94"/>
                    </a:lnTo>
                    <a:lnTo>
                      <a:pt x="338" y="90"/>
                    </a:lnTo>
                    <a:lnTo>
                      <a:pt x="338" y="90"/>
                    </a:lnTo>
                    <a:lnTo>
                      <a:pt x="338" y="90"/>
                    </a:lnTo>
                    <a:close/>
                    <a:moveTo>
                      <a:pt x="330" y="94"/>
                    </a:moveTo>
                    <a:lnTo>
                      <a:pt x="330" y="90"/>
                    </a:lnTo>
                    <a:lnTo>
                      <a:pt x="334" y="90"/>
                    </a:lnTo>
                    <a:lnTo>
                      <a:pt x="334" y="94"/>
                    </a:lnTo>
                    <a:lnTo>
                      <a:pt x="330" y="94"/>
                    </a:lnTo>
                    <a:lnTo>
                      <a:pt x="330" y="94"/>
                    </a:lnTo>
                    <a:lnTo>
                      <a:pt x="330" y="94"/>
                    </a:lnTo>
                    <a:close/>
                    <a:moveTo>
                      <a:pt x="342" y="90"/>
                    </a:moveTo>
                    <a:lnTo>
                      <a:pt x="346" y="90"/>
                    </a:lnTo>
                    <a:lnTo>
                      <a:pt x="350" y="90"/>
                    </a:lnTo>
                    <a:lnTo>
                      <a:pt x="350" y="94"/>
                    </a:lnTo>
                    <a:lnTo>
                      <a:pt x="346" y="94"/>
                    </a:lnTo>
                    <a:lnTo>
                      <a:pt x="342" y="94"/>
                    </a:lnTo>
                    <a:lnTo>
                      <a:pt x="342" y="90"/>
                    </a:lnTo>
                    <a:lnTo>
                      <a:pt x="342" y="90"/>
                    </a:lnTo>
                    <a:lnTo>
                      <a:pt x="342" y="90"/>
                    </a:lnTo>
                    <a:close/>
                    <a:moveTo>
                      <a:pt x="328" y="90"/>
                    </a:moveTo>
                    <a:lnTo>
                      <a:pt x="330" y="90"/>
                    </a:lnTo>
                    <a:lnTo>
                      <a:pt x="328" y="90"/>
                    </a:lnTo>
                    <a:lnTo>
                      <a:pt x="328" y="94"/>
                    </a:lnTo>
                    <a:lnTo>
                      <a:pt x="328" y="90"/>
                    </a:lnTo>
                    <a:lnTo>
                      <a:pt x="328" y="90"/>
                    </a:lnTo>
                    <a:lnTo>
                      <a:pt x="328" y="90"/>
                    </a:lnTo>
                    <a:close/>
                    <a:moveTo>
                      <a:pt x="328" y="98"/>
                    </a:moveTo>
                    <a:lnTo>
                      <a:pt x="324" y="98"/>
                    </a:lnTo>
                    <a:lnTo>
                      <a:pt x="324" y="94"/>
                    </a:lnTo>
                    <a:lnTo>
                      <a:pt x="328" y="94"/>
                    </a:lnTo>
                    <a:lnTo>
                      <a:pt x="330" y="94"/>
                    </a:lnTo>
                    <a:lnTo>
                      <a:pt x="328" y="94"/>
                    </a:lnTo>
                    <a:lnTo>
                      <a:pt x="328" y="98"/>
                    </a:lnTo>
                    <a:lnTo>
                      <a:pt x="328" y="98"/>
                    </a:lnTo>
                    <a:lnTo>
                      <a:pt x="328" y="98"/>
                    </a:lnTo>
                    <a:close/>
                    <a:moveTo>
                      <a:pt x="320" y="102"/>
                    </a:moveTo>
                    <a:lnTo>
                      <a:pt x="320" y="98"/>
                    </a:lnTo>
                    <a:lnTo>
                      <a:pt x="324" y="98"/>
                    </a:lnTo>
                    <a:lnTo>
                      <a:pt x="324" y="94"/>
                    </a:lnTo>
                    <a:lnTo>
                      <a:pt x="324" y="98"/>
                    </a:lnTo>
                    <a:lnTo>
                      <a:pt x="320" y="102"/>
                    </a:lnTo>
                    <a:lnTo>
                      <a:pt x="320" y="102"/>
                    </a:lnTo>
                    <a:lnTo>
                      <a:pt x="320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8" y="102"/>
                    </a:moveTo>
                    <a:lnTo>
                      <a:pt x="328" y="98"/>
                    </a:lnTo>
                    <a:lnTo>
                      <a:pt x="328" y="102"/>
                    </a:lnTo>
                    <a:lnTo>
                      <a:pt x="328" y="102"/>
                    </a:lnTo>
                    <a:lnTo>
                      <a:pt x="328" y="102"/>
                    </a:lnTo>
                    <a:close/>
                    <a:moveTo>
                      <a:pt x="324" y="102"/>
                    </a:moveTo>
                    <a:lnTo>
                      <a:pt x="324" y="98"/>
                    </a:lnTo>
                    <a:lnTo>
                      <a:pt x="328" y="98"/>
                    </a:lnTo>
                    <a:lnTo>
                      <a:pt x="328" y="102"/>
                    </a:lnTo>
                    <a:lnTo>
                      <a:pt x="324" y="102"/>
                    </a:lnTo>
                    <a:lnTo>
                      <a:pt x="324" y="102"/>
                    </a:lnTo>
                    <a:lnTo>
                      <a:pt x="324" y="102"/>
                    </a:lnTo>
                    <a:close/>
                    <a:moveTo>
                      <a:pt x="324" y="110"/>
                    </a:moveTo>
                    <a:lnTo>
                      <a:pt x="324" y="106"/>
                    </a:lnTo>
                    <a:lnTo>
                      <a:pt x="328" y="102"/>
                    </a:lnTo>
                    <a:lnTo>
                      <a:pt x="328" y="106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0"/>
                    </a:lnTo>
                    <a:lnTo>
                      <a:pt x="324" y="110"/>
                    </a:lnTo>
                    <a:close/>
                    <a:moveTo>
                      <a:pt x="320" y="114"/>
                    </a:moveTo>
                    <a:lnTo>
                      <a:pt x="320" y="110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0" y="114"/>
                    </a:lnTo>
                    <a:lnTo>
                      <a:pt x="320" y="114"/>
                    </a:lnTo>
                    <a:lnTo>
                      <a:pt x="320" y="114"/>
                    </a:lnTo>
                    <a:close/>
                    <a:moveTo>
                      <a:pt x="328" y="106"/>
                    </a:moveTo>
                    <a:lnTo>
                      <a:pt x="328" y="110"/>
                    </a:lnTo>
                    <a:lnTo>
                      <a:pt x="324" y="110"/>
                    </a:lnTo>
                    <a:lnTo>
                      <a:pt x="324" y="114"/>
                    </a:lnTo>
                    <a:lnTo>
                      <a:pt x="324" y="110"/>
                    </a:lnTo>
                    <a:lnTo>
                      <a:pt x="324" y="106"/>
                    </a:lnTo>
                    <a:lnTo>
                      <a:pt x="328" y="106"/>
                    </a:lnTo>
                    <a:lnTo>
                      <a:pt x="328" y="106"/>
                    </a:lnTo>
                    <a:lnTo>
                      <a:pt x="328" y="106"/>
                    </a:lnTo>
                    <a:close/>
                    <a:moveTo>
                      <a:pt x="386" y="110"/>
                    </a:moveTo>
                    <a:lnTo>
                      <a:pt x="390" y="110"/>
                    </a:lnTo>
                    <a:lnTo>
                      <a:pt x="386" y="110"/>
                    </a:lnTo>
                    <a:lnTo>
                      <a:pt x="386" y="110"/>
                    </a:lnTo>
                    <a:lnTo>
                      <a:pt x="386" y="110"/>
                    </a:lnTo>
                    <a:close/>
                    <a:moveTo>
                      <a:pt x="364" y="114"/>
                    </a:moveTo>
                    <a:lnTo>
                      <a:pt x="360" y="114"/>
                    </a:lnTo>
                    <a:lnTo>
                      <a:pt x="360" y="110"/>
                    </a:lnTo>
                    <a:lnTo>
                      <a:pt x="364" y="110"/>
                    </a:lnTo>
                    <a:lnTo>
                      <a:pt x="364" y="114"/>
                    </a:lnTo>
                    <a:lnTo>
                      <a:pt x="364" y="114"/>
                    </a:lnTo>
                    <a:lnTo>
                      <a:pt x="364" y="114"/>
                    </a:lnTo>
                    <a:close/>
                    <a:moveTo>
                      <a:pt x="402" y="116"/>
                    </a:moveTo>
                    <a:lnTo>
                      <a:pt x="402" y="114"/>
                    </a:lnTo>
                    <a:lnTo>
                      <a:pt x="402" y="116"/>
                    </a:lnTo>
                    <a:lnTo>
                      <a:pt x="402" y="116"/>
                    </a:lnTo>
                    <a:lnTo>
                      <a:pt x="402" y="116"/>
                    </a:lnTo>
                    <a:close/>
                    <a:moveTo>
                      <a:pt x="410" y="116"/>
                    </a:moveTo>
                    <a:lnTo>
                      <a:pt x="410" y="114"/>
                    </a:lnTo>
                    <a:lnTo>
                      <a:pt x="414" y="114"/>
                    </a:lnTo>
                    <a:lnTo>
                      <a:pt x="414" y="116"/>
                    </a:lnTo>
                    <a:lnTo>
                      <a:pt x="410" y="116"/>
                    </a:lnTo>
                    <a:lnTo>
                      <a:pt x="410" y="116"/>
                    </a:lnTo>
                    <a:lnTo>
                      <a:pt x="410" y="116"/>
                    </a:lnTo>
                    <a:close/>
                    <a:moveTo>
                      <a:pt x="304" y="116"/>
                    </a:moveTo>
                    <a:lnTo>
                      <a:pt x="308" y="116"/>
                    </a:lnTo>
                    <a:lnTo>
                      <a:pt x="304" y="116"/>
                    </a:lnTo>
                    <a:lnTo>
                      <a:pt x="304" y="116"/>
                    </a:lnTo>
                    <a:lnTo>
                      <a:pt x="304" y="116"/>
                    </a:lnTo>
                    <a:close/>
                    <a:moveTo>
                      <a:pt x="308" y="120"/>
                    </a:moveTo>
                    <a:lnTo>
                      <a:pt x="308" y="116"/>
                    </a:lnTo>
                    <a:lnTo>
                      <a:pt x="312" y="116"/>
                    </a:lnTo>
                    <a:lnTo>
                      <a:pt x="312" y="120"/>
                    </a:lnTo>
                    <a:lnTo>
                      <a:pt x="308" y="120"/>
                    </a:lnTo>
                    <a:lnTo>
                      <a:pt x="308" y="120"/>
                    </a:lnTo>
                    <a:lnTo>
                      <a:pt x="308" y="120"/>
                    </a:lnTo>
                    <a:close/>
                    <a:moveTo>
                      <a:pt x="414" y="120"/>
                    </a:moveTo>
                    <a:lnTo>
                      <a:pt x="416" y="120"/>
                    </a:lnTo>
                    <a:lnTo>
                      <a:pt x="414" y="120"/>
                    </a:lnTo>
                    <a:lnTo>
                      <a:pt x="414" y="120"/>
                    </a:lnTo>
                    <a:lnTo>
                      <a:pt x="414" y="120"/>
                    </a:lnTo>
                    <a:close/>
                    <a:moveTo>
                      <a:pt x="354" y="124"/>
                    </a:move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54" y="124"/>
                    </a:moveTo>
                    <a:lnTo>
                      <a:pt x="350" y="124"/>
                    </a:lnTo>
                    <a:lnTo>
                      <a:pt x="354" y="124"/>
                    </a:lnTo>
                    <a:lnTo>
                      <a:pt x="354" y="120"/>
                    </a:lnTo>
                    <a:lnTo>
                      <a:pt x="354" y="124"/>
                    </a:lnTo>
                    <a:lnTo>
                      <a:pt x="354" y="124"/>
                    </a:lnTo>
                    <a:lnTo>
                      <a:pt x="354" y="124"/>
                    </a:lnTo>
                    <a:close/>
                    <a:moveTo>
                      <a:pt x="328" y="128"/>
                    </a:moveTo>
                    <a:lnTo>
                      <a:pt x="328" y="124"/>
                    </a:lnTo>
                    <a:lnTo>
                      <a:pt x="328" y="128"/>
                    </a:lnTo>
                    <a:lnTo>
                      <a:pt x="324" y="128"/>
                    </a:lnTo>
                    <a:lnTo>
                      <a:pt x="324" y="124"/>
                    </a:lnTo>
                    <a:lnTo>
                      <a:pt x="328" y="124"/>
                    </a:lnTo>
                    <a:lnTo>
                      <a:pt x="328" y="128"/>
                    </a:lnTo>
                    <a:lnTo>
                      <a:pt x="328" y="128"/>
                    </a:lnTo>
                    <a:lnTo>
                      <a:pt x="328" y="128"/>
                    </a:lnTo>
                    <a:close/>
                    <a:moveTo>
                      <a:pt x="416" y="146"/>
                    </a:moveTo>
                    <a:lnTo>
                      <a:pt x="416" y="142"/>
                    </a:lnTo>
                    <a:lnTo>
                      <a:pt x="416" y="140"/>
                    </a:lnTo>
                    <a:lnTo>
                      <a:pt x="416" y="142"/>
                    </a:lnTo>
                    <a:lnTo>
                      <a:pt x="416" y="146"/>
                    </a:lnTo>
                    <a:lnTo>
                      <a:pt x="416" y="146"/>
                    </a:lnTo>
                    <a:lnTo>
                      <a:pt x="416" y="146"/>
                    </a:lnTo>
                    <a:close/>
                    <a:moveTo>
                      <a:pt x="498" y="318"/>
                    </a:moveTo>
                    <a:lnTo>
                      <a:pt x="498" y="314"/>
                    </a:lnTo>
                    <a:lnTo>
                      <a:pt x="502" y="314"/>
                    </a:lnTo>
                    <a:lnTo>
                      <a:pt x="498" y="314"/>
                    </a:lnTo>
                    <a:lnTo>
                      <a:pt x="498" y="318"/>
                    </a:lnTo>
                    <a:lnTo>
                      <a:pt x="498" y="318"/>
                    </a:lnTo>
                    <a:lnTo>
                      <a:pt x="498" y="318"/>
                    </a:lnTo>
                    <a:close/>
                    <a:moveTo>
                      <a:pt x="494" y="326"/>
                    </a:moveTo>
                    <a:lnTo>
                      <a:pt x="494" y="322"/>
                    </a:lnTo>
                    <a:lnTo>
                      <a:pt x="494" y="326"/>
                    </a:lnTo>
                    <a:lnTo>
                      <a:pt x="494" y="326"/>
                    </a:lnTo>
                    <a:lnTo>
                      <a:pt x="494" y="326"/>
                    </a:lnTo>
                    <a:close/>
                    <a:moveTo>
                      <a:pt x="360" y="552"/>
                    </a:moveTo>
                    <a:lnTo>
                      <a:pt x="358" y="552"/>
                    </a:lnTo>
                    <a:lnTo>
                      <a:pt x="358" y="550"/>
                    </a:lnTo>
                    <a:lnTo>
                      <a:pt x="360" y="546"/>
                    </a:lnTo>
                    <a:lnTo>
                      <a:pt x="360" y="550"/>
                    </a:lnTo>
                    <a:lnTo>
                      <a:pt x="360" y="552"/>
                    </a:lnTo>
                    <a:lnTo>
                      <a:pt x="360" y="552"/>
                    </a:lnTo>
                    <a:lnTo>
                      <a:pt x="360" y="552"/>
                    </a:lnTo>
                    <a:close/>
                    <a:moveTo>
                      <a:pt x="360" y="578"/>
                    </a:moveTo>
                    <a:lnTo>
                      <a:pt x="360" y="574"/>
                    </a:lnTo>
                    <a:lnTo>
                      <a:pt x="360" y="570"/>
                    </a:lnTo>
                    <a:lnTo>
                      <a:pt x="360" y="566"/>
                    </a:lnTo>
                    <a:lnTo>
                      <a:pt x="360" y="570"/>
                    </a:lnTo>
                    <a:lnTo>
                      <a:pt x="360" y="574"/>
                    </a:lnTo>
                    <a:lnTo>
                      <a:pt x="360" y="578"/>
                    </a:lnTo>
                    <a:lnTo>
                      <a:pt x="360" y="578"/>
                    </a:lnTo>
                    <a:lnTo>
                      <a:pt x="360" y="578"/>
                    </a:lnTo>
                    <a:close/>
                    <a:moveTo>
                      <a:pt x="312" y="116"/>
                    </a:moveTo>
                    <a:lnTo>
                      <a:pt x="312" y="114"/>
                    </a:lnTo>
                    <a:lnTo>
                      <a:pt x="316" y="114"/>
                    </a:lnTo>
                    <a:lnTo>
                      <a:pt x="316" y="110"/>
                    </a:lnTo>
                    <a:lnTo>
                      <a:pt x="316" y="106"/>
                    </a:lnTo>
                    <a:lnTo>
                      <a:pt x="316" y="102"/>
                    </a:lnTo>
                    <a:lnTo>
                      <a:pt x="320" y="102"/>
                    </a:lnTo>
                    <a:lnTo>
                      <a:pt x="324" y="102"/>
                    </a:lnTo>
                    <a:lnTo>
                      <a:pt x="324" y="106"/>
                    </a:lnTo>
                    <a:lnTo>
                      <a:pt x="324" y="110"/>
                    </a:lnTo>
                    <a:lnTo>
                      <a:pt x="320" y="110"/>
                    </a:lnTo>
                    <a:lnTo>
                      <a:pt x="320" y="114"/>
                    </a:lnTo>
                    <a:lnTo>
                      <a:pt x="316" y="114"/>
                    </a:lnTo>
                    <a:lnTo>
                      <a:pt x="316" y="116"/>
                    </a:lnTo>
                    <a:lnTo>
                      <a:pt x="312" y="116"/>
                    </a:lnTo>
                    <a:lnTo>
                      <a:pt x="312" y="116"/>
                    </a:lnTo>
                    <a:lnTo>
                      <a:pt x="312" y="116"/>
                    </a:lnTo>
                    <a:close/>
                    <a:moveTo>
                      <a:pt x="420" y="494"/>
                    </a:moveTo>
                    <a:lnTo>
                      <a:pt x="424" y="494"/>
                    </a:lnTo>
                    <a:lnTo>
                      <a:pt x="420" y="494"/>
                    </a:lnTo>
                    <a:lnTo>
                      <a:pt x="420" y="494"/>
                    </a:lnTo>
                    <a:lnTo>
                      <a:pt x="420" y="494"/>
                    </a:lnTo>
                    <a:close/>
                    <a:moveTo>
                      <a:pt x="406" y="508"/>
                    </a:moveTo>
                    <a:lnTo>
                      <a:pt x="406" y="504"/>
                    </a:lnTo>
                    <a:lnTo>
                      <a:pt x="406" y="508"/>
                    </a:lnTo>
                    <a:lnTo>
                      <a:pt x="406" y="508"/>
                    </a:lnTo>
                    <a:lnTo>
                      <a:pt x="406" y="50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2" name="Freeform 181">
                <a:extLst>
                  <a:ext uri="{FF2B5EF4-FFF2-40B4-BE49-F238E27FC236}">
                    <a16:creationId xmlns:a16="http://schemas.microsoft.com/office/drawing/2014/main" id="{7783E519-765D-41FD-854F-73F02866E30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19375" y="4219643"/>
                <a:ext cx="273050" cy="454025"/>
              </a:xfrm>
              <a:custGeom>
                <a:avLst/>
                <a:gdLst>
                  <a:gd name="T0" fmla="*/ 68 w 172"/>
                  <a:gd name="T1" fmla="*/ 30 h 286"/>
                  <a:gd name="T2" fmla="*/ 82 w 172"/>
                  <a:gd name="T3" fmla="*/ 22 h 286"/>
                  <a:gd name="T4" fmla="*/ 98 w 172"/>
                  <a:gd name="T5" fmla="*/ 8 h 286"/>
                  <a:gd name="T6" fmla="*/ 104 w 172"/>
                  <a:gd name="T7" fmla="*/ 0 h 286"/>
                  <a:gd name="T8" fmla="*/ 104 w 172"/>
                  <a:gd name="T9" fmla="*/ 12 h 286"/>
                  <a:gd name="T10" fmla="*/ 94 w 172"/>
                  <a:gd name="T11" fmla="*/ 26 h 286"/>
                  <a:gd name="T12" fmla="*/ 86 w 172"/>
                  <a:gd name="T13" fmla="*/ 44 h 286"/>
                  <a:gd name="T14" fmla="*/ 86 w 172"/>
                  <a:gd name="T15" fmla="*/ 60 h 286"/>
                  <a:gd name="T16" fmla="*/ 98 w 172"/>
                  <a:gd name="T17" fmla="*/ 74 h 286"/>
                  <a:gd name="T18" fmla="*/ 98 w 172"/>
                  <a:gd name="T19" fmla="*/ 90 h 286"/>
                  <a:gd name="T20" fmla="*/ 112 w 172"/>
                  <a:gd name="T21" fmla="*/ 96 h 286"/>
                  <a:gd name="T22" fmla="*/ 128 w 172"/>
                  <a:gd name="T23" fmla="*/ 96 h 286"/>
                  <a:gd name="T24" fmla="*/ 142 w 172"/>
                  <a:gd name="T25" fmla="*/ 108 h 286"/>
                  <a:gd name="T26" fmla="*/ 164 w 172"/>
                  <a:gd name="T27" fmla="*/ 108 h 286"/>
                  <a:gd name="T28" fmla="*/ 160 w 172"/>
                  <a:gd name="T29" fmla="*/ 130 h 286"/>
                  <a:gd name="T30" fmla="*/ 164 w 172"/>
                  <a:gd name="T31" fmla="*/ 150 h 286"/>
                  <a:gd name="T32" fmla="*/ 160 w 172"/>
                  <a:gd name="T33" fmla="*/ 164 h 286"/>
                  <a:gd name="T34" fmla="*/ 172 w 172"/>
                  <a:gd name="T35" fmla="*/ 186 h 286"/>
                  <a:gd name="T36" fmla="*/ 168 w 172"/>
                  <a:gd name="T37" fmla="*/ 186 h 286"/>
                  <a:gd name="T38" fmla="*/ 158 w 172"/>
                  <a:gd name="T39" fmla="*/ 182 h 286"/>
                  <a:gd name="T40" fmla="*/ 154 w 172"/>
                  <a:gd name="T41" fmla="*/ 186 h 286"/>
                  <a:gd name="T42" fmla="*/ 132 w 172"/>
                  <a:gd name="T43" fmla="*/ 198 h 286"/>
                  <a:gd name="T44" fmla="*/ 138 w 172"/>
                  <a:gd name="T45" fmla="*/ 202 h 286"/>
                  <a:gd name="T46" fmla="*/ 128 w 172"/>
                  <a:gd name="T47" fmla="*/ 216 h 286"/>
                  <a:gd name="T48" fmla="*/ 138 w 172"/>
                  <a:gd name="T49" fmla="*/ 232 h 286"/>
                  <a:gd name="T50" fmla="*/ 134 w 172"/>
                  <a:gd name="T51" fmla="*/ 246 h 286"/>
                  <a:gd name="T52" fmla="*/ 128 w 172"/>
                  <a:gd name="T53" fmla="*/ 286 h 286"/>
                  <a:gd name="T54" fmla="*/ 128 w 172"/>
                  <a:gd name="T55" fmla="*/ 260 h 286"/>
                  <a:gd name="T56" fmla="*/ 112 w 172"/>
                  <a:gd name="T57" fmla="*/ 254 h 286"/>
                  <a:gd name="T58" fmla="*/ 98 w 172"/>
                  <a:gd name="T59" fmla="*/ 258 h 286"/>
                  <a:gd name="T60" fmla="*/ 86 w 172"/>
                  <a:gd name="T61" fmla="*/ 254 h 286"/>
                  <a:gd name="T62" fmla="*/ 78 w 172"/>
                  <a:gd name="T63" fmla="*/ 246 h 286"/>
                  <a:gd name="T64" fmla="*/ 68 w 172"/>
                  <a:gd name="T65" fmla="*/ 228 h 286"/>
                  <a:gd name="T66" fmla="*/ 60 w 172"/>
                  <a:gd name="T67" fmla="*/ 216 h 286"/>
                  <a:gd name="T68" fmla="*/ 46 w 172"/>
                  <a:gd name="T69" fmla="*/ 208 h 286"/>
                  <a:gd name="T70" fmla="*/ 22 w 172"/>
                  <a:gd name="T71" fmla="*/ 208 h 286"/>
                  <a:gd name="T72" fmla="*/ 12 w 172"/>
                  <a:gd name="T73" fmla="*/ 198 h 286"/>
                  <a:gd name="T74" fmla="*/ 0 w 172"/>
                  <a:gd name="T75" fmla="*/ 182 h 286"/>
                  <a:gd name="T76" fmla="*/ 8 w 172"/>
                  <a:gd name="T77" fmla="*/ 176 h 286"/>
                  <a:gd name="T78" fmla="*/ 16 w 172"/>
                  <a:gd name="T79" fmla="*/ 168 h 286"/>
                  <a:gd name="T80" fmla="*/ 22 w 172"/>
                  <a:gd name="T81" fmla="*/ 160 h 286"/>
                  <a:gd name="T82" fmla="*/ 26 w 172"/>
                  <a:gd name="T83" fmla="*/ 146 h 286"/>
                  <a:gd name="T84" fmla="*/ 22 w 172"/>
                  <a:gd name="T85" fmla="*/ 142 h 286"/>
                  <a:gd name="T86" fmla="*/ 22 w 172"/>
                  <a:gd name="T87" fmla="*/ 126 h 286"/>
                  <a:gd name="T88" fmla="*/ 22 w 172"/>
                  <a:gd name="T89" fmla="*/ 112 h 286"/>
                  <a:gd name="T90" fmla="*/ 18 w 172"/>
                  <a:gd name="T91" fmla="*/ 94 h 286"/>
                  <a:gd name="T92" fmla="*/ 26 w 172"/>
                  <a:gd name="T93" fmla="*/ 82 h 286"/>
                  <a:gd name="T94" fmla="*/ 22 w 172"/>
                  <a:gd name="T95" fmla="*/ 68 h 286"/>
                  <a:gd name="T96" fmla="*/ 34 w 172"/>
                  <a:gd name="T97" fmla="*/ 74 h 286"/>
                  <a:gd name="T98" fmla="*/ 38 w 172"/>
                  <a:gd name="T99" fmla="*/ 60 h 286"/>
                  <a:gd name="T100" fmla="*/ 48 w 172"/>
                  <a:gd name="T101" fmla="*/ 44 h 286"/>
                  <a:gd name="T102" fmla="*/ 52 w 172"/>
                  <a:gd name="T103" fmla="*/ 34 h 286"/>
                  <a:gd name="T104" fmla="*/ 60 w 172"/>
                  <a:gd name="T105" fmla="*/ 26 h 286"/>
                  <a:gd name="T106" fmla="*/ 22 w 172"/>
                  <a:gd name="T107" fmla="*/ 142 h 286"/>
                  <a:gd name="T108" fmla="*/ 16 w 172"/>
                  <a:gd name="T109" fmla="*/ 172 h 2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72" h="286">
                    <a:moveTo>
                      <a:pt x="60" y="22"/>
                    </a:moveTo>
                    <a:lnTo>
                      <a:pt x="64" y="26"/>
                    </a:lnTo>
                    <a:lnTo>
                      <a:pt x="68" y="26"/>
                    </a:lnTo>
                    <a:lnTo>
                      <a:pt x="64" y="26"/>
                    </a:lnTo>
                    <a:lnTo>
                      <a:pt x="64" y="30"/>
                    </a:lnTo>
                    <a:lnTo>
                      <a:pt x="68" y="30"/>
                    </a:lnTo>
                    <a:lnTo>
                      <a:pt x="68" y="26"/>
                    </a:lnTo>
                    <a:lnTo>
                      <a:pt x="68" y="22"/>
                    </a:lnTo>
                    <a:lnTo>
                      <a:pt x="72" y="18"/>
                    </a:lnTo>
                    <a:lnTo>
                      <a:pt x="74" y="22"/>
                    </a:lnTo>
                    <a:lnTo>
                      <a:pt x="78" y="22"/>
                    </a:lnTo>
                    <a:lnTo>
                      <a:pt x="82" y="22"/>
                    </a:lnTo>
                    <a:lnTo>
                      <a:pt x="82" y="18"/>
                    </a:lnTo>
                    <a:lnTo>
                      <a:pt x="86" y="18"/>
                    </a:lnTo>
                    <a:lnTo>
                      <a:pt x="90" y="14"/>
                    </a:lnTo>
                    <a:lnTo>
                      <a:pt x="94" y="12"/>
                    </a:lnTo>
                    <a:lnTo>
                      <a:pt x="98" y="12"/>
                    </a:lnTo>
                    <a:lnTo>
                      <a:pt x="98" y="8"/>
                    </a:lnTo>
                    <a:lnTo>
                      <a:pt x="98" y="4"/>
                    </a:lnTo>
                    <a:lnTo>
                      <a:pt x="102" y="4"/>
                    </a:lnTo>
                    <a:lnTo>
                      <a:pt x="102" y="8"/>
                    </a:lnTo>
                    <a:lnTo>
                      <a:pt x="102" y="4"/>
                    </a:lnTo>
                    <a:lnTo>
                      <a:pt x="104" y="4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12" y="4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4" y="12"/>
                    </a:lnTo>
                    <a:lnTo>
                      <a:pt x="104" y="14"/>
                    </a:lnTo>
                    <a:lnTo>
                      <a:pt x="102" y="14"/>
                    </a:lnTo>
                    <a:lnTo>
                      <a:pt x="98" y="18"/>
                    </a:lnTo>
                    <a:lnTo>
                      <a:pt x="98" y="22"/>
                    </a:lnTo>
                    <a:lnTo>
                      <a:pt x="94" y="22"/>
                    </a:lnTo>
                    <a:lnTo>
                      <a:pt x="94" y="26"/>
                    </a:lnTo>
                    <a:lnTo>
                      <a:pt x="90" y="26"/>
                    </a:lnTo>
                    <a:lnTo>
                      <a:pt x="90" y="30"/>
                    </a:lnTo>
                    <a:lnTo>
                      <a:pt x="90" y="34"/>
                    </a:lnTo>
                    <a:lnTo>
                      <a:pt x="86" y="38"/>
                    </a:lnTo>
                    <a:lnTo>
                      <a:pt x="86" y="42"/>
                    </a:lnTo>
                    <a:lnTo>
                      <a:pt x="86" y="44"/>
                    </a:lnTo>
                    <a:lnTo>
                      <a:pt x="86" y="48"/>
                    </a:lnTo>
                    <a:lnTo>
                      <a:pt x="86" y="52"/>
                    </a:lnTo>
                    <a:lnTo>
                      <a:pt x="82" y="52"/>
                    </a:lnTo>
                    <a:lnTo>
                      <a:pt x="82" y="56"/>
                    </a:lnTo>
                    <a:lnTo>
                      <a:pt x="86" y="56"/>
                    </a:lnTo>
                    <a:lnTo>
                      <a:pt x="86" y="60"/>
                    </a:lnTo>
                    <a:lnTo>
                      <a:pt x="90" y="60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94" y="70"/>
                    </a:lnTo>
                    <a:lnTo>
                      <a:pt x="94" y="74"/>
                    </a:lnTo>
                    <a:lnTo>
                      <a:pt x="98" y="74"/>
                    </a:lnTo>
                    <a:lnTo>
                      <a:pt x="98" y="78"/>
                    </a:lnTo>
                    <a:lnTo>
                      <a:pt x="94" y="78"/>
                    </a:lnTo>
                    <a:lnTo>
                      <a:pt x="94" y="82"/>
                    </a:lnTo>
                    <a:lnTo>
                      <a:pt x="94" y="86"/>
                    </a:lnTo>
                    <a:lnTo>
                      <a:pt x="94" y="90"/>
                    </a:lnTo>
                    <a:lnTo>
                      <a:pt x="98" y="90"/>
                    </a:lnTo>
                    <a:lnTo>
                      <a:pt x="98" y="94"/>
                    </a:lnTo>
                    <a:lnTo>
                      <a:pt x="102" y="94"/>
                    </a:lnTo>
                    <a:lnTo>
                      <a:pt x="104" y="94"/>
                    </a:lnTo>
                    <a:lnTo>
                      <a:pt x="108" y="94"/>
                    </a:lnTo>
                    <a:lnTo>
                      <a:pt x="112" y="94"/>
                    </a:lnTo>
                    <a:lnTo>
                      <a:pt x="112" y="96"/>
                    </a:lnTo>
                    <a:lnTo>
                      <a:pt x="112" y="94"/>
                    </a:lnTo>
                    <a:lnTo>
                      <a:pt x="116" y="94"/>
                    </a:lnTo>
                    <a:lnTo>
                      <a:pt x="120" y="94"/>
                    </a:lnTo>
                    <a:lnTo>
                      <a:pt x="124" y="94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4"/>
                    </a:lnTo>
                    <a:lnTo>
                      <a:pt x="128" y="96"/>
                    </a:lnTo>
                    <a:lnTo>
                      <a:pt x="132" y="104"/>
                    </a:lnTo>
                    <a:lnTo>
                      <a:pt x="138" y="108"/>
                    </a:lnTo>
                    <a:lnTo>
                      <a:pt x="138" y="112"/>
                    </a:lnTo>
                    <a:lnTo>
                      <a:pt x="142" y="108"/>
                    </a:lnTo>
                    <a:lnTo>
                      <a:pt x="146" y="108"/>
                    </a:lnTo>
                    <a:lnTo>
                      <a:pt x="150" y="108"/>
                    </a:lnTo>
                    <a:lnTo>
                      <a:pt x="154" y="108"/>
                    </a:lnTo>
                    <a:lnTo>
                      <a:pt x="158" y="108"/>
                    </a:lnTo>
                    <a:lnTo>
                      <a:pt x="160" y="108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6"/>
                    </a:lnTo>
                    <a:lnTo>
                      <a:pt x="160" y="120"/>
                    </a:lnTo>
                    <a:lnTo>
                      <a:pt x="160" y="124"/>
                    </a:lnTo>
                    <a:lnTo>
                      <a:pt x="160" y="126"/>
                    </a:lnTo>
                    <a:lnTo>
                      <a:pt x="160" y="130"/>
                    </a:lnTo>
                    <a:lnTo>
                      <a:pt x="160" y="134"/>
                    </a:lnTo>
                    <a:lnTo>
                      <a:pt x="158" y="138"/>
                    </a:lnTo>
                    <a:lnTo>
                      <a:pt x="160" y="142"/>
                    </a:lnTo>
                    <a:lnTo>
                      <a:pt x="160" y="146"/>
                    </a:lnTo>
                    <a:lnTo>
                      <a:pt x="160" y="150"/>
                    </a:lnTo>
                    <a:lnTo>
                      <a:pt x="164" y="150"/>
                    </a:lnTo>
                    <a:lnTo>
                      <a:pt x="164" y="152"/>
                    </a:lnTo>
                    <a:lnTo>
                      <a:pt x="164" y="156"/>
                    </a:lnTo>
                    <a:lnTo>
                      <a:pt x="168" y="156"/>
                    </a:lnTo>
                    <a:lnTo>
                      <a:pt x="164" y="156"/>
                    </a:lnTo>
                    <a:lnTo>
                      <a:pt x="164" y="160"/>
                    </a:lnTo>
                    <a:lnTo>
                      <a:pt x="160" y="164"/>
                    </a:lnTo>
                    <a:lnTo>
                      <a:pt x="160" y="168"/>
                    </a:lnTo>
                    <a:lnTo>
                      <a:pt x="164" y="168"/>
                    </a:lnTo>
                    <a:lnTo>
                      <a:pt x="168" y="172"/>
                    </a:lnTo>
                    <a:lnTo>
                      <a:pt x="168" y="176"/>
                    </a:lnTo>
                    <a:lnTo>
                      <a:pt x="168" y="178"/>
                    </a:lnTo>
                    <a:lnTo>
                      <a:pt x="172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68" y="194"/>
                    </a:lnTo>
                    <a:lnTo>
                      <a:pt x="168" y="190"/>
                    </a:lnTo>
                    <a:lnTo>
                      <a:pt x="172" y="190"/>
                    </a:lnTo>
                    <a:lnTo>
                      <a:pt x="168" y="186"/>
                    </a:lnTo>
                    <a:lnTo>
                      <a:pt x="168" y="182"/>
                    </a:lnTo>
                    <a:lnTo>
                      <a:pt x="168" y="178"/>
                    </a:lnTo>
                    <a:lnTo>
                      <a:pt x="164" y="178"/>
                    </a:lnTo>
                    <a:lnTo>
                      <a:pt x="160" y="178"/>
                    </a:lnTo>
                    <a:lnTo>
                      <a:pt x="160" y="182"/>
                    </a:lnTo>
                    <a:lnTo>
                      <a:pt x="158" y="182"/>
                    </a:lnTo>
                    <a:lnTo>
                      <a:pt x="158" y="186"/>
                    </a:lnTo>
                    <a:lnTo>
                      <a:pt x="158" y="182"/>
                    </a:lnTo>
                    <a:lnTo>
                      <a:pt x="154" y="182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46" y="186"/>
                    </a:lnTo>
                    <a:lnTo>
                      <a:pt x="142" y="186"/>
                    </a:lnTo>
                    <a:lnTo>
                      <a:pt x="138" y="186"/>
                    </a:lnTo>
                    <a:lnTo>
                      <a:pt x="134" y="182"/>
                    </a:lnTo>
                    <a:lnTo>
                      <a:pt x="132" y="186"/>
                    </a:lnTo>
                    <a:lnTo>
                      <a:pt x="132" y="198"/>
                    </a:lnTo>
                    <a:lnTo>
                      <a:pt x="134" y="198"/>
                    </a:lnTo>
                    <a:lnTo>
                      <a:pt x="138" y="198"/>
                    </a:lnTo>
                    <a:lnTo>
                      <a:pt x="142" y="202"/>
                    </a:lnTo>
                    <a:lnTo>
                      <a:pt x="142" y="206"/>
                    </a:lnTo>
                    <a:lnTo>
                      <a:pt x="138" y="206"/>
                    </a:lnTo>
                    <a:lnTo>
                      <a:pt x="138" y="202"/>
                    </a:lnTo>
                    <a:lnTo>
                      <a:pt x="134" y="202"/>
                    </a:lnTo>
                    <a:lnTo>
                      <a:pt x="132" y="206"/>
                    </a:lnTo>
                    <a:lnTo>
                      <a:pt x="128" y="206"/>
                    </a:lnTo>
                    <a:lnTo>
                      <a:pt x="128" y="208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20"/>
                    </a:lnTo>
                    <a:lnTo>
                      <a:pt x="132" y="224"/>
                    </a:lnTo>
                    <a:lnTo>
                      <a:pt x="134" y="224"/>
                    </a:lnTo>
                    <a:lnTo>
                      <a:pt x="134" y="228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4" y="232"/>
                    </a:lnTo>
                    <a:lnTo>
                      <a:pt x="138" y="232"/>
                    </a:lnTo>
                    <a:lnTo>
                      <a:pt x="138" y="234"/>
                    </a:lnTo>
                    <a:lnTo>
                      <a:pt x="138" y="238"/>
                    </a:lnTo>
                    <a:lnTo>
                      <a:pt x="134" y="238"/>
                    </a:lnTo>
                    <a:lnTo>
                      <a:pt x="134" y="246"/>
                    </a:lnTo>
                    <a:lnTo>
                      <a:pt x="134" y="254"/>
                    </a:lnTo>
                    <a:lnTo>
                      <a:pt x="134" y="258"/>
                    </a:lnTo>
                    <a:lnTo>
                      <a:pt x="132" y="272"/>
                    </a:lnTo>
                    <a:lnTo>
                      <a:pt x="132" y="278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2"/>
                    </a:lnTo>
                    <a:lnTo>
                      <a:pt x="124" y="278"/>
                    </a:lnTo>
                    <a:lnTo>
                      <a:pt x="120" y="278"/>
                    </a:lnTo>
                    <a:lnTo>
                      <a:pt x="120" y="274"/>
                    </a:lnTo>
                    <a:lnTo>
                      <a:pt x="124" y="272"/>
                    </a:lnTo>
                    <a:lnTo>
                      <a:pt x="128" y="260"/>
                    </a:lnTo>
                    <a:lnTo>
                      <a:pt x="128" y="258"/>
                    </a:lnTo>
                    <a:lnTo>
                      <a:pt x="124" y="258"/>
                    </a:lnTo>
                    <a:lnTo>
                      <a:pt x="120" y="258"/>
                    </a:lnTo>
                    <a:lnTo>
                      <a:pt x="120" y="254"/>
                    </a:lnTo>
                    <a:lnTo>
                      <a:pt x="116" y="254"/>
                    </a:lnTo>
                    <a:lnTo>
                      <a:pt x="112" y="254"/>
                    </a:lnTo>
                    <a:lnTo>
                      <a:pt x="108" y="254"/>
                    </a:lnTo>
                    <a:lnTo>
                      <a:pt x="104" y="254"/>
                    </a:lnTo>
                    <a:lnTo>
                      <a:pt x="104" y="250"/>
                    </a:lnTo>
                    <a:lnTo>
                      <a:pt x="102" y="254"/>
                    </a:lnTo>
                    <a:lnTo>
                      <a:pt x="102" y="258"/>
                    </a:lnTo>
                    <a:lnTo>
                      <a:pt x="98" y="258"/>
                    </a:lnTo>
                    <a:lnTo>
                      <a:pt x="94" y="258"/>
                    </a:lnTo>
                    <a:lnTo>
                      <a:pt x="90" y="258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6" y="258"/>
                    </a:lnTo>
                    <a:lnTo>
                      <a:pt x="86" y="254"/>
                    </a:lnTo>
                    <a:lnTo>
                      <a:pt x="82" y="254"/>
                    </a:lnTo>
                    <a:lnTo>
                      <a:pt x="86" y="254"/>
                    </a:lnTo>
                    <a:lnTo>
                      <a:pt x="86" y="250"/>
                    </a:lnTo>
                    <a:lnTo>
                      <a:pt x="86" y="246"/>
                    </a:lnTo>
                    <a:lnTo>
                      <a:pt x="82" y="246"/>
                    </a:lnTo>
                    <a:lnTo>
                      <a:pt x="78" y="246"/>
                    </a:lnTo>
                    <a:lnTo>
                      <a:pt x="78" y="242"/>
                    </a:lnTo>
                    <a:lnTo>
                      <a:pt x="78" y="238"/>
                    </a:lnTo>
                    <a:lnTo>
                      <a:pt x="74" y="234"/>
                    </a:lnTo>
                    <a:lnTo>
                      <a:pt x="72" y="232"/>
                    </a:lnTo>
                    <a:lnTo>
                      <a:pt x="68" y="232"/>
                    </a:lnTo>
                    <a:lnTo>
                      <a:pt x="68" y="228"/>
                    </a:lnTo>
                    <a:lnTo>
                      <a:pt x="68" y="224"/>
                    </a:lnTo>
                    <a:lnTo>
                      <a:pt x="64" y="220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60" y="220"/>
                    </a:lnTo>
                    <a:lnTo>
                      <a:pt x="60" y="216"/>
                    </a:lnTo>
                    <a:lnTo>
                      <a:pt x="56" y="216"/>
                    </a:lnTo>
                    <a:lnTo>
                      <a:pt x="52" y="216"/>
                    </a:lnTo>
                    <a:lnTo>
                      <a:pt x="48" y="216"/>
                    </a:lnTo>
                    <a:lnTo>
                      <a:pt x="48" y="212"/>
                    </a:lnTo>
                    <a:lnTo>
                      <a:pt x="46" y="212"/>
                    </a:lnTo>
                    <a:lnTo>
                      <a:pt x="46" y="208"/>
                    </a:lnTo>
                    <a:lnTo>
                      <a:pt x="42" y="208"/>
                    </a:lnTo>
                    <a:lnTo>
                      <a:pt x="38" y="208"/>
                    </a:lnTo>
                    <a:lnTo>
                      <a:pt x="34" y="208"/>
                    </a:lnTo>
                    <a:lnTo>
                      <a:pt x="30" y="208"/>
                    </a:lnTo>
                    <a:lnTo>
                      <a:pt x="26" y="208"/>
                    </a:lnTo>
                    <a:lnTo>
                      <a:pt x="22" y="208"/>
                    </a:lnTo>
                    <a:lnTo>
                      <a:pt x="22" y="206"/>
                    </a:lnTo>
                    <a:lnTo>
                      <a:pt x="22" y="202"/>
                    </a:lnTo>
                    <a:lnTo>
                      <a:pt x="18" y="202"/>
                    </a:lnTo>
                    <a:lnTo>
                      <a:pt x="16" y="202"/>
                    </a:lnTo>
                    <a:lnTo>
                      <a:pt x="16" y="198"/>
                    </a:lnTo>
                    <a:lnTo>
                      <a:pt x="12" y="198"/>
                    </a:lnTo>
                    <a:lnTo>
                      <a:pt x="8" y="194"/>
                    </a:lnTo>
                    <a:lnTo>
                      <a:pt x="4" y="194"/>
                    </a:lnTo>
                    <a:lnTo>
                      <a:pt x="4" y="190"/>
                    </a:lnTo>
                    <a:lnTo>
                      <a:pt x="4" y="186"/>
                    </a:lnTo>
                    <a:lnTo>
                      <a:pt x="0" y="186"/>
                    </a:lnTo>
                    <a:lnTo>
                      <a:pt x="0" y="182"/>
                    </a:lnTo>
                    <a:lnTo>
                      <a:pt x="4" y="182"/>
                    </a:lnTo>
                    <a:lnTo>
                      <a:pt x="8" y="182"/>
                    </a:lnTo>
                    <a:lnTo>
                      <a:pt x="8" y="178"/>
                    </a:lnTo>
                    <a:lnTo>
                      <a:pt x="4" y="178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6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8" y="172"/>
                    </a:lnTo>
                    <a:lnTo>
                      <a:pt x="18" y="168"/>
                    </a:lnTo>
                    <a:lnTo>
                      <a:pt x="18" y="164"/>
                    </a:lnTo>
                    <a:lnTo>
                      <a:pt x="22" y="164"/>
                    </a:lnTo>
                    <a:lnTo>
                      <a:pt x="22" y="160"/>
                    </a:lnTo>
                    <a:lnTo>
                      <a:pt x="22" y="156"/>
                    </a:lnTo>
                    <a:lnTo>
                      <a:pt x="26" y="152"/>
                    </a:lnTo>
                    <a:lnTo>
                      <a:pt x="26" y="150"/>
                    </a:lnTo>
                    <a:lnTo>
                      <a:pt x="30" y="150"/>
                    </a:lnTo>
                    <a:lnTo>
                      <a:pt x="26" y="150"/>
                    </a:lnTo>
                    <a:lnTo>
                      <a:pt x="26" y="146"/>
                    </a:lnTo>
                    <a:lnTo>
                      <a:pt x="22" y="146"/>
                    </a:lnTo>
                    <a:lnTo>
                      <a:pt x="22" y="150"/>
                    </a:lnTo>
                    <a:lnTo>
                      <a:pt x="22" y="146"/>
                    </a:lnTo>
                    <a:lnTo>
                      <a:pt x="22" y="142"/>
                    </a:ln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38"/>
                    </a:lnTo>
                    <a:lnTo>
                      <a:pt x="26" y="138"/>
                    </a:lnTo>
                    <a:lnTo>
                      <a:pt x="26" y="134"/>
                    </a:lnTo>
                    <a:lnTo>
                      <a:pt x="26" y="130"/>
                    </a:lnTo>
                    <a:lnTo>
                      <a:pt x="22" y="130"/>
                    </a:lnTo>
                    <a:lnTo>
                      <a:pt x="22" y="126"/>
                    </a:lnTo>
                    <a:lnTo>
                      <a:pt x="22" y="124"/>
                    </a:lnTo>
                    <a:lnTo>
                      <a:pt x="22" y="120"/>
                    </a:lnTo>
                    <a:lnTo>
                      <a:pt x="26" y="120"/>
                    </a:lnTo>
                    <a:lnTo>
                      <a:pt x="26" y="116"/>
                    </a:lnTo>
                    <a:lnTo>
                      <a:pt x="26" y="112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18" y="96"/>
                    </a:lnTo>
                    <a:lnTo>
                      <a:pt x="18" y="94"/>
                    </a:lnTo>
                    <a:lnTo>
                      <a:pt x="16" y="90"/>
                    </a:lnTo>
                    <a:lnTo>
                      <a:pt x="18" y="86"/>
                    </a:lnTo>
                    <a:lnTo>
                      <a:pt x="18" y="82"/>
                    </a:lnTo>
                    <a:lnTo>
                      <a:pt x="18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2" y="82"/>
                    </a:lnTo>
                    <a:lnTo>
                      <a:pt x="26" y="78"/>
                    </a:lnTo>
                    <a:lnTo>
                      <a:pt x="26" y="74"/>
                    </a:lnTo>
                    <a:lnTo>
                      <a:pt x="22" y="74"/>
                    </a:lnTo>
                    <a:lnTo>
                      <a:pt x="22" y="70"/>
                    </a:lnTo>
                    <a:lnTo>
                      <a:pt x="22" y="68"/>
                    </a:lnTo>
                    <a:lnTo>
                      <a:pt x="26" y="68"/>
                    </a:lnTo>
                    <a:lnTo>
                      <a:pt x="26" y="70"/>
                    </a:lnTo>
                    <a:lnTo>
                      <a:pt x="30" y="74"/>
                    </a:lnTo>
                    <a:lnTo>
                      <a:pt x="30" y="78"/>
                    </a:lnTo>
                    <a:lnTo>
                      <a:pt x="34" y="78"/>
                    </a:lnTo>
                    <a:lnTo>
                      <a:pt x="34" y="74"/>
                    </a:lnTo>
                    <a:lnTo>
                      <a:pt x="34" y="70"/>
                    </a:lnTo>
                    <a:lnTo>
                      <a:pt x="30" y="70"/>
                    </a:lnTo>
                    <a:lnTo>
                      <a:pt x="30" y="68"/>
                    </a:lnTo>
                    <a:lnTo>
                      <a:pt x="34" y="68"/>
                    </a:lnTo>
                    <a:lnTo>
                      <a:pt x="38" y="64"/>
                    </a:lnTo>
                    <a:lnTo>
                      <a:pt x="38" y="60"/>
                    </a:lnTo>
                    <a:lnTo>
                      <a:pt x="42" y="60"/>
                    </a:lnTo>
                    <a:lnTo>
                      <a:pt x="42" y="56"/>
                    </a:lnTo>
                    <a:lnTo>
                      <a:pt x="46" y="52"/>
                    </a:lnTo>
                    <a:lnTo>
                      <a:pt x="48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8" y="42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56" y="30"/>
                    </a:lnTo>
                    <a:lnTo>
                      <a:pt x="56" y="26"/>
                    </a:lnTo>
                    <a:lnTo>
                      <a:pt x="60" y="26"/>
                    </a:lnTo>
                    <a:lnTo>
                      <a:pt x="60" y="22"/>
                    </a:lnTo>
                    <a:lnTo>
                      <a:pt x="60" y="22"/>
                    </a:lnTo>
                    <a:lnTo>
                      <a:pt x="60" y="22"/>
                    </a:lnTo>
                    <a:close/>
                    <a:moveTo>
                      <a:pt x="22" y="142"/>
                    </a:moveTo>
                    <a:lnTo>
                      <a:pt x="26" y="142"/>
                    </a:lnTo>
                    <a:lnTo>
                      <a:pt x="22" y="142"/>
                    </a:lnTo>
                    <a:lnTo>
                      <a:pt x="22" y="142"/>
                    </a:lnTo>
                    <a:lnTo>
                      <a:pt x="22" y="142"/>
                    </a:lnTo>
                    <a:close/>
                    <a:moveTo>
                      <a:pt x="16" y="172"/>
                    </a:moveTo>
                    <a:lnTo>
                      <a:pt x="12" y="172"/>
                    </a:lnTo>
                    <a:lnTo>
                      <a:pt x="12" y="168"/>
                    </a:lnTo>
                    <a:lnTo>
                      <a:pt x="16" y="172"/>
                    </a:lnTo>
                    <a:lnTo>
                      <a:pt x="16" y="172"/>
                    </a:lnTo>
                    <a:lnTo>
                      <a:pt x="16" y="17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3" name="Freeform 182">
                <a:extLst>
                  <a:ext uri="{FF2B5EF4-FFF2-40B4-BE49-F238E27FC236}">
                    <a16:creationId xmlns:a16="http://schemas.microsoft.com/office/drawing/2014/main" id="{39B10056-258E-47E8-9D7A-2D51A10E585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36800" y="4521268"/>
                <a:ext cx="371475" cy="171450"/>
              </a:xfrm>
              <a:custGeom>
                <a:avLst/>
                <a:gdLst>
                  <a:gd name="T0" fmla="*/ 166 w 234"/>
                  <a:gd name="T1" fmla="*/ 100 h 108"/>
                  <a:gd name="T2" fmla="*/ 164 w 234"/>
                  <a:gd name="T3" fmla="*/ 100 h 108"/>
                  <a:gd name="T4" fmla="*/ 160 w 234"/>
                  <a:gd name="T5" fmla="*/ 92 h 108"/>
                  <a:gd name="T6" fmla="*/ 160 w 234"/>
                  <a:gd name="T7" fmla="*/ 82 h 108"/>
                  <a:gd name="T8" fmla="*/ 166 w 234"/>
                  <a:gd name="T9" fmla="*/ 78 h 108"/>
                  <a:gd name="T10" fmla="*/ 166 w 234"/>
                  <a:gd name="T11" fmla="*/ 68 h 108"/>
                  <a:gd name="T12" fmla="*/ 166 w 234"/>
                  <a:gd name="T13" fmla="*/ 64 h 108"/>
                  <a:gd name="T14" fmla="*/ 164 w 234"/>
                  <a:gd name="T15" fmla="*/ 64 h 108"/>
                  <a:gd name="T16" fmla="*/ 164 w 234"/>
                  <a:gd name="T17" fmla="*/ 68 h 108"/>
                  <a:gd name="T18" fmla="*/ 156 w 234"/>
                  <a:gd name="T19" fmla="*/ 68 h 108"/>
                  <a:gd name="T20" fmla="*/ 152 w 234"/>
                  <a:gd name="T21" fmla="*/ 60 h 108"/>
                  <a:gd name="T22" fmla="*/ 152 w 234"/>
                  <a:gd name="T23" fmla="*/ 56 h 108"/>
                  <a:gd name="T24" fmla="*/ 156 w 234"/>
                  <a:gd name="T25" fmla="*/ 48 h 108"/>
                  <a:gd name="T26" fmla="*/ 156 w 234"/>
                  <a:gd name="T27" fmla="*/ 42 h 108"/>
                  <a:gd name="T28" fmla="*/ 160 w 234"/>
                  <a:gd name="T29" fmla="*/ 34 h 108"/>
                  <a:gd name="T30" fmla="*/ 164 w 234"/>
                  <a:gd name="T31" fmla="*/ 26 h 108"/>
                  <a:gd name="T32" fmla="*/ 164 w 234"/>
                  <a:gd name="T33" fmla="*/ 16 h 108"/>
                  <a:gd name="T34" fmla="*/ 166 w 234"/>
                  <a:gd name="T35" fmla="*/ 8 h 108"/>
                  <a:gd name="T36" fmla="*/ 178 w 234"/>
                  <a:gd name="T37" fmla="*/ 4 h 108"/>
                  <a:gd name="T38" fmla="*/ 182 w 234"/>
                  <a:gd name="T39" fmla="*/ 4 h 108"/>
                  <a:gd name="T40" fmla="*/ 192 w 234"/>
                  <a:gd name="T41" fmla="*/ 8 h 108"/>
                  <a:gd name="T42" fmla="*/ 200 w 234"/>
                  <a:gd name="T43" fmla="*/ 12 h 108"/>
                  <a:gd name="T44" fmla="*/ 204 w 234"/>
                  <a:gd name="T45" fmla="*/ 18 h 108"/>
                  <a:gd name="T46" fmla="*/ 216 w 234"/>
                  <a:gd name="T47" fmla="*/ 18 h 108"/>
                  <a:gd name="T48" fmla="*/ 222 w 234"/>
                  <a:gd name="T49" fmla="*/ 22 h 108"/>
                  <a:gd name="T50" fmla="*/ 230 w 234"/>
                  <a:gd name="T51" fmla="*/ 26 h 108"/>
                  <a:gd name="T52" fmla="*/ 230 w 234"/>
                  <a:gd name="T53" fmla="*/ 34 h 108"/>
                  <a:gd name="T54" fmla="*/ 230 w 234"/>
                  <a:gd name="T55" fmla="*/ 42 h 108"/>
                  <a:gd name="T56" fmla="*/ 226 w 234"/>
                  <a:gd name="T57" fmla="*/ 52 h 108"/>
                  <a:gd name="T58" fmla="*/ 220 w 234"/>
                  <a:gd name="T59" fmla="*/ 60 h 108"/>
                  <a:gd name="T60" fmla="*/ 208 w 234"/>
                  <a:gd name="T61" fmla="*/ 72 h 108"/>
                  <a:gd name="T62" fmla="*/ 196 w 234"/>
                  <a:gd name="T63" fmla="*/ 74 h 108"/>
                  <a:gd name="T64" fmla="*/ 192 w 234"/>
                  <a:gd name="T65" fmla="*/ 82 h 108"/>
                  <a:gd name="T66" fmla="*/ 190 w 234"/>
                  <a:gd name="T67" fmla="*/ 82 h 108"/>
                  <a:gd name="T68" fmla="*/ 186 w 234"/>
                  <a:gd name="T69" fmla="*/ 88 h 108"/>
                  <a:gd name="T70" fmla="*/ 182 w 234"/>
                  <a:gd name="T71" fmla="*/ 96 h 108"/>
                  <a:gd name="T72" fmla="*/ 182 w 234"/>
                  <a:gd name="T73" fmla="*/ 100 h 108"/>
                  <a:gd name="T74" fmla="*/ 174 w 234"/>
                  <a:gd name="T75" fmla="*/ 108 h 108"/>
                  <a:gd name="T76" fmla="*/ 170 w 234"/>
                  <a:gd name="T77" fmla="*/ 104 h 108"/>
                  <a:gd name="T78" fmla="*/ 14 w 234"/>
                  <a:gd name="T79" fmla="*/ 38 h 108"/>
                  <a:gd name="T80" fmla="*/ 22 w 234"/>
                  <a:gd name="T81" fmla="*/ 34 h 108"/>
                  <a:gd name="T82" fmla="*/ 18 w 234"/>
                  <a:gd name="T83" fmla="*/ 38 h 108"/>
                  <a:gd name="T84" fmla="*/ 4 w 234"/>
                  <a:gd name="T85" fmla="*/ 42 h 108"/>
                  <a:gd name="T86" fmla="*/ 8 w 234"/>
                  <a:gd name="T87" fmla="*/ 34 h 108"/>
                  <a:gd name="T88" fmla="*/ 0 w 234"/>
                  <a:gd name="T89" fmla="*/ 26 h 108"/>
                  <a:gd name="T90" fmla="*/ 8 w 234"/>
                  <a:gd name="T91" fmla="*/ 22 h 108"/>
                  <a:gd name="T92" fmla="*/ 10 w 234"/>
                  <a:gd name="T93" fmla="*/ 30 h 108"/>
                  <a:gd name="T94" fmla="*/ 10 w 234"/>
                  <a:gd name="T95" fmla="*/ 42 h 108"/>
                  <a:gd name="T96" fmla="*/ 8 w 234"/>
                  <a:gd name="T97" fmla="*/ 42 h 108"/>
                  <a:gd name="T98" fmla="*/ 10 w 234"/>
                  <a:gd name="T99" fmla="*/ 26 h 108"/>
                  <a:gd name="T100" fmla="*/ 14 w 234"/>
                  <a:gd name="T101" fmla="*/ 30 h 108"/>
                  <a:gd name="T102" fmla="*/ 0 w 234"/>
                  <a:gd name="T103" fmla="*/ 34 h 108"/>
                  <a:gd name="T104" fmla="*/ 4 w 234"/>
                  <a:gd name="T105" fmla="*/ 34 h 108"/>
                  <a:gd name="T106" fmla="*/ 30 w 234"/>
                  <a:gd name="T107" fmla="*/ 42 h 108"/>
                  <a:gd name="T108" fmla="*/ 34 w 234"/>
                  <a:gd name="T109" fmla="*/ 42 h 108"/>
                  <a:gd name="T110" fmla="*/ 30 w 234"/>
                  <a:gd name="T111" fmla="*/ 42 h 108"/>
                  <a:gd name="T112" fmla="*/ 18 w 234"/>
                  <a:gd name="T113" fmla="*/ 46 h 108"/>
                  <a:gd name="T114" fmla="*/ 18 w 234"/>
                  <a:gd name="T115" fmla="*/ 48 h 108"/>
                  <a:gd name="T116" fmla="*/ 160 w 234"/>
                  <a:gd name="T117" fmla="*/ 72 h 108"/>
                  <a:gd name="T118" fmla="*/ 164 w 234"/>
                  <a:gd name="T119" fmla="*/ 7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</a:cxnLst>
                <a:rect l="0" t="0" r="r" b="b"/>
                <a:pathLst>
                  <a:path w="234" h="108">
                    <a:moveTo>
                      <a:pt x="170" y="104"/>
                    </a:moveTo>
                    <a:lnTo>
                      <a:pt x="170" y="100"/>
                    </a:lnTo>
                    <a:lnTo>
                      <a:pt x="166" y="100"/>
                    </a:lnTo>
                    <a:lnTo>
                      <a:pt x="164" y="100"/>
                    </a:lnTo>
                    <a:lnTo>
                      <a:pt x="164" y="96"/>
                    </a:lnTo>
                    <a:lnTo>
                      <a:pt x="164" y="100"/>
                    </a:lnTo>
                    <a:lnTo>
                      <a:pt x="160" y="100"/>
                    </a:lnTo>
                    <a:lnTo>
                      <a:pt x="160" y="96"/>
                    </a:lnTo>
                    <a:lnTo>
                      <a:pt x="160" y="92"/>
                    </a:lnTo>
                    <a:lnTo>
                      <a:pt x="164" y="88"/>
                    </a:lnTo>
                    <a:lnTo>
                      <a:pt x="164" y="86"/>
                    </a:lnTo>
                    <a:lnTo>
                      <a:pt x="160" y="82"/>
                    </a:lnTo>
                    <a:lnTo>
                      <a:pt x="164" y="82"/>
                    </a:lnTo>
                    <a:lnTo>
                      <a:pt x="164" y="78"/>
                    </a:lnTo>
                    <a:lnTo>
                      <a:pt x="166" y="78"/>
                    </a:lnTo>
                    <a:lnTo>
                      <a:pt x="166" y="74"/>
                    </a:lnTo>
                    <a:lnTo>
                      <a:pt x="166" y="72"/>
                    </a:lnTo>
                    <a:lnTo>
                      <a:pt x="166" y="68"/>
                    </a:lnTo>
                    <a:lnTo>
                      <a:pt x="166" y="64"/>
                    </a:lnTo>
                    <a:lnTo>
                      <a:pt x="166" y="60"/>
                    </a:lnTo>
                    <a:lnTo>
                      <a:pt x="166" y="64"/>
                    </a:lnTo>
                    <a:lnTo>
                      <a:pt x="166" y="68"/>
                    </a:lnTo>
                    <a:lnTo>
                      <a:pt x="164" y="68"/>
                    </a:lnTo>
                    <a:lnTo>
                      <a:pt x="164" y="64"/>
                    </a:lnTo>
                    <a:lnTo>
                      <a:pt x="166" y="64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4" y="72"/>
                    </a:lnTo>
                    <a:lnTo>
                      <a:pt x="160" y="72"/>
                    </a:lnTo>
                    <a:lnTo>
                      <a:pt x="156" y="68"/>
                    </a:lnTo>
                    <a:lnTo>
                      <a:pt x="156" y="64"/>
                    </a:lnTo>
                    <a:lnTo>
                      <a:pt x="152" y="64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2" y="56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2" y="46"/>
                    </a:lnTo>
                    <a:lnTo>
                      <a:pt x="152" y="42"/>
                    </a:lnTo>
                    <a:lnTo>
                      <a:pt x="156" y="42"/>
                    </a:lnTo>
                    <a:lnTo>
                      <a:pt x="156" y="38"/>
                    </a:lnTo>
                    <a:lnTo>
                      <a:pt x="160" y="38"/>
                    </a:lnTo>
                    <a:lnTo>
                      <a:pt x="160" y="34"/>
                    </a:lnTo>
                    <a:lnTo>
                      <a:pt x="160" y="30"/>
                    </a:lnTo>
                    <a:lnTo>
                      <a:pt x="160" y="26"/>
                    </a:lnTo>
                    <a:lnTo>
                      <a:pt x="164" y="26"/>
                    </a:lnTo>
                    <a:lnTo>
                      <a:pt x="164" y="22"/>
                    </a:lnTo>
                    <a:lnTo>
                      <a:pt x="164" y="18"/>
                    </a:lnTo>
                    <a:lnTo>
                      <a:pt x="164" y="16"/>
                    </a:lnTo>
                    <a:lnTo>
                      <a:pt x="164" y="12"/>
                    </a:lnTo>
                    <a:lnTo>
                      <a:pt x="166" y="12"/>
                    </a:lnTo>
                    <a:lnTo>
                      <a:pt x="166" y="8"/>
                    </a:lnTo>
                    <a:lnTo>
                      <a:pt x="170" y="8"/>
                    </a:lnTo>
                    <a:lnTo>
                      <a:pt x="174" y="8"/>
                    </a:lnTo>
                    <a:lnTo>
                      <a:pt x="178" y="4"/>
                    </a:lnTo>
                    <a:lnTo>
                      <a:pt x="182" y="4"/>
                    </a:lnTo>
                    <a:lnTo>
                      <a:pt x="182" y="0"/>
                    </a:lnTo>
                    <a:lnTo>
                      <a:pt x="182" y="4"/>
                    </a:lnTo>
                    <a:lnTo>
                      <a:pt x="186" y="4"/>
                    </a:lnTo>
                    <a:lnTo>
                      <a:pt x="190" y="8"/>
                    </a:lnTo>
                    <a:lnTo>
                      <a:pt x="192" y="8"/>
                    </a:lnTo>
                    <a:lnTo>
                      <a:pt x="192" y="12"/>
                    </a:lnTo>
                    <a:lnTo>
                      <a:pt x="196" y="12"/>
                    </a:lnTo>
                    <a:lnTo>
                      <a:pt x="200" y="12"/>
                    </a:lnTo>
                    <a:lnTo>
                      <a:pt x="200" y="16"/>
                    </a:lnTo>
                    <a:lnTo>
                      <a:pt x="200" y="18"/>
                    </a:lnTo>
                    <a:lnTo>
                      <a:pt x="204" y="18"/>
                    </a:lnTo>
                    <a:lnTo>
                      <a:pt x="208" y="18"/>
                    </a:lnTo>
                    <a:lnTo>
                      <a:pt x="212" y="18"/>
                    </a:lnTo>
                    <a:lnTo>
                      <a:pt x="216" y="18"/>
                    </a:lnTo>
                    <a:lnTo>
                      <a:pt x="220" y="18"/>
                    </a:lnTo>
                    <a:lnTo>
                      <a:pt x="222" y="18"/>
                    </a:lnTo>
                    <a:lnTo>
                      <a:pt x="222" y="22"/>
                    </a:lnTo>
                    <a:lnTo>
                      <a:pt x="226" y="22"/>
                    </a:lnTo>
                    <a:lnTo>
                      <a:pt x="226" y="26"/>
                    </a:lnTo>
                    <a:lnTo>
                      <a:pt x="230" y="26"/>
                    </a:lnTo>
                    <a:lnTo>
                      <a:pt x="226" y="26"/>
                    </a:lnTo>
                    <a:lnTo>
                      <a:pt x="230" y="30"/>
                    </a:lnTo>
                    <a:lnTo>
                      <a:pt x="230" y="34"/>
                    </a:lnTo>
                    <a:lnTo>
                      <a:pt x="230" y="38"/>
                    </a:lnTo>
                    <a:lnTo>
                      <a:pt x="234" y="42"/>
                    </a:lnTo>
                    <a:lnTo>
                      <a:pt x="230" y="42"/>
                    </a:lnTo>
                    <a:lnTo>
                      <a:pt x="230" y="46"/>
                    </a:lnTo>
                    <a:lnTo>
                      <a:pt x="226" y="48"/>
                    </a:lnTo>
                    <a:lnTo>
                      <a:pt x="226" y="52"/>
                    </a:lnTo>
                    <a:lnTo>
                      <a:pt x="222" y="56"/>
                    </a:lnTo>
                    <a:lnTo>
                      <a:pt x="222" y="60"/>
                    </a:lnTo>
                    <a:lnTo>
                      <a:pt x="220" y="60"/>
                    </a:lnTo>
                    <a:lnTo>
                      <a:pt x="216" y="64"/>
                    </a:lnTo>
                    <a:lnTo>
                      <a:pt x="212" y="68"/>
                    </a:lnTo>
                    <a:lnTo>
                      <a:pt x="208" y="72"/>
                    </a:lnTo>
                    <a:lnTo>
                      <a:pt x="204" y="72"/>
                    </a:lnTo>
                    <a:lnTo>
                      <a:pt x="200" y="74"/>
                    </a:lnTo>
                    <a:lnTo>
                      <a:pt x="196" y="74"/>
                    </a:lnTo>
                    <a:lnTo>
                      <a:pt x="192" y="74"/>
                    </a:lnTo>
                    <a:lnTo>
                      <a:pt x="192" y="78"/>
                    </a:lnTo>
                    <a:lnTo>
                      <a:pt x="192" y="82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2"/>
                    </a:lnTo>
                    <a:lnTo>
                      <a:pt x="190" y="86"/>
                    </a:lnTo>
                    <a:lnTo>
                      <a:pt x="190" y="88"/>
                    </a:lnTo>
                    <a:lnTo>
                      <a:pt x="186" y="88"/>
                    </a:lnTo>
                    <a:lnTo>
                      <a:pt x="186" y="92"/>
                    </a:lnTo>
                    <a:lnTo>
                      <a:pt x="186" y="96"/>
                    </a:lnTo>
                    <a:lnTo>
                      <a:pt x="182" y="96"/>
                    </a:lnTo>
                    <a:lnTo>
                      <a:pt x="182" y="100"/>
                    </a:lnTo>
                    <a:lnTo>
                      <a:pt x="186" y="100"/>
                    </a:lnTo>
                    <a:lnTo>
                      <a:pt x="182" y="100"/>
                    </a:lnTo>
                    <a:lnTo>
                      <a:pt x="182" y="104"/>
                    </a:lnTo>
                    <a:lnTo>
                      <a:pt x="178" y="108"/>
                    </a:lnTo>
                    <a:lnTo>
                      <a:pt x="174" y="108"/>
                    </a:lnTo>
                    <a:lnTo>
                      <a:pt x="174" y="104"/>
                    </a:lnTo>
                    <a:lnTo>
                      <a:pt x="170" y="104"/>
                    </a:lnTo>
                    <a:lnTo>
                      <a:pt x="170" y="104"/>
                    </a:lnTo>
                    <a:lnTo>
                      <a:pt x="170" y="104"/>
                    </a:lnTo>
                    <a:close/>
                    <a:moveTo>
                      <a:pt x="18" y="38"/>
                    </a:moveTo>
                    <a:lnTo>
                      <a:pt x="14" y="38"/>
                    </a:lnTo>
                    <a:lnTo>
                      <a:pt x="14" y="34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18" y="38"/>
                    </a:lnTo>
                    <a:close/>
                    <a:moveTo>
                      <a:pt x="8" y="42"/>
                    </a:moveTo>
                    <a:lnTo>
                      <a:pt x="4" y="42"/>
                    </a:lnTo>
                    <a:lnTo>
                      <a:pt x="4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8" y="26"/>
                    </a:lnTo>
                    <a:lnTo>
                      <a:pt x="8" y="30"/>
                    </a:lnTo>
                    <a:lnTo>
                      <a:pt x="10" y="30"/>
                    </a:lnTo>
                    <a:lnTo>
                      <a:pt x="10" y="34"/>
                    </a:lnTo>
                    <a:lnTo>
                      <a:pt x="10" y="38"/>
                    </a:lnTo>
                    <a:lnTo>
                      <a:pt x="10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close/>
                    <a:moveTo>
                      <a:pt x="14" y="30"/>
                    </a:moveTo>
                    <a:lnTo>
                      <a:pt x="10" y="30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30"/>
                    </a:lnTo>
                    <a:close/>
                    <a:moveTo>
                      <a:pt x="4" y="34"/>
                    </a:moveTo>
                    <a:lnTo>
                      <a:pt x="0" y="34"/>
                    </a:lnTo>
                    <a:lnTo>
                      <a:pt x="0" y="30"/>
                    </a:lnTo>
                    <a:lnTo>
                      <a:pt x="4" y="30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close/>
                    <a:moveTo>
                      <a:pt x="30" y="42"/>
                    </a:moveTo>
                    <a:lnTo>
                      <a:pt x="30" y="38"/>
                    </a:lnTo>
                    <a:lnTo>
                      <a:pt x="34" y="38"/>
                    </a:lnTo>
                    <a:lnTo>
                      <a:pt x="34" y="42"/>
                    </a:lnTo>
                    <a:lnTo>
                      <a:pt x="30" y="42"/>
                    </a:lnTo>
                    <a:lnTo>
                      <a:pt x="30" y="42"/>
                    </a:lnTo>
                    <a:lnTo>
                      <a:pt x="30" y="42"/>
                    </a:lnTo>
                    <a:close/>
                    <a:moveTo>
                      <a:pt x="18" y="48"/>
                    </a:moveTo>
                    <a:lnTo>
                      <a:pt x="14" y="46"/>
                    </a:lnTo>
                    <a:lnTo>
                      <a:pt x="18" y="46"/>
                    </a:lnTo>
                    <a:lnTo>
                      <a:pt x="18" y="48"/>
                    </a:lnTo>
                    <a:lnTo>
                      <a:pt x="18" y="48"/>
                    </a:lnTo>
                    <a:lnTo>
                      <a:pt x="18" y="48"/>
                    </a:lnTo>
                    <a:close/>
                    <a:moveTo>
                      <a:pt x="164" y="74"/>
                    </a:moveTo>
                    <a:lnTo>
                      <a:pt x="160" y="74"/>
                    </a:lnTo>
                    <a:lnTo>
                      <a:pt x="160" y="72"/>
                    </a:lnTo>
                    <a:lnTo>
                      <a:pt x="164" y="72"/>
                    </a:lnTo>
                    <a:lnTo>
                      <a:pt x="166" y="72"/>
                    </a:lnTo>
                    <a:lnTo>
                      <a:pt x="164" y="74"/>
                    </a:lnTo>
                    <a:lnTo>
                      <a:pt x="164" y="74"/>
                    </a:lnTo>
                    <a:lnTo>
                      <a:pt x="164" y="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4" name="Freeform 183">
                <a:extLst>
                  <a:ext uri="{FF2B5EF4-FFF2-40B4-BE49-F238E27FC236}">
                    <a16:creationId xmlns:a16="http://schemas.microsoft.com/office/drawing/2014/main" id="{4525F1AC-3921-41D6-B000-8F23C9A7B6B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68650" y="4403793"/>
                <a:ext cx="66675" cy="98425"/>
              </a:xfrm>
              <a:custGeom>
                <a:avLst/>
                <a:gdLst>
                  <a:gd name="T0" fmla="*/ 4 w 42"/>
                  <a:gd name="T1" fmla="*/ 56 h 62"/>
                  <a:gd name="T2" fmla="*/ 4 w 42"/>
                  <a:gd name="T3" fmla="*/ 52 h 62"/>
                  <a:gd name="T4" fmla="*/ 4 w 42"/>
                  <a:gd name="T5" fmla="*/ 48 h 62"/>
                  <a:gd name="T6" fmla="*/ 4 w 42"/>
                  <a:gd name="T7" fmla="*/ 44 h 62"/>
                  <a:gd name="T8" fmla="*/ 8 w 42"/>
                  <a:gd name="T9" fmla="*/ 40 h 62"/>
                  <a:gd name="T10" fmla="*/ 8 w 42"/>
                  <a:gd name="T11" fmla="*/ 32 h 62"/>
                  <a:gd name="T12" fmla="*/ 4 w 42"/>
                  <a:gd name="T13" fmla="*/ 30 h 62"/>
                  <a:gd name="T14" fmla="*/ 0 w 42"/>
                  <a:gd name="T15" fmla="*/ 22 h 62"/>
                  <a:gd name="T16" fmla="*/ 0 w 42"/>
                  <a:gd name="T17" fmla="*/ 18 h 62"/>
                  <a:gd name="T18" fmla="*/ 0 w 42"/>
                  <a:gd name="T19" fmla="*/ 14 h 62"/>
                  <a:gd name="T20" fmla="*/ 4 w 42"/>
                  <a:gd name="T21" fmla="*/ 10 h 62"/>
                  <a:gd name="T22" fmla="*/ 4 w 42"/>
                  <a:gd name="T23" fmla="*/ 6 h 62"/>
                  <a:gd name="T24" fmla="*/ 8 w 42"/>
                  <a:gd name="T25" fmla="*/ 6 h 62"/>
                  <a:gd name="T26" fmla="*/ 8 w 42"/>
                  <a:gd name="T27" fmla="*/ 4 h 62"/>
                  <a:gd name="T28" fmla="*/ 8 w 42"/>
                  <a:gd name="T29" fmla="*/ 0 h 62"/>
                  <a:gd name="T30" fmla="*/ 12 w 42"/>
                  <a:gd name="T31" fmla="*/ 0 h 62"/>
                  <a:gd name="T32" fmla="*/ 16 w 42"/>
                  <a:gd name="T33" fmla="*/ 4 h 62"/>
                  <a:gd name="T34" fmla="*/ 20 w 42"/>
                  <a:gd name="T35" fmla="*/ 4 h 62"/>
                  <a:gd name="T36" fmla="*/ 24 w 42"/>
                  <a:gd name="T37" fmla="*/ 4 h 62"/>
                  <a:gd name="T38" fmla="*/ 28 w 42"/>
                  <a:gd name="T39" fmla="*/ 6 h 62"/>
                  <a:gd name="T40" fmla="*/ 30 w 42"/>
                  <a:gd name="T41" fmla="*/ 14 h 62"/>
                  <a:gd name="T42" fmla="*/ 38 w 42"/>
                  <a:gd name="T43" fmla="*/ 18 h 62"/>
                  <a:gd name="T44" fmla="*/ 38 w 42"/>
                  <a:gd name="T45" fmla="*/ 22 h 62"/>
                  <a:gd name="T46" fmla="*/ 38 w 42"/>
                  <a:gd name="T47" fmla="*/ 26 h 62"/>
                  <a:gd name="T48" fmla="*/ 38 w 42"/>
                  <a:gd name="T49" fmla="*/ 22 h 62"/>
                  <a:gd name="T50" fmla="*/ 38 w 42"/>
                  <a:gd name="T51" fmla="*/ 22 h 62"/>
                  <a:gd name="T52" fmla="*/ 38 w 42"/>
                  <a:gd name="T53" fmla="*/ 18 h 62"/>
                  <a:gd name="T54" fmla="*/ 42 w 42"/>
                  <a:gd name="T55" fmla="*/ 22 h 62"/>
                  <a:gd name="T56" fmla="*/ 42 w 42"/>
                  <a:gd name="T57" fmla="*/ 26 h 62"/>
                  <a:gd name="T58" fmla="*/ 42 w 42"/>
                  <a:gd name="T59" fmla="*/ 26 h 62"/>
                  <a:gd name="T60" fmla="*/ 42 w 42"/>
                  <a:gd name="T61" fmla="*/ 30 h 62"/>
                  <a:gd name="T62" fmla="*/ 42 w 42"/>
                  <a:gd name="T63" fmla="*/ 30 h 62"/>
                  <a:gd name="T64" fmla="*/ 38 w 42"/>
                  <a:gd name="T65" fmla="*/ 32 h 62"/>
                  <a:gd name="T66" fmla="*/ 38 w 42"/>
                  <a:gd name="T67" fmla="*/ 36 h 62"/>
                  <a:gd name="T68" fmla="*/ 34 w 42"/>
                  <a:gd name="T69" fmla="*/ 44 h 62"/>
                  <a:gd name="T70" fmla="*/ 30 w 42"/>
                  <a:gd name="T71" fmla="*/ 44 h 62"/>
                  <a:gd name="T72" fmla="*/ 30 w 42"/>
                  <a:gd name="T73" fmla="*/ 48 h 62"/>
                  <a:gd name="T74" fmla="*/ 30 w 42"/>
                  <a:gd name="T75" fmla="*/ 56 h 62"/>
                  <a:gd name="T76" fmla="*/ 28 w 42"/>
                  <a:gd name="T77" fmla="*/ 58 h 62"/>
                  <a:gd name="T78" fmla="*/ 24 w 42"/>
                  <a:gd name="T79" fmla="*/ 62 h 62"/>
                  <a:gd name="T80" fmla="*/ 24 w 42"/>
                  <a:gd name="T81" fmla="*/ 58 h 62"/>
                  <a:gd name="T82" fmla="*/ 20 w 42"/>
                  <a:gd name="T83" fmla="*/ 58 h 62"/>
                  <a:gd name="T84" fmla="*/ 20 w 42"/>
                  <a:gd name="T85" fmla="*/ 58 h 62"/>
                  <a:gd name="T86" fmla="*/ 12 w 42"/>
                  <a:gd name="T87" fmla="*/ 58 h 62"/>
                  <a:gd name="T88" fmla="*/ 8 w 42"/>
                  <a:gd name="T89" fmla="*/ 58 h 62"/>
                  <a:gd name="T90" fmla="*/ 4 w 42"/>
                  <a:gd name="T91" fmla="*/ 62 h 62"/>
                  <a:gd name="T92" fmla="*/ 0 w 42"/>
                  <a:gd name="T93" fmla="*/ 58 h 62"/>
                  <a:gd name="T94" fmla="*/ 0 w 42"/>
                  <a:gd name="T95" fmla="*/ 58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42" h="62">
                    <a:moveTo>
                      <a:pt x="0" y="58"/>
                    </a:moveTo>
                    <a:lnTo>
                      <a:pt x="0" y="58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10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6"/>
                    </a:lnTo>
                    <a:lnTo>
                      <a:pt x="28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6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22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38" y="30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2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4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4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48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2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6"/>
                    </a:lnTo>
                    <a:lnTo>
                      <a:pt x="28" y="58"/>
                    </a:lnTo>
                    <a:lnTo>
                      <a:pt x="28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4" y="62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20" y="58"/>
                    </a:lnTo>
                    <a:lnTo>
                      <a:pt x="16" y="58"/>
                    </a:lnTo>
                    <a:lnTo>
                      <a:pt x="16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58"/>
                    </a:lnTo>
                    <a:lnTo>
                      <a:pt x="8" y="62"/>
                    </a:lnTo>
                    <a:lnTo>
                      <a:pt x="4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0" y="5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5" name="Freeform 184">
                <a:extLst>
                  <a:ext uri="{FF2B5EF4-FFF2-40B4-BE49-F238E27FC236}">
                    <a16:creationId xmlns:a16="http://schemas.microsoft.com/office/drawing/2014/main" id="{E8941704-4128-45A1-9E4C-CC88D4CF6D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16250" y="4327593"/>
                <a:ext cx="111125" cy="200025"/>
              </a:xfrm>
              <a:custGeom>
                <a:avLst/>
                <a:gdLst>
                  <a:gd name="T0" fmla="*/ 48 w 70"/>
                  <a:gd name="T1" fmla="*/ 32 h 126"/>
                  <a:gd name="T2" fmla="*/ 52 w 70"/>
                  <a:gd name="T3" fmla="*/ 36 h 126"/>
                  <a:gd name="T4" fmla="*/ 56 w 70"/>
                  <a:gd name="T5" fmla="*/ 40 h 126"/>
                  <a:gd name="T6" fmla="*/ 60 w 70"/>
                  <a:gd name="T7" fmla="*/ 44 h 126"/>
                  <a:gd name="T8" fmla="*/ 60 w 70"/>
                  <a:gd name="T9" fmla="*/ 56 h 126"/>
                  <a:gd name="T10" fmla="*/ 60 w 70"/>
                  <a:gd name="T11" fmla="*/ 58 h 126"/>
                  <a:gd name="T12" fmla="*/ 56 w 70"/>
                  <a:gd name="T13" fmla="*/ 58 h 126"/>
                  <a:gd name="T14" fmla="*/ 52 w 70"/>
                  <a:gd name="T15" fmla="*/ 62 h 126"/>
                  <a:gd name="T16" fmla="*/ 48 w 70"/>
                  <a:gd name="T17" fmla="*/ 66 h 126"/>
                  <a:gd name="T18" fmla="*/ 48 w 70"/>
                  <a:gd name="T19" fmla="*/ 74 h 126"/>
                  <a:gd name="T20" fmla="*/ 48 w 70"/>
                  <a:gd name="T21" fmla="*/ 78 h 126"/>
                  <a:gd name="T22" fmla="*/ 48 w 70"/>
                  <a:gd name="T23" fmla="*/ 82 h 126"/>
                  <a:gd name="T24" fmla="*/ 52 w 70"/>
                  <a:gd name="T25" fmla="*/ 86 h 126"/>
                  <a:gd name="T26" fmla="*/ 52 w 70"/>
                  <a:gd name="T27" fmla="*/ 88 h 126"/>
                  <a:gd name="T28" fmla="*/ 60 w 70"/>
                  <a:gd name="T29" fmla="*/ 92 h 126"/>
                  <a:gd name="T30" fmla="*/ 60 w 70"/>
                  <a:gd name="T31" fmla="*/ 96 h 126"/>
                  <a:gd name="T32" fmla="*/ 64 w 70"/>
                  <a:gd name="T33" fmla="*/ 108 h 126"/>
                  <a:gd name="T34" fmla="*/ 70 w 70"/>
                  <a:gd name="T35" fmla="*/ 114 h 126"/>
                  <a:gd name="T36" fmla="*/ 68 w 70"/>
                  <a:gd name="T37" fmla="*/ 114 h 126"/>
                  <a:gd name="T38" fmla="*/ 60 w 70"/>
                  <a:gd name="T39" fmla="*/ 112 h 126"/>
                  <a:gd name="T40" fmla="*/ 60 w 70"/>
                  <a:gd name="T41" fmla="*/ 112 h 126"/>
                  <a:gd name="T42" fmla="*/ 56 w 70"/>
                  <a:gd name="T43" fmla="*/ 118 h 126"/>
                  <a:gd name="T44" fmla="*/ 52 w 70"/>
                  <a:gd name="T45" fmla="*/ 118 h 126"/>
                  <a:gd name="T46" fmla="*/ 44 w 70"/>
                  <a:gd name="T47" fmla="*/ 122 h 126"/>
                  <a:gd name="T48" fmla="*/ 40 w 70"/>
                  <a:gd name="T49" fmla="*/ 122 h 126"/>
                  <a:gd name="T50" fmla="*/ 38 w 70"/>
                  <a:gd name="T51" fmla="*/ 126 h 126"/>
                  <a:gd name="T52" fmla="*/ 34 w 70"/>
                  <a:gd name="T53" fmla="*/ 126 h 126"/>
                  <a:gd name="T54" fmla="*/ 30 w 70"/>
                  <a:gd name="T55" fmla="*/ 118 h 126"/>
                  <a:gd name="T56" fmla="*/ 26 w 70"/>
                  <a:gd name="T57" fmla="*/ 114 h 126"/>
                  <a:gd name="T58" fmla="*/ 22 w 70"/>
                  <a:gd name="T59" fmla="*/ 108 h 126"/>
                  <a:gd name="T60" fmla="*/ 22 w 70"/>
                  <a:gd name="T61" fmla="*/ 104 h 126"/>
                  <a:gd name="T62" fmla="*/ 18 w 70"/>
                  <a:gd name="T63" fmla="*/ 96 h 126"/>
                  <a:gd name="T64" fmla="*/ 22 w 70"/>
                  <a:gd name="T65" fmla="*/ 88 h 126"/>
                  <a:gd name="T66" fmla="*/ 26 w 70"/>
                  <a:gd name="T67" fmla="*/ 82 h 126"/>
                  <a:gd name="T68" fmla="*/ 26 w 70"/>
                  <a:gd name="T69" fmla="*/ 70 h 126"/>
                  <a:gd name="T70" fmla="*/ 18 w 70"/>
                  <a:gd name="T71" fmla="*/ 70 h 126"/>
                  <a:gd name="T72" fmla="*/ 18 w 70"/>
                  <a:gd name="T73" fmla="*/ 66 h 126"/>
                  <a:gd name="T74" fmla="*/ 18 w 70"/>
                  <a:gd name="T75" fmla="*/ 58 h 126"/>
                  <a:gd name="T76" fmla="*/ 14 w 70"/>
                  <a:gd name="T77" fmla="*/ 58 h 126"/>
                  <a:gd name="T78" fmla="*/ 12 w 70"/>
                  <a:gd name="T79" fmla="*/ 58 h 126"/>
                  <a:gd name="T80" fmla="*/ 0 w 70"/>
                  <a:gd name="T81" fmla="*/ 44 h 126"/>
                  <a:gd name="T82" fmla="*/ 4 w 70"/>
                  <a:gd name="T83" fmla="*/ 40 h 126"/>
                  <a:gd name="T84" fmla="*/ 4 w 70"/>
                  <a:gd name="T85" fmla="*/ 32 h 126"/>
                  <a:gd name="T86" fmla="*/ 12 w 70"/>
                  <a:gd name="T87" fmla="*/ 32 h 126"/>
                  <a:gd name="T88" fmla="*/ 12 w 70"/>
                  <a:gd name="T89" fmla="*/ 30 h 126"/>
                  <a:gd name="T90" fmla="*/ 14 w 70"/>
                  <a:gd name="T91" fmla="*/ 26 h 126"/>
                  <a:gd name="T92" fmla="*/ 12 w 70"/>
                  <a:gd name="T93" fmla="*/ 26 h 126"/>
                  <a:gd name="T94" fmla="*/ 12 w 70"/>
                  <a:gd name="T95" fmla="*/ 22 h 126"/>
                  <a:gd name="T96" fmla="*/ 12 w 70"/>
                  <a:gd name="T97" fmla="*/ 18 h 126"/>
                  <a:gd name="T98" fmla="*/ 12 w 70"/>
                  <a:gd name="T99" fmla="*/ 14 h 126"/>
                  <a:gd name="T100" fmla="*/ 18 w 70"/>
                  <a:gd name="T101" fmla="*/ 10 h 126"/>
                  <a:gd name="T102" fmla="*/ 22 w 70"/>
                  <a:gd name="T103" fmla="*/ 6 h 126"/>
                  <a:gd name="T104" fmla="*/ 18 w 70"/>
                  <a:gd name="T105" fmla="*/ 0 h 126"/>
                  <a:gd name="T106" fmla="*/ 22 w 70"/>
                  <a:gd name="T107" fmla="*/ 4 h 126"/>
                  <a:gd name="T108" fmla="*/ 26 w 70"/>
                  <a:gd name="T109" fmla="*/ 4 h 126"/>
                  <a:gd name="T110" fmla="*/ 34 w 70"/>
                  <a:gd name="T111" fmla="*/ 10 h 126"/>
                  <a:gd name="T112" fmla="*/ 38 w 70"/>
                  <a:gd name="T113" fmla="*/ 18 h 126"/>
                  <a:gd name="T114" fmla="*/ 40 w 70"/>
                  <a:gd name="T115" fmla="*/ 26 h 126"/>
                  <a:gd name="T116" fmla="*/ 40 w 70"/>
                  <a:gd name="T117" fmla="*/ 30 h 126"/>
                  <a:gd name="T118" fmla="*/ 40 w 70"/>
                  <a:gd name="T119" fmla="*/ 36 h 126"/>
                  <a:gd name="T120" fmla="*/ 40 w 70"/>
                  <a:gd name="T121" fmla="*/ 32 h 126"/>
                  <a:gd name="T122" fmla="*/ 44 w 70"/>
                  <a:gd name="T123" fmla="*/ 30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0" h="126">
                    <a:moveTo>
                      <a:pt x="44" y="30"/>
                    </a:moveTo>
                    <a:lnTo>
                      <a:pt x="44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0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6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60" y="58"/>
                    </a:lnTo>
                    <a:lnTo>
                      <a:pt x="56" y="58"/>
                    </a:lnTo>
                    <a:lnTo>
                      <a:pt x="56" y="58"/>
                    </a:lnTo>
                    <a:lnTo>
                      <a:pt x="56" y="62"/>
                    </a:lnTo>
                    <a:lnTo>
                      <a:pt x="56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52" y="62"/>
                    </a:lnTo>
                    <a:lnTo>
                      <a:pt x="48" y="62"/>
                    </a:lnTo>
                    <a:lnTo>
                      <a:pt x="48" y="62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48" y="66"/>
                    </a:lnTo>
                    <a:lnTo>
                      <a:pt x="52" y="66"/>
                    </a:lnTo>
                    <a:lnTo>
                      <a:pt x="48" y="66"/>
                    </a:lnTo>
                    <a:lnTo>
                      <a:pt x="48" y="70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4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78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2"/>
                    </a:lnTo>
                    <a:lnTo>
                      <a:pt x="48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08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68" y="112"/>
                    </a:lnTo>
                    <a:lnTo>
                      <a:pt x="70" y="114"/>
                    </a:lnTo>
                    <a:lnTo>
                      <a:pt x="70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8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4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60" y="114"/>
                    </a:lnTo>
                    <a:lnTo>
                      <a:pt x="60" y="112"/>
                    </a:lnTo>
                    <a:lnTo>
                      <a:pt x="60" y="112"/>
                    </a:lnTo>
                    <a:lnTo>
                      <a:pt x="56" y="112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4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6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52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18"/>
                    </a:lnTo>
                    <a:lnTo>
                      <a:pt x="48" y="122"/>
                    </a:lnTo>
                    <a:lnTo>
                      <a:pt x="44" y="122"/>
                    </a:lnTo>
                    <a:lnTo>
                      <a:pt x="44" y="118"/>
                    </a:lnTo>
                    <a:lnTo>
                      <a:pt x="44" y="118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2"/>
                    </a:lnTo>
                    <a:lnTo>
                      <a:pt x="40" y="126"/>
                    </a:lnTo>
                    <a:lnTo>
                      <a:pt x="40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8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6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4" y="122"/>
                    </a:lnTo>
                    <a:lnTo>
                      <a:pt x="30" y="122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4"/>
                    </a:lnTo>
                    <a:lnTo>
                      <a:pt x="22" y="112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8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22" y="104"/>
                    </a:lnTo>
                    <a:lnTo>
                      <a:pt x="18" y="104"/>
                    </a:lnTo>
                    <a:lnTo>
                      <a:pt x="18" y="100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18" y="96"/>
                    </a:lnTo>
                    <a:lnTo>
                      <a:pt x="22" y="92"/>
                    </a:lnTo>
                    <a:lnTo>
                      <a:pt x="22" y="92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8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2" y="86"/>
                    </a:lnTo>
                    <a:lnTo>
                      <a:pt x="26" y="82"/>
                    </a:lnTo>
                    <a:lnTo>
                      <a:pt x="26" y="82"/>
                    </a:lnTo>
                    <a:lnTo>
                      <a:pt x="26" y="78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2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8"/>
                    </a:lnTo>
                    <a:lnTo>
                      <a:pt x="18" y="56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4" y="58"/>
                    </a:lnTo>
                    <a:lnTo>
                      <a:pt x="14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12" y="58"/>
                    </a:lnTo>
                    <a:lnTo>
                      <a:pt x="8" y="58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2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32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4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6"/>
                    </a:lnTo>
                    <a:lnTo>
                      <a:pt x="14" y="22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4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10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6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6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38" y="18"/>
                    </a:lnTo>
                    <a:lnTo>
                      <a:pt x="40" y="22"/>
                    </a:lnTo>
                    <a:lnTo>
                      <a:pt x="40" y="22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26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38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0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lnTo>
                      <a:pt x="44" y="3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6" name="Freeform 185">
                <a:extLst>
                  <a:ext uri="{FF2B5EF4-FFF2-40B4-BE49-F238E27FC236}">
                    <a16:creationId xmlns:a16="http://schemas.microsoft.com/office/drawing/2014/main" id="{34388063-DA2A-496B-8C9A-0D168B2BAA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84500" y="5089593"/>
                <a:ext cx="190500" cy="231775"/>
              </a:xfrm>
              <a:custGeom>
                <a:avLst/>
                <a:gdLst>
                  <a:gd name="T0" fmla="*/ 68 w 120"/>
                  <a:gd name="T1" fmla="*/ 102 h 146"/>
                  <a:gd name="T2" fmla="*/ 64 w 120"/>
                  <a:gd name="T3" fmla="*/ 102 h 146"/>
                  <a:gd name="T4" fmla="*/ 56 w 120"/>
                  <a:gd name="T5" fmla="*/ 98 h 146"/>
                  <a:gd name="T6" fmla="*/ 50 w 120"/>
                  <a:gd name="T7" fmla="*/ 90 h 146"/>
                  <a:gd name="T8" fmla="*/ 38 w 120"/>
                  <a:gd name="T9" fmla="*/ 82 h 146"/>
                  <a:gd name="T10" fmla="*/ 34 w 120"/>
                  <a:gd name="T11" fmla="*/ 82 h 146"/>
                  <a:gd name="T12" fmla="*/ 26 w 120"/>
                  <a:gd name="T13" fmla="*/ 78 h 146"/>
                  <a:gd name="T14" fmla="*/ 20 w 120"/>
                  <a:gd name="T15" fmla="*/ 72 h 146"/>
                  <a:gd name="T16" fmla="*/ 16 w 120"/>
                  <a:gd name="T17" fmla="*/ 68 h 146"/>
                  <a:gd name="T18" fmla="*/ 12 w 120"/>
                  <a:gd name="T19" fmla="*/ 64 h 146"/>
                  <a:gd name="T20" fmla="*/ 8 w 120"/>
                  <a:gd name="T21" fmla="*/ 56 h 146"/>
                  <a:gd name="T22" fmla="*/ 0 w 120"/>
                  <a:gd name="T23" fmla="*/ 52 h 146"/>
                  <a:gd name="T24" fmla="*/ 4 w 120"/>
                  <a:gd name="T25" fmla="*/ 38 h 146"/>
                  <a:gd name="T26" fmla="*/ 8 w 120"/>
                  <a:gd name="T27" fmla="*/ 18 h 146"/>
                  <a:gd name="T28" fmla="*/ 20 w 120"/>
                  <a:gd name="T29" fmla="*/ 4 h 146"/>
                  <a:gd name="T30" fmla="*/ 38 w 120"/>
                  <a:gd name="T31" fmla="*/ 0 h 146"/>
                  <a:gd name="T32" fmla="*/ 64 w 120"/>
                  <a:gd name="T33" fmla="*/ 8 h 146"/>
                  <a:gd name="T34" fmla="*/ 64 w 120"/>
                  <a:gd name="T35" fmla="*/ 16 h 146"/>
                  <a:gd name="T36" fmla="*/ 68 w 120"/>
                  <a:gd name="T37" fmla="*/ 22 h 146"/>
                  <a:gd name="T38" fmla="*/ 68 w 120"/>
                  <a:gd name="T39" fmla="*/ 38 h 146"/>
                  <a:gd name="T40" fmla="*/ 68 w 120"/>
                  <a:gd name="T41" fmla="*/ 48 h 146"/>
                  <a:gd name="T42" fmla="*/ 72 w 120"/>
                  <a:gd name="T43" fmla="*/ 48 h 146"/>
                  <a:gd name="T44" fmla="*/ 80 w 120"/>
                  <a:gd name="T45" fmla="*/ 52 h 146"/>
                  <a:gd name="T46" fmla="*/ 86 w 120"/>
                  <a:gd name="T47" fmla="*/ 52 h 146"/>
                  <a:gd name="T48" fmla="*/ 90 w 120"/>
                  <a:gd name="T49" fmla="*/ 48 h 146"/>
                  <a:gd name="T50" fmla="*/ 94 w 120"/>
                  <a:gd name="T51" fmla="*/ 52 h 146"/>
                  <a:gd name="T52" fmla="*/ 98 w 120"/>
                  <a:gd name="T53" fmla="*/ 56 h 146"/>
                  <a:gd name="T54" fmla="*/ 102 w 120"/>
                  <a:gd name="T55" fmla="*/ 56 h 146"/>
                  <a:gd name="T56" fmla="*/ 102 w 120"/>
                  <a:gd name="T57" fmla="*/ 68 h 146"/>
                  <a:gd name="T58" fmla="*/ 102 w 120"/>
                  <a:gd name="T59" fmla="*/ 76 h 146"/>
                  <a:gd name="T60" fmla="*/ 106 w 120"/>
                  <a:gd name="T61" fmla="*/ 82 h 146"/>
                  <a:gd name="T62" fmla="*/ 110 w 120"/>
                  <a:gd name="T63" fmla="*/ 82 h 146"/>
                  <a:gd name="T64" fmla="*/ 120 w 120"/>
                  <a:gd name="T65" fmla="*/ 82 h 146"/>
                  <a:gd name="T66" fmla="*/ 120 w 120"/>
                  <a:gd name="T67" fmla="*/ 86 h 146"/>
                  <a:gd name="T68" fmla="*/ 120 w 120"/>
                  <a:gd name="T69" fmla="*/ 90 h 146"/>
                  <a:gd name="T70" fmla="*/ 120 w 120"/>
                  <a:gd name="T71" fmla="*/ 94 h 146"/>
                  <a:gd name="T72" fmla="*/ 116 w 120"/>
                  <a:gd name="T73" fmla="*/ 104 h 146"/>
                  <a:gd name="T74" fmla="*/ 116 w 120"/>
                  <a:gd name="T75" fmla="*/ 108 h 146"/>
                  <a:gd name="T76" fmla="*/ 116 w 120"/>
                  <a:gd name="T77" fmla="*/ 124 h 146"/>
                  <a:gd name="T78" fmla="*/ 114 w 120"/>
                  <a:gd name="T79" fmla="*/ 130 h 146"/>
                  <a:gd name="T80" fmla="*/ 110 w 120"/>
                  <a:gd name="T81" fmla="*/ 134 h 146"/>
                  <a:gd name="T82" fmla="*/ 102 w 120"/>
                  <a:gd name="T83" fmla="*/ 138 h 146"/>
                  <a:gd name="T84" fmla="*/ 102 w 120"/>
                  <a:gd name="T85" fmla="*/ 146 h 146"/>
                  <a:gd name="T86" fmla="*/ 98 w 120"/>
                  <a:gd name="T87" fmla="*/ 142 h 146"/>
                  <a:gd name="T88" fmla="*/ 90 w 120"/>
                  <a:gd name="T89" fmla="*/ 146 h 146"/>
                  <a:gd name="T90" fmla="*/ 90 w 120"/>
                  <a:gd name="T91" fmla="*/ 146 h 146"/>
                  <a:gd name="T92" fmla="*/ 86 w 120"/>
                  <a:gd name="T93" fmla="*/ 146 h 146"/>
                  <a:gd name="T94" fmla="*/ 84 w 120"/>
                  <a:gd name="T95" fmla="*/ 146 h 146"/>
                  <a:gd name="T96" fmla="*/ 80 w 120"/>
                  <a:gd name="T97" fmla="*/ 146 h 146"/>
                  <a:gd name="T98" fmla="*/ 76 w 120"/>
                  <a:gd name="T99" fmla="*/ 146 h 146"/>
                  <a:gd name="T100" fmla="*/ 72 w 120"/>
                  <a:gd name="T101" fmla="*/ 142 h 146"/>
                  <a:gd name="T102" fmla="*/ 60 w 120"/>
                  <a:gd name="T103" fmla="*/ 142 h 146"/>
                  <a:gd name="T104" fmla="*/ 56 w 120"/>
                  <a:gd name="T105" fmla="*/ 138 h 146"/>
                  <a:gd name="T106" fmla="*/ 64 w 120"/>
                  <a:gd name="T107" fmla="*/ 134 h 146"/>
                  <a:gd name="T108" fmla="*/ 64 w 120"/>
                  <a:gd name="T109" fmla="*/ 124 h 146"/>
                  <a:gd name="T110" fmla="*/ 68 w 120"/>
                  <a:gd name="T111" fmla="*/ 116 h 146"/>
                  <a:gd name="T112" fmla="*/ 76 w 120"/>
                  <a:gd name="T113" fmla="*/ 108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120" h="146">
                    <a:moveTo>
                      <a:pt x="72" y="104"/>
                    </a:move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8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4" y="102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60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6" y="98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4" y="94"/>
                    </a:lnTo>
                    <a:lnTo>
                      <a:pt x="50" y="94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50" y="90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8" y="82"/>
                    </a:lnTo>
                    <a:lnTo>
                      <a:pt x="34" y="82"/>
                    </a:lnTo>
                    <a:lnTo>
                      <a:pt x="34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82"/>
                    </a:lnTo>
                    <a:lnTo>
                      <a:pt x="30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6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18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26"/>
                    </a:lnTo>
                    <a:lnTo>
                      <a:pt x="72" y="30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2"/>
                    </a:lnTo>
                    <a:lnTo>
                      <a:pt x="68" y="46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68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2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52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48"/>
                    </a:lnTo>
                    <a:lnTo>
                      <a:pt x="90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4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2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98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56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0"/>
                    </a:lnTo>
                    <a:lnTo>
                      <a:pt x="102" y="64"/>
                    </a:lnTo>
                    <a:lnTo>
                      <a:pt x="102" y="64"/>
                    </a:lnTo>
                    <a:lnTo>
                      <a:pt x="102" y="68"/>
                    </a:lnTo>
                    <a:lnTo>
                      <a:pt x="102" y="68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2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2" y="76"/>
                    </a:lnTo>
                    <a:lnTo>
                      <a:pt x="106" y="76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78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06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0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4" y="82"/>
                    </a:lnTo>
                    <a:lnTo>
                      <a:pt x="116" y="78"/>
                    </a:lnTo>
                    <a:lnTo>
                      <a:pt x="116" y="78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2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86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0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4"/>
                    </a:lnTo>
                    <a:lnTo>
                      <a:pt x="120" y="98"/>
                    </a:lnTo>
                    <a:lnTo>
                      <a:pt x="120" y="98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2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6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6" y="124"/>
                    </a:lnTo>
                    <a:lnTo>
                      <a:pt x="114" y="126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4" y="130"/>
                    </a:lnTo>
                    <a:lnTo>
                      <a:pt x="110" y="130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10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6" y="134"/>
                    </a:lnTo>
                    <a:lnTo>
                      <a:pt x="102" y="138"/>
                    </a:lnTo>
                    <a:lnTo>
                      <a:pt x="102" y="138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2"/>
                    </a:lnTo>
                    <a:lnTo>
                      <a:pt x="102" y="146"/>
                    </a:lnTo>
                    <a:lnTo>
                      <a:pt x="98" y="146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8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4" y="142"/>
                    </a:lnTo>
                    <a:lnTo>
                      <a:pt x="90" y="142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90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6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4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80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72" y="142"/>
                    </a:lnTo>
                    <a:lnTo>
                      <a:pt x="68" y="142"/>
                    </a:lnTo>
                    <a:lnTo>
                      <a:pt x="68" y="142"/>
                    </a:lnTo>
                    <a:lnTo>
                      <a:pt x="64" y="142"/>
                    </a:lnTo>
                    <a:lnTo>
                      <a:pt x="64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60" y="142"/>
                    </a:lnTo>
                    <a:lnTo>
                      <a:pt x="56" y="138"/>
                    </a:lnTo>
                    <a:lnTo>
                      <a:pt x="56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8"/>
                    </a:lnTo>
                    <a:lnTo>
                      <a:pt x="60" y="134"/>
                    </a:lnTo>
                    <a:lnTo>
                      <a:pt x="60" y="134"/>
                    </a:lnTo>
                    <a:lnTo>
                      <a:pt x="64" y="134"/>
                    </a:lnTo>
                    <a:lnTo>
                      <a:pt x="64" y="134"/>
                    </a:lnTo>
                    <a:lnTo>
                      <a:pt x="64" y="130"/>
                    </a:lnTo>
                    <a:lnTo>
                      <a:pt x="64" y="130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6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68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8"/>
                    </a:lnTo>
                    <a:lnTo>
                      <a:pt x="72" y="108"/>
                    </a:lnTo>
                    <a:lnTo>
                      <a:pt x="72" y="108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lnTo>
                      <a:pt x="72" y="10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7" name="Freeform 186">
                <a:extLst>
                  <a:ext uri="{FF2B5EF4-FFF2-40B4-BE49-F238E27FC236}">
                    <a16:creationId xmlns:a16="http://schemas.microsoft.com/office/drawing/2014/main" id="{4054CD3B-2D40-4D44-AE25-137378E49F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65400" y="4562543"/>
                <a:ext cx="285750" cy="498475"/>
              </a:xfrm>
              <a:custGeom>
                <a:avLst/>
                <a:gdLst>
                  <a:gd name="T0" fmla="*/ 166 w 180"/>
                  <a:gd name="T1" fmla="*/ 310 h 314"/>
                  <a:gd name="T2" fmla="*/ 154 w 180"/>
                  <a:gd name="T3" fmla="*/ 310 h 314"/>
                  <a:gd name="T4" fmla="*/ 142 w 180"/>
                  <a:gd name="T5" fmla="*/ 298 h 314"/>
                  <a:gd name="T6" fmla="*/ 132 w 180"/>
                  <a:gd name="T7" fmla="*/ 290 h 314"/>
                  <a:gd name="T8" fmla="*/ 120 w 180"/>
                  <a:gd name="T9" fmla="*/ 284 h 314"/>
                  <a:gd name="T10" fmla="*/ 106 w 180"/>
                  <a:gd name="T11" fmla="*/ 276 h 314"/>
                  <a:gd name="T12" fmla="*/ 94 w 180"/>
                  <a:gd name="T13" fmla="*/ 264 h 314"/>
                  <a:gd name="T14" fmla="*/ 82 w 180"/>
                  <a:gd name="T15" fmla="*/ 254 h 314"/>
                  <a:gd name="T16" fmla="*/ 76 w 180"/>
                  <a:gd name="T17" fmla="*/ 238 h 314"/>
                  <a:gd name="T18" fmla="*/ 76 w 180"/>
                  <a:gd name="T19" fmla="*/ 230 h 314"/>
                  <a:gd name="T20" fmla="*/ 68 w 180"/>
                  <a:gd name="T21" fmla="*/ 212 h 314"/>
                  <a:gd name="T22" fmla="*/ 60 w 180"/>
                  <a:gd name="T23" fmla="*/ 200 h 314"/>
                  <a:gd name="T24" fmla="*/ 54 w 180"/>
                  <a:gd name="T25" fmla="*/ 186 h 314"/>
                  <a:gd name="T26" fmla="*/ 46 w 180"/>
                  <a:gd name="T27" fmla="*/ 168 h 314"/>
                  <a:gd name="T28" fmla="*/ 38 w 180"/>
                  <a:gd name="T29" fmla="*/ 152 h 314"/>
                  <a:gd name="T30" fmla="*/ 34 w 180"/>
                  <a:gd name="T31" fmla="*/ 138 h 314"/>
                  <a:gd name="T32" fmla="*/ 26 w 180"/>
                  <a:gd name="T33" fmla="*/ 126 h 314"/>
                  <a:gd name="T34" fmla="*/ 20 w 180"/>
                  <a:gd name="T35" fmla="*/ 114 h 314"/>
                  <a:gd name="T36" fmla="*/ 12 w 180"/>
                  <a:gd name="T37" fmla="*/ 104 h 314"/>
                  <a:gd name="T38" fmla="*/ 8 w 180"/>
                  <a:gd name="T39" fmla="*/ 96 h 314"/>
                  <a:gd name="T40" fmla="*/ 4 w 180"/>
                  <a:gd name="T41" fmla="*/ 82 h 314"/>
                  <a:gd name="T42" fmla="*/ 4 w 180"/>
                  <a:gd name="T43" fmla="*/ 66 h 314"/>
                  <a:gd name="T44" fmla="*/ 16 w 180"/>
                  <a:gd name="T45" fmla="*/ 56 h 314"/>
                  <a:gd name="T46" fmla="*/ 16 w 180"/>
                  <a:gd name="T47" fmla="*/ 74 h 314"/>
                  <a:gd name="T48" fmla="*/ 26 w 180"/>
                  <a:gd name="T49" fmla="*/ 74 h 314"/>
                  <a:gd name="T50" fmla="*/ 38 w 180"/>
                  <a:gd name="T51" fmla="*/ 78 h 314"/>
                  <a:gd name="T52" fmla="*/ 42 w 180"/>
                  <a:gd name="T53" fmla="*/ 70 h 314"/>
                  <a:gd name="T54" fmla="*/ 46 w 180"/>
                  <a:gd name="T55" fmla="*/ 56 h 314"/>
                  <a:gd name="T56" fmla="*/ 50 w 180"/>
                  <a:gd name="T57" fmla="*/ 48 h 314"/>
                  <a:gd name="T58" fmla="*/ 68 w 180"/>
                  <a:gd name="T59" fmla="*/ 42 h 314"/>
                  <a:gd name="T60" fmla="*/ 82 w 180"/>
                  <a:gd name="T61" fmla="*/ 26 h 314"/>
                  <a:gd name="T62" fmla="*/ 86 w 180"/>
                  <a:gd name="T63" fmla="*/ 12 h 314"/>
                  <a:gd name="T64" fmla="*/ 90 w 180"/>
                  <a:gd name="T65" fmla="*/ 0 h 314"/>
                  <a:gd name="T66" fmla="*/ 98 w 180"/>
                  <a:gd name="T67" fmla="*/ 4 h 314"/>
                  <a:gd name="T68" fmla="*/ 110 w 180"/>
                  <a:gd name="T69" fmla="*/ 18 h 314"/>
                  <a:gd name="T70" fmla="*/ 120 w 180"/>
                  <a:gd name="T71" fmla="*/ 30 h 314"/>
                  <a:gd name="T72" fmla="*/ 120 w 180"/>
                  <a:gd name="T73" fmla="*/ 42 h 314"/>
                  <a:gd name="T74" fmla="*/ 132 w 180"/>
                  <a:gd name="T75" fmla="*/ 42 h 314"/>
                  <a:gd name="T76" fmla="*/ 142 w 180"/>
                  <a:gd name="T77" fmla="*/ 38 h 314"/>
                  <a:gd name="T78" fmla="*/ 158 w 180"/>
                  <a:gd name="T79" fmla="*/ 42 h 314"/>
                  <a:gd name="T80" fmla="*/ 154 w 180"/>
                  <a:gd name="T81" fmla="*/ 62 h 314"/>
                  <a:gd name="T82" fmla="*/ 162 w 180"/>
                  <a:gd name="T83" fmla="*/ 70 h 314"/>
                  <a:gd name="T84" fmla="*/ 150 w 180"/>
                  <a:gd name="T85" fmla="*/ 70 h 314"/>
                  <a:gd name="T86" fmla="*/ 140 w 180"/>
                  <a:gd name="T87" fmla="*/ 74 h 314"/>
                  <a:gd name="T88" fmla="*/ 128 w 180"/>
                  <a:gd name="T89" fmla="*/ 82 h 314"/>
                  <a:gd name="T90" fmla="*/ 120 w 180"/>
                  <a:gd name="T91" fmla="*/ 96 h 314"/>
                  <a:gd name="T92" fmla="*/ 116 w 180"/>
                  <a:gd name="T93" fmla="*/ 108 h 314"/>
                  <a:gd name="T94" fmla="*/ 110 w 180"/>
                  <a:gd name="T95" fmla="*/ 122 h 314"/>
                  <a:gd name="T96" fmla="*/ 112 w 180"/>
                  <a:gd name="T97" fmla="*/ 134 h 314"/>
                  <a:gd name="T98" fmla="*/ 120 w 180"/>
                  <a:gd name="T99" fmla="*/ 148 h 314"/>
                  <a:gd name="T100" fmla="*/ 120 w 180"/>
                  <a:gd name="T101" fmla="*/ 160 h 314"/>
                  <a:gd name="T102" fmla="*/ 132 w 180"/>
                  <a:gd name="T103" fmla="*/ 168 h 314"/>
                  <a:gd name="T104" fmla="*/ 150 w 180"/>
                  <a:gd name="T105" fmla="*/ 168 h 314"/>
                  <a:gd name="T106" fmla="*/ 154 w 180"/>
                  <a:gd name="T107" fmla="*/ 172 h 314"/>
                  <a:gd name="T108" fmla="*/ 158 w 180"/>
                  <a:gd name="T109" fmla="*/ 186 h 314"/>
                  <a:gd name="T110" fmla="*/ 172 w 180"/>
                  <a:gd name="T111" fmla="*/ 194 h 314"/>
                  <a:gd name="T112" fmla="*/ 180 w 180"/>
                  <a:gd name="T113" fmla="*/ 208 h 314"/>
                  <a:gd name="T114" fmla="*/ 176 w 180"/>
                  <a:gd name="T115" fmla="*/ 224 h 314"/>
                  <a:gd name="T116" fmla="*/ 180 w 180"/>
                  <a:gd name="T117" fmla="*/ 238 h 314"/>
                  <a:gd name="T118" fmla="*/ 172 w 180"/>
                  <a:gd name="T119" fmla="*/ 254 h 314"/>
                  <a:gd name="T120" fmla="*/ 172 w 180"/>
                  <a:gd name="T121" fmla="*/ 264 h 314"/>
                  <a:gd name="T122" fmla="*/ 176 w 180"/>
                  <a:gd name="T123" fmla="*/ 280 h 314"/>
                  <a:gd name="T124" fmla="*/ 168 w 180"/>
                  <a:gd name="T125" fmla="*/ 290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80" h="314">
                    <a:moveTo>
                      <a:pt x="168" y="298"/>
                    </a:moveTo>
                    <a:lnTo>
                      <a:pt x="168" y="302"/>
                    </a:lnTo>
                    <a:lnTo>
                      <a:pt x="166" y="302"/>
                    </a:lnTo>
                    <a:lnTo>
                      <a:pt x="166" y="306"/>
                    </a:lnTo>
                    <a:lnTo>
                      <a:pt x="166" y="310"/>
                    </a:lnTo>
                    <a:lnTo>
                      <a:pt x="166" y="314"/>
                    </a:lnTo>
                    <a:lnTo>
                      <a:pt x="162" y="314"/>
                    </a:lnTo>
                    <a:lnTo>
                      <a:pt x="158" y="314"/>
                    </a:lnTo>
                    <a:lnTo>
                      <a:pt x="154" y="314"/>
                    </a:lnTo>
                    <a:lnTo>
                      <a:pt x="154" y="310"/>
                    </a:lnTo>
                    <a:lnTo>
                      <a:pt x="150" y="310"/>
                    </a:lnTo>
                    <a:lnTo>
                      <a:pt x="150" y="306"/>
                    </a:lnTo>
                    <a:lnTo>
                      <a:pt x="146" y="306"/>
                    </a:lnTo>
                    <a:lnTo>
                      <a:pt x="142" y="302"/>
                    </a:lnTo>
                    <a:lnTo>
                      <a:pt x="142" y="298"/>
                    </a:lnTo>
                    <a:lnTo>
                      <a:pt x="142" y="294"/>
                    </a:lnTo>
                    <a:lnTo>
                      <a:pt x="140" y="294"/>
                    </a:lnTo>
                    <a:lnTo>
                      <a:pt x="136" y="294"/>
                    </a:lnTo>
                    <a:lnTo>
                      <a:pt x="136" y="290"/>
                    </a:lnTo>
                    <a:lnTo>
                      <a:pt x="132" y="290"/>
                    </a:lnTo>
                    <a:lnTo>
                      <a:pt x="132" y="286"/>
                    </a:lnTo>
                    <a:lnTo>
                      <a:pt x="128" y="286"/>
                    </a:lnTo>
                    <a:lnTo>
                      <a:pt x="128" y="284"/>
                    </a:lnTo>
                    <a:lnTo>
                      <a:pt x="124" y="284"/>
                    </a:lnTo>
                    <a:lnTo>
                      <a:pt x="120" y="284"/>
                    </a:lnTo>
                    <a:lnTo>
                      <a:pt x="116" y="280"/>
                    </a:lnTo>
                    <a:lnTo>
                      <a:pt x="112" y="280"/>
                    </a:lnTo>
                    <a:lnTo>
                      <a:pt x="112" y="276"/>
                    </a:lnTo>
                    <a:lnTo>
                      <a:pt x="110" y="276"/>
                    </a:lnTo>
                    <a:lnTo>
                      <a:pt x="106" y="276"/>
                    </a:lnTo>
                    <a:lnTo>
                      <a:pt x="106" y="272"/>
                    </a:lnTo>
                    <a:lnTo>
                      <a:pt x="102" y="272"/>
                    </a:lnTo>
                    <a:lnTo>
                      <a:pt x="102" y="268"/>
                    </a:lnTo>
                    <a:lnTo>
                      <a:pt x="98" y="268"/>
                    </a:lnTo>
                    <a:lnTo>
                      <a:pt x="94" y="264"/>
                    </a:lnTo>
                    <a:lnTo>
                      <a:pt x="90" y="264"/>
                    </a:lnTo>
                    <a:lnTo>
                      <a:pt x="90" y="260"/>
                    </a:lnTo>
                    <a:lnTo>
                      <a:pt x="86" y="260"/>
                    </a:lnTo>
                    <a:lnTo>
                      <a:pt x="86" y="256"/>
                    </a:lnTo>
                    <a:lnTo>
                      <a:pt x="82" y="254"/>
                    </a:lnTo>
                    <a:lnTo>
                      <a:pt x="80" y="250"/>
                    </a:lnTo>
                    <a:lnTo>
                      <a:pt x="80" y="246"/>
                    </a:lnTo>
                    <a:lnTo>
                      <a:pt x="76" y="246"/>
                    </a:lnTo>
                    <a:lnTo>
                      <a:pt x="76" y="242"/>
                    </a:lnTo>
                    <a:lnTo>
                      <a:pt x="76" y="238"/>
                    </a:lnTo>
                    <a:lnTo>
                      <a:pt x="72" y="234"/>
                    </a:lnTo>
                    <a:lnTo>
                      <a:pt x="72" y="238"/>
                    </a:lnTo>
                    <a:lnTo>
                      <a:pt x="72" y="234"/>
                    </a:lnTo>
                    <a:lnTo>
                      <a:pt x="76" y="234"/>
                    </a:lnTo>
                    <a:lnTo>
                      <a:pt x="76" y="230"/>
                    </a:lnTo>
                    <a:lnTo>
                      <a:pt x="76" y="228"/>
                    </a:lnTo>
                    <a:lnTo>
                      <a:pt x="72" y="224"/>
                    </a:lnTo>
                    <a:lnTo>
                      <a:pt x="72" y="220"/>
                    </a:lnTo>
                    <a:lnTo>
                      <a:pt x="68" y="216"/>
                    </a:lnTo>
                    <a:lnTo>
                      <a:pt x="68" y="212"/>
                    </a:lnTo>
                    <a:lnTo>
                      <a:pt x="68" y="208"/>
                    </a:lnTo>
                    <a:lnTo>
                      <a:pt x="64" y="208"/>
                    </a:lnTo>
                    <a:lnTo>
                      <a:pt x="64" y="204"/>
                    </a:lnTo>
                    <a:lnTo>
                      <a:pt x="60" y="204"/>
                    </a:lnTo>
                    <a:lnTo>
                      <a:pt x="60" y="200"/>
                    </a:lnTo>
                    <a:lnTo>
                      <a:pt x="60" y="198"/>
                    </a:lnTo>
                    <a:lnTo>
                      <a:pt x="60" y="194"/>
                    </a:lnTo>
                    <a:lnTo>
                      <a:pt x="56" y="194"/>
                    </a:lnTo>
                    <a:lnTo>
                      <a:pt x="54" y="190"/>
                    </a:lnTo>
                    <a:lnTo>
                      <a:pt x="54" y="186"/>
                    </a:lnTo>
                    <a:lnTo>
                      <a:pt x="54" y="182"/>
                    </a:lnTo>
                    <a:lnTo>
                      <a:pt x="50" y="178"/>
                    </a:lnTo>
                    <a:lnTo>
                      <a:pt x="50" y="174"/>
                    </a:lnTo>
                    <a:lnTo>
                      <a:pt x="46" y="172"/>
                    </a:lnTo>
                    <a:lnTo>
                      <a:pt x="46" y="168"/>
                    </a:lnTo>
                    <a:lnTo>
                      <a:pt x="46" y="164"/>
                    </a:lnTo>
                    <a:lnTo>
                      <a:pt x="42" y="160"/>
                    </a:lnTo>
                    <a:lnTo>
                      <a:pt x="42" y="156"/>
                    </a:lnTo>
                    <a:lnTo>
                      <a:pt x="42" y="152"/>
                    </a:lnTo>
                    <a:lnTo>
                      <a:pt x="38" y="152"/>
                    </a:lnTo>
                    <a:lnTo>
                      <a:pt x="38" y="148"/>
                    </a:lnTo>
                    <a:lnTo>
                      <a:pt x="38" y="144"/>
                    </a:lnTo>
                    <a:lnTo>
                      <a:pt x="34" y="142"/>
                    </a:lnTo>
                    <a:lnTo>
                      <a:pt x="38" y="142"/>
                    </a:lnTo>
                    <a:lnTo>
                      <a:pt x="34" y="138"/>
                    </a:lnTo>
                    <a:lnTo>
                      <a:pt x="34" y="134"/>
                    </a:lnTo>
                    <a:lnTo>
                      <a:pt x="30" y="134"/>
                    </a:lnTo>
                    <a:lnTo>
                      <a:pt x="30" y="130"/>
                    </a:lnTo>
                    <a:lnTo>
                      <a:pt x="26" y="130"/>
                    </a:lnTo>
                    <a:lnTo>
                      <a:pt x="26" y="126"/>
                    </a:lnTo>
                    <a:lnTo>
                      <a:pt x="26" y="122"/>
                    </a:lnTo>
                    <a:lnTo>
                      <a:pt x="26" y="118"/>
                    </a:lnTo>
                    <a:lnTo>
                      <a:pt x="24" y="118"/>
                    </a:lnTo>
                    <a:lnTo>
                      <a:pt x="24" y="114"/>
                    </a:lnTo>
                    <a:lnTo>
                      <a:pt x="20" y="114"/>
                    </a:lnTo>
                    <a:lnTo>
                      <a:pt x="20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6"/>
                    </a:lnTo>
                    <a:lnTo>
                      <a:pt x="4" y="82"/>
                    </a:lnTo>
                    <a:lnTo>
                      <a:pt x="0" y="78"/>
                    </a:lnTo>
                    <a:lnTo>
                      <a:pt x="0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66"/>
                    </a:lnTo>
                    <a:lnTo>
                      <a:pt x="8" y="66"/>
                    </a:lnTo>
                    <a:lnTo>
                      <a:pt x="8" y="62"/>
                    </a:lnTo>
                    <a:lnTo>
                      <a:pt x="12" y="58"/>
                    </a:lnTo>
                    <a:lnTo>
                      <a:pt x="16" y="58"/>
                    </a:lnTo>
                    <a:lnTo>
                      <a:pt x="16" y="56"/>
                    </a:lnTo>
                    <a:lnTo>
                      <a:pt x="20" y="58"/>
                    </a:lnTo>
                    <a:lnTo>
                      <a:pt x="20" y="62"/>
                    </a:lnTo>
                    <a:lnTo>
                      <a:pt x="16" y="66"/>
                    </a:lnTo>
                    <a:lnTo>
                      <a:pt x="16" y="70"/>
                    </a:lnTo>
                    <a:lnTo>
                      <a:pt x="16" y="74"/>
                    </a:lnTo>
                    <a:lnTo>
                      <a:pt x="20" y="74"/>
                    </a:lnTo>
                    <a:lnTo>
                      <a:pt x="20" y="70"/>
                    </a:lnTo>
                    <a:lnTo>
                      <a:pt x="20" y="74"/>
                    </a:lnTo>
                    <a:lnTo>
                      <a:pt x="24" y="74"/>
                    </a:lnTo>
                    <a:lnTo>
                      <a:pt x="26" y="74"/>
                    </a:lnTo>
                    <a:lnTo>
                      <a:pt x="26" y="78"/>
                    </a:lnTo>
                    <a:lnTo>
                      <a:pt x="30" y="78"/>
                    </a:lnTo>
                    <a:lnTo>
                      <a:pt x="30" y="82"/>
                    </a:lnTo>
                    <a:lnTo>
                      <a:pt x="34" y="82"/>
                    </a:lnTo>
                    <a:lnTo>
                      <a:pt x="38" y="78"/>
                    </a:lnTo>
                    <a:lnTo>
                      <a:pt x="38" y="74"/>
                    </a:lnTo>
                    <a:lnTo>
                      <a:pt x="42" y="74"/>
                    </a:lnTo>
                    <a:lnTo>
                      <a:pt x="38" y="74"/>
                    </a:lnTo>
                    <a:lnTo>
                      <a:pt x="38" y="70"/>
                    </a:lnTo>
                    <a:lnTo>
                      <a:pt x="42" y="70"/>
                    </a:lnTo>
                    <a:lnTo>
                      <a:pt x="42" y="66"/>
                    </a:lnTo>
                    <a:lnTo>
                      <a:pt x="42" y="62"/>
                    </a:lnTo>
                    <a:lnTo>
                      <a:pt x="46" y="62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46" y="58"/>
                    </a:lnTo>
                    <a:lnTo>
                      <a:pt x="46" y="56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6" y="48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8" y="42"/>
                    </a:lnTo>
                    <a:lnTo>
                      <a:pt x="72" y="38"/>
                    </a:lnTo>
                    <a:lnTo>
                      <a:pt x="76" y="34"/>
                    </a:lnTo>
                    <a:lnTo>
                      <a:pt x="80" y="34"/>
                    </a:lnTo>
                    <a:lnTo>
                      <a:pt x="80" y="30"/>
                    </a:lnTo>
                    <a:lnTo>
                      <a:pt x="82" y="26"/>
                    </a:lnTo>
                    <a:lnTo>
                      <a:pt x="82" y="22"/>
                    </a:lnTo>
                    <a:lnTo>
                      <a:pt x="86" y="18"/>
                    </a:lnTo>
                    <a:lnTo>
                      <a:pt x="86" y="16"/>
                    </a:lnTo>
                    <a:lnTo>
                      <a:pt x="90" y="16"/>
                    </a:lnTo>
                    <a:lnTo>
                      <a:pt x="86" y="12"/>
                    </a:lnTo>
                    <a:lnTo>
                      <a:pt x="86" y="8"/>
                    </a:lnTo>
                    <a:lnTo>
                      <a:pt x="86" y="4"/>
                    </a:lnTo>
                    <a:lnTo>
                      <a:pt x="82" y="0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4" y="0"/>
                    </a:lnTo>
                    <a:lnTo>
                      <a:pt x="94" y="4"/>
                    </a:lnTo>
                    <a:lnTo>
                      <a:pt x="98" y="4"/>
                    </a:lnTo>
                    <a:lnTo>
                      <a:pt x="102" y="8"/>
                    </a:lnTo>
                    <a:lnTo>
                      <a:pt x="102" y="12"/>
                    </a:lnTo>
                    <a:lnTo>
                      <a:pt x="102" y="16"/>
                    </a:lnTo>
                    <a:lnTo>
                      <a:pt x="106" y="16"/>
                    </a:lnTo>
                    <a:lnTo>
                      <a:pt x="110" y="18"/>
                    </a:lnTo>
                    <a:lnTo>
                      <a:pt x="112" y="22"/>
                    </a:lnTo>
                    <a:lnTo>
                      <a:pt x="112" y="26"/>
                    </a:lnTo>
                    <a:lnTo>
                      <a:pt x="112" y="30"/>
                    </a:lnTo>
                    <a:lnTo>
                      <a:pt x="116" y="30"/>
                    </a:lnTo>
                    <a:lnTo>
                      <a:pt x="120" y="30"/>
                    </a:lnTo>
                    <a:lnTo>
                      <a:pt x="120" y="34"/>
                    </a:lnTo>
                    <a:lnTo>
                      <a:pt x="120" y="38"/>
                    </a:lnTo>
                    <a:lnTo>
                      <a:pt x="116" y="38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0" y="38"/>
                    </a:lnTo>
                    <a:lnTo>
                      <a:pt x="120" y="42"/>
                    </a:lnTo>
                    <a:lnTo>
                      <a:pt x="124" y="42"/>
                    </a:lnTo>
                    <a:lnTo>
                      <a:pt x="128" y="42"/>
                    </a:lnTo>
                    <a:lnTo>
                      <a:pt x="132" y="42"/>
                    </a:lnTo>
                    <a:lnTo>
                      <a:pt x="136" y="42"/>
                    </a:lnTo>
                    <a:lnTo>
                      <a:pt x="136" y="38"/>
                    </a:lnTo>
                    <a:lnTo>
                      <a:pt x="140" y="34"/>
                    </a:lnTo>
                    <a:lnTo>
                      <a:pt x="140" y="38"/>
                    </a:lnTo>
                    <a:lnTo>
                      <a:pt x="142" y="38"/>
                    </a:lnTo>
                    <a:lnTo>
                      <a:pt x="146" y="38"/>
                    </a:lnTo>
                    <a:lnTo>
                      <a:pt x="150" y="38"/>
                    </a:lnTo>
                    <a:lnTo>
                      <a:pt x="154" y="38"/>
                    </a:lnTo>
                    <a:lnTo>
                      <a:pt x="154" y="42"/>
                    </a:lnTo>
                    <a:lnTo>
                      <a:pt x="158" y="42"/>
                    </a:lnTo>
                    <a:lnTo>
                      <a:pt x="162" y="42"/>
                    </a:lnTo>
                    <a:lnTo>
                      <a:pt x="162" y="44"/>
                    </a:lnTo>
                    <a:lnTo>
                      <a:pt x="158" y="56"/>
                    </a:lnTo>
                    <a:lnTo>
                      <a:pt x="154" y="58"/>
                    </a:lnTo>
                    <a:lnTo>
                      <a:pt x="154" y="62"/>
                    </a:lnTo>
                    <a:lnTo>
                      <a:pt x="158" y="62"/>
                    </a:lnTo>
                    <a:lnTo>
                      <a:pt x="162" y="66"/>
                    </a:lnTo>
                    <a:lnTo>
                      <a:pt x="162" y="70"/>
                    </a:lnTo>
                    <a:lnTo>
                      <a:pt x="166" y="70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58" y="70"/>
                    </a:lnTo>
                    <a:lnTo>
                      <a:pt x="154" y="70"/>
                    </a:lnTo>
                    <a:lnTo>
                      <a:pt x="150" y="70"/>
                    </a:lnTo>
                    <a:lnTo>
                      <a:pt x="150" y="74"/>
                    </a:lnTo>
                    <a:lnTo>
                      <a:pt x="146" y="74"/>
                    </a:lnTo>
                    <a:lnTo>
                      <a:pt x="146" y="70"/>
                    </a:lnTo>
                    <a:lnTo>
                      <a:pt x="142" y="74"/>
                    </a:lnTo>
                    <a:lnTo>
                      <a:pt x="140" y="74"/>
                    </a:lnTo>
                    <a:lnTo>
                      <a:pt x="136" y="74"/>
                    </a:lnTo>
                    <a:lnTo>
                      <a:pt x="136" y="78"/>
                    </a:lnTo>
                    <a:lnTo>
                      <a:pt x="132" y="78"/>
                    </a:lnTo>
                    <a:lnTo>
                      <a:pt x="128" y="78"/>
                    </a:lnTo>
                    <a:lnTo>
                      <a:pt x="128" y="82"/>
                    </a:lnTo>
                    <a:lnTo>
                      <a:pt x="124" y="86"/>
                    </a:lnTo>
                    <a:lnTo>
                      <a:pt x="120" y="86"/>
                    </a:lnTo>
                    <a:lnTo>
                      <a:pt x="120" y="88"/>
                    </a:lnTo>
                    <a:lnTo>
                      <a:pt x="120" y="92"/>
                    </a:lnTo>
                    <a:lnTo>
                      <a:pt x="120" y="96"/>
                    </a:lnTo>
                    <a:lnTo>
                      <a:pt x="116" y="96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20" y="108"/>
                    </a:lnTo>
                    <a:lnTo>
                      <a:pt x="116" y="108"/>
                    </a:lnTo>
                    <a:lnTo>
                      <a:pt x="116" y="112"/>
                    </a:lnTo>
                    <a:lnTo>
                      <a:pt x="112" y="112"/>
                    </a:lnTo>
                    <a:lnTo>
                      <a:pt x="110" y="114"/>
                    </a:lnTo>
                    <a:lnTo>
                      <a:pt x="110" y="118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30"/>
                    </a:lnTo>
                    <a:lnTo>
                      <a:pt x="110" y="134"/>
                    </a:lnTo>
                    <a:lnTo>
                      <a:pt x="112" y="134"/>
                    </a:lnTo>
                    <a:lnTo>
                      <a:pt x="112" y="138"/>
                    </a:lnTo>
                    <a:lnTo>
                      <a:pt x="112" y="142"/>
                    </a:lnTo>
                    <a:lnTo>
                      <a:pt x="116" y="144"/>
                    </a:lnTo>
                    <a:lnTo>
                      <a:pt x="116" y="148"/>
                    </a:lnTo>
                    <a:lnTo>
                      <a:pt x="120" y="148"/>
                    </a:lnTo>
                    <a:lnTo>
                      <a:pt x="120" y="152"/>
                    </a:lnTo>
                    <a:lnTo>
                      <a:pt x="120" y="156"/>
                    </a:lnTo>
                    <a:lnTo>
                      <a:pt x="116" y="156"/>
                    </a:lnTo>
                    <a:lnTo>
                      <a:pt x="116" y="160"/>
                    </a:lnTo>
                    <a:lnTo>
                      <a:pt x="120" y="160"/>
                    </a:lnTo>
                    <a:lnTo>
                      <a:pt x="124" y="160"/>
                    </a:lnTo>
                    <a:lnTo>
                      <a:pt x="128" y="160"/>
                    </a:lnTo>
                    <a:lnTo>
                      <a:pt x="132" y="160"/>
                    </a:lnTo>
                    <a:lnTo>
                      <a:pt x="132" y="164"/>
                    </a:lnTo>
                    <a:lnTo>
                      <a:pt x="132" y="168"/>
                    </a:lnTo>
                    <a:lnTo>
                      <a:pt x="136" y="168"/>
                    </a:lnTo>
                    <a:lnTo>
                      <a:pt x="140" y="168"/>
                    </a:lnTo>
                    <a:lnTo>
                      <a:pt x="142" y="168"/>
                    </a:lnTo>
                    <a:lnTo>
                      <a:pt x="146" y="168"/>
                    </a:lnTo>
                    <a:lnTo>
                      <a:pt x="150" y="168"/>
                    </a:lnTo>
                    <a:lnTo>
                      <a:pt x="150" y="164"/>
                    </a:lnTo>
                    <a:lnTo>
                      <a:pt x="154" y="160"/>
                    </a:lnTo>
                    <a:lnTo>
                      <a:pt x="154" y="164"/>
                    </a:lnTo>
                    <a:lnTo>
                      <a:pt x="154" y="168"/>
                    </a:lnTo>
                    <a:lnTo>
                      <a:pt x="154" y="172"/>
                    </a:lnTo>
                    <a:lnTo>
                      <a:pt x="154" y="174"/>
                    </a:lnTo>
                    <a:lnTo>
                      <a:pt x="154" y="178"/>
                    </a:lnTo>
                    <a:lnTo>
                      <a:pt x="154" y="182"/>
                    </a:lnTo>
                    <a:lnTo>
                      <a:pt x="154" y="186"/>
                    </a:lnTo>
                    <a:lnTo>
                      <a:pt x="158" y="186"/>
                    </a:lnTo>
                    <a:lnTo>
                      <a:pt x="162" y="186"/>
                    </a:lnTo>
                    <a:lnTo>
                      <a:pt x="166" y="186"/>
                    </a:lnTo>
                    <a:lnTo>
                      <a:pt x="168" y="186"/>
                    </a:lnTo>
                    <a:lnTo>
                      <a:pt x="172" y="190"/>
                    </a:lnTo>
                    <a:lnTo>
                      <a:pt x="172" y="194"/>
                    </a:lnTo>
                    <a:lnTo>
                      <a:pt x="172" y="198"/>
                    </a:lnTo>
                    <a:lnTo>
                      <a:pt x="176" y="200"/>
                    </a:lnTo>
                    <a:lnTo>
                      <a:pt x="176" y="204"/>
                    </a:lnTo>
                    <a:lnTo>
                      <a:pt x="180" y="204"/>
                    </a:lnTo>
                    <a:lnTo>
                      <a:pt x="180" y="208"/>
                    </a:lnTo>
                    <a:lnTo>
                      <a:pt x="180" y="212"/>
                    </a:lnTo>
                    <a:lnTo>
                      <a:pt x="180" y="216"/>
                    </a:lnTo>
                    <a:lnTo>
                      <a:pt x="176" y="216"/>
                    </a:lnTo>
                    <a:lnTo>
                      <a:pt x="176" y="220"/>
                    </a:lnTo>
                    <a:lnTo>
                      <a:pt x="176" y="224"/>
                    </a:lnTo>
                    <a:lnTo>
                      <a:pt x="176" y="228"/>
                    </a:lnTo>
                    <a:lnTo>
                      <a:pt x="176" y="230"/>
                    </a:lnTo>
                    <a:lnTo>
                      <a:pt x="176" y="234"/>
                    </a:lnTo>
                    <a:lnTo>
                      <a:pt x="176" y="238"/>
                    </a:lnTo>
                    <a:lnTo>
                      <a:pt x="180" y="238"/>
                    </a:lnTo>
                    <a:lnTo>
                      <a:pt x="180" y="242"/>
                    </a:lnTo>
                    <a:lnTo>
                      <a:pt x="176" y="242"/>
                    </a:lnTo>
                    <a:lnTo>
                      <a:pt x="176" y="246"/>
                    </a:lnTo>
                    <a:lnTo>
                      <a:pt x="172" y="250"/>
                    </a:lnTo>
                    <a:lnTo>
                      <a:pt x="172" y="254"/>
                    </a:lnTo>
                    <a:lnTo>
                      <a:pt x="172" y="256"/>
                    </a:lnTo>
                    <a:lnTo>
                      <a:pt x="176" y="256"/>
                    </a:lnTo>
                    <a:lnTo>
                      <a:pt x="176" y="260"/>
                    </a:lnTo>
                    <a:lnTo>
                      <a:pt x="172" y="260"/>
                    </a:lnTo>
                    <a:lnTo>
                      <a:pt x="172" y="264"/>
                    </a:lnTo>
                    <a:lnTo>
                      <a:pt x="172" y="268"/>
                    </a:lnTo>
                    <a:lnTo>
                      <a:pt x="172" y="276"/>
                    </a:lnTo>
                    <a:lnTo>
                      <a:pt x="176" y="276"/>
                    </a:lnTo>
                    <a:lnTo>
                      <a:pt x="180" y="280"/>
                    </a:lnTo>
                    <a:lnTo>
                      <a:pt x="176" y="280"/>
                    </a:lnTo>
                    <a:lnTo>
                      <a:pt x="176" y="284"/>
                    </a:lnTo>
                    <a:lnTo>
                      <a:pt x="176" y="286"/>
                    </a:lnTo>
                    <a:lnTo>
                      <a:pt x="172" y="286"/>
                    </a:lnTo>
                    <a:lnTo>
                      <a:pt x="172" y="290"/>
                    </a:lnTo>
                    <a:lnTo>
                      <a:pt x="168" y="290"/>
                    </a:lnTo>
                    <a:lnTo>
                      <a:pt x="168" y="294"/>
                    </a:lnTo>
                    <a:lnTo>
                      <a:pt x="168" y="298"/>
                    </a:lnTo>
                    <a:lnTo>
                      <a:pt x="168" y="298"/>
                    </a:lnTo>
                    <a:lnTo>
                      <a:pt x="168" y="29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8" name="Freeform 187">
                <a:extLst>
                  <a:ext uri="{FF2B5EF4-FFF2-40B4-BE49-F238E27FC236}">
                    <a16:creationId xmlns:a16="http://schemas.microsoft.com/office/drawing/2014/main" id="{EBAFCE56-DB45-4900-B838-5F9BA52B2A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92450" y="4397443"/>
                <a:ext cx="88900" cy="111125"/>
              </a:xfrm>
              <a:custGeom>
                <a:avLst/>
                <a:gdLst>
                  <a:gd name="T0" fmla="*/ 42 w 56"/>
                  <a:gd name="T1" fmla="*/ 4 h 70"/>
                  <a:gd name="T2" fmla="*/ 42 w 56"/>
                  <a:gd name="T3" fmla="*/ 4 h 70"/>
                  <a:gd name="T4" fmla="*/ 42 w 56"/>
                  <a:gd name="T5" fmla="*/ 0 h 70"/>
                  <a:gd name="T6" fmla="*/ 46 w 56"/>
                  <a:gd name="T7" fmla="*/ 0 h 70"/>
                  <a:gd name="T8" fmla="*/ 52 w 56"/>
                  <a:gd name="T9" fmla="*/ 4 h 70"/>
                  <a:gd name="T10" fmla="*/ 56 w 56"/>
                  <a:gd name="T11" fmla="*/ 4 h 70"/>
                  <a:gd name="T12" fmla="*/ 56 w 56"/>
                  <a:gd name="T13" fmla="*/ 6 h 70"/>
                  <a:gd name="T14" fmla="*/ 52 w 56"/>
                  <a:gd name="T15" fmla="*/ 10 h 70"/>
                  <a:gd name="T16" fmla="*/ 52 w 56"/>
                  <a:gd name="T17" fmla="*/ 10 h 70"/>
                  <a:gd name="T18" fmla="*/ 52 w 56"/>
                  <a:gd name="T19" fmla="*/ 14 h 70"/>
                  <a:gd name="T20" fmla="*/ 48 w 56"/>
                  <a:gd name="T21" fmla="*/ 22 h 70"/>
                  <a:gd name="T22" fmla="*/ 48 w 56"/>
                  <a:gd name="T23" fmla="*/ 26 h 70"/>
                  <a:gd name="T24" fmla="*/ 48 w 56"/>
                  <a:gd name="T25" fmla="*/ 26 h 70"/>
                  <a:gd name="T26" fmla="*/ 52 w 56"/>
                  <a:gd name="T27" fmla="*/ 34 h 70"/>
                  <a:gd name="T28" fmla="*/ 56 w 56"/>
                  <a:gd name="T29" fmla="*/ 40 h 70"/>
                  <a:gd name="T30" fmla="*/ 56 w 56"/>
                  <a:gd name="T31" fmla="*/ 44 h 70"/>
                  <a:gd name="T32" fmla="*/ 52 w 56"/>
                  <a:gd name="T33" fmla="*/ 48 h 70"/>
                  <a:gd name="T34" fmla="*/ 52 w 56"/>
                  <a:gd name="T35" fmla="*/ 56 h 70"/>
                  <a:gd name="T36" fmla="*/ 52 w 56"/>
                  <a:gd name="T37" fmla="*/ 56 h 70"/>
                  <a:gd name="T38" fmla="*/ 48 w 56"/>
                  <a:gd name="T39" fmla="*/ 60 h 70"/>
                  <a:gd name="T40" fmla="*/ 46 w 56"/>
                  <a:gd name="T41" fmla="*/ 64 h 70"/>
                  <a:gd name="T42" fmla="*/ 46 w 56"/>
                  <a:gd name="T43" fmla="*/ 60 h 70"/>
                  <a:gd name="T44" fmla="*/ 46 w 56"/>
                  <a:gd name="T45" fmla="*/ 60 h 70"/>
                  <a:gd name="T46" fmla="*/ 34 w 56"/>
                  <a:gd name="T47" fmla="*/ 60 h 70"/>
                  <a:gd name="T48" fmla="*/ 30 w 56"/>
                  <a:gd name="T49" fmla="*/ 60 h 70"/>
                  <a:gd name="T50" fmla="*/ 26 w 56"/>
                  <a:gd name="T51" fmla="*/ 60 h 70"/>
                  <a:gd name="T52" fmla="*/ 30 w 56"/>
                  <a:gd name="T53" fmla="*/ 66 h 70"/>
                  <a:gd name="T54" fmla="*/ 30 w 56"/>
                  <a:gd name="T55" fmla="*/ 70 h 70"/>
                  <a:gd name="T56" fmla="*/ 26 w 56"/>
                  <a:gd name="T57" fmla="*/ 70 h 70"/>
                  <a:gd name="T58" fmla="*/ 22 w 56"/>
                  <a:gd name="T59" fmla="*/ 70 h 70"/>
                  <a:gd name="T60" fmla="*/ 18 w 56"/>
                  <a:gd name="T61" fmla="*/ 66 h 70"/>
                  <a:gd name="T62" fmla="*/ 14 w 56"/>
                  <a:gd name="T63" fmla="*/ 60 h 70"/>
                  <a:gd name="T64" fmla="*/ 12 w 56"/>
                  <a:gd name="T65" fmla="*/ 52 h 70"/>
                  <a:gd name="T66" fmla="*/ 12 w 56"/>
                  <a:gd name="T67" fmla="*/ 48 h 70"/>
                  <a:gd name="T68" fmla="*/ 12 w 56"/>
                  <a:gd name="T69" fmla="*/ 44 h 70"/>
                  <a:gd name="T70" fmla="*/ 4 w 56"/>
                  <a:gd name="T71" fmla="*/ 44 h 70"/>
                  <a:gd name="T72" fmla="*/ 4 w 56"/>
                  <a:gd name="T73" fmla="*/ 40 h 70"/>
                  <a:gd name="T74" fmla="*/ 4 w 56"/>
                  <a:gd name="T75" fmla="*/ 40 h 70"/>
                  <a:gd name="T76" fmla="*/ 0 w 56"/>
                  <a:gd name="T77" fmla="*/ 36 h 70"/>
                  <a:gd name="T78" fmla="*/ 0 w 56"/>
                  <a:gd name="T79" fmla="*/ 36 h 70"/>
                  <a:gd name="T80" fmla="*/ 0 w 56"/>
                  <a:gd name="T81" fmla="*/ 30 h 70"/>
                  <a:gd name="T82" fmla="*/ 0 w 56"/>
                  <a:gd name="T83" fmla="*/ 30 h 70"/>
                  <a:gd name="T84" fmla="*/ 0 w 56"/>
                  <a:gd name="T85" fmla="*/ 22 h 70"/>
                  <a:gd name="T86" fmla="*/ 0 w 56"/>
                  <a:gd name="T87" fmla="*/ 22 h 70"/>
                  <a:gd name="T88" fmla="*/ 4 w 56"/>
                  <a:gd name="T89" fmla="*/ 18 h 70"/>
                  <a:gd name="T90" fmla="*/ 8 w 56"/>
                  <a:gd name="T91" fmla="*/ 18 h 70"/>
                  <a:gd name="T92" fmla="*/ 12 w 56"/>
                  <a:gd name="T93" fmla="*/ 14 h 70"/>
                  <a:gd name="T94" fmla="*/ 12 w 56"/>
                  <a:gd name="T95" fmla="*/ 14 h 70"/>
                  <a:gd name="T96" fmla="*/ 8 w 56"/>
                  <a:gd name="T97" fmla="*/ 10 h 70"/>
                  <a:gd name="T98" fmla="*/ 12 w 56"/>
                  <a:gd name="T99" fmla="*/ 6 h 70"/>
                  <a:gd name="T100" fmla="*/ 12 w 56"/>
                  <a:gd name="T101" fmla="*/ 4 h 70"/>
                  <a:gd name="T102" fmla="*/ 18 w 56"/>
                  <a:gd name="T103" fmla="*/ 0 h 70"/>
                  <a:gd name="T104" fmla="*/ 26 w 56"/>
                  <a:gd name="T105" fmla="*/ 0 h 70"/>
                  <a:gd name="T106" fmla="*/ 30 w 56"/>
                  <a:gd name="T107" fmla="*/ 4 h 70"/>
                  <a:gd name="T108" fmla="*/ 30 w 56"/>
                  <a:gd name="T109" fmla="*/ 4 h 70"/>
                  <a:gd name="T110" fmla="*/ 30 w 56"/>
                  <a:gd name="T111" fmla="*/ 0 h 70"/>
                  <a:gd name="T112" fmla="*/ 38 w 56"/>
                  <a:gd name="T113" fmla="*/ 0 h 70"/>
                  <a:gd name="T114" fmla="*/ 38 w 56"/>
                  <a:gd name="T115" fmla="*/ 0 h 70"/>
                  <a:gd name="T116" fmla="*/ 42 w 56"/>
                  <a:gd name="T117" fmla="*/ 4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56" h="70">
                    <a:moveTo>
                      <a:pt x="42" y="4"/>
                    </a:move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0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52" y="14"/>
                    </a:lnTo>
                    <a:lnTo>
                      <a:pt x="48" y="14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52" y="30"/>
                    </a:lnTo>
                    <a:lnTo>
                      <a:pt x="52" y="30"/>
                    </a:lnTo>
                    <a:lnTo>
                      <a:pt x="52" y="34"/>
                    </a:lnTo>
                    <a:lnTo>
                      <a:pt x="52" y="34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4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6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42" y="60"/>
                    </a:lnTo>
                    <a:lnTo>
                      <a:pt x="34" y="60"/>
                    </a:lnTo>
                    <a:lnTo>
                      <a:pt x="34" y="64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30" y="60"/>
                    </a:lnTo>
                    <a:lnTo>
                      <a:pt x="26" y="60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30" y="66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30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22" y="70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8" y="66"/>
                    </a:lnTo>
                    <a:lnTo>
                      <a:pt x="14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6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8" y="18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0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8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0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4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0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49" name="Freeform 188">
                <a:extLst>
                  <a:ext uri="{FF2B5EF4-FFF2-40B4-BE49-F238E27FC236}">
                    <a16:creationId xmlns:a16="http://schemas.microsoft.com/office/drawing/2014/main" id="{96A10ECD-E7DB-4155-AC36-C1B85A6B054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079750" y="5397568"/>
                <a:ext cx="123825" cy="142875"/>
              </a:xfrm>
              <a:custGeom>
                <a:avLst/>
                <a:gdLst>
                  <a:gd name="T0" fmla="*/ 4 w 78"/>
                  <a:gd name="T1" fmla="*/ 60 h 90"/>
                  <a:gd name="T2" fmla="*/ 4 w 78"/>
                  <a:gd name="T3" fmla="*/ 56 h 90"/>
                  <a:gd name="T4" fmla="*/ 4 w 78"/>
                  <a:gd name="T5" fmla="*/ 56 h 90"/>
                  <a:gd name="T6" fmla="*/ 8 w 78"/>
                  <a:gd name="T7" fmla="*/ 48 h 90"/>
                  <a:gd name="T8" fmla="*/ 4 w 78"/>
                  <a:gd name="T9" fmla="*/ 48 h 90"/>
                  <a:gd name="T10" fmla="*/ 4 w 78"/>
                  <a:gd name="T11" fmla="*/ 40 h 90"/>
                  <a:gd name="T12" fmla="*/ 4 w 78"/>
                  <a:gd name="T13" fmla="*/ 40 h 90"/>
                  <a:gd name="T14" fmla="*/ 4 w 78"/>
                  <a:gd name="T15" fmla="*/ 36 h 90"/>
                  <a:gd name="T16" fmla="*/ 4 w 78"/>
                  <a:gd name="T17" fmla="*/ 34 h 90"/>
                  <a:gd name="T18" fmla="*/ 4 w 78"/>
                  <a:gd name="T19" fmla="*/ 30 h 90"/>
                  <a:gd name="T20" fmla="*/ 8 w 78"/>
                  <a:gd name="T21" fmla="*/ 26 h 90"/>
                  <a:gd name="T22" fmla="*/ 8 w 78"/>
                  <a:gd name="T23" fmla="*/ 22 h 90"/>
                  <a:gd name="T24" fmla="*/ 8 w 78"/>
                  <a:gd name="T25" fmla="*/ 14 h 90"/>
                  <a:gd name="T26" fmla="*/ 12 w 78"/>
                  <a:gd name="T27" fmla="*/ 10 h 90"/>
                  <a:gd name="T28" fmla="*/ 8 w 78"/>
                  <a:gd name="T29" fmla="*/ 6 h 90"/>
                  <a:gd name="T30" fmla="*/ 12 w 78"/>
                  <a:gd name="T31" fmla="*/ 2 h 90"/>
                  <a:gd name="T32" fmla="*/ 16 w 78"/>
                  <a:gd name="T33" fmla="*/ 0 h 90"/>
                  <a:gd name="T34" fmla="*/ 16 w 78"/>
                  <a:gd name="T35" fmla="*/ 2 h 90"/>
                  <a:gd name="T36" fmla="*/ 18 w 78"/>
                  <a:gd name="T37" fmla="*/ 2 h 90"/>
                  <a:gd name="T38" fmla="*/ 18 w 78"/>
                  <a:gd name="T39" fmla="*/ 0 h 90"/>
                  <a:gd name="T40" fmla="*/ 22 w 78"/>
                  <a:gd name="T41" fmla="*/ 0 h 90"/>
                  <a:gd name="T42" fmla="*/ 26 w 78"/>
                  <a:gd name="T43" fmla="*/ 2 h 90"/>
                  <a:gd name="T44" fmla="*/ 34 w 78"/>
                  <a:gd name="T45" fmla="*/ 6 h 90"/>
                  <a:gd name="T46" fmla="*/ 38 w 78"/>
                  <a:gd name="T47" fmla="*/ 14 h 90"/>
                  <a:gd name="T48" fmla="*/ 38 w 78"/>
                  <a:gd name="T49" fmla="*/ 14 h 90"/>
                  <a:gd name="T50" fmla="*/ 42 w 78"/>
                  <a:gd name="T51" fmla="*/ 14 h 90"/>
                  <a:gd name="T52" fmla="*/ 46 w 78"/>
                  <a:gd name="T53" fmla="*/ 14 h 90"/>
                  <a:gd name="T54" fmla="*/ 48 w 78"/>
                  <a:gd name="T55" fmla="*/ 22 h 90"/>
                  <a:gd name="T56" fmla="*/ 52 w 78"/>
                  <a:gd name="T57" fmla="*/ 22 h 90"/>
                  <a:gd name="T58" fmla="*/ 52 w 78"/>
                  <a:gd name="T59" fmla="*/ 22 h 90"/>
                  <a:gd name="T60" fmla="*/ 60 w 78"/>
                  <a:gd name="T61" fmla="*/ 30 h 90"/>
                  <a:gd name="T62" fmla="*/ 64 w 78"/>
                  <a:gd name="T63" fmla="*/ 30 h 90"/>
                  <a:gd name="T64" fmla="*/ 68 w 78"/>
                  <a:gd name="T65" fmla="*/ 36 h 90"/>
                  <a:gd name="T66" fmla="*/ 72 w 78"/>
                  <a:gd name="T67" fmla="*/ 40 h 90"/>
                  <a:gd name="T68" fmla="*/ 76 w 78"/>
                  <a:gd name="T69" fmla="*/ 44 h 90"/>
                  <a:gd name="T70" fmla="*/ 76 w 78"/>
                  <a:gd name="T71" fmla="*/ 48 h 90"/>
                  <a:gd name="T72" fmla="*/ 72 w 78"/>
                  <a:gd name="T73" fmla="*/ 52 h 90"/>
                  <a:gd name="T74" fmla="*/ 72 w 78"/>
                  <a:gd name="T75" fmla="*/ 56 h 90"/>
                  <a:gd name="T76" fmla="*/ 72 w 78"/>
                  <a:gd name="T77" fmla="*/ 60 h 90"/>
                  <a:gd name="T78" fmla="*/ 72 w 78"/>
                  <a:gd name="T79" fmla="*/ 64 h 90"/>
                  <a:gd name="T80" fmla="*/ 72 w 78"/>
                  <a:gd name="T81" fmla="*/ 66 h 90"/>
                  <a:gd name="T82" fmla="*/ 72 w 78"/>
                  <a:gd name="T83" fmla="*/ 66 h 90"/>
                  <a:gd name="T84" fmla="*/ 72 w 78"/>
                  <a:gd name="T85" fmla="*/ 70 h 90"/>
                  <a:gd name="T86" fmla="*/ 68 w 78"/>
                  <a:gd name="T87" fmla="*/ 78 h 90"/>
                  <a:gd name="T88" fmla="*/ 64 w 78"/>
                  <a:gd name="T89" fmla="*/ 82 h 90"/>
                  <a:gd name="T90" fmla="*/ 60 w 78"/>
                  <a:gd name="T91" fmla="*/ 82 h 90"/>
                  <a:gd name="T92" fmla="*/ 60 w 78"/>
                  <a:gd name="T93" fmla="*/ 82 h 90"/>
                  <a:gd name="T94" fmla="*/ 52 w 78"/>
                  <a:gd name="T95" fmla="*/ 86 h 90"/>
                  <a:gd name="T96" fmla="*/ 48 w 78"/>
                  <a:gd name="T97" fmla="*/ 86 h 90"/>
                  <a:gd name="T98" fmla="*/ 46 w 78"/>
                  <a:gd name="T99" fmla="*/ 90 h 90"/>
                  <a:gd name="T100" fmla="*/ 46 w 78"/>
                  <a:gd name="T101" fmla="*/ 86 h 90"/>
                  <a:gd name="T102" fmla="*/ 38 w 78"/>
                  <a:gd name="T103" fmla="*/ 86 h 90"/>
                  <a:gd name="T104" fmla="*/ 34 w 78"/>
                  <a:gd name="T105" fmla="*/ 86 h 90"/>
                  <a:gd name="T106" fmla="*/ 30 w 78"/>
                  <a:gd name="T107" fmla="*/ 86 h 90"/>
                  <a:gd name="T108" fmla="*/ 22 w 78"/>
                  <a:gd name="T109" fmla="*/ 82 h 90"/>
                  <a:gd name="T110" fmla="*/ 16 w 78"/>
                  <a:gd name="T111" fmla="*/ 78 h 90"/>
                  <a:gd name="T112" fmla="*/ 8 w 78"/>
                  <a:gd name="T113" fmla="*/ 78 h 90"/>
                  <a:gd name="T114" fmla="*/ 4 w 78"/>
                  <a:gd name="T115" fmla="*/ 74 h 90"/>
                  <a:gd name="T116" fmla="*/ 4 w 78"/>
                  <a:gd name="T117" fmla="*/ 70 h 90"/>
                  <a:gd name="T118" fmla="*/ 0 w 78"/>
                  <a:gd name="T119" fmla="*/ 64 h 90"/>
                  <a:gd name="T120" fmla="*/ 0 w 78"/>
                  <a:gd name="T121" fmla="*/ 6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78" h="90">
                    <a:moveTo>
                      <a:pt x="0" y="60"/>
                    </a:move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4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6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8" y="14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12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6" y="0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26" y="2"/>
                    </a:lnTo>
                    <a:lnTo>
                      <a:pt x="30" y="2"/>
                    </a:lnTo>
                    <a:lnTo>
                      <a:pt x="30" y="2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6"/>
                    </a:lnTo>
                    <a:lnTo>
                      <a:pt x="34" y="10"/>
                    </a:lnTo>
                    <a:lnTo>
                      <a:pt x="38" y="10"/>
                    </a:lnTo>
                    <a:lnTo>
                      <a:pt x="38" y="10"/>
                    </a:lnTo>
                    <a:lnTo>
                      <a:pt x="38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0"/>
                    </a:lnTo>
                    <a:lnTo>
                      <a:pt x="42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4"/>
                    </a:lnTo>
                    <a:lnTo>
                      <a:pt x="46" y="18"/>
                    </a:lnTo>
                    <a:lnTo>
                      <a:pt x="46" y="18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2" y="22"/>
                    </a:lnTo>
                    <a:lnTo>
                      <a:pt x="56" y="22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0" y="30"/>
                    </a:lnTo>
                    <a:lnTo>
                      <a:pt x="64" y="30"/>
                    </a:lnTo>
                    <a:lnTo>
                      <a:pt x="64" y="30"/>
                    </a:lnTo>
                    <a:lnTo>
                      <a:pt x="64" y="34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6"/>
                    </a:lnTo>
                    <a:lnTo>
                      <a:pt x="68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6" y="44"/>
                    </a:lnTo>
                    <a:lnTo>
                      <a:pt x="78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0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66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0"/>
                    </a:lnTo>
                    <a:lnTo>
                      <a:pt x="72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4"/>
                    </a:lnTo>
                    <a:lnTo>
                      <a:pt x="68" y="78"/>
                    </a:lnTo>
                    <a:lnTo>
                      <a:pt x="68" y="78"/>
                    </a:lnTo>
                    <a:lnTo>
                      <a:pt x="64" y="78"/>
                    </a:lnTo>
                    <a:lnTo>
                      <a:pt x="64" y="78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4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2"/>
                    </a:lnTo>
                    <a:lnTo>
                      <a:pt x="60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6" y="86"/>
                    </a:lnTo>
                    <a:lnTo>
                      <a:pt x="52" y="86"/>
                    </a:lnTo>
                    <a:lnTo>
                      <a:pt x="52" y="86"/>
                    </a:lnTo>
                    <a:lnTo>
                      <a:pt x="52" y="90"/>
                    </a:lnTo>
                    <a:lnTo>
                      <a:pt x="52" y="90"/>
                    </a:lnTo>
                    <a:lnTo>
                      <a:pt x="48" y="90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8" y="86"/>
                    </a:lnTo>
                    <a:lnTo>
                      <a:pt x="46" y="90"/>
                    </a:lnTo>
                    <a:lnTo>
                      <a:pt x="46" y="90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6" y="86"/>
                    </a:lnTo>
                    <a:lnTo>
                      <a:pt x="42" y="86"/>
                    </a:lnTo>
                    <a:lnTo>
                      <a:pt x="42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8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86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30" y="86"/>
                    </a:lnTo>
                    <a:lnTo>
                      <a:pt x="26" y="86"/>
                    </a:lnTo>
                    <a:lnTo>
                      <a:pt x="22" y="82"/>
                    </a:lnTo>
                    <a:lnTo>
                      <a:pt x="22" y="82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8" y="78"/>
                    </a:lnTo>
                    <a:lnTo>
                      <a:pt x="16" y="78"/>
                    </a:lnTo>
                    <a:lnTo>
                      <a:pt x="16" y="78"/>
                    </a:lnTo>
                    <a:lnTo>
                      <a:pt x="12" y="78"/>
                    </a:lnTo>
                    <a:lnTo>
                      <a:pt x="12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8"/>
                    </a:lnTo>
                    <a:lnTo>
                      <a:pt x="8" y="74"/>
                    </a:lnTo>
                    <a:lnTo>
                      <a:pt x="8" y="74"/>
                    </a:lnTo>
                    <a:lnTo>
                      <a:pt x="4" y="74"/>
                    </a:lnTo>
                    <a:lnTo>
                      <a:pt x="4" y="74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4" y="70"/>
                    </a:lnTo>
                    <a:lnTo>
                      <a:pt x="0" y="70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6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0" name="Freeform 189">
                <a:extLst>
                  <a:ext uri="{FF2B5EF4-FFF2-40B4-BE49-F238E27FC236}">
                    <a16:creationId xmlns:a16="http://schemas.microsoft.com/office/drawing/2014/main" id="{069961F6-8AE0-4B55-95C9-F89D49ED743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749550" y="4222818"/>
                <a:ext cx="301625" cy="323850"/>
              </a:xfrm>
              <a:custGeom>
                <a:avLst/>
                <a:gdLst>
                  <a:gd name="T0" fmla="*/ 108 w 190"/>
                  <a:gd name="T1" fmla="*/ 38 h 204"/>
                  <a:gd name="T2" fmla="*/ 126 w 190"/>
                  <a:gd name="T3" fmla="*/ 30 h 204"/>
                  <a:gd name="T4" fmla="*/ 126 w 190"/>
                  <a:gd name="T5" fmla="*/ 30 h 204"/>
                  <a:gd name="T6" fmla="*/ 148 w 190"/>
                  <a:gd name="T7" fmla="*/ 28 h 204"/>
                  <a:gd name="T8" fmla="*/ 152 w 190"/>
                  <a:gd name="T9" fmla="*/ 30 h 204"/>
                  <a:gd name="T10" fmla="*/ 148 w 190"/>
                  <a:gd name="T11" fmla="*/ 34 h 204"/>
                  <a:gd name="T12" fmla="*/ 152 w 190"/>
                  <a:gd name="T13" fmla="*/ 42 h 204"/>
                  <a:gd name="T14" fmla="*/ 156 w 190"/>
                  <a:gd name="T15" fmla="*/ 42 h 204"/>
                  <a:gd name="T16" fmla="*/ 160 w 190"/>
                  <a:gd name="T17" fmla="*/ 42 h 204"/>
                  <a:gd name="T18" fmla="*/ 172 w 190"/>
                  <a:gd name="T19" fmla="*/ 46 h 204"/>
                  <a:gd name="T20" fmla="*/ 172 w 190"/>
                  <a:gd name="T21" fmla="*/ 58 h 204"/>
                  <a:gd name="T22" fmla="*/ 168 w 190"/>
                  <a:gd name="T23" fmla="*/ 68 h 204"/>
                  <a:gd name="T24" fmla="*/ 190 w 190"/>
                  <a:gd name="T25" fmla="*/ 68 h 204"/>
                  <a:gd name="T26" fmla="*/ 178 w 190"/>
                  <a:gd name="T27" fmla="*/ 84 h 204"/>
                  <a:gd name="T28" fmla="*/ 178 w 190"/>
                  <a:gd name="T29" fmla="*/ 94 h 204"/>
                  <a:gd name="T30" fmla="*/ 172 w 190"/>
                  <a:gd name="T31" fmla="*/ 106 h 204"/>
                  <a:gd name="T32" fmla="*/ 178 w 190"/>
                  <a:gd name="T33" fmla="*/ 128 h 204"/>
                  <a:gd name="T34" fmla="*/ 168 w 190"/>
                  <a:gd name="T35" fmla="*/ 140 h 204"/>
                  <a:gd name="T36" fmla="*/ 152 w 190"/>
                  <a:gd name="T37" fmla="*/ 144 h 204"/>
                  <a:gd name="T38" fmla="*/ 142 w 190"/>
                  <a:gd name="T39" fmla="*/ 144 h 204"/>
                  <a:gd name="T40" fmla="*/ 130 w 190"/>
                  <a:gd name="T41" fmla="*/ 148 h 204"/>
                  <a:gd name="T42" fmla="*/ 118 w 190"/>
                  <a:gd name="T43" fmla="*/ 140 h 204"/>
                  <a:gd name="T44" fmla="*/ 126 w 190"/>
                  <a:gd name="T45" fmla="*/ 154 h 204"/>
                  <a:gd name="T46" fmla="*/ 134 w 190"/>
                  <a:gd name="T47" fmla="*/ 170 h 204"/>
                  <a:gd name="T48" fmla="*/ 134 w 190"/>
                  <a:gd name="T49" fmla="*/ 178 h 204"/>
                  <a:gd name="T50" fmla="*/ 118 w 190"/>
                  <a:gd name="T51" fmla="*/ 192 h 204"/>
                  <a:gd name="T52" fmla="*/ 108 w 190"/>
                  <a:gd name="T53" fmla="*/ 204 h 204"/>
                  <a:gd name="T54" fmla="*/ 98 w 190"/>
                  <a:gd name="T55" fmla="*/ 200 h 204"/>
                  <a:gd name="T56" fmla="*/ 86 w 190"/>
                  <a:gd name="T57" fmla="*/ 174 h 204"/>
                  <a:gd name="T58" fmla="*/ 82 w 190"/>
                  <a:gd name="T59" fmla="*/ 154 h 204"/>
                  <a:gd name="T60" fmla="*/ 78 w 190"/>
                  <a:gd name="T61" fmla="*/ 144 h 204"/>
                  <a:gd name="T62" fmla="*/ 78 w 190"/>
                  <a:gd name="T63" fmla="*/ 120 h 204"/>
                  <a:gd name="T64" fmla="*/ 74 w 190"/>
                  <a:gd name="T65" fmla="*/ 106 h 204"/>
                  <a:gd name="T66" fmla="*/ 56 w 190"/>
                  <a:gd name="T67" fmla="*/ 106 h 204"/>
                  <a:gd name="T68" fmla="*/ 42 w 190"/>
                  <a:gd name="T69" fmla="*/ 90 h 204"/>
                  <a:gd name="T70" fmla="*/ 26 w 190"/>
                  <a:gd name="T71" fmla="*/ 90 h 204"/>
                  <a:gd name="T72" fmla="*/ 12 w 190"/>
                  <a:gd name="T73" fmla="*/ 84 h 204"/>
                  <a:gd name="T74" fmla="*/ 12 w 190"/>
                  <a:gd name="T75" fmla="*/ 68 h 204"/>
                  <a:gd name="T76" fmla="*/ 0 w 190"/>
                  <a:gd name="T77" fmla="*/ 54 h 204"/>
                  <a:gd name="T78" fmla="*/ 4 w 190"/>
                  <a:gd name="T79" fmla="*/ 34 h 204"/>
                  <a:gd name="T80" fmla="*/ 14 w 190"/>
                  <a:gd name="T81" fmla="*/ 20 h 204"/>
                  <a:gd name="T82" fmla="*/ 26 w 190"/>
                  <a:gd name="T83" fmla="*/ 12 h 204"/>
                  <a:gd name="T84" fmla="*/ 22 w 190"/>
                  <a:gd name="T85" fmla="*/ 24 h 204"/>
                  <a:gd name="T86" fmla="*/ 14 w 190"/>
                  <a:gd name="T87" fmla="*/ 42 h 204"/>
                  <a:gd name="T88" fmla="*/ 22 w 190"/>
                  <a:gd name="T89" fmla="*/ 58 h 204"/>
                  <a:gd name="T90" fmla="*/ 30 w 190"/>
                  <a:gd name="T91" fmla="*/ 38 h 204"/>
                  <a:gd name="T92" fmla="*/ 26 w 190"/>
                  <a:gd name="T93" fmla="*/ 24 h 204"/>
                  <a:gd name="T94" fmla="*/ 42 w 190"/>
                  <a:gd name="T95" fmla="*/ 16 h 204"/>
                  <a:gd name="T96" fmla="*/ 44 w 190"/>
                  <a:gd name="T97" fmla="*/ 12 h 204"/>
                  <a:gd name="T98" fmla="*/ 48 w 190"/>
                  <a:gd name="T99" fmla="*/ 8 h 204"/>
                  <a:gd name="T100" fmla="*/ 64 w 190"/>
                  <a:gd name="T101" fmla="*/ 16 h 204"/>
                  <a:gd name="T102" fmla="*/ 78 w 190"/>
                  <a:gd name="T103" fmla="*/ 30 h 204"/>
                  <a:gd name="T104" fmla="*/ 98 w 190"/>
                  <a:gd name="T105" fmla="*/ 30 h 204"/>
                  <a:gd name="T106" fmla="*/ 174 w 190"/>
                  <a:gd name="T107" fmla="*/ 58 h 204"/>
                  <a:gd name="T108" fmla="*/ 174 w 190"/>
                  <a:gd name="T109" fmla="*/ 60 h 204"/>
                  <a:gd name="T110" fmla="*/ 172 w 190"/>
                  <a:gd name="T111" fmla="*/ 64 h 204"/>
                  <a:gd name="T112" fmla="*/ 172 w 190"/>
                  <a:gd name="T113" fmla="*/ 64 h 204"/>
                  <a:gd name="T114" fmla="*/ 172 w 190"/>
                  <a:gd name="T115" fmla="*/ 64 h 204"/>
                  <a:gd name="T116" fmla="*/ 168 w 190"/>
                  <a:gd name="T117" fmla="*/ 68 h 204"/>
                  <a:gd name="T118" fmla="*/ 172 w 190"/>
                  <a:gd name="T119" fmla="*/ 64 h 204"/>
                  <a:gd name="T120" fmla="*/ 126 w 190"/>
                  <a:gd name="T121" fmla="*/ 24 h 204"/>
                  <a:gd name="T122" fmla="*/ 130 w 190"/>
                  <a:gd name="T123" fmla="*/ 28 h 204"/>
                  <a:gd name="T124" fmla="*/ 112 w 190"/>
                  <a:gd name="T125" fmla="*/ 28 h 2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90" h="204">
                    <a:moveTo>
                      <a:pt x="98" y="30"/>
                    </a:moveTo>
                    <a:lnTo>
                      <a:pt x="100" y="30"/>
                    </a:lnTo>
                    <a:lnTo>
                      <a:pt x="100" y="34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8" y="38"/>
                    </a:lnTo>
                    <a:lnTo>
                      <a:pt x="112" y="38"/>
                    </a:lnTo>
                    <a:lnTo>
                      <a:pt x="116" y="38"/>
                    </a:lnTo>
                    <a:lnTo>
                      <a:pt x="118" y="38"/>
                    </a:lnTo>
                    <a:lnTo>
                      <a:pt x="122" y="34"/>
                    </a:lnTo>
                    <a:lnTo>
                      <a:pt x="126" y="34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0" y="34"/>
                    </a:lnTo>
                    <a:lnTo>
                      <a:pt x="134" y="34"/>
                    </a:lnTo>
                    <a:lnTo>
                      <a:pt x="134" y="30"/>
                    </a:lnTo>
                    <a:lnTo>
                      <a:pt x="130" y="30"/>
                    </a:lnTo>
                    <a:lnTo>
                      <a:pt x="126" y="30"/>
                    </a:lnTo>
                    <a:lnTo>
                      <a:pt x="130" y="30"/>
                    </a:lnTo>
                    <a:lnTo>
                      <a:pt x="134" y="30"/>
                    </a:lnTo>
                    <a:lnTo>
                      <a:pt x="138" y="30"/>
                    </a:lnTo>
                    <a:lnTo>
                      <a:pt x="142" y="28"/>
                    </a:lnTo>
                    <a:lnTo>
                      <a:pt x="144" y="28"/>
                    </a:lnTo>
                    <a:lnTo>
                      <a:pt x="148" y="28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0" y="30"/>
                    </a:lnTo>
                    <a:lnTo>
                      <a:pt x="156" y="30"/>
                    </a:lnTo>
                    <a:lnTo>
                      <a:pt x="152" y="30"/>
                    </a:lnTo>
                    <a:lnTo>
                      <a:pt x="148" y="30"/>
                    </a:lnTo>
                    <a:lnTo>
                      <a:pt x="144" y="30"/>
                    </a:lnTo>
                    <a:lnTo>
                      <a:pt x="148" y="30"/>
                    </a:lnTo>
                    <a:lnTo>
                      <a:pt x="148" y="34"/>
                    </a:lnTo>
                    <a:lnTo>
                      <a:pt x="144" y="34"/>
                    </a:lnTo>
                    <a:lnTo>
                      <a:pt x="148" y="34"/>
                    </a:lnTo>
                    <a:lnTo>
                      <a:pt x="148" y="38"/>
                    </a:lnTo>
                    <a:lnTo>
                      <a:pt x="144" y="38"/>
                    </a:lnTo>
                    <a:lnTo>
                      <a:pt x="148" y="42"/>
                    </a:lnTo>
                    <a:lnTo>
                      <a:pt x="148" y="38"/>
                    </a:lnTo>
                    <a:lnTo>
                      <a:pt x="152" y="38"/>
                    </a:lnTo>
                    <a:lnTo>
                      <a:pt x="152" y="42"/>
                    </a:lnTo>
                    <a:lnTo>
                      <a:pt x="156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56" y="46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56" y="42"/>
                    </a:lnTo>
                    <a:lnTo>
                      <a:pt x="160" y="42"/>
                    </a:lnTo>
                    <a:lnTo>
                      <a:pt x="160" y="46"/>
                    </a:lnTo>
                    <a:lnTo>
                      <a:pt x="164" y="46"/>
                    </a:lnTo>
                    <a:lnTo>
                      <a:pt x="160" y="42"/>
                    </a:lnTo>
                    <a:lnTo>
                      <a:pt x="164" y="42"/>
                    </a:lnTo>
                    <a:lnTo>
                      <a:pt x="164" y="46"/>
                    </a:lnTo>
                    <a:lnTo>
                      <a:pt x="164" y="42"/>
                    </a:lnTo>
                    <a:lnTo>
                      <a:pt x="168" y="42"/>
                    </a:lnTo>
                    <a:lnTo>
                      <a:pt x="168" y="46"/>
                    </a:lnTo>
                    <a:lnTo>
                      <a:pt x="172" y="46"/>
                    </a:lnTo>
                    <a:lnTo>
                      <a:pt x="172" y="50"/>
                    </a:lnTo>
                    <a:lnTo>
                      <a:pt x="174" y="50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4" y="54"/>
                    </a:lnTo>
                    <a:lnTo>
                      <a:pt x="172" y="58"/>
                    </a:lnTo>
                    <a:lnTo>
                      <a:pt x="172" y="60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72" y="68"/>
                    </a:lnTo>
                    <a:lnTo>
                      <a:pt x="174" y="64"/>
                    </a:lnTo>
                    <a:lnTo>
                      <a:pt x="178" y="64"/>
                    </a:lnTo>
                    <a:lnTo>
                      <a:pt x="182" y="64"/>
                    </a:lnTo>
                    <a:lnTo>
                      <a:pt x="186" y="64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86" y="72"/>
                    </a:lnTo>
                    <a:lnTo>
                      <a:pt x="186" y="76"/>
                    </a:lnTo>
                    <a:lnTo>
                      <a:pt x="182" y="76"/>
                    </a:lnTo>
                    <a:lnTo>
                      <a:pt x="178" y="80"/>
                    </a:lnTo>
                    <a:lnTo>
                      <a:pt x="178" y="84"/>
                    </a:lnTo>
                    <a:lnTo>
                      <a:pt x="178" y="88"/>
                    </a:lnTo>
                    <a:lnTo>
                      <a:pt x="178" y="90"/>
                    </a:lnTo>
                    <a:lnTo>
                      <a:pt x="182" y="88"/>
                    </a:lnTo>
                    <a:lnTo>
                      <a:pt x="182" y="90"/>
                    </a:lnTo>
                    <a:lnTo>
                      <a:pt x="182" y="94"/>
                    </a:lnTo>
                    <a:lnTo>
                      <a:pt x="178" y="94"/>
                    </a:lnTo>
                    <a:lnTo>
                      <a:pt x="178" y="98"/>
                    </a:lnTo>
                    <a:lnTo>
                      <a:pt x="174" y="94"/>
                    </a:lnTo>
                    <a:lnTo>
                      <a:pt x="174" y="98"/>
                    </a:lnTo>
                    <a:lnTo>
                      <a:pt x="172" y="98"/>
                    </a:lnTo>
                    <a:lnTo>
                      <a:pt x="172" y="102"/>
                    </a:lnTo>
                    <a:lnTo>
                      <a:pt x="172" y="106"/>
                    </a:lnTo>
                    <a:lnTo>
                      <a:pt x="168" y="110"/>
                    </a:lnTo>
                    <a:lnTo>
                      <a:pt x="172" y="118"/>
                    </a:lnTo>
                    <a:lnTo>
                      <a:pt x="174" y="120"/>
                    </a:lnTo>
                    <a:lnTo>
                      <a:pt x="174" y="124"/>
                    </a:lnTo>
                    <a:lnTo>
                      <a:pt x="178" y="124"/>
                    </a:lnTo>
                    <a:lnTo>
                      <a:pt x="178" y="128"/>
                    </a:lnTo>
                    <a:lnTo>
                      <a:pt x="178" y="132"/>
                    </a:lnTo>
                    <a:lnTo>
                      <a:pt x="174" y="132"/>
                    </a:lnTo>
                    <a:lnTo>
                      <a:pt x="174" y="136"/>
                    </a:lnTo>
                    <a:lnTo>
                      <a:pt x="172" y="136"/>
                    </a:lnTo>
                    <a:lnTo>
                      <a:pt x="168" y="136"/>
                    </a:lnTo>
                    <a:lnTo>
                      <a:pt x="168" y="140"/>
                    </a:lnTo>
                    <a:lnTo>
                      <a:pt x="164" y="140"/>
                    </a:lnTo>
                    <a:lnTo>
                      <a:pt x="160" y="140"/>
                    </a:lnTo>
                    <a:lnTo>
                      <a:pt x="156" y="144"/>
                    </a:lnTo>
                    <a:lnTo>
                      <a:pt x="156" y="140"/>
                    </a:lnTo>
                    <a:lnTo>
                      <a:pt x="152" y="140"/>
                    </a:lnTo>
                    <a:lnTo>
                      <a:pt x="152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52"/>
                    </a:lnTo>
                    <a:lnTo>
                      <a:pt x="144" y="152"/>
                    </a:lnTo>
                    <a:lnTo>
                      <a:pt x="142" y="148"/>
                    </a:lnTo>
                    <a:lnTo>
                      <a:pt x="142" y="144"/>
                    </a:lnTo>
                    <a:lnTo>
                      <a:pt x="138" y="144"/>
                    </a:lnTo>
                    <a:lnTo>
                      <a:pt x="138" y="148"/>
                    </a:lnTo>
                    <a:lnTo>
                      <a:pt x="138" y="144"/>
                    </a:lnTo>
                    <a:lnTo>
                      <a:pt x="134" y="144"/>
                    </a:lnTo>
                    <a:lnTo>
                      <a:pt x="130" y="144"/>
                    </a:lnTo>
                    <a:lnTo>
                      <a:pt x="130" y="148"/>
                    </a:lnTo>
                    <a:lnTo>
                      <a:pt x="130" y="144"/>
                    </a:lnTo>
                    <a:lnTo>
                      <a:pt x="126" y="144"/>
                    </a:lnTo>
                    <a:lnTo>
                      <a:pt x="126" y="140"/>
                    </a:lnTo>
                    <a:lnTo>
                      <a:pt x="122" y="144"/>
                    </a:lnTo>
                    <a:lnTo>
                      <a:pt x="122" y="140"/>
                    </a:lnTo>
                    <a:lnTo>
                      <a:pt x="118" y="140"/>
                    </a:lnTo>
                    <a:lnTo>
                      <a:pt x="118" y="144"/>
                    </a:lnTo>
                    <a:lnTo>
                      <a:pt x="122" y="144"/>
                    </a:lnTo>
                    <a:lnTo>
                      <a:pt x="122" y="148"/>
                    </a:lnTo>
                    <a:lnTo>
                      <a:pt x="126" y="148"/>
                    </a:lnTo>
                    <a:lnTo>
                      <a:pt x="126" y="152"/>
                    </a:lnTo>
                    <a:lnTo>
                      <a:pt x="126" y="154"/>
                    </a:lnTo>
                    <a:lnTo>
                      <a:pt x="126" y="158"/>
                    </a:lnTo>
                    <a:lnTo>
                      <a:pt x="130" y="158"/>
                    </a:lnTo>
                    <a:lnTo>
                      <a:pt x="130" y="162"/>
                    </a:lnTo>
                    <a:lnTo>
                      <a:pt x="130" y="166"/>
                    </a:lnTo>
                    <a:lnTo>
                      <a:pt x="130" y="170"/>
                    </a:lnTo>
                    <a:lnTo>
                      <a:pt x="134" y="170"/>
                    </a:lnTo>
                    <a:lnTo>
                      <a:pt x="138" y="170"/>
                    </a:lnTo>
                    <a:lnTo>
                      <a:pt x="142" y="170"/>
                    </a:lnTo>
                    <a:lnTo>
                      <a:pt x="142" y="174"/>
                    </a:lnTo>
                    <a:lnTo>
                      <a:pt x="138" y="174"/>
                    </a:lnTo>
                    <a:lnTo>
                      <a:pt x="138" y="178"/>
                    </a:lnTo>
                    <a:lnTo>
                      <a:pt x="134" y="178"/>
                    </a:lnTo>
                    <a:lnTo>
                      <a:pt x="130" y="178"/>
                    </a:lnTo>
                    <a:lnTo>
                      <a:pt x="130" y="182"/>
                    </a:lnTo>
                    <a:lnTo>
                      <a:pt x="130" y="184"/>
                    </a:lnTo>
                    <a:lnTo>
                      <a:pt x="126" y="188"/>
                    </a:lnTo>
                    <a:lnTo>
                      <a:pt x="122" y="188"/>
                    </a:lnTo>
                    <a:lnTo>
                      <a:pt x="118" y="192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2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8" y="204"/>
                    </a:lnTo>
                    <a:lnTo>
                      <a:pt x="108" y="200"/>
                    </a:lnTo>
                    <a:lnTo>
                      <a:pt x="108" y="196"/>
                    </a:lnTo>
                    <a:lnTo>
                      <a:pt x="104" y="196"/>
                    </a:lnTo>
                    <a:lnTo>
                      <a:pt x="104" y="200"/>
                    </a:lnTo>
                    <a:lnTo>
                      <a:pt x="100" y="200"/>
                    </a:lnTo>
                    <a:lnTo>
                      <a:pt x="98" y="200"/>
                    </a:lnTo>
                    <a:lnTo>
                      <a:pt x="94" y="192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0" y="184"/>
                    </a:lnTo>
                    <a:lnTo>
                      <a:pt x="86" y="178"/>
                    </a:lnTo>
                    <a:lnTo>
                      <a:pt x="86" y="174"/>
                    </a:lnTo>
                    <a:lnTo>
                      <a:pt x="86" y="170"/>
                    </a:lnTo>
                    <a:lnTo>
                      <a:pt x="82" y="166"/>
                    </a:lnTo>
                    <a:lnTo>
                      <a:pt x="78" y="166"/>
                    </a:lnTo>
                    <a:lnTo>
                      <a:pt x="78" y="162"/>
                    </a:lnTo>
                    <a:lnTo>
                      <a:pt x="82" y="158"/>
                    </a:lnTo>
                    <a:lnTo>
                      <a:pt x="82" y="154"/>
                    </a:lnTo>
                    <a:lnTo>
                      <a:pt x="86" y="154"/>
                    </a:lnTo>
                    <a:lnTo>
                      <a:pt x="82" y="154"/>
                    </a:lnTo>
                    <a:lnTo>
                      <a:pt x="82" y="152"/>
                    </a:lnTo>
                    <a:lnTo>
                      <a:pt x="82" y="148"/>
                    </a:lnTo>
                    <a:lnTo>
                      <a:pt x="78" y="148"/>
                    </a:lnTo>
                    <a:lnTo>
                      <a:pt x="78" y="144"/>
                    </a:lnTo>
                    <a:lnTo>
                      <a:pt x="78" y="140"/>
                    </a:lnTo>
                    <a:lnTo>
                      <a:pt x="74" y="136"/>
                    </a:lnTo>
                    <a:lnTo>
                      <a:pt x="78" y="132"/>
                    </a:lnTo>
                    <a:lnTo>
                      <a:pt x="78" y="128"/>
                    </a:lnTo>
                    <a:lnTo>
                      <a:pt x="78" y="124"/>
                    </a:lnTo>
                    <a:lnTo>
                      <a:pt x="78" y="120"/>
                    </a:lnTo>
                    <a:lnTo>
                      <a:pt x="78" y="118"/>
                    </a:lnTo>
                    <a:lnTo>
                      <a:pt x="78" y="114"/>
                    </a:lnTo>
                    <a:lnTo>
                      <a:pt x="82" y="110"/>
                    </a:lnTo>
                    <a:lnTo>
                      <a:pt x="82" y="106"/>
                    </a:lnTo>
                    <a:lnTo>
                      <a:pt x="78" y="106"/>
                    </a:lnTo>
                    <a:lnTo>
                      <a:pt x="74" y="106"/>
                    </a:lnTo>
                    <a:lnTo>
                      <a:pt x="72" y="106"/>
                    </a:lnTo>
                    <a:lnTo>
                      <a:pt x="68" y="106"/>
                    </a:lnTo>
                    <a:lnTo>
                      <a:pt x="64" y="106"/>
                    </a:lnTo>
                    <a:lnTo>
                      <a:pt x="60" y="106"/>
                    </a:lnTo>
                    <a:lnTo>
                      <a:pt x="56" y="110"/>
                    </a:lnTo>
                    <a:lnTo>
                      <a:pt x="56" y="106"/>
                    </a:lnTo>
                    <a:lnTo>
                      <a:pt x="48" y="102"/>
                    </a:lnTo>
                    <a:lnTo>
                      <a:pt x="44" y="94"/>
                    </a:lnTo>
                    <a:lnTo>
                      <a:pt x="44" y="90"/>
                    </a:lnTo>
                    <a:lnTo>
                      <a:pt x="44" y="94"/>
                    </a:lnTo>
                    <a:lnTo>
                      <a:pt x="42" y="94"/>
                    </a:lnTo>
                    <a:lnTo>
                      <a:pt x="42" y="90"/>
                    </a:lnTo>
                    <a:lnTo>
                      <a:pt x="38" y="90"/>
                    </a:lnTo>
                    <a:lnTo>
                      <a:pt x="34" y="90"/>
                    </a:lnTo>
                    <a:lnTo>
                      <a:pt x="30" y="90"/>
                    </a:lnTo>
                    <a:lnTo>
                      <a:pt x="30" y="94"/>
                    </a:lnTo>
                    <a:lnTo>
                      <a:pt x="30" y="90"/>
                    </a:lnTo>
                    <a:lnTo>
                      <a:pt x="26" y="90"/>
                    </a:lnTo>
                    <a:lnTo>
                      <a:pt x="22" y="90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4" y="76"/>
                    </a:lnTo>
                    <a:lnTo>
                      <a:pt x="14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0" y="54"/>
                    </a:lnTo>
                    <a:lnTo>
                      <a:pt x="0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38"/>
                    </a:lnTo>
                    <a:lnTo>
                      <a:pt x="4" y="34"/>
                    </a:lnTo>
                    <a:lnTo>
                      <a:pt x="8" y="30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20"/>
                    </a:lnTo>
                    <a:lnTo>
                      <a:pt x="22" y="20"/>
                    </a:lnTo>
                    <a:lnTo>
                      <a:pt x="22" y="24"/>
                    </a:lnTo>
                    <a:lnTo>
                      <a:pt x="22" y="28"/>
                    </a:lnTo>
                    <a:lnTo>
                      <a:pt x="22" y="30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8"/>
                    </a:lnTo>
                    <a:lnTo>
                      <a:pt x="14" y="42"/>
                    </a:lnTo>
                    <a:lnTo>
                      <a:pt x="14" y="46"/>
                    </a:lnTo>
                    <a:lnTo>
                      <a:pt x="18" y="46"/>
                    </a:lnTo>
                    <a:lnTo>
                      <a:pt x="18" y="50"/>
                    </a:lnTo>
                    <a:lnTo>
                      <a:pt x="22" y="50"/>
                    </a:lnTo>
                    <a:lnTo>
                      <a:pt x="22" y="54"/>
                    </a:lnTo>
                    <a:lnTo>
                      <a:pt x="22" y="58"/>
                    </a:lnTo>
                    <a:lnTo>
                      <a:pt x="26" y="58"/>
                    </a:lnTo>
                    <a:lnTo>
                      <a:pt x="30" y="54"/>
                    </a:lnTo>
                    <a:lnTo>
                      <a:pt x="30" y="50"/>
                    </a:lnTo>
                    <a:lnTo>
                      <a:pt x="30" y="46"/>
                    </a:lnTo>
                    <a:lnTo>
                      <a:pt x="30" y="42"/>
                    </a:lnTo>
                    <a:lnTo>
                      <a:pt x="30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0"/>
                    </a:lnTo>
                    <a:lnTo>
                      <a:pt x="22" y="30"/>
                    </a:lnTo>
                    <a:lnTo>
                      <a:pt x="26" y="28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8" y="20"/>
                    </a:lnTo>
                    <a:lnTo>
                      <a:pt x="42" y="20"/>
                    </a:lnTo>
                    <a:lnTo>
                      <a:pt x="42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2" y="12"/>
                    </a:lnTo>
                    <a:lnTo>
                      <a:pt x="44" y="12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60" y="16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0"/>
                    </a:lnTo>
                    <a:lnTo>
                      <a:pt x="74" y="30"/>
                    </a:lnTo>
                    <a:lnTo>
                      <a:pt x="78" y="30"/>
                    </a:lnTo>
                    <a:lnTo>
                      <a:pt x="82" y="30"/>
                    </a:lnTo>
                    <a:lnTo>
                      <a:pt x="86" y="30"/>
                    </a:lnTo>
                    <a:lnTo>
                      <a:pt x="90" y="30"/>
                    </a:lnTo>
                    <a:lnTo>
                      <a:pt x="98" y="30"/>
                    </a:lnTo>
                    <a:lnTo>
                      <a:pt x="98" y="30"/>
                    </a:lnTo>
                    <a:lnTo>
                      <a:pt x="98" y="30"/>
                    </a:lnTo>
                    <a:close/>
                    <a:moveTo>
                      <a:pt x="174" y="58"/>
                    </a:moveTo>
                    <a:lnTo>
                      <a:pt x="172" y="60"/>
                    </a:lnTo>
                    <a:lnTo>
                      <a:pt x="172" y="58"/>
                    </a:lnTo>
                    <a:lnTo>
                      <a:pt x="174" y="58"/>
                    </a:lnTo>
                    <a:lnTo>
                      <a:pt x="174" y="58"/>
                    </a:lnTo>
                    <a:lnTo>
                      <a:pt x="174" y="58"/>
                    </a:lnTo>
                    <a:close/>
                    <a:moveTo>
                      <a:pt x="174" y="60"/>
                    </a:moveTo>
                    <a:lnTo>
                      <a:pt x="172" y="60"/>
                    </a:lnTo>
                    <a:lnTo>
                      <a:pt x="174" y="58"/>
                    </a:lnTo>
                    <a:lnTo>
                      <a:pt x="174" y="60"/>
                    </a:lnTo>
                    <a:lnTo>
                      <a:pt x="174" y="60"/>
                    </a:lnTo>
                    <a:lnTo>
                      <a:pt x="174" y="60"/>
                    </a:lnTo>
                    <a:close/>
                    <a:moveTo>
                      <a:pt x="172" y="64"/>
                    </a:moveTo>
                    <a:lnTo>
                      <a:pt x="172" y="60"/>
                    </a:lnTo>
                    <a:lnTo>
                      <a:pt x="174" y="60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4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4" y="64"/>
                    </a:lnTo>
                    <a:lnTo>
                      <a:pt x="174" y="64"/>
                    </a:lnTo>
                    <a:close/>
                    <a:moveTo>
                      <a:pt x="172" y="64"/>
                    </a:moveTo>
                    <a:lnTo>
                      <a:pt x="174" y="60"/>
                    </a:ln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4"/>
                    </a:moveTo>
                    <a:lnTo>
                      <a:pt x="174" y="64"/>
                    </a:lnTo>
                    <a:lnTo>
                      <a:pt x="172" y="64"/>
                    </a:lnTo>
                    <a:lnTo>
                      <a:pt x="172" y="64"/>
                    </a:lnTo>
                    <a:lnTo>
                      <a:pt x="172" y="64"/>
                    </a:lnTo>
                    <a:close/>
                    <a:moveTo>
                      <a:pt x="172" y="68"/>
                    </a:moveTo>
                    <a:lnTo>
                      <a:pt x="168" y="68"/>
                    </a:lnTo>
                    <a:lnTo>
                      <a:pt x="168" y="64"/>
                    </a:lnTo>
                    <a:lnTo>
                      <a:pt x="164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2" y="68"/>
                    </a:lnTo>
                    <a:lnTo>
                      <a:pt x="172" y="68"/>
                    </a:lnTo>
                    <a:lnTo>
                      <a:pt x="172" y="68"/>
                    </a:lnTo>
                    <a:close/>
                    <a:moveTo>
                      <a:pt x="130" y="28"/>
                    </a:moveTo>
                    <a:lnTo>
                      <a:pt x="130" y="24"/>
                    </a:lnTo>
                    <a:lnTo>
                      <a:pt x="126" y="24"/>
                    </a:lnTo>
                    <a:lnTo>
                      <a:pt x="130" y="24"/>
                    </a:lnTo>
                    <a:lnTo>
                      <a:pt x="130" y="20"/>
                    </a:lnTo>
                    <a:lnTo>
                      <a:pt x="134" y="20"/>
                    </a:lnTo>
                    <a:lnTo>
                      <a:pt x="134" y="24"/>
                    </a:lnTo>
                    <a:lnTo>
                      <a:pt x="130" y="24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0" y="28"/>
                    </a:lnTo>
                    <a:close/>
                    <a:moveTo>
                      <a:pt x="112" y="28"/>
                    </a:moveTo>
                    <a:lnTo>
                      <a:pt x="112" y="24"/>
                    </a:lnTo>
                    <a:lnTo>
                      <a:pt x="116" y="24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12" y="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1" name="Freeform 190">
                <a:extLst>
                  <a:ext uri="{FF2B5EF4-FFF2-40B4-BE49-F238E27FC236}">
                    <a16:creationId xmlns:a16="http://schemas.microsoft.com/office/drawing/2014/main" id="{39FA06C4-FB96-4430-B0E2-DF87479CB46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24675" y="4832418"/>
                <a:ext cx="1035050" cy="1333500"/>
              </a:xfrm>
              <a:custGeom>
                <a:avLst/>
                <a:gdLst>
                  <a:gd name="T0" fmla="*/ 570 w 652"/>
                  <a:gd name="T1" fmla="*/ 288 h 840"/>
                  <a:gd name="T2" fmla="*/ 570 w 652"/>
                  <a:gd name="T3" fmla="*/ 362 h 840"/>
                  <a:gd name="T4" fmla="*/ 540 w 652"/>
                  <a:gd name="T5" fmla="*/ 426 h 840"/>
                  <a:gd name="T6" fmla="*/ 526 w 652"/>
                  <a:gd name="T7" fmla="*/ 482 h 840"/>
                  <a:gd name="T8" fmla="*/ 472 w 652"/>
                  <a:gd name="T9" fmla="*/ 516 h 840"/>
                  <a:gd name="T10" fmla="*/ 454 w 652"/>
                  <a:gd name="T11" fmla="*/ 500 h 840"/>
                  <a:gd name="T12" fmla="*/ 410 w 652"/>
                  <a:gd name="T13" fmla="*/ 508 h 840"/>
                  <a:gd name="T14" fmla="*/ 372 w 652"/>
                  <a:gd name="T15" fmla="*/ 456 h 840"/>
                  <a:gd name="T16" fmla="*/ 362 w 652"/>
                  <a:gd name="T17" fmla="*/ 448 h 840"/>
                  <a:gd name="T18" fmla="*/ 350 w 652"/>
                  <a:gd name="T19" fmla="*/ 442 h 840"/>
                  <a:gd name="T20" fmla="*/ 342 w 652"/>
                  <a:gd name="T21" fmla="*/ 418 h 840"/>
                  <a:gd name="T22" fmla="*/ 320 w 652"/>
                  <a:gd name="T23" fmla="*/ 438 h 840"/>
                  <a:gd name="T24" fmla="*/ 294 w 652"/>
                  <a:gd name="T25" fmla="*/ 392 h 840"/>
                  <a:gd name="T26" fmla="*/ 228 w 652"/>
                  <a:gd name="T27" fmla="*/ 384 h 840"/>
                  <a:gd name="T28" fmla="*/ 160 w 652"/>
                  <a:gd name="T29" fmla="*/ 408 h 840"/>
                  <a:gd name="T30" fmla="*/ 120 w 652"/>
                  <a:gd name="T31" fmla="*/ 422 h 840"/>
                  <a:gd name="T32" fmla="*/ 74 w 652"/>
                  <a:gd name="T33" fmla="*/ 448 h 840"/>
                  <a:gd name="T34" fmla="*/ 30 w 652"/>
                  <a:gd name="T35" fmla="*/ 422 h 840"/>
                  <a:gd name="T36" fmla="*/ 34 w 652"/>
                  <a:gd name="T37" fmla="*/ 366 h 840"/>
                  <a:gd name="T38" fmla="*/ 16 w 652"/>
                  <a:gd name="T39" fmla="*/ 296 h 840"/>
                  <a:gd name="T40" fmla="*/ 12 w 652"/>
                  <a:gd name="T41" fmla="*/ 278 h 840"/>
                  <a:gd name="T42" fmla="*/ 12 w 652"/>
                  <a:gd name="T43" fmla="*/ 244 h 840"/>
                  <a:gd name="T44" fmla="*/ 26 w 652"/>
                  <a:gd name="T45" fmla="*/ 210 h 840"/>
                  <a:gd name="T46" fmla="*/ 78 w 652"/>
                  <a:gd name="T47" fmla="*/ 180 h 840"/>
                  <a:gd name="T48" fmla="*/ 134 w 652"/>
                  <a:gd name="T49" fmla="*/ 132 h 840"/>
                  <a:gd name="T50" fmla="*/ 152 w 652"/>
                  <a:gd name="T51" fmla="*/ 120 h 840"/>
                  <a:gd name="T52" fmla="*/ 164 w 652"/>
                  <a:gd name="T53" fmla="*/ 106 h 840"/>
                  <a:gd name="T54" fmla="*/ 174 w 652"/>
                  <a:gd name="T55" fmla="*/ 86 h 840"/>
                  <a:gd name="T56" fmla="*/ 194 w 652"/>
                  <a:gd name="T57" fmla="*/ 72 h 840"/>
                  <a:gd name="T58" fmla="*/ 216 w 652"/>
                  <a:gd name="T59" fmla="*/ 86 h 840"/>
                  <a:gd name="T60" fmla="*/ 238 w 652"/>
                  <a:gd name="T61" fmla="*/ 80 h 840"/>
                  <a:gd name="T62" fmla="*/ 258 w 652"/>
                  <a:gd name="T63" fmla="*/ 46 h 840"/>
                  <a:gd name="T64" fmla="*/ 280 w 652"/>
                  <a:gd name="T65" fmla="*/ 24 h 840"/>
                  <a:gd name="T66" fmla="*/ 298 w 652"/>
                  <a:gd name="T67" fmla="*/ 30 h 840"/>
                  <a:gd name="T68" fmla="*/ 332 w 652"/>
                  <a:gd name="T69" fmla="*/ 34 h 840"/>
                  <a:gd name="T70" fmla="*/ 324 w 652"/>
                  <a:gd name="T71" fmla="*/ 76 h 840"/>
                  <a:gd name="T72" fmla="*/ 362 w 652"/>
                  <a:gd name="T73" fmla="*/ 116 h 840"/>
                  <a:gd name="T74" fmla="*/ 402 w 652"/>
                  <a:gd name="T75" fmla="*/ 110 h 840"/>
                  <a:gd name="T76" fmla="*/ 410 w 652"/>
                  <a:gd name="T77" fmla="*/ 46 h 840"/>
                  <a:gd name="T78" fmla="*/ 426 w 652"/>
                  <a:gd name="T79" fmla="*/ 20 h 840"/>
                  <a:gd name="T80" fmla="*/ 452 w 652"/>
                  <a:gd name="T81" fmla="*/ 72 h 840"/>
                  <a:gd name="T82" fmla="*/ 470 w 652"/>
                  <a:gd name="T83" fmla="*/ 132 h 840"/>
                  <a:gd name="T84" fmla="*/ 502 w 652"/>
                  <a:gd name="T85" fmla="*/ 172 h 840"/>
                  <a:gd name="T86" fmla="*/ 522 w 652"/>
                  <a:gd name="T87" fmla="*/ 218 h 840"/>
                  <a:gd name="T88" fmla="*/ 548 w 652"/>
                  <a:gd name="T89" fmla="*/ 244 h 840"/>
                  <a:gd name="T90" fmla="*/ 574 w 652"/>
                  <a:gd name="T91" fmla="*/ 266 h 840"/>
                  <a:gd name="T92" fmla="*/ 498 w 652"/>
                  <a:gd name="T93" fmla="*/ 594 h 840"/>
                  <a:gd name="T94" fmla="*/ 652 w 652"/>
                  <a:gd name="T95" fmla="*/ 840 h 840"/>
                  <a:gd name="T96" fmla="*/ 336 w 652"/>
                  <a:gd name="T97" fmla="*/ 24 h 840"/>
                  <a:gd name="T98" fmla="*/ 260 w 652"/>
                  <a:gd name="T99" fmla="*/ 24 h 840"/>
                  <a:gd name="T100" fmla="*/ 250 w 652"/>
                  <a:gd name="T101" fmla="*/ 30 h 840"/>
                  <a:gd name="T102" fmla="*/ 332 w 652"/>
                  <a:gd name="T103" fmla="*/ 64 h 840"/>
                  <a:gd name="T104" fmla="*/ 372 w 652"/>
                  <a:gd name="T105" fmla="*/ 114 h 840"/>
                  <a:gd name="T106" fmla="*/ 0 w 652"/>
                  <a:gd name="T107" fmla="*/ 274 h 840"/>
                  <a:gd name="T108" fmla="*/ 574 w 652"/>
                  <a:gd name="T109" fmla="*/ 310 h 840"/>
                  <a:gd name="T110" fmla="*/ 462 w 652"/>
                  <a:gd name="T111" fmla="*/ 508 h 840"/>
                  <a:gd name="T112" fmla="*/ 502 w 652"/>
                  <a:gd name="T113" fmla="*/ 550 h 840"/>
                  <a:gd name="T114" fmla="*/ 458 w 652"/>
                  <a:gd name="T115" fmla="*/ 586 h 840"/>
                  <a:gd name="T116" fmla="*/ 480 w 652"/>
                  <a:gd name="T117" fmla="*/ 560 h 840"/>
                  <a:gd name="T118" fmla="*/ 498 w 652"/>
                  <a:gd name="T119" fmla="*/ 580 h 840"/>
                  <a:gd name="T120" fmla="*/ 488 w 652"/>
                  <a:gd name="T121" fmla="*/ 598 h 8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652" h="840">
                    <a:moveTo>
                      <a:pt x="548" y="244"/>
                    </a:moveTo>
                    <a:lnTo>
                      <a:pt x="548" y="248"/>
                    </a:lnTo>
                    <a:lnTo>
                      <a:pt x="548" y="244"/>
                    </a:lnTo>
                    <a:lnTo>
                      <a:pt x="552" y="244"/>
                    </a:lnTo>
                    <a:lnTo>
                      <a:pt x="552" y="248"/>
                    </a:lnTo>
                    <a:lnTo>
                      <a:pt x="554" y="248"/>
                    </a:lnTo>
                    <a:lnTo>
                      <a:pt x="554" y="252"/>
                    </a:lnTo>
                    <a:lnTo>
                      <a:pt x="554" y="256"/>
                    </a:lnTo>
                    <a:lnTo>
                      <a:pt x="558" y="256"/>
                    </a:lnTo>
                    <a:lnTo>
                      <a:pt x="558" y="258"/>
                    </a:lnTo>
                    <a:lnTo>
                      <a:pt x="562" y="258"/>
                    </a:lnTo>
                    <a:lnTo>
                      <a:pt x="562" y="262"/>
                    </a:lnTo>
                    <a:lnTo>
                      <a:pt x="562" y="266"/>
                    </a:lnTo>
                    <a:lnTo>
                      <a:pt x="566" y="266"/>
                    </a:lnTo>
                    <a:lnTo>
                      <a:pt x="566" y="270"/>
                    </a:lnTo>
                    <a:lnTo>
                      <a:pt x="566" y="274"/>
                    </a:lnTo>
                    <a:lnTo>
                      <a:pt x="566" y="278"/>
                    </a:lnTo>
                    <a:lnTo>
                      <a:pt x="570" y="278"/>
                    </a:lnTo>
                    <a:lnTo>
                      <a:pt x="570" y="282"/>
                    </a:lnTo>
                    <a:lnTo>
                      <a:pt x="570" y="286"/>
                    </a:lnTo>
                    <a:lnTo>
                      <a:pt x="570" y="288"/>
                    </a:lnTo>
                    <a:lnTo>
                      <a:pt x="570" y="292"/>
                    </a:lnTo>
                    <a:lnTo>
                      <a:pt x="570" y="296"/>
                    </a:lnTo>
                    <a:lnTo>
                      <a:pt x="570" y="300"/>
                    </a:lnTo>
                    <a:lnTo>
                      <a:pt x="570" y="302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4"/>
                    </a:lnTo>
                    <a:lnTo>
                      <a:pt x="574" y="318"/>
                    </a:lnTo>
                    <a:lnTo>
                      <a:pt x="578" y="318"/>
                    </a:lnTo>
                    <a:lnTo>
                      <a:pt x="578" y="322"/>
                    </a:lnTo>
                    <a:lnTo>
                      <a:pt x="578" y="326"/>
                    </a:lnTo>
                    <a:lnTo>
                      <a:pt x="578" y="328"/>
                    </a:lnTo>
                    <a:lnTo>
                      <a:pt x="578" y="332"/>
                    </a:lnTo>
                    <a:lnTo>
                      <a:pt x="574" y="332"/>
                    </a:lnTo>
                    <a:lnTo>
                      <a:pt x="574" y="336"/>
                    </a:lnTo>
                    <a:lnTo>
                      <a:pt x="574" y="340"/>
                    </a:lnTo>
                    <a:lnTo>
                      <a:pt x="574" y="344"/>
                    </a:lnTo>
                    <a:lnTo>
                      <a:pt x="574" y="348"/>
                    </a:lnTo>
                    <a:lnTo>
                      <a:pt x="574" y="352"/>
                    </a:lnTo>
                    <a:lnTo>
                      <a:pt x="570" y="356"/>
                    </a:lnTo>
                    <a:lnTo>
                      <a:pt x="570" y="362"/>
                    </a:lnTo>
                    <a:lnTo>
                      <a:pt x="570" y="366"/>
                    </a:lnTo>
                    <a:lnTo>
                      <a:pt x="570" y="370"/>
                    </a:lnTo>
                    <a:lnTo>
                      <a:pt x="570" y="374"/>
                    </a:lnTo>
                    <a:lnTo>
                      <a:pt x="566" y="378"/>
                    </a:lnTo>
                    <a:lnTo>
                      <a:pt x="566" y="382"/>
                    </a:lnTo>
                    <a:lnTo>
                      <a:pt x="566" y="384"/>
                    </a:lnTo>
                    <a:lnTo>
                      <a:pt x="562" y="384"/>
                    </a:lnTo>
                    <a:lnTo>
                      <a:pt x="562" y="388"/>
                    </a:lnTo>
                    <a:lnTo>
                      <a:pt x="562" y="392"/>
                    </a:lnTo>
                    <a:lnTo>
                      <a:pt x="562" y="396"/>
                    </a:lnTo>
                    <a:lnTo>
                      <a:pt x="558" y="400"/>
                    </a:lnTo>
                    <a:lnTo>
                      <a:pt x="554" y="400"/>
                    </a:lnTo>
                    <a:lnTo>
                      <a:pt x="554" y="404"/>
                    </a:lnTo>
                    <a:lnTo>
                      <a:pt x="552" y="404"/>
                    </a:lnTo>
                    <a:lnTo>
                      <a:pt x="552" y="408"/>
                    </a:lnTo>
                    <a:lnTo>
                      <a:pt x="548" y="412"/>
                    </a:lnTo>
                    <a:lnTo>
                      <a:pt x="548" y="414"/>
                    </a:lnTo>
                    <a:lnTo>
                      <a:pt x="544" y="418"/>
                    </a:lnTo>
                    <a:lnTo>
                      <a:pt x="544" y="422"/>
                    </a:lnTo>
                    <a:lnTo>
                      <a:pt x="544" y="426"/>
                    </a:lnTo>
                    <a:lnTo>
                      <a:pt x="540" y="426"/>
                    </a:lnTo>
                    <a:lnTo>
                      <a:pt x="544" y="426"/>
                    </a:lnTo>
                    <a:lnTo>
                      <a:pt x="540" y="430"/>
                    </a:lnTo>
                    <a:lnTo>
                      <a:pt x="540" y="434"/>
                    </a:lnTo>
                    <a:lnTo>
                      <a:pt x="536" y="438"/>
                    </a:lnTo>
                    <a:lnTo>
                      <a:pt x="540" y="438"/>
                    </a:lnTo>
                    <a:lnTo>
                      <a:pt x="536" y="442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6" y="444"/>
                    </a:lnTo>
                    <a:lnTo>
                      <a:pt x="536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28" y="460"/>
                    </a:lnTo>
                    <a:lnTo>
                      <a:pt x="528" y="464"/>
                    </a:lnTo>
                    <a:lnTo>
                      <a:pt x="528" y="468"/>
                    </a:lnTo>
                    <a:lnTo>
                      <a:pt x="528" y="470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26" y="478"/>
                    </a:lnTo>
                    <a:lnTo>
                      <a:pt x="526" y="482"/>
                    </a:lnTo>
                    <a:lnTo>
                      <a:pt x="526" y="486"/>
                    </a:lnTo>
                    <a:lnTo>
                      <a:pt x="526" y="490"/>
                    </a:lnTo>
                    <a:lnTo>
                      <a:pt x="526" y="494"/>
                    </a:lnTo>
                    <a:lnTo>
                      <a:pt x="522" y="494"/>
                    </a:lnTo>
                    <a:lnTo>
                      <a:pt x="522" y="498"/>
                    </a:lnTo>
                    <a:lnTo>
                      <a:pt x="518" y="498"/>
                    </a:lnTo>
                    <a:lnTo>
                      <a:pt x="514" y="498"/>
                    </a:lnTo>
                    <a:lnTo>
                      <a:pt x="510" y="498"/>
                    </a:lnTo>
                    <a:lnTo>
                      <a:pt x="506" y="498"/>
                    </a:lnTo>
                    <a:lnTo>
                      <a:pt x="502" y="498"/>
                    </a:lnTo>
                    <a:lnTo>
                      <a:pt x="498" y="498"/>
                    </a:lnTo>
                    <a:lnTo>
                      <a:pt x="498" y="500"/>
                    </a:lnTo>
                    <a:lnTo>
                      <a:pt x="496" y="500"/>
                    </a:lnTo>
                    <a:lnTo>
                      <a:pt x="492" y="500"/>
                    </a:lnTo>
                    <a:lnTo>
                      <a:pt x="492" y="504"/>
                    </a:lnTo>
                    <a:lnTo>
                      <a:pt x="488" y="504"/>
                    </a:lnTo>
                    <a:lnTo>
                      <a:pt x="488" y="508"/>
                    </a:lnTo>
                    <a:lnTo>
                      <a:pt x="484" y="512"/>
                    </a:lnTo>
                    <a:lnTo>
                      <a:pt x="480" y="516"/>
                    </a:lnTo>
                    <a:lnTo>
                      <a:pt x="476" y="516"/>
                    </a:lnTo>
                    <a:lnTo>
                      <a:pt x="472" y="516"/>
                    </a:lnTo>
                    <a:lnTo>
                      <a:pt x="472" y="520"/>
                    </a:lnTo>
                    <a:lnTo>
                      <a:pt x="476" y="520"/>
                    </a:lnTo>
                    <a:lnTo>
                      <a:pt x="476" y="516"/>
                    </a:lnTo>
                    <a:lnTo>
                      <a:pt x="476" y="524"/>
                    </a:lnTo>
                    <a:lnTo>
                      <a:pt x="472" y="524"/>
                    </a:lnTo>
                    <a:lnTo>
                      <a:pt x="472" y="520"/>
                    </a:lnTo>
                    <a:lnTo>
                      <a:pt x="470" y="516"/>
                    </a:lnTo>
                    <a:lnTo>
                      <a:pt x="470" y="520"/>
                    </a:lnTo>
                    <a:lnTo>
                      <a:pt x="466" y="516"/>
                    </a:lnTo>
                    <a:lnTo>
                      <a:pt x="462" y="516"/>
                    </a:lnTo>
                    <a:lnTo>
                      <a:pt x="462" y="512"/>
                    </a:lnTo>
                    <a:lnTo>
                      <a:pt x="462" y="508"/>
                    </a:lnTo>
                    <a:lnTo>
                      <a:pt x="462" y="504"/>
                    </a:lnTo>
                    <a:lnTo>
                      <a:pt x="458" y="504"/>
                    </a:lnTo>
                    <a:lnTo>
                      <a:pt x="458" y="508"/>
                    </a:lnTo>
                    <a:lnTo>
                      <a:pt x="454" y="512"/>
                    </a:lnTo>
                    <a:lnTo>
                      <a:pt x="452" y="508"/>
                    </a:lnTo>
                    <a:lnTo>
                      <a:pt x="454" y="508"/>
                    </a:lnTo>
                    <a:lnTo>
                      <a:pt x="458" y="504"/>
                    </a:lnTo>
                    <a:lnTo>
                      <a:pt x="458" y="500"/>
                    </a:lnTo>
                    <a:lnTo>
                      <a:pt x="454" y="500"/>
                    </a:lnTo>
                    <a:lnTo>
                      <a:pt x="452" y="500"/>
                    </a:lnTo>
                    <a:lnTo>
                      <a:pt x="448" y="504"/>
                    </a:lnTo>
                    <a:lnTo>
                      <a:pt x="452" y="504"/>
                    </a:lnTo>
                    <a:lnTo>
                      <a:pt x="452" y="508"/>
                    </a:lnTo>
                    <a:lnTo>
                      <a:pt x="448" y="508"/>
                    </a:lnTo>
                    <a:lnTo>
                      <a:pt x="444" y="512"/>
                    </a:lnTo>
                    <a:lnTo>
                      <a:pt x="440" y="512"/>
                    </a:lnTo>
                    <a:lnTo>
                      <a:pt x="440" y="516"/>
                    </a:lnTo>
                    <a:lnTo>
                      <a:pt x="436" y="516"/>
                    </a:lnTo>
                    <a:lnTo>
                      <a:pt x="436" y="520"/>
                    </a:lnTo>
                    <a:lnTo>
                      <a:pt x="432" y="516"/>
                    </a:lnTo>
                    <a:lnTo>
                      <a:pt x="428" y="516"/>
                    </a:lnTo>
                    <a:lnTo>
                      <a:pt x="428" y="512"/>
                    </a:lnTo>
                    <a:lnTo>
                      <a:pt x="426" y="512"/>
                    </a:lnTo>
                    <a:lnTo>
                      <a:pt x="422" y="512"/>
                    </a:lnTo>
                    <a:lnTo>
                      <a:pt x="422" y="508"/>
                    </a:lnTo>
                    <a:lnTo>
                      <a:pt x="418" y="508"/>
                    </a:lnTo>
                    <a:lnTo>
                      <a:pt x="414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10" y="508"/>
                    </a:lnTo>
                    <a:lnTo>
                      <a:pt x="406" y="508"/>
                    </a:lnTo>
                    <a:lnTo>
                      <a:pt x="402" y="508"/>
                    </a:lnTo>
                    <a:lnTo>
                      <a:pt x="402" y="504"/>
                    </a:lnTo>
                    <a:lnTo>
                      <a:pt x="400" y="504"/>
                    </a:lnTo>
                    <a:lnTo>
                      <a:pt x="396" y="504"/>
                    </a:lnTo>
                    <a:lnTo>
                      <a:pt x="396" y="500"/>
                    </a:lnTo>
                    <a:lnTo>
                      <a:pt x="392" y="500"/>
                    </a:lnTo>
                    <a:lnTo>
                      <a:pt x="392" y="498"/>
                    </a:lnTo>
                    <a:lnTo>
                      <a:pt x="388" y="498"/>
                    </a:lnTo>
                    <a:lnTo>
                      <a:pt x="388" y="494"/>
                    </a:lnTo>
                    <a:lnTo>
                      <a:pt x="384" y="494"/>
                    </a:lnTo>
                    <a:lnTo>
                      <a:pt x="384" y="490"/>
                    </a:lnTo>
                    <a:lnTo>
                      <a:pt x="380" y="486"/>
                    </a:lnTo>
                    <a:lnTo>
                      <a:pt x="380" y="482"/>
                    </a:lnTo>
                    <a:lnTo>
                      <a:pt x="384" y="478"/>
                    </a:lnTo>
                    <a:lnTo>
                      <a:pt x="384" y="474"/>
                    </a:lnTo>
                    <a:lnTo>
                      <a:pt x="380" y="468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60"/>
                    </a:lnTo>
                    <a:lnTo>
                      <a:pt x="376" y="464"/>
                    </a:lnTo>
                    <a:lnTo>
                      <a:pt x="380" y="468"/>
                    </a:lnTo>
                    <a:lnTo>
                      <a:pt x="380" y="464"/>
                    </a:lnTo>
                    <a:lnTo>
                      <a:pt x="376" y="464"/>
                    </a:lnTo>
                    <a:lnTo>
                      <a:pt x="376" y="460"/>
                    </a:lnTo>
                    <a:lnTo>
                      <a:pt x="372" y="456"/>
                    </a:lnTo>
                    <a:lnTo>
                      <a:pt x="372" y="460"/>
                    </a:lnTo>
                    <a:lnTo>
                      <a:pt x="376" y="456"/>
                    </a:lnTo>
                    <a:lnTo>
                      <a:pt x="376" y="452"/>
                    </a:lnTo>
                    <a:lnTo>
                      <a:pt x="372" y="452"/>
                    </a:lnTo>
                    <a:lnTo>
                      <a:pt x="370" y="452"/>
                    </a:lnTo>
                    <a:lnTo>
                      <a:pt x="372" y="452"/>
                    </a:lnTo>
                    <a:lnTo>
                      <a:pt x="372" y="456"/>
                    </a:lnTo>
                    <a:lnTo>
                      <a:pt x="370" y="456"/>
                    </a:lnTo>
                    <a:lnTo>
                      <a:pt x="366" y="456"/>
                    </a:lnTo>
                    <a:lnTo>
                      <a:pt x="358" y="456"/>
                    </a:lnTo>
                    <a:lnTo>
                      <a:pt x="362" y="456"/>
                    </a:lnTo>
                    <a:lnTo>
                      <a:pt x="362" y="452"/>
                    </a:lnTo>
                    <a:lnTo>
                      <a:pt x="362" y="448"/>
                    </a:lnTo>
                    <a:lnTo>
                      <a:pt x="366" y="444"/>
                    </a:lnTo>
                    <a:lnTo>
                      <a:pt x="366" y="442"/>
                    </a:lnTo>
                    <a:lnTo>
                      <a:pt x="362" y="438"/>
                    </a:lnTo>
                    <a:lnTo>
                      <a:pt x="362" y="434"/>
                    </a:lnTo>
                    <a:lnTo>
                      <a:pt x="358" y="430"/>
                    </a:lnTo>
                    <a:lnTo>
                      <a:pt x="358" y="434"/>
                    </a:lnTo>
                    <a:lnTo>
                      <a:pt x="354" y="434"/>
                    </a:lnTo>
                    <a:lnTo>
                      <a:pt x="354" y="438"/>
                    </a:lnTo>
                    <a:lnTo>
                      <a:pt x="354" y="442"/>
                    </a:lnTo>
                    <a:lnTo>
                      <a:pt x="354" y="444"/>
                    </a:lnTo>
                    <a:lnTo>
                      <a:pt x="354" y="448"/>
                    </a:lnTo>
                    <a:lnTo>
                      <a:pt x="350" y="448"/>
                    </a:lnTo>
                    <a:lnTo>
                      <a:pt x="346" y="448"/>
                    </a:lnTo>
                    <a:lnTo>
                      <a:pt x="342" y="448"/>
                    </a:lnTo>
                    <a:lnTo>
                      <a:pt x="340" y="452"/>
                    </a:lnTo>
                    <a:lnTo>
                      <a:pt x="340" y="448"/>
                    </a:lnTo>
                    <a:lnTo>
                      <a:pt x="342" y="448"/>
                    </a:lnTo>
                    <a:lnTo>
                      <a:pt x="342" y="444"/>
                    </a:lnTo>
                    <a:lnTo>
                      <a:pt x="346" y="444"/>
                    </a:lnTo>
                    <a:lnTo>
                      <a:pt x="350" y="444"/>
                    </a:lnTo>
                    <a:lnTo>
                      <a:pt x="350" y="442"/>
                    </a:lnTo>
                    <a:lnTo>
                      <a:pt x="350" y="438"/>
                    </a:lnTo>
                    <a:lnTo>
                      <a:pt x="350" y="434"/>
                    </a:lnTo>
                    <a:lnTo>
                      <a:pt x="350" y="430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54" y="418"/>
                    </a:lnTo>
                    <a:lnTo>
                      <a:pt x="354" y="414"/>
                    </a:lnTo>
                    <a:lnTo>
                      <a:pt x="354" y="412"/>
                    </a:lnTo>
                    <a:lnTo>
                      <a:pt x="358" y="412"/>
                    </a:lnTo>
                    <a:lnTo>
                      <a:pt x="358" y="408"/>
                    </a:lnTo>
                    <a:lnTo>
                      <a:pt x="354" y="404"/>
                    </a:lnTo>
                    <a:lnTo>
                      <a:pt x="354" y="400"/>
                    </a:lnTo>
                    <a:lnTo>
                      <a:pt x="354" y="404"/>
                    </a:lnTo>
                    <a:lnTo>
                      <a:pt x="354" y="408"/>
                    </a:lnTo>
                    <a:lnTo>
                      <a:pt x="350" y="408"/>
                    </a:lnTo>
                    <a:lnTo>
                      <a:pt x="350" y="412"/>
                    </a:lnTo>
                    <a:lnTo>
                      <a:pt x="346" y="412"/>
                    </a:lnTo>
                    <a:lnTo>
                      <a:pt x="346" y="414"/>
                    </a:lnTo>
                    <a:lnTo>
                      <a:pt x="346" y="418"/>
                    </a:lnTo>
                    <a:lnTo>
                      <a:pt x="342" y="422"/>
                    </a:lnTo>
                    <a:lnTo>
                      <a:pt x="342" y="418"/>
                    </a:lnTo>
                    <a:lnTo>
                      <a:pt x="340" y="422"/>
                    </a:lnTo>
                    <a:lnTo>
                      <a:pt x="342" y="422"/>
                    </a:lnTo>
                    <a:lnTo>
                      <a:pt x="340" y="422"/>
                    </a:lnTo>
                    <a:lnTo>
                      <a:pt x="336" y="426"/>
                    </a:lnTo>
                    <a:lnTo>
                      <a:pt x="332" y="426"/>
                    </a:lnTo>
                    <a:lnTo>
                      <a:pt x="332" y="430"/>
                    </a:lnTo>
                    <a:lnTo>
                      <a:pt x="332" y="434"/>
                    </a:lnTo>
                    <a:lnTo>
                      <a:pt x="328" y="434"/>
                    </a:lnTo>
                    <a:lnTo>
                      <a:pt x="328" y="438"/>
                    </a:lnTo>
                    <a:lnTo>
                      <a:pt x="324" y="442"/>
                    </a:lnTo>
                    <a:lnTo>
                      <a:pt x="328" y="442"/>
                    </a:lnTo>
                    <a:lnTo>
                      <a:pt x="328" y="444"/>
                    </a:lnTo>
                    <a:lnTo>
                      <a:pt x="328" y="442"/>
                    </a:lnTo>
                    <a:lnTo>
                      <a:pt x="324" y="442"/>
                    </a:lnTo>
                    <a:lnTo>
                      <a:pt x="324" y="444"/>
                    </a:lnTo>
                    <a:lnTo>
                      <a:pt x="324" y="442"/>
                    </a:lnTo>
                    <a:lnTo>
                      <a:pt x="320" y="442"/>
                    </a:lnTo>
                    <a:lnTo>
                      <a:pt x="320" y="438"/>
                    </a:lnTo>
                    <a:lnTo>
                      <a:pt x="316" y="438"/>
                    </a:lnTo>
                    <a:lnTo>
                      <a:pt x="316" y="434"/>
                    </a:lnTo>
                    <a:lnTo>
                      <a:pt x="320" y="438"/>
                    </a:lnTo>
                    <a:lnTo>
                      <a:pt x="320" y="434"/>
                    </a:lnTo>
                    <a:lnTo>
                      <a:pt x="320" y="430"/>
                    </a:lnTo>
                    <a:lnTo>
                      <a:pt x="316" y="430"/>
                    </a:lnTo>
                    <a:lnTo>
                      <a:pt x="316" y="426"/>
                    </a:lnTo>
                    <a:lnTo>
                      <a:pt x="316" y="422"/>
                    </a:lnTo>
                    <a:lnTo>
                      <a:pt x="314" y="422"/>
                    </a:lnTo>
                    <a:lnTo>
                      <a:pt x="314" y="418"/>
                    </a:lnTo>
                    <a:lnTo>
                      <a:pt x="314" y="414"/>
                    </a:lnTo>
                    <a:lnTo>
                      <a:pt x="310" y="412"/>
                    </a:lnTo>
                    <a:lnTo>
                      <a:pt x="306" y="412"/>
                    </a:lnTo>
                    <a:lnTo>
                      <a:pt x="302" y="408"/>
                    </a:lnTo>
                    <a:lnTo>
                      <a:pt x="302" y="404"/>
                    </a:lnTo>
                    <a:lnTo>
                      <a:pt x="306" y="404"/>
                    </a:lnTo>
                    <a:lnTo>
                      <a:pt x="306" y="400"/>
                    </a:lnTo>
                    <a:lnTo>
                      <a:pt x="302" y="400"/>
                    </a:lnTo>
                    <a:lnTo>
                      <a:pt x="302" y="396"/>
                    </a:lnTo>
                    <a:lnTo>
                      <a:pt x="298" y="396"/>
                    </a:lnTo>
                    <a:lnTo>
                      <a:pt x="298" y="400"/>
                    </a:lnTo>
                    <a:lnTo>
                      <a:pt x="298" y="396"/>
                    </a:lnTo>
                    <a:lnTo>
                      <a:pt x="298" y="392"/>
                    </a:lnTo>
                    <a:lnTo>
                      <a:pt x="294" y="392"/>
                    </a:lnTo>
                    <a:lnTo>
                      <a:pt x="290" y="392"/>
                    </a:lnTo>
                    <a:lnTo>
                      <a:pt x="286" y="392"/>
                    </a:lnTo>
                    <a:lnTo>
                      <a:pt x="286" y="388"/>
                    </a:lnTo>
                    <a:lnTo>
                      <a:pt x="284" y="388"/>
                    </a:lnTo>
                    <a:lnTo>
                      <a:pt x="280" y="388"/>
                    </a:lnTo>
                    <a:lnTo>
                      <a:pt x="276" y="388"/>
                    </a:lnTo>
                    <a:lnTo>
                      <a:pt x="272" y="388"/>
                    </a:lnTo>
                    <a:lnTo>
                      <a:pt x="272" y="384"/>
                    </a:lnTo>
                    <a:lnTo>
                      <a:pt x="268" y="384"/>
                    </a:lnTo>
                    <a:lnTo>
                      <a:pt x="268" y="382"/>
                    </a:lnTo>
                    <a:lnTo>
                      <a:pt x="264" y="382"/>
                    </a:lnTo>
                    <a:lnTo>
                      <a:pt x="260" y="382"/>
                    </a:lnTo>
                    <a:lnTo>
                      <a:pt x="260" y="378"/>
                    </a:lnTo>
                    <a:lnTo>
                      <a:pt x="258" y="382"/>
                    </a:lnTo>
                    <a:lnTo>
                      <a:pt x="254" y="382"/>
                    </a:lnTo>
                    <a:lnTo>
                      <a:pt x="246" y="382"/>
                    </a:lnTo>
                    <a:lnTo>
                      <a:pt x="242" y="382"/>
                    </a:lnTo>
                    <a:lnTo>
                      <a:pt x="238" y="382"/>
                    </a:lnTo>
                    <a:lnTo>
                      <a:pt x="234" y="382"/>
                    </a:lnTo>
                    <a:lnTo>
                      <a:pt x="230" y="382"/>
                    </a:lnTo>
                    <a:lnTo>
                      <a:pt x="228" y="384"/>
                    </a:lnTo>
                    <a:lnTo>
                      <a:pt x="224" y="384"/>
                    </a:lnTo>
                    <a:lnTo>
                      <a:pt x="216" y="388"/>
                    </a:lnTo>
                    <a:lnTo>
                      <a:pt x="216" y="392"/>
                    </a:lnTo>
                    <a:lnTo>
                      <a:pt x="212" y="392"/>
                    </a:lnTo>
                    <a:lnTo>
                      <a:pt x="208" y="392"/>
                    </a:lnTo>
                    <a:lnTo>
                      <a:pt x="204" y="392"/>
                    </a:lnTo>
                    <a:lnTo>
                      <a:pt x="202" y="392"/>
                    </a:lnTo>
                    <a:lnTo>
                      <a:pt x="202" y="396"/>
                    </a:lnTo>
                    <a:lnTo>
                      <a:pt x="198" y="396"/>
                    </a:lnTo>
                    <a:lnTo>
                      <a:pt x="194" y="396"/>
                    </a:lnTo>
                    <a:lnTo>
                      <a:pt x="194" y="392"/>
                    </a:lnTo>
                    <a:lnTo>
                      <a:pt x="190" y="392"/>
                    </a:lnTo>
                    <a:lnTo>
                      <a:pt x="186" y="392"/>
                    </a:lnTo>
                    <a:lnTo>
                      <a:pt x="182" y="396"/>
                    </a:lnTo>
                    <a:lnTo>
                      <a:pt x="178" y="400"/>
                    </a:lnTo>
                    <a:lnTo>
                      <a:pt x="174" y="400"/>
                    </a:lnTo>
                    <a:lnTo>
                      <a:pt x="172" y="404"/>
                    </a:lnTo>
                    <a:lnTo>
                      <a:pt x="168" y="404"/>
                    </a:lnTo>
                    <a:lnTo>
                      <a:pt x="168" y="408"/>
                    </a:lnTo>
                    <a:lnTo>
                      <a:pt x="164" y="408"/>
                    </a:lnTo>
                    <a:lnTo>
                      <a:pt x="160" y="408"/>
                    </a:lnTo>
                    <a:lnTo>
                      <a:pt x="160" y="412"/>
                    </a:lnTo>
                    <a:lnTo>
                      <a:pt x="160" y="414"/>
                    </a:lnTo>
                    <a:lnTo>
                      <a:pt x="156" y="418"/>
                    </a:lnTo>
                    <a:lnTo>
                      <a:pt x="156" y="422"/>
                    </a:lnTo>
                    <a:lnTo>
                      <a:pt x="152" y="422"/>
                    </a:lnTo>
                    <a:lnTo>
                      <a:pt x="152" y="426"/>
                    </a:lnTo>
                    <a:lnTo>
                      <a:pt x="148" y="422"/>
                    </a:lnTo>
                    <a:lnTo>
                      <a:pt x="148" y="426"/>
                    </a:lnTo>
                    <a:lnTo>
                      <a:pt x="146" y="426"/>
                    </a:lnTo>
                    <a:lnTo>
                      <a:pt x="146" y="422"/>
                    </a:lnTo>
                    <a:lnTo>
                      <a:pt x="142" y="422"/>
                    </a:lnTo>
                    <a:lnTo>
                      <a:pt x="142" y="426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4" y="426"/>
                    </a:lnTo>
                    <a:lnTo>
                      <a:pt x="130" y="426"/>
                    </a:lnTo>
                    <a:lnTo>
                      <a:pt x="130" y="422"/>
                    </a:lnTo>
                    <a:lnTo>
                      <a:pt x="126" y="422"/>
                    </a:lnTo>
                    <a:lnTo>
                      <a:pt x="122" y="422"/>
                    </a:lnTo>
                    <a:lnTo>
                      <a:pt x="120" y="422"/>
                    </a:lnTo>
                    <a:lnTo>
                      <a:pt x="116" y="422"/>
                    </a:lnTo>
                    <a:lnTo>
                      <a:pt x="112" y="422"/>
                    </a:lnTo>
                    <a:lnTo>
                      <a:pt x="108" y="426"/>
                    </a:lnTo>
                    <a:lnTo>
                      <a:pt x="104" y="426"/>
                    </a:lnTo>
                    <a:lnTo>
                      <a:pt x="102" y="426"/>
                    </a:lnTo>
                    <a:lnTo>
                      <a:pt x="98" y="426"/>
                    </a:lnTo>
                    <a:lnTo>
                      <a:pt x="98" y="430"/>
                    </a:lnTo>
                    <a:lnTo>
                      <a:pt x="94" y="430"/>
                    </a:lnTo>
                    <a:lnTo>
                      <a:pt x="94" y="434"/>
                    </a:lnTo>
                    <a:lnTo>
                      <a:pt x="90" y="438"/>
                    </a:lnTo>
                    <a:lnTo>
                      <a:pt x="90" y="434"/>
                    </a:lnTo>
                    <a:lnTo>
                      <a:pt x="86" y="434"/>
                    </a:lnTo>
                    <a:lnTo>
                      <a:pt x="86" y="438"/>
                    </a:lnTo>
                    <a:lnTo>
                      <a:pt x="82" y="438"/>
                    </a:lnTo>
                    <a:lnTo>
                      <a:pt x="82" y="442"/>
                    </a:lnTo>
                    <a:lnTo>
                      <a:pt x="78" y="442"/>
                    </a:lnTo>
                    <a:lnTo>
                      <a:pt x="78" y="444"/>
                    </a:lnTo>
                    <a:lnTo>
                      <a:pt x="74" y="444"/>
                    </a:lnTo>
                    <a:lnTo>
                      <a:pt x="72" y="444"/>
                    </a:lnTo>
                    <a:lnTo>
                      <a:pt x="74" y="444"/>
                    </a:lnTo>
                    <a:lnTo>
                      <a:pt x="74" y="448"/>
                    </a:lnTo>
                    <a:lnTo>
                      <a:pt x="72" y="448"/>
                    </a:lnTo>
                    <a:lnTo>
                      <a:pt x="72" y="444"/>
                    </a:lnTo>
                    <a:lnTo>
                      <a:pt x="68" y="444"/>
                    </a:lnTo>
                    <a:lnTo>
                      <a:pt x="68" y="448"/>
                    </a:lnTo>
                    <a:lnTo>
                      <a:pt x="68" y="444"/>
                    </a:lnTo>
                    <a:lnTo>
                      <a:pt x="64" y="444"/>
                    </a:lnTo>
                    <a:lnTo>
                      <a:pt x="60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48" y="444"/>
                    </a:lnTo>
                    <a:lnTo>
                      <a:pt x="48" y="442"/>
                    </a:lnTo>
                    <a:lnTo>
                      <a:pt x="46" y="442"/>
                    </a:lnTo>
                    <a:lnTo>
                      <a:pt x="46" y="438"/>
                    </a:lnTo>
                    <a:lnTo>
                      <a:pt x="42" y="438"/>
                    </a:lnTo>
                    <a:lnTo>
                      <a:pt x="42" y="434"/>
                    </a:lnTo>
                    <a:lnTo>
                      <a:pt x="38" y="434"/>
                    </a:lnTo>
                    <a:lnTo>
                      <a:pt x="34" y="430"/>
                    </a:lnTo>
                    <a:lnTo>
                      <a:pt x="34" y="434"/>
                    </a:lnTo>
                    <a:lnTo>
                      <a:pt x="30" y="430"/>
                    </a:lnTo>
                    <a:lnTo>
                      <a:pt x="30" y="426"/>
                    </a:lnTo>
                    <a:lnTo>
                      <a:pt x="30" y="422"/>
                    </a:lnTo>
                    <a:lnTo>
                      <a:pt x="30" y="418"/>
                    </a:lnTo>
                    <a:lnTo>
                      <a:pt x="34" y="418"/>
                    </a:lnTo>
                    <a:lnTo>
                      <a:pt x="38" y="418"/>
                    </a:lnTo>
                    <a:lnTo>
                      <a:pt x="42" y="414"/>
                    </a:lnTo>
                    <a:lnTo>
                      <a:pt x="42" y="412"/>
                    </a:lnTo>
                    <a:lnTo>
                      <a:pt x="42" y="408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404"/>
                    </a:lnTo>
                    <a:lnTo>
                      <a:pt x="42" y="400"/>
                    </a:lnTo>
                    <a:lnTo>
                      <a:pt x="42" y="396"/>
                    </a:lnTo>
                    <a:lnTo>
                      <a:pt x="42" y="392"/>
                    </a:lnTo>
                    <a:lnTo>
                      <a:pt x="42" y="388"/>
                    </a:lnTo>
                    <a:lnTo>
                      <a:pt x="42" y="384"/>
                    </a:lnTo>
                    <a:lnTo>
                      <a:pt x="42" y="382"/>
                    </a:lnTo>
                    <a:lnTo>
                      <a:pt x="42" y="378"/>
                    </a:lnTo>
                    <a:lnTo>
                      <a:pt x="38" y="378"/>
                    </a:lnTo>
                    <a:lnTo>
                      <a:pt x="38" y="374"/>
                    </a:lnTo>
                    <a:lnTo>
                      <a:pt x="38" y="370"/>
                    </a:lnTo>
                    <a:lnTo>
                      <a:pt x="34" y="370"/>
                    </a:lnTo>
                    <a:lnTo>
                      <a:pt x="34" y="366"/>
                    </a:lnTo>
                    <a:lnTo>
                      <a:pt x="34" y="362"/>
                    </a:lnTo>
                    <a:lnTo>
                      <a:pt x="34" y="358"/>
                    </a:lnTo>
                    <a:lnTo>
                      <a:pt x="34" y="356"/>
                    </a:lnTo>
                    <a:lnTo>
                      <a:pt x="30" y="356"/>
                    </a:lnTo>
                    <a:lnTo>
                      <a:pt x="30" y="352"/>
                    </a:lnTo>
                    <a:lnTo>
                      <a:pt x="30" y="348"/>
                    </a:lnTo>
                    <a:lnTo>
                      <a:pt x="30" y="344"/>
                    </a:lnTo>
                    <a:lnTo>
                      <a:pt x="30" y="340"/>
                    </a:lnTo>
                    <a:lnTo>
                      <a:pt x="30" y="336"/>
                    </a:lnTo>
                    <a:lnTo>
                      <a:pt x="26" y="332"/>
                    </a:lnTo>
                    <a:lnTo>
                      <a:pt x="26" y="328"/>
                    </a:lnTo>
                    <a:lnTo>
                      <a:pt x="26" y="326"/>
                    </a:lnTo>
                    <a:lnTo>
                      <a:pt x="22" y="322"/>
                    </a:lnTo>
                    <a:lnTo>
                      <a:pt x="22" y="318"/>
                    </a:lnTo>
                    <a:lnTo>
                      <a:pt x="18" y="318"/>
                    </a:lnTo>
                    <a:lnTo>
                      <a:pt x="18" y="314"/>
                    </a:lnTo>
                    <a:lnTo>
                      <a:pt x="18" y="310"/>
                    </a:lnTo>
                    <a:lnTo>
                      <a:pt x="18" y="306"/>
                    </a:lnTo>
                    <a:lnTo>
                      <a:pt x="18" y="302"/>
                    </a:lnTo>
                    <a:lnTo>
                      <a:pt x="16" y="300"/>
                    </a:lnTo>
                    <a:lnTo>
                      <a:pt x="16" y="296"/>
                    </a:lnTo>
                    <a:lnTo>
                      <a:pt x="12" y="296"/>
                    </a:lnTo>
                    <a:lnTo>
                      <a:pt x="12" y="292"/>
                    </a:lnTo>
                    <a:lnTo>
                      <a:pt x="12" y="288"/>
                    </a:lnTo>
                    <a:lnTo>
                      <a:pt x="8" y="288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2"/>
                    </a:lnTo>
                    <a:lnTo>
                      <a:pt x="12" y="286"/>
                    </a:lnTo>
                    <a:lnTo>
                      <a:pt x="12" y="288"/>
                    </a:lnTo>
                    <a:lnTo>
                      <a:pt x="12" y="292"/>
                    </a:lnTo>
                    <a:lnTo>
                      <a:pt x="16" y="292"/>
                    </a:lnTo>
                    <a:lnTo>
                      <a:pt x="16" y="288"/>
                    </a:lnTo>
                    <a:lnTo>
                      <a:pt x="16" y="286"/>
                    </a:lnTo>
                    <a:lnTo>
                      <a:pt x="12" y="286"/>
                    </a:lnTo>
                    <a:lnTo>
                      <a:pt x="12" y="282"/>
                    </a:lnTo>
                    <a:lnTo>
                      <a:pt x="12" y="278"/>
                    </a:lnTo>
                    <a:lnTo>
                      <a:pt x="8" y="274"/>
                    </a:lnTo>
                    <a:lnTo>
                      <a:pt x="12" y="270"/>
                    </a:lnTo>
                    <a:lnTo>
                      <a:pt x="12" y="274"/>
                    </a:lnTo>
                    <a:lnTo>
                      <a:pt x="12" y="278"/>
                    </a:lnTo>
                    <a:lnTo>
                      <a:pt x="16" y="278"/>
                    </a:lnTo>
                    <a:lnTo>
                      <a:pt x="16" y="282"/>
                    </a:lnTo>
                    <a:lnTo>
                      <a:pt x="12" y="282"/>
                    </a:lnTo>
                    <a:lnTo>
                      <a:pt x="16" y="286"/>
                    </a:lnTo>
                    <a:lnTo>
                      <a:pt x="16" y="282"/>
                    </a:lnTo>
                    <a:lnTo>
                      <a:pt x="16" y="286"/>
                    </a:lnTo>
                    <a:lnTo>
                      <a:pt x="18" y="288"/>
                    </a:lnTo>
                    <a:lnTo>
                      <a:pt x="18" y="286"/>
                    </a:lnTo>
                    <a:lnTo>
                      <a:pt x="18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6" y="270"/>
                    </a:lnTo>
                    <a:lnTo>
                      <a:pt x="16" y="266"/>
                    </a:lnTo>
                    <a:lnTo>
                      <a:pt x="12" y="262"/>
                    </a:lnTo>
                    <a:lnTo>
                      <a:pt x="12" y="258"/>
                    </a:lnTo>
                    <a:lnTo>
                      <a:pt x="12" y="256"/>
                    </a:lnTo>
                    <a:lnTo>
                      <a:pt x="8" y="256"/>
                    </a:lnTo>
                    <a:lnTo>
                      <a:pt x="8" y="252"/>
                    </a:lnTo>
                    <a:lnTo>
                      <a:pt x="8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12" y="236"/>
                    </a:lnTo>
                    <a:lnTo>
                      <a:pt x="16" y="236"/>
                    </a:lnTo>
                    <a:lnTo>
                      <a:pt x="16" y="232"/>
                    </a:lnTo>
                    <a:lnTo>
                      <a:pt x="16" y="228"/>
                    </a:lnTo>
                    <a:lnTo>
                      <a:pt x="16" y="226"/>
                    </a:lnTo>
                    <a:lnTo>
                      <a:pt x="16" y="222"/>
                    </a:lnTo>
                    <a:lnTo>
                      <a:pt x="12" y="222"/>
                    </a:lnTo>
                    <a:lnTo>
                      <a:pt x="12" y="218"/>
                    </a:lnTo>
                    <a:lnTo>
                      <a:pt x="16" y="218"/>
                    </a:lnTo>
                    <a:lnTo>
                      <a:pt x="16" y="214"/>
                    </a:lnTo>
                    <a:lnTo>
                      <a:pt x="16" y="210"/>
                    </a:lnTo>
                    <a:lnTo>
                      <a:pt x="16" y="206"/>
                    </a:lnTo>
                    <a:lnTo>
                      <a:pt x="18" y="206"/>
                    </a:lnTo>
                    <a:lnTo>
                      <a:pt x="18" y="210"/>
                    </a:lnTo>
                    <a:lnTo>
                      <a:pt x="18" y="214"/>
                    </a:lnTo>
                    <a:lnTo>
                      <a:pt x="18" y="218"/>
                    </a:lnTo>
                    <a:lnTo>
                      <a:pt x="22" y="218"/>
                    </a:lnTo>
                    <a:lnTo>
                      <a:pt x="22" y="214"/>
                    </a:lnTo>
                    <a:lnTo>
                      <a:pt x="22" y="210"/>
                    </a:lnTo>
                    <a:lnTo>
                      <a:pt x="26" y="210"/>
                    </a:lnTo>
                    <a:lnTo>
                      <a:pt x="26" y="206"/>
                    </a:lnTo>
                    <a:lnTo>
                      <a:pt x="30" y="202"/>
                    </a:lnTo>
                    <a:lnTo>
                      <a:pt x="34" y="202"/>
                    </a:lnTo>
                    <a:lnTo>
                      <a:pt x="38" y="200"/>
                    </a:lnTo>
                    <a:lnTo>
                      <a:pt x="42" y="196"/>
                    </a:lnTo>
                    <a:lnTo>
                      <a:pt x="46" y="196"/>
                    </a:lnTo>
                    <a:lnTo>
                      <a:pt x="46" y="192"/>
                    </a:lnTo>
                    <a:lnTo>
                      <a:pt x="48" y="192"/>
                    </a:lnTo>
                    <a:lnTo>
                      <a:pt x="48" y="188"/>
                    </a:lnTo>
                    <a:lnTo>
                      <a:pt x="52" y="188"/>
                    </a:lnTo>
                    <a:lnTo>
                      <a:pt x="56" y="188"/>
                    </a:lnTo>
                    <a:lnTo>
                      <a:pt x="56" y="184"/>
                    </a:lnTo>
                    <a:lnTo>
                      <a:pt x="60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72" y="184"/>
                    </a:lnTo>
                    <a:lnTo>
                      <a:pt x="74" y="184"/>
                    </a:lnTo>
                    <a:lnTo>
                      <a:pt x="74" y="180"/>
                    </a:lnTo>
                    <a:lnTo>
                      <a:pt x="78" y="180"/>
                    </a:lnTo>
                    <a:lnTo>
                      <a:pt x="82" y="180"/>
                    </a:lnTo>
                    <a:lnTo>
                      <a:pt x="86" y="176"/>
                    </a:lnTo>
                    <a:lnTo>
                      <a:pt x="90" y="172"/>
                    </a:lnTo>
                    <a:lnTo>
                      <a:pt x="94" y="172"/>
                    </a:lnTo>
                    <a:lnTo>
                      <a:pt x="98" y="172"/>
                    </a:lnTo>
                    <a:lnTo>
                      <a:pt x="102" y="172"/>
                    </a:lnTo>
                    <a:lnTo>
                      <a:pt x="104" y="172"/>
                    </a:lnTo>
                    <a:lnTo>
                      <a:pt x="108" y="170"/>
                    </a:lnTo>
                    <a:lnTo>
                      <a:pt x="112" y="170"/>
                    </a:lnTo>
                    <a:lnTo>
                      <a:pt x="116" y="166"/>
                    </a:lnTo>
                    <a:lnTo>
                      <a:pt x="120" y="166"/>
                    </a:lnTo>
                    <a:lnTo>
                      <a:pt x="120" y="162"/>
                    </a:lnTo>
                    <a:lnTo>
                      <a:pt x="122" y="158"/>
                    </a:lnTo>
                    <a:lnTo>
                      <a:pt x="122" y="154"/>
                    </a:lnTo>
                    <a:lnTo>
                      <a:pt x="126" y="150"/>
                    </a:lnTo>
                    <a:lnTo>
                      <a:pt x="126" y="146"/>
                    </a:lnTo>
                    <a:lnTo>
                      <a:pt x="130" y="146"/>
                    </a:lnTo>
                    <a:lnTo>
                      <a:pt x="130" y="142"/>
                    </a:ln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28"/>
                    </a:lnTo>
                    <a:lnTo>
                      <a:pt x="134" y="124"/>
                    </a:lnTo>
                    <a:lnTo>
                      <a:pt x="134" y="120"/>
                    </a:lnTo>
                    <a:lnTo>
                      <a:pt x="138" y="120"/>
                    </a:lnTo>
                    <a:lnTo>
                      <a:pt x="138" y="116"/>
                    </a:lnTo>
                    <a:lnTo>
                      <a:pt x="142" y="116"/>
                    </a:lnTo>
                    <a:lnTo>
                      <a:pt x="142" y="114"/>
                    </a:lnTo>
                    <a:lnTo>
                      <a:pt x="142" y="110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0"/>
                    </a:lnTo>
                    <a:lnTo>
                      <a:pt x="146" y="114"/>
                    </a:lnTo>
                    <a:lnTo>
                      <a:pt x="146" y="116"/>
                    </a:lnTo>
                    <a:lnTo>
                      <a:pt x="148" y="120"/>
                    </a:lnTo>
                    <a:lnTo>
                      <a:pt x="148" y="124"/>
                    </a:lnTo>
                    <a:lnTo>
                      <a:pt x="148" y="128"/>
                    </a:lnTo>
                    <a:lnTo>
                      <a:pt x="152" y="128"/>
                    </a:lnTo>
                    <a:lnTo>
                      <a:pt x="152" y="132"/>
                    </a:lnTo>
                    <a:lnTo>
                      <a:pt x="152" y="128"/>
                    </a:lnTo>
                    <a:lnTo>
                      <a:pt x="152" y="124"/>
                    </a:lnTo>
                    <a:lnTo>
                      <a:pt x="152" y="120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56" y="120"/>
                    </a:lnTo>
                    <a:lnTo>
                      <a:pt x="156" y="116"/>
                    </a:lnTo>
                    <a:lnTo>
                      <a:pt x="152" y="116"/>
                    </a:lnTo>
                    <a:lnTo>
                      <a:pt x="152" y="114"/>
                    </a:lnTo>
                    <a:lnTo>
                      <a:pt x="148" y="114"/>
                    </a:lnTo>
                    <a:lnTo>
                      <a:pt x="152" y="114"/>
                    </a:lnTo>
                    <a:lnTo>
                      <a:pt x="152" y="110"/>
                    </a:lnTo>
                    <a:lnTo>
                      <a:pt x="152" y="106"/>
                    </a:lnTo>
                    <a:lnTo>
                      <a:pt x="156" y="106"/>
                    </a:lnTo>
                    <a:lnTo>
                      <a:pt x="156" y="110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0" y="110"/>
                    </a:lnTo>
                    <a:lnTo>
                      <a:pt x="164" y="110"/>
                    </a:lnTo>
                    <a:lnTo>
                      <a:pt x="168" y="110"/>
                    </a:lnTo>
                    <a:lnTo>
                      <a:pt x="172" y="110"/>
                    </a:lnTo>
                    <a:lnTo>
                      <a:pt x="168" y="110"/>
                    </a:lnTo>
                    <a:lnTo>
                      <a:pt x="164" y="110"/>
                    </a:lnTo>
                    <a:lnTo>
                      <a:pt x="164" y="106"/>
                    </a:lnTo>
                    <a:lnTo>
                      <a:pt x="168" y="106"/>
                    </a:lnTo>
                    <a:lnTo>
                      <a:pt x="168" y="102"/>
                    </a:lnTo>
                    <a:lnTo>
                      <a:pt x="168" y="98"/>
                    </a:lnTo>
                    <a:lnTo>
                      <a:pt x="168" y="102"/>
                    </a:lnTo>
                    <a:lnTo>
                      <a:pt x="164" y="102"/>
                    </a:lnTo>
                    <a:lnTo>
                      <a:pt x="164" y="98"/>
                    </a:lnTo>
                    <a:lnTo>
                      <a:pt x="164" y="94"/>
                    </a:lnTo>
                    <a:lnTo>
                      <a:pt x="168" y="94"/>
                    </a:lnTo>
                    <a:lnTo>
                      <a:pt x="168" y="90"/>
                    </a:lnTo>
                    <a:lnTo>
                      <a:pt x="172" y="90"/>
                    </a:lnTo>
                    <a:lnTo>
                      <a:pt x="172" y="94"/>
                    </a:lnTo>
                    <a:lnTo>
                      <a:pt x="174" y="94"/>
                    </a:lnTo>
                    <a:lnTo>
                      <a:pt x="174" y="90"/>
                    </a:lnTo>
                    <a:lnTo>
                      <a:pt x="172" y="90"/>
                    </a:lnTo>
                    <a:lnTo>
                      <a:pt x="174" y="86"/>
                    </a:lnTo>
                    <a:lnTo>
                      <a:pt x="172" y="86"/>
                    </a:lnTo>
                    <a:lnTo>
                      <a:pt x="172" y="90"/>
                    </a:lnTo>
                    <a:lnTo>
                      <a:pt x="172" y="86"/>
                    </a:lnTo>
                    <a:lnTo>
                      <a:pt x="174" y="86"/>
                    </a:lnTo>
                    <a:lnTo>
                      <a:pt x="178" y="86"/>
                    </a:lnTo>
                    <a:lnTo>
                      <a:pt x="174" y="86"/>
                    </a:lnTo>
                    <a:lnTo>
                      <a:pt x="174" y="84"/>
                    </a:lnTo>
                    <a:lnTo>
                      <a:pt x="174" y="80"/>
                    </a:lnTo>
                    <a:lnTo>
                      <a:pt x="178" y="76"/>
                    </a:lnTo>
                    <a:lnTo>
                      <a:pt x="178" y="80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2" y="72"/>
                    </a:lnTo>
                    <a:lnTo>
                      <a:pt x="182" y="76"/>
                    </a:lnTo>
                    <a:lnTo>
                      <a:pt x="182" y="80"/>
                    </a:lnTo>
                    <a:lnTo>
                      <a:pt x="182" y="76"/>
                    </a:lnTo>
                    <a:lnTo>
                      <a:pt x="186" y="76"/>
                    </a:lnTo>
                    <a:lnTo>
                      <a:pt x="182" y="80"/>
                    </a:lnTo>
                    <a:lnTo>
                      <a:pt x="186" y="80"/>
                    </a:lnTo>
                    <a:lnTo>
                      <a:pt x="186" y="76"/>
                    </a:lnTo>
                    <a:lnTo>
                      <a:pt x="190" y="72"/>
                    </a:lnTo>
                    <a:lnTo>
                      <a:pt x="186" y="68"/>
                    </a:lnTo>
                    <a:lnTo>
                      <a:pt x="190" y="68"/>
                    </a:lnTo>
                    <a:lnTo>
                      <a:pt x="190" y="72"/>
                    </a:lnTo>
                    <a:lnTo>
                      <a:pt x="190" y="68"/>
                    </a:lnTo>
                    <a:lnTo>
                      <a:pt x="194" y="68"/>
                    </a:lnTo>
                    <a:lnTo>
                      <a:pt x="194" y="72"/>
                    </a:lnTo>
                    <a:lnTo>
                      <a:pt x="198" y="72"/>
                    </a:lnTo>
                    <a:lnTo>
                      <a:pt x="198" y="68"/>
                    </a:lnTo>
                    <a:lnTo>
                      <a:pt x="198" y="64"/>
                    </a:lnTo>
                    <a:lnTo>
                      <a:pt x="202" y="64"/>
                    </a:lnTo>
                    <a:lnTo>
                      <a:pt x="202" y="68"/>
                    </a:lnTo>
                    <a:lnTo>
                      <a:pt x="204" y="68"/>
                    </a:lnTo>
                    <a:lnTo>
                      <a:pt x="204" y="64"/>
                    </a:lnTo>
                    <a:lnTo>
                      <a:pt x="204" y="68"/>
                    </a:lnTo>
                    <a:lnTo>
                      <a:pt x="208" y="68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6"/>
                    </a:lnTo>
                    <a:lnTo>
                      <a:pt x="216" y="90"/>
                    </a:lnTo>
                    <a:lnTo>
                      <a:pt x="216" y="94"/>
                    </a:lnTo>
                    <a:lnTo>
                      <a:pt x="216" y="90"/>
                    </a:lnTo>
                    <a:lnTo>
                      <a:pt x="220" y="90"/>
                    </a:lnTo>
                    <a:lnTo>
                      <a:pt x="220" y="86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0" y="86"/>
                    </a:lnTo>
                    <a:lnTo>
                      <a:pt x="220" y="84"/>
                    </a:lnTo>
                    <a:lnTo>
                      <a:pt x="224" y="84"/>
                    </a:lnTo>
                    <a:lnTo>
                      <a:pt x="224" y="80"/>
                    </a:lnTo>
                    <a:lnTo>
                      <a:pt x="224" y="84"/>
                    </a:lnTo>
                    <a:lnTo>
                      <a:pt x="228" y="84"/>
                    </a:lnTo>
                    <a:lnTo>
                      <a:pt x="230" y="84"/>
                    </a:lnTo>
                    <a:lnTo>
                      <a:pt x="230" y="86"/>
                    </a:lnTo>
                    <a:lnTo>
                      <a:pt x="234" y="86"/>
                    </a:lnTo>
                    <a:lnTo>
                      <a:pt x="230" y="86"/>
                    </a:lnTo>
                    <a:lnTo>
                      <a:pt x="230" y="84"/>
                    </a:lnTo>
                    <a:lnTo>
                      <a:pt x="234" y="84"/>
                    </a:lnTo>
                    <a:lnTo>
                      <a:pt x="238" y="86"/>
                    </a:lnTo>
                    <a:lnTo>
                      <a:pt x="238" y="90"/>
                    </a:lnTo>
                    <a:lnTo>
                      <a:pt x="238" y="86"/>
                    </a:lnTo>
                    <a:lnTo>
                      <a:pt x="238" y="84"/>
                    </a:lnTo>
                    <a:lnTo>
                      <a:pt x="242" y="84"/>
                    </a:lnTo>
                    <a:lnTo>
                      <a:pt x="238" y="84"/>
                    </a:lnTo>
                    <a:lnTo>
                      <a:pt x="238" y="80"/>
                    </a:lnTo>
                    <a:lnTo>
                      <a:pt x="238" y="76"/>
                    </a:lnTo>
                    <a:lnTo>
                      <a:pt x="238" y="80"/>
                    </a:lnTo>
                    <a:lnTo>
                      <a:pt x="234" y="76"/>
                    </a:lnTo>
                    <a:lnTo>
                      <a:pt x="234" y="72"/>
                    </a:lnTo>
                    <a:lnTo>
                      <a:pt x="238" y="68"/>
                    </a:lnTo>
                    <a:lnTo>
                      <a:pt x="242" y="64"/>
                    </a:lnTo>
                    <a:lnTo>
                      <a:pt x="242" y="60"/>
                    </a:lnTo>
                    <a:lnTo>
                      <a:pt x="242" y="58"/>
                    </a:lnTo>
                    <a:lnTo>
                      <a:pt x="242" y="60"/>
                    </a:lnTo>
                    <a:lnTo>
                      <a:pt x="246" y="58"/>
                    </a:lnTo>
                    <a:lnTo>
                      <a:pt x="246" y="54"/>
                    </a:lnTo>
                    <a:lnTo>
                      <a:pt x="246" y="50"/>
                    </a:lnTo>
                    <a:lnTo>
                      <a:pt x="250" y="50"/>
                    </a:lnTo>
                    <a:lnTo>
                      <a:pt x="250" y="46"/>
                    </a:lnTo>
                    <a:lnTo>
                      <a:pt x="250" y="42"/>
                    </a:lnTo>
                    <a:lnTo>
                      <a:pt x="250" y="46"/>
                    </a:lnTo>
                    <a:lnTo>
                      <a:pt x="254" y="46"/>
                    </a:lnTo>
                    <a:lnTo>
                      <a:pt x="254" y="42"/>
                    </a:lnTo>
                    <a:lnTo>
                      <a:pt x="254" y="38"/>
                    </a:lnTo>
                    <a:lnTo>
                      <a:pt x="254" y="42"/>
                    </a:lnTo>
                    <a:lnTo>
                      <a:pt x="258" y="46"/>
                    </a:lnTo>
                    <a:lnTo>
                      <a:pt x="258" y="42"/>
                    </a:lnTo>
                    <a:lnTo>
                      <a:pt x="254" y="42"/>
                    </a:lnTo>
                    <a:lnTo>
                      <a:pt x="258" y="38"/>
                    </a:lnTo>
                    <a:lnTo>
                      <a:pt x="258" y="34"/>
                    </a:lnTo>
                    <a:lnTo>
                      <a:pt x="260" y="34"/>
                    </a:lnTo>
                    <a:lnTo>
                      <a:pt x="260" y="38"/>
                    </a:lnTo>
                    <a:lnTo>
                      <a:pt x="264" y="38"/>
                    </a:lnTo>
                    <a:lnTo>
                      <a:pt x="268" y="38"/>
                    </a:lnTo>
                    <a:lnTo>
                      <a:pt x="272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76" y="38"/>
                    </a:lnTo>
                    <a:lnTo>
                      <a:pt x="280" y="38"/>
                    </a:lnTo>
                    <a:lnTo>
                      <a:pt x="280" y="34"/>
                    </a:lnTo>
                    <a:lnTo>
                      <a:pt x="284" y="34"/>
                    </a:lnTo>
                    <a:lnTo>
                      <a:pt x="280" y="34"/>
                    </a:lnTo>
                    <a:lnTo>
                      <a:pt x="280" y="30"/>
                    </a:lnTo>
                    <a:lnTo>
                      <a:pt x="280" y="28"/>
                    </a:lnTo>
                    <a:lnTo>
                      <a:pt x="284" y="28"/>
                    </a:lnTo>
                    <a:lnTo>
                      <a:pt x="280" y="28"/>
                    </a:lnTo>
                    <a:lnTo>
                      <a:pt x="280" y="24"/>
                    </a:lnTo>
                    <a:lnTo>
                      <a:pt x="276" y="24"/>
                    </a:lnTo>
                    <a:lnTo>
                      <a:pt x="272" y="24"/>
                    </a:lnTo>
                    <a:lnTo>
                      <a:pt x="268" y="20"/>
                    </a:lnTo>
                    <a:lnTo>
                      <a:pt x="268" y="24"/>
                    </a:lnTo>
                    <a:lnTo>
                      <a:pt x="268" y="20"/>
                    </a:lnTo>
                    <a:lnTo>
                      <a:pt x="272" y="20"/>
                    </a:lnTo>
                    <a:lnTo>
                      <a:pt x="276" y="24"/>
                    </a:lnTo>
                    <a:lnTo>
                      <a:pt x="276" y="20"/>
                    </a:lnTo>
                    <a:lnTo>
                      <a:pt x="272" y="20"/>
                    </a:lnTo>
                    <a:lnTo>
                      <a:pt x="276" y="20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4" y="24"/>
                    </a:lnTo>
                    <a:lnTo>
                      <a:pt x="286" y="24"/>
                    </a:lnTo>
                    <a:lnTo>
                      <a:pt x="286" y="28"/>
                    </a:lnTo>
                    <a:lnTo>
                      <a:pt x="290" y="28"/>
                    </a:lnTo>
                    <a:lnTo>
                      <a:pt x="290" y="30"/>
                    </a:lnTo>
                    <a:lnTo>
                      <a:pt x="294" y="30"/>
                    </a:lnTo>
                    <a:lnTo>
                      <a:pt x="298" y="30"/>
                    </a:lnTo>
                    <a:lnTo>
                      <a:pt x="298" y="28"/>
                    </a:lnTo>
                    <a:lnTo>
                      <a:pt x="298" y="30"/>
                    </a:lnTo>
                    <a:lnTo>
                      <a:pt x="302" y="30"/>
                    </a:lnTo>
                    <a:lnTo>
                      <a:pt x="302" y="34"/>
                    </a:lnTo>
                    <a:lnTo>
                      <a:pt x="306" y="34"/>
                    </a:lnTo>
                    <a:lnTo>
                      <a:pt x="310" y="34"/>
                    </a:lnTo>
                    <a:lnTo>
                      <a:pt x="314" y="34"/>
                    </a:lnTo>
                    <a:lnTo>
                      <a:pt x="314" y="38"/>
                    </a:lnTo>
                    <a:lnTo>
                      <a:pt x="316" y="38"/>
                    </a:lnTo>
                    <a:lnTo>
                      <a:pt x="316" y="34"/>
                    </a:lnTo>
                    <a:lnTo>
                      <a:pt x="320" y="34"/>
                    </a:lnTo>
                    <a:lnTo>
                      <a:pt x="324" y="34"/>
                    </a:lnTo>
                    <a:lnTo>
                      <a:pt x="320" y="34"/>
                    </a:lnTo>
                    <a:lnTo>
                      <a:pt x="324" y="30"/>
                    </a:lnTo>
                    <a:lnTo>
                      <a:pt x="328" y="30"/>
                    </a:lnTo>
                    <a:lnTo>
                      <a:pt x="324" y="34"/>
                    </a:lnTo>
                    <a:lnTo>
                      <a:pt x="324" y="38"/>
                    </a:lnTo>
                    <a:lnTo>
                      <a:pt x="328" y="34"/>
                    </a:lnTo>
                    <a:lnTo>
                      <a:pt x="328" y="38"/>
                    </a:lnTo>
                    <a:lnTo>
                      <a:pt x="328" y="42"/>
                    </a:lnTo>
                    <a:lnTo>
                      <a:pt x="332" y="42"/>
                    </a:lnTo>
                    <a:lnTo>
                      <a:pt x="332" y="38"/>
                    </a:lnTo>
                    <a:lnTo>
                      <a:pt x="332" y="34"/>
                    </a:lnTo>
                    <a:lnTo>
                      <a:pt x="336" y="30"/>
                    </a:lnTo>
                    <a:lnTo>
                      <a:pt x="336" y="34"/>
                    </a:lnTo>
                    <a:lnTo>
                      <a:pt x="336" y="38"/>
                    </a:lnTo>
                    <a:lnTo>
                      <a:pt x="340" y="38"/>
                    </a:lnTo>
                    <a:lnTo>
                      <a:pt x="340" y="34"/>
                    </a:lnTo>
                    <a:lnTo>
                      <a:pt x="340" y="38"/>
                    </a:lnTo>
                    <a:lnTo>
                      <a:pt x="342" y="38"/>
                    </a:lnTo>
                    <a:lnTo>
                      <a:pt x="340" y="42"/>
                    </a:lnTo>
                    <a:lnTo>
                      <a:pt x="340" y="46"/>
                    </a:lnTo>
                    <a:lnTo>
                      <a:pt x="336" y="46"/>
                    </a:lnTo>
                    <a:lnTo>
                      <a:pt x="336" y="50"/>
                    </a:lnTo>
                    <a:lnTo>
                      <a:pt x="336" y="54"/>
                    </a:lnTo>
                    <a:lnTo>
                      <a:pt x="332" y="54"/>
                    </a:lnTo>
                    <a:lnTo>
                      <a:pt x="328" y="54"/>
                    </a:lnTo>
                    <a:lnTo>
                      <a:pt x="328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8"/>
                    </a:lnTo>
                    <a:lnTo>
                      <a:pt x="328" y="72"/>
                    </a:lnTo>
                    <a:lnTo>
                      <a:pt x="324" y="72"/>
                    </a:lnTo>
                    <a:lnTo>
                      <a:pt x="324" y="76"/>
                    </a:lnTo>
                    <a:lnTo>
                      <a:pt x="320" y="76"/>
                    </a:lnTo>
                    <a:lnTo>
                      <a:pt x="320" y="80"/>
                    </a:lnTo>
                    <a:lnTo>
                      <a:pt x="320" y="84"/>
                    </a:lnTo>
                    <a:lnTo>
                      <a:pt x="320" y="86"/>
                    </a:lnTo>
                    <a:lnTo>
                      <a:pt x="324" y="86"/>
                    </a:lnTo>
                    <a:lnTo>
                      <a:pt x="328" y="86"/>
                    </a:lnTo>
                    <a:lnTo>
                      <a:pt x="328" y="90"/>
                    </a:lnTo>
                    <a:lnTo>
                      <a:pt x="332" y="90"/>
                    </a:lnTo>
                    <a:lnTo>
                      <a:pt x="332" y="94"/>
                    </a:lnTo>
                    <a:lnTo>
                      <a:pt x="336" y="98"/>
                    </a:lnTo>
                    <a:lnTo>
                      <a:pt x="340" y="98"/>
                    </a:lnTo>
                    <a:lnTo>
                      <a:pt x="340" y="102"/>
                    </a:lnTo>
                    <a:lnTo>
                      <a:pt x="342" y="102"/>
                    </a:lnTo>
                    <a:lnTo>
                      <a:pt x="346" y="106"/>
                    </a:lnTo>
                    <a:lnTo>
                      <a:pt x="350" y="106"/>
                    </a:lnTo>
                    <a:lnTo>
                      <a:pt x="354" y="106"/>
                    </a:lnTo>
                    <a:lnTo>
                      <a:pt x="354" y="110"/>
                    </a:lnTo>
                    <a:lnTo>
                      <a:pt x="354" y="114"/>
                    </a:lnTo>
                    <a:lnTo>
                      <a:pt x="358" y="114"/>
                    </a:lnTo>
                    <a:lnTo>
                      <a:pt x="358" y="116"/>
                    </a:lnTo>
                    <a:lnTo>
                      <a:pt x="362" y="116"/>
                    </a:lnTo>
                    <a:lnTo>
                      <a:pt x="366" y="116"/>
                    </a:lnTo>
                    <a:lnTo>
                      <a:pt x="370" y="116"/>
                    </a:lnTo>
                    <a:lnTo>
                      <a:pt x="372" y="116"/>
                    </a:lnTo>
                    <a:lnTo>
                      <a:pt x="372" y="120"/>
                    </a:lnTo>
                    <a:lnTo>
                      <a:pt x="372" y="124"/>
                    </a:lnTo>
                    <a:lnTo>
                      <a:pt x="372" y="128"/>
                    </a:lnTo>
                    <a:lnTo>
                      <a:pt x="376" y="128"/>
                    </a:lnTo>
                    <a:lnTo>
                      <a:pt x="380" y="128"/>
                    </a:lnTo>
                    <a:lnTo>
                      <a:pt x="380" y="132"/>
                    </a:lnTo>
                    <a:lnTo>
                      <a:pt x="384" y="132"/>
                    </a:lnTo>
                    <a:lnTo>
                      <a:pt x="388" y="132"/>
                    </a:lnTo>
                    <a:lnTo>
                      <a:pt x="392" y="132"/>
                    </a:lnTo>
                    <a:lnTo>
                      <a:pt x="396" y="132"/>
                    </a:lnTo>
                    <a:lnTo>
                      <a:pt x="396" y="128"/>
                    </a:lnTo>
                    <a:lnTo>
                      <a:pt x="400" y="128"/>
                    </a:lnTo>
                    <a:lnTo>
                      <a:pt x="400" y="124"/>
                    </a:lnTo>
                    <a:lnTo>
                      <a:pt x="400" y="120"/>
                    </a:lnTo>
                    <a:lnTo>
                      <a:pt x="400" y="116"/>
                    </a:lnTo>
                    <a:lnTo>
                      <a:pt x="402" y="116"/>
                    </a:lnTo>
                    <a:lnTo>
                      <a:pt x="402" y="114"/>
                    </a:lnTo>
                    <a:lnTo>
                      <a:pt x="402" y="110"/>
                    </a:lnTo>
                    <a:lnTo>
                      <a:pt x="402" y="106"/>
                    </a:lnTo>
                    <a:lnTo>
                      <a:pt x="406" y="106"/>
                    </a:lnTo>
                    <a:lnTo>
                      <a:pt x="406" y="102"/>
                    </a:lnTo>
                    <a:lnTo>
                      <a:pt x="406" y="98"/>
                    </a:lnTo>
                    <a:lnTo>
                      <a:pt x="406" y="94"/>
                    </a:lnTo>
                    <a:lnTo>
                      <a:pt x="406" y="90"/>
                    </a:lnTo>
                    <a:lnTo>
                      <a:pt x="406" y="86"/>
                    </a:lnTo>
                    <a:lnTo>
                      <a:pt x="410" y="86"/>
                    </a:lnTo>
                    <a:lnTo>
                      <a:pt x="406" y="84"/>
                    </a:lnTo>
                    <a:lnTo>
                      <a:pt x="406" y="76"/>
                    </a:lnTo>
                    <a:lnTo>
                      <a:pt x="406" y="72"/>
                    </a:lnTo>
                    <a:lnTo>
                      <a:pt x="406" y="68"/>
                    </a:lnTo>
                    <a:lnTo>
                      <a:pt x="406" y="64"/>
                    </a:lnTo>
                    <a:lnTo>
                      <a:pt x="406" y="60"/>
                    </a:lnTo>
                    <a:lnTo>
                      <a:pt x="406" y="58"/>
                    </a:lnTo>
                    <a:lnTo>
                      <a:pt x="410" y="58"/>
                    </a:lnTo>
                    <a:lnTo>
                      <a:pt x="410" y="54"/>
                    </a:lnTo>
                    <a:lnTo>
                      <a:pt x="406" y="54"/>
                    </a:lnTo>
                    <a:lnTo>
                      <a:pt x="406" y="50"/>
                    </a:lnTo>
                    <a:lnTo>
                      <a:pt x="410" y="50"/>
                    </a:lnTo>
                    <a:lnTo>
                      <a:pt x="410" y="46"/>
                    </a:lnTo>
                    <a:lnTo>
                      <a:pt x="410" y="50"/>
                    </a:lnTo>
                    <a:lnTo>
                      <a:pt x="414" y="50"/>
                    </a:lnTo>
                    <a:lnTo>
                      <a:pt x="410" y="46"/>
                    </a:lnTo>
                    <a:lnTo>
                      <a:pt x="410" y="42"/>
                    </a:lnTo>
                    <a:lnTo>
                      <a:pt x="406" y="42"/>
                    </a:lnTo>
                    <a:lnTo>
                      <a:pt x="410" y="42"/>
                    </a:lnTo>
                    <a:lnTo>
                      <a:pt x="410" y="38"/>
                    </a:lnTo>
                    <a:lnTo>
                      <a:pt x="410" y="34"/>
                    </a:lnTo>
                    <a:lnTo>
                      <a:pt x="414" y="34"/>
                    </a:lnTo>
                    <a:lnTo>
                      <a:pt x="414" y="30"/>
                    </a:lnTo>
                    <a:lnTo>
                      <a:pt x="414" y="28"/>
                    </a:lnTo>
                    <a:lnTo>
                      <a:pt x="414" y="24"/>
                    </a:lnTo>
                    <a:lnTo>
                      <a:pt x="414" y="20"/>
                    </a:lnTo>
                    <a:lnTo>
                      <a:pt x="414" y="16"/>
                    </a:lnTo>
                    <a:lnTo>
                      <a:pt x="418" y="16"/>
                    </a:lnTo>
                    <a:lnTo>
                      <a:pt x="418" y="12"/>
                    </a:lnTo>
                    <a:lnTo>
                      <a:pt x="422" y="12"/>
                    </a:lnTo>
                    <a:lnTo>
                      <a:pt x="422" y="16"/>
                    </a:lnTo>
                    <a:lnTo>
                      <a:pt x="422" y="12"/>
                    </a:lnTo>
                    <a:lnTo>
                      <a:pt x="426" y="16"/>
                    </a:lnTo>
                    <a:lnTo>
                      <a:pt x="426" y="20"/>
                    </a:lnTo>
                    <a:lnTo>
                      <a:pt x="426" y="24"/>
                    </a:lnTo>
                    <a:lnTo>
                      <a:pt x="426" y="28"/>
                    </a:lnTo>
                    <a:lnTo>
                      <a:pt x="426" y="30"/>
                    </a:lnTo>
                    <a:lnTo>
                      <a:pt x="428" y="30"/>
                    </a:lnTo>
                    <a:lnTo>
                      <a:pt x="428" y="34"/>
                    </a:lnTo>
                    <a:lnTo>
                      <a:pt x="428" y="38"/>
                    </a:lnTo>
                    <a:lnTo>
                      <a:pt x="432" y="38"/>
                    </a:lnTo>
                    <a:lnTo>
                      <a:pt x="432" y="42"/>
                    </a:lnTo>
                    <a:lnTo>
                      <a:pt x="432" y="46"/>
                    </a:lnTo>
                    <a:lnTo>
                      <a:pt x="432" y="50"/>
                    </a:lnTo>
                    <a:lnTo>
                      <a:pt x="436" y="50"/>
                    </a:lnTo>
                    <a:lnTo>
                      <a:pt x="436" y="54"/>
                    </a:lnTo>
                    <a:lnTo>
                      <a:pt x="436" y="58"/>
                    </a:lnTo>
                    <a:lnTo>
                      <a:pt x="436" y="60"/>
                    </a:lnTo>
                    <a:lnTo>
                      <a:pt x="436" y="64"/>
                    </a:lnTo>
                    <a:lnTo>
                      <a:pt x="436" y="68"/>
                    </a:lnTo>
                    <a:lnTo>
                      <a:pt x="436" y="72"/>
                    </a:lnTo>
                    <a:lnTo>
                      <a:pt x="440" y="76"/>
                    </a:lnTo>
                    <a:lnTo>
                      <a:pt x="444" y="76"/>
                    </a:lnTo>
                    <a:lnTo>
                      <a:pt x="448" y="72"/>
                    </a:lnTo>
                    <a:lnTo>
                      <a:pt x="452" y="72"/>
                    </a:lnTo>
                    <a:lnTo>
                      <a:pt x="452" y="76"/>
                    </a:lnTo>
                    <a:lnTo>
                      <a:pt x="452" y="80"/>
                    </a:lnTo>
                    <a:lnTo>
                      <a:pt x="454" y="80"/>
                    </a:lnTo>
                    <a:lnTo>
                      <a:pt x="454" y="84"/>
                    </a:lnTo>
                    <a:lnTo>
                      <a:pt x="458" y="84"/>
                    </a:lnTo>
                    <a:lnTo>
                      <a:pt x="458" y="86"/>
                    </a:lnTo>
                    <a:lnTo>
                      <a:pt x="458" y="90"/>
                    </a:lnTo>
                    <a:lnTo>
                      <a:pt x="458" y="94"/>
                    </a:lnTo>
                    <a:lnTo>
                      <a:pt x="462" y="98"/>
                    </a:lnTo>
                    <a:lnTo>
                      <a:pt x="462" y="102"/>
                    </a:lnTo>
                    <a:lnTo>
                      <a:pt x="462" y="106"/>
                    </a:lnTo>
                    <a:lnTo>
                      <a:pt x="462" y="110"/>
                    </a:lnTo>
                    <a:lnTo>
                      <a:pt x="462" y="114"/>
                    </a:lnTo>
                    <a:lnTo>
                      <a:pt x="466" y="116"/>
                    </a:lnTo>
                    <a:lnTo>
                      <a:pt x="466" y="120"/>
                    </a:lnTo>
                    <a:lnTo>
                      <a:pt x="466" y="116"/>
                    </a:lnTo>
                    <a:lnTo>
                      <a:pt x="470" y="116"/>
                    </a:lnTo>
                    <a:lnTo>
                      <a:pt x="470" y="120"/>
                    </a:lnTo>
                    <a:lnTo>
                      <a:pt x="470" y="124"/>
                    </a:lnTo>
                    <a:lnTo>
                      <a:pt x="470" y="128"/>
                    </a:lnTo>
                    <a:lnTo>
                      <a:pt x="470" y="132"/>
                    </a:lnTo>
                    <a:lnTo>
                      <a:pt x="470" y="136"/>
                    </a:lnTo>
                    <a:lnTo>
                      <a:pt x="470" y="140"/>
                    </a:lnTo>
                    <a:lnTo>
                      <a:pt x="470" y="142"/>
                    </a:lnTo>
                    <a:lnTo>
                      <a:pt x="472" y="146"/>
                    </a:lnTo>
                    <a:lnTo>
                      <a:pt x="472" y="150"/>
                    </a:lnTo>
                    <a:lnTo>
                      <a:pt x="472" y="154"/>
                    </a:lnTo>
                    <a:lnTo>
                      <a:pt x="476" y="154"/>
                    </a:lnTo>
                    <a:lnTo>
                      <a:pt x="476" y="158"/>
                    </a:lnTo>
                    <a:lnTo>
                      <a:pt x="480" y="158"/>
                    </a:lnTo>
                    <a:lnTo>
                      <a:pt x="480" y="162"/>
                    </a:lnTo>
                    <a:lnTo>
                      <a:pt x="484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88" y="162"/>
                    </a:lnTo>
                    <a:lnTo>
                      <a:pt x="492" y="162"/>
                    </a:lnTo>
                    <a:lnTo>
                      <a:pt x="492" y="166"/>
                    </a:lnTo>
                    <a:lnTo>
                      <a:pt x="492" y="170"/>
                    </a:lnTo>
                    <a:lnTo>
                      <a:pt x="496" y="170"/>
                    </a:lnTo>
                    <a:lnTo>
                      <a:pt x="496" y="172"/>
                    </a:lnTo>
                    <a:lnTo>
                      <a:pt x="498" y="172"/>
                    </a:lnTo>
                    <a:lnTo>
                      <a:pt x="502" y="172"/>
                    </a:lnTo>
                    <a:lnTo>
                      <a:pt x="502" y="176"/>
                    </a:lnTo>
                    <a:lnTo>
                      <a:pt x="502" y="172"/>
                    </a:lnTo>
                    <a:lnTo>
                      <a:pt x="506" y="172"/>
                    </a:lnTo>
                    <a:lnTo>
                      <a:pt x="506" y="176"/>
                    </a:lnTo>
                    <a:lnTo>
                      <a:pt x="510" y="176"/>
                    </a:lnTo>
                    <a:lnTo>
                      <a:pt x="510" y="180"/>
                    </a:lnTo>
                    <a:lnTo>
                      <a:pt x="510" y="184"/>
                    </a:lnTo>
                    <a:lnTo>
                      <a:pt x="510" y="180"/>
                    </a:lnTo>
                    <a:lnTo>
                      <a:pt x="506" y="180"/>
                    </a:lnTo>
                    <a:lnTo>
                      <a:pt x="506" y="184"/>
                    </a:lnTo>
                    <a:lnTo>
                      <a:pt x="510" y="188"/>
                    </a:lnTo>
                    <a:lnTo>
                      <a:pt x="514" y="188"/>
                    </a:lnTo>
                    <a:lnTo>
                      <a:pt x="514" y="192"/>
                    </a:lnTo>
                    <a:lnTo>
                      <a:pt x="514" y="196"/>
                    </a:lnTo>
                    <a:lnTo>
                      <a:pt x="518" y="196"/>
                    </a:lnTo>
                    <a:lnTo>
                      <a:pt x="518" y="200"/>
                    </a:lnTo>
                    <a:lnTo>
                      <a:pt x="518" y="202"/>
                    </a:lnTo>
                    <a:lnTo>
                      <a:pt x="518" y="206"/>
                    </a:lnTo>
                    <a:lnTo>
                      <a:pt x="518" y="210"/>
                    </a:lnTo>
                    <a:lnTo>
                      <a:pt x="522" y="214"/>
                    </a:lnTo>
                    <a:lnTo>
                      <a:pt x="522" y="218"/>
                    </a:lnTo>
                    <a:lnTo>
                      <a:pt x="526" y="214"/>
                    </a:lnTo>
                    <a:lnTo>
                      <a:pt x="526" y="218"/>
                    </a:lnTo>
                    <a:lnTo>
                      <a:pt x="526" y="222"/>
                    </a:lnTo>
                    <a:lnTo>
                      <a:pt x="526" y="218"/>
                    </a:lnTo>
                    <a:lnTo>
                      <a:pt x="526" y="214"/>
                    </a:lnTo>
                    <a:lnTo>
                      <a:pt x="526" y="210"/>
                    </a:lnTo>
                    <a:lnTo>
                      <a:pt x="528" y="210"/>
                    </a:lnTo>
                    <a:lnTo>
                      <a:pt x="528" y="214"/>
                    </a:lnTo>
                    <a:lnTo>
                      <a:pt x="528" y="218"/>
                    </a:lnTo>
                    <a:lnTo>
                      <a:pt x="532" y="218"/>
                    </a:lnTo>
                    <a:lnTo>
                      <a:pt x="532" y="214"/>
                    </a:lnTo>
                    <a:lnTo>
                      <a:pt x="536" y="214"/>
                    </a:lnTo>
                    <a:lnTo>
                      <a:pt x="536" y="218"/>
                    </a:lnTo>
                    <a:lnTo>
                      <a:pt x="536" y="222"/>
                    </a:lnTo>
                    <a:lnTo>
                      <a:pt x="536" y="226"/>
                    </a:lnTo>
                    <a:lnTo>
                      <a:pt x="536" y="228"/>
                    </a:lnTo>
                    <a:lnTo>
                      <a:pt x="536" y="232"/>
                    </a:lnTo>
                    <a:lnTo>
                      <a:pt x="540" y="236"/>
                    </a:lnTo>
                    <a:lnTo>
                      <a:pt x="544" y="240"/>
                    </a:lnTo>
                    <a:lnTo>
                      <a:pt x="548" y="244"/>
                    </a:lnTo>
                    <a:lnTo>
                      <a:pt x="548" y="244"/>
                    </a:lnTo>
                    <a:lnTo>
                      <a:pt x="548" y="244"/>
                    </a:lnTo>
                    <a:close/>
                    <a:moveTo>
                      <a:pt x="168" y="94"/>
                    </a:moveTo>
                    <a:lnTo>
                      <a:pt x="164" y="90"/>
                    </a:lnTo>
                    <a:lnTo>
                      <a:pt x="168" y="90"/>
                    </a:lnTo>
                    <a:lnTo>
                      <a:pt x="168" y="94"/>
                    </a:lnTo>
                    <a:lnTo>
                      <a:pt x="168" y="94"/>
                    </a:lnTo>
                    <a:lnTo>
                      <a:pt x="168" y="94"/>
                    </a:lnTo>
                    <a:close/>
                    <a:moveTo>
                      <a:pt x="570" y="278"/>
                    </a:moveTo>
                    <a:lnTo>
                      <a:pt x="570" y="274"/>
                    </a:lnTo>
                    <a:lnTo>
                      <a:pt x="566" y="274"/>
                    </a:lnTo>
                    <a:lnTo>
                      <a:pt x="570" y="270"/>
                    </a:lnTo>
                    <a:lnTo>
                      <a:pt x="570" y="266"/>
                    </a:lnTo>
                    <a:lnTo>
                      <a:pt x="570" y="262"/>
                    </a:lnTo>
                    <a:lnTo>
                      <a:pt x="574" y="262"/>
                    </a:lnTo>
                    <a:lnTo>
                      <a:pt x="574" y="258"/>
                    </a:lnTo>
                    <a:lnTo>
                      <a:pt x="570" y="258"/>
                    </a:lnTo>
                    <a:lnTo>
                      <a:pt x="574" y="258"/>
                    </a:lnTo>
                    <a:lnTo>
                      <a:pt x="574" y="256"/>
                    </a:lnTo>
                    <a:lnTo>
                      <a:pt x="574" y="258"/>
                    </a:lnTo>
                    <a:lnTo>
                      <a:pt x="574" y="262"/>
                    </a:lnTo>
                    <a:lnTo>
                      <a:pt x="574" y="266"/>
                    </a:lnTo>
                    <a:lnTo>
                      <a:pt x="570" y="270"/>
                    </a:lnTo>
                    <a:lnTo>
                      <a:pt x="570" y="274"/>
                    </a:lnTo>
                    <a:lnTo>
                      <a:pt x="570" y="278"/>
                    </a:lnTo>
                    <a:lnTo>
                      <a:pt x="570" y="278"/>
                    </a:lnTo>
                    <a:lnTo>
                      <a:pt x="570" y="278"/>
                    </a:lnTo>
                    <a:close/>
                    <a:moveTo>
                      <a:pt x="498" y="546"/>
                    </a:moveTo>
                    <a:lnTo>
                      <a:pt x="498" y="542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8" y="534"/>
                    </a:lnTo>
                    <a:lnTo>
                      <a:pt x="498" y="538"/>
                    </a:lnTo>
                    <a:lnTo>
                      <a:pt x="502" y="538"/>
                    </a:lnTo>
                    <a:lnTo>
                      <a:pt x="502" y="542"/>
                    </a:lnTo>
                    <a:lnTo>
                      <a:pt x="502" y="546"/>
                    </a:lnTo>
                    <a:lnTo>
                      <a:pt x="498" y="546"/>
                    </a:lnTo>
                    <a:lnTo>
                      <a:pt x="498" y="546"/>
                    </a:lnTo>
                    <a:lnTo>
                      <a:pt x="498" y="546"/>
                    </a:lnTo>
                    <a:close/>
                    <a:moveTo>
                      <a:pt x="498" y="594"/>
                    </a:moveTo>
                    <a:lnTo>
                      <a:pt x="498" y="590"/>
                    </a:lnTo>
                    <a:lnTo>
                      <a:pt x="498" y="594"/>
                    </a:lnTo>
                    <a:lnTo>
                      <a:pt x="498" y="594"/>
                    </a:lnTo>
                    <a:lnTo>
                      <a:pt x="498" y="594"/>
                    </a:lnTo>
                    <a:close/>
                    <a:moveTo>
                      <a:pt x="376" y="124"/>
                    </a:moveTo>
                    <a:lnTo>
                      <a:pt x="376" y="120"/>
                    </a:lnTo>
                    <a:lnTo>
                      <a:pt x="380" y="120"/>
                    </a:lnTo>
                    <a:lnTo>
                      <a:pt x="376" y="120"/>
                    </a:lnTo>
                    <a:lnTo>
                      <a:pt x="376" y="124"/>
                    </a:lnTo>
                    <a:lnTo>
                      <a:pt x="376" y="124"/>
                    </a:lnTo>
                    <a:lnTo>
                      <a:pt x="376" y="124"/>
                    </a:lnTo>
                    <a:close/>
                    <a:moveTo>
                      <a:pt x="472" y="146"/>
                    </a:moveTo>
                    <a:lnTo>
                      <a:pt x="472" y="142"/>
                    </a:lnTo>
                    <a:lnTo>
                      <a:pt x="470" y="142"/>
                    </a:lnTo>
                    <a:lnTo>
                      <a:pt x="472" y="142"/>
                    </a:lnTo>
                    <a:lnTo>
                      <a:pt x="472" y="146"/>
                    </a:lnTo>
                    <a:lnTo>
                      <a:pt x="472" y="146"/>
                    </a:lnTo>
                    <a:lnTo>
                      <a:pt x="472" y="146"/>
                    </a:lnTo>
                    <a:close/>
                    <a:moveTo>
                      <a:pt x="38" y="188"/>
                    </a:moveTo>
                    <a:lnTo>
                      <a:pt x="38" y="184"/>
                    </a:lnTo>
                    <a:lnTo>
                      <a:pt x="38" y="188"/>
                    </a:lnTo>
                    <a:lnTo>
                      <a:pt x="38" y="188"/>
                    </a:lnTo>
                    <a:lnTo>
                      <a:pt x="38" y="188"/>
                    </a:lnTo>
                    <a:close/>
                    <a:moveTo>
                      <a:pt x="652" y="840"/>
                    </a:moveTo>
                    <a:lnTo>
                      <a:pt x="652" y="836"/>
                    </a:lnTo>
                    <a:lnTo>
                      <a:pt x="652" y="840"/>
                    </a:lnTo>
                    <a:lnTo>
                      <a:pt x="652" y="840"/>
                    </a:lnTo>
                    <a:lnTo>
                      <a:pt x="652" y="840"/>
                    </a:lnTo>
                    <a:close/>
                    <a:moveTo>
                      <a:pt x="418" y="4"/>
                    </a:moveTo>
                    <a:lnTo>
                      <a:pt x="418" y="0"/>
                    </a:lnTo>
                    <a:lnTo>
                      <a:pt x="418" y="4"/>
                    </a:lnTo>
                    <a:lnTo>
                      <a:pt x="418" y="4"/>
                    </a:lnTo>
                    <a:lnTo>
                      <a:pt x="418" y="4"/>
                    </a:lnTo>
                    <a:close/>
                    <a:moveTo>
                      <a:pt x="418" y="12"/>
                    </a:moveTo>
                    <a:lnTo>
                      <a:pt x="414" y="12"/>
                    </a:lnTo>
                    <a:lnTo>
                      <a:pt x="414" y="8"/>
                    </a:lnTo>
                    <a:lnTo>
                      <a:pt x="418" y="8"/>
                    </a:lnTo>
                    <a:lnTo>
                      <a:pt x="418" y="12"/>
                    </a:lnTo>
                    <a:lnTo>
                      <a:pt x="418" y="12"/>
                    </a:lnTo>
                    <a:lnTo>
                      <a:pt x="418" y="12"/>
                    </a:lnTo>
                    <a:close/>
                    <a:moveTo>
                      <a:pt x="336" y="24"/>
                    </a:moveTo>
                    <a:lnTo>
                      <a:pt x="340" y="20"/>
                    </a:lnTo>
                    <a:lnTo>
                      <a:pt x="340" y="16"/>
                    </a:lnTo>
                    <a:lnTo>
                      <a:pt x="340" y="20"/>
                    </a:lnTo>
                    <a:lnTo>
                      <a:pt x="336" y="24"/>
                    </a:lnTo>
                    <a:lnTo>
                      <a:pt x="336" y="24"/>
                    </a:lnTo>
                    <a:lnTo>
                      <a:pt x="336" y="24"/>
                    </a:lnTo>
                    <a:close/>
                    <a:moveTo>
                      <a:pt x="280" y="24"/>
                    </a:moveTo>
                    <a:lnTo>
                      <a:pt x="280" y="20"/>
                    </a:lnTo>
                    <a:lnTo>
                      <a:pt x="280" y="16"/>
                    </a:lnTo>
                    <a:lnTo>
                      <a:pt x="280" y="20"/>
                    </a:lnTo>
                    <a:lnTo>
                      <a:pt x="280" y="24"/>
                    </a:lnTo>
                    <a:lnTo>
                      <a:pt x="280" y="24"/>
                    </a:lnTo>
                    <a:lnTo>
                      <a:pt x="280" y="24"/>
                    </a:lnTo>
                    <a:close/>
                    <a:moveTo>
                      <a:pt x="258" y="30"/>
                    </a:moveTo>
                    <a:lnTo>
                      <a:pt x="254" y="30"/>
                    </a:lnTo>
                    <a:lnTo>
                      <a:pt x="250" y="28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8" y="20"/>
                    </a:lnTo>
                    <a:lnTo>
                      <a:pt x="260" y="20"/>
                    </a:lnTo>
                    <a:lnTo>
                      <a:pt x="260" y="24"/>
                    </a:lnTo>
                    <a:lnTo>
                      <a:pt x="260" y="20"/>
                    </a:lnTo>
                    <a:lnTo>
                      <a:pt x="264" y="20"/>
                    </a:lnTo>
                    <a:lnTo>
                      <a:pt x="264" y="24"/>
                    </a:lnTo>
                    <a:lnTo>
                      <a:pt x="264" y="28"/>
                    </a:lnTo>
                    <a:lnTo>
                      <a:pt x="260" y="28"/>
                    </a:lnTo>
                    <a:lnTo>
                      <a:pt x="260" y="30"/>
                    </a:lnTo>
                    <a:lnTo>
                      <a:pt x="258" y="30"/>
                    </a:lnTo>
                    <a:lnTo>
                      <a:pt x="258" y="30"/>
                    </a:lnTo>
                    <a:lnTo>
                      <a:pt x="258" y="30"/>
                    </a:lnTo>
                    <a:close/>
                    <a:moveTo>
                      <a:pt x="250" y="30"/>
                    </a:moveTo>
                    <a:lnTo>
                      <a:pt x="246" y="30"/>
                    </a:lnTo>
                    <a:lnTo>
                      <a:pt x="242" y="30"/>
                    </a:lnTo>
                    <a:lnTo>
                      <a:pt x="246" y="28"/>
                    </a:lnTo>
                    <a:lnTo>
                      <a:pt x="246" y="24"/>
                    </a:lnTo>
                    <a:lnTo>
                      <a:pt x="250" y="24"/>
                    </a:lnTo>
                    <a:lnTo>
                      <a:pt x="250" y="28"/>
                    </a:lnTo>
                    <a:lnTo>
                      <a:pt x="254" y="28"/>
                    </a:lnTo>
                    <a:lnTo>
                      <a:pt x="254" y="30"/>
                    </a:lnTo>
                    <a:lnTo>
                      <a:pt x="250" y="30"/>
                    </a:lnTo>
                    <a:lnTo>
                      <a:pt x="250" y="30"/>
                    </a:lnTo>
                    <a:lnTo>
                      <a:pt x="250" y="30"/>
                    </a:lnTo>
                    <a:close/>
                    <a:moveTo>
                      <a:pt x="332" y="28"/>
                    </a:moveTo>
                    <a:lnTo>
                      <a:pt x="336" y="24"/>
                    </a:lnTo>
                    <a:lnTo>
                      <a:pt x="336" y="28"/>
                    </a:lnTo>
                    <a:lnTo>
                      <a:pt x="332" y="28"/>
                    </a:lnTo>
                    <a:lnTo>
                      <a:pt x="332" y="28"/>
                    </a:lnTo>
                    <a:lnTo>
                      <a:pt x="332" y="28"/>
                    </a:lnTo>
                    <a:close/>
                    <a:moveTo>
                      <a:pt x="342" y="72"/>
                    </a:moveTo>
                    <a:lnTo>
                      <a:pt x="340" y="72"/>
                    </a:lnTo>
                    <a:lnTo>
                      <a:pt x="336" y="72"/>
                    </a:lnTo>
                    <a:lnTo>
                      <a:pt x="336" y="68"/>
                    </a:lnTo>
                    <a:lnTo>
                      <a:pt x="336" y="64"/>
                    </a:lnTo>
                    <a:lnTo>
                      <a:pt x="340" y="60"/>
                    </a:lnTo>
                    <a:lnTo>
                      <a:pt x="340" y="64"/>
                    </a:lnTo>
                    <a:lnTo>
                      <a:pt x="342" y="64"/>
                    </a:lnTo>
                    <a:lnTo>
                      <a:pt x="340" y="64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2" y="72"/>
                    </a:lnTo>
                    <a:lnTo>
                      <a:pt x="342" y="72"/>
                    </a:lnTo>
                    <a:lnTo>
                      <a:pt x="342" y="72"/>
                    </a:lnTo>
                    <a:close/>
                    <a:moveTo>
                      <a:pt x="332" y="64"/>
                    </a:moveTo>
                    <a:lnTo>
                      <a:pt x="332" y="60"/>
                    </a:lnTo>
                    <a:lnTo>
                      <a:pt x="332" y="64"/>
                    </a:lnTo>
                    <a:lnTo>
                      <a:pt x="332" y="64"/>
                    </a:lnTo>
                    <a:lnTo>
                      <a:pt x="332" y="64"/>
                    </a:lnTo>
                    <a:close/>
                    <a:moveTo>
                      <a:pt x="174" y="80"/>
                    </a:moveTo>
                    <a:lnTo>
                      <a:pt x="174" y="76"/>
                    </a:lnTo>
                    <a:lnTo>
                      <a:pt x="174" y="80"/>
                    </a:lnTo>
                    <a:lnTo>
                      <a:pt x="174" y="80"/>
                    </a:lnTo>
                    <a:lnTo>
                      <a:pt x="174" y="80"/>
                    </a:lnTo>
                    <a:close/>
                    <a:moveTo>
                      <a:pt x="336" y="98"/>
                    </a:moveTo>
                    <a:lnTo>
                      <a:pt x="336" y="94"/>
                    </a:lnTo>
                    <a:lnTo>
                      <a:pt x="336" y="98"/>
                    </a:lnTo>
                    <a:lnTo>
                      <a:pt x="336" y="98"/>
                    </a:lnTo>
                    <a:lnTo>
                      <a:pt x="336" y="98"/>
                    </a:lnTo>
                    <a:close/>
                    <a:moveTo>
                      <a:pt x="342" y="98"/>
                    </a:moveTo>
                    <a:lnTo>
                      <a:pt x="342" y="94"/>
                    </a:lnTo>
                    <a:lnTo>
                      <a:pt x="342" y="98"/>
                    </a:lnTo>
                    <a:lnTo>
                      <a:pt x="342" y="98"/>
                    </a:lnTo>
                    <a:lnTo>
                      <a:pt x="342" y="98"/>
                    </a:lnTo>
                    <a:close/>
                    <a:moveTo>
                      <a:pt x="372" y="116"/>
                    </a:moveTo>
                    <a:lnTo>
                      <a:pt x="372" y="114"/>
                    </a:lnTo>
                    <a:lnTo>
                      <a:pt x="376" y="114"/>
                    </a:lnTo>
                    <a:lnTo>
                      <a:pt x="376" y="110"/>
                    </a:lnTo>
                    <a:lnTo>
                      <a:pt x="380" y="110"/>
                    </a:lnTo>
                    <a:lnTo>
                      <a:pt x="380" y="114"/>
                    </a:lnTo>
                    <a:lnTo>
                      <a:pt x="376" y="114"/>
                    </a:lnTo>
                    <a:lnTo>
                      <a:pt x="376" y="116"/>
                    </a:lnTo>
                    <a:lnTo>
                      <a:pt x="372" y="116"/>
                    </a:lnTo>
                    <a:lnTo>
                      <a:pt x="372" y="116"/>
                    </a:lnTo>
                    <a:lnTo>
                      <a:pt x="372" y="116"/>
                    </a:lnTo>
                    <a:close/>
                    <a:moveTo>
                      <a:pt x="544" y="240"/>
                    </a:moveTo>
                    <a:lnTo>
                      <a:pt x="544" y="236"/>
                    </a:lnTo>
                    <a:lnTo>
                      <a:pt x="540" y="236"/>
                    </a:lnTo>
                    <a:lnTo>
                      <a:pt x="540" y="232"/>
                    </a:lnTo>
                    <a:lnTo>
                      <a:pt x="544" y="236"/>
                    </a:lnTo>
                    <a:lnTo>
                      <a:pt x="544" y="240"/>
                    </a:lnTo>
                    <a:lnTo>
                      <a:pt x="544" y="240"/>
                    </a:lnTo>
                    <a:lnTo>
                      <a:pt x="544" y="240"/>
                    </a:lnTo>
                    <a:close/>
                    <a:moveTo>
                      <a:pt x="8" y="282"/>
                    </a:moveTo>
                    <a:lnTo>
                      <a:pt x="4" y="282"/>
                    </a:lnTo>
                    <a:lnTo>
                      <a:pt x="4" y="278"/>
                    </a:lnTo>
                    <a:lnTo>
                      <a:pt x="0" y="274"/>
                    </a:lnTo>
                    <a:lnTo>
                      <a:pt x="0" y="270"/>
                    </a:lnTo>
                    <a:lnTo>
                      <a:pt x="4" y="270"/>
                    </a:lnTo>
                    <a:lnTo>
                      <a:pt x="4" y="274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2"/>
                    </a:lnTo>
                    <a:lnTo>
                      <a:pt x="8" y="282"/>
                    </a:lnTo>
                    <a:close/>
                    <a:moveTo>
                      <a:pt x="574" y="302"/>
                    </a:moveTo>
                    <a:lnTo>
                      <a:pt x="574" y="300"/>
                    </a:lnTo>
                    <a:lnTo>
                      <a:pt x="574" y="302"/>
                    </a:lnTo>
                    <a:lnTo>
                      <a:pt x="574" y="302"/>
                    </a:lnTo>
                    <a:lnTo>
                      <a:pt x="574" y="302"/>
                    </a:lnTo>
                    <a:close/>
                    <a:moveTo>
                      <a:pt x="574" y="310"/>
                    </a:moveTo>
                    <a:lnTo>
                      <a:pt x="574" y="306"/>
                    </a:lnTo>
                    <a:lnTo>
                      <a:pt x="574" y="302"/>
                    </a:lnTo>
                    <a:lnTo>
                      <a:pt x="578" y="306"/>
                    </a:lnTo>
                    <a:lnTo>
                      <a:pt x="574" y="306"/>
                    </a:lnTo>
                    <a:lnTo>
                      <a:pt x="574" y="310"/>
                    </a:lnTo>
                    <a:lnTo>
                      <a:pt x="574" y="310"/>
                    </a:lnTo>
                    <a:lnTo>
                      <a:pt x="574" y="310"/>
                    </a:lnTo>
                    <a:close/>
                    <a:moveTo>
                      <a:pt x="354" y="460"/>
                    </a:moveTo>
                    <a:lnTo>
                      <a:pt x="358" y="460"/>
                    </a:lnTo>
                    <a:lnTo>
                      <a:pt x="358" y="464"/>
                    </a:lnTo>
                    <a:lnTo>
                      <a:pt x="354" y="460"/>
                    </a:lnTo>
                    <a:lnTo>
                      <a:pt x="350" y="464"/>
                    </a:lnTo>
                    <a:lnTo>
                      <a:pt x="346" y="464"/>
                    </a:lnTo>
                    <a:lnTo>
                      <a:pt x="342" y="464"/>
                    </a:lnTo>
                    <a:lnTo>
                      <a:pt x="340" y="464"/>
                    </a:lnTo>
                    <a:lnTo>
                      <a:pt x="336" y="464"/>
                    </a:lnTo>
                    <a:lnTo>
                      <a:pt x="336" y="460"/>
                    </a:lnTo>
                    <a:lnTo>
                      <a:pt x="342" y="456"/>
                    </a:lnTo>
                    <a:lnTo>
                      <a:pt x="346" y="456"/>
                    </a:lnTo>
                    <a:lnTo>
                      <a:pt x="350" y="456"/>
                    </a:lnTo>
                    <a:lnTo>
                      <a:pt x="350" y="460"/>
                    </a:lnTo>
                    <a:lnTo>
                      <a:pt x="354" y="460"/>
                    </a:lnTo>
                    <a:lnTo>
                      <a:pt x="354" y="460"/>
                    </a:lnTo>
                    <a:lnTo>
                      <a:pt x="354" y="460"/>
                    </a:lnTo>
                    <a:close/>
                    <a:moveTo>
                      <a:pt x="462" y="508"/>
                    </a:moveTo>
                    <a:lnTo>
                      <a:pt x="458" y="508"/>
                    </a:lnTo>
                    <a:lnTo>
                      <a:pt x="462" y="508"/>
                    </a:lnTo>
                    <a:lnTo>
                      <a:pt x="462" y="508"/>
                    </a:lnTo>
                    <a:lnTo>
                      <a:pt x="462" y="508"/>
                    </a:lnTo>
                    <a:close/>
                    <a:moveTo>
                      <a:pt x="462" y="512"/>
                    </a:moveTo>
                    <a:lnTo>
                      <a:pt x="458" y="512"/>
                    </a:lnTo>
                    <a:lnTo>
                      <a:pt x="462" y="512"/>
                    </a:lnTo>
                    <a:lnTo>
                      <a:pt x="462" y="512"/>
                    </a:lnTo>
                    <a:lnTo>
                      <a:pt x="462" y="512"/>
                    </a:lnTo>
                    <a:close/>
                    <a:moveTo>
                      <a:pt x="440" y="542"/>
                    </a:moveTo>
                    <a:lnTo>
                      <a:pt x="440" y="538"/>
                    </a:lnTo>
                    <a:lnTo>
                      <a:pt x="440" y="534"/>
                    </a:lnTo>
                    <a:lnTo>
                      <a:pt x="440" y="530"/>
                    </a:lnTo>
                    <a:lnTo>
                      <a:pt x="444" y="534"/>
                    </a:lnTo>
                    <a:lnTo>
                      <a:pt x="444" y="538"/>
                    </a:lnTo>
                    <a:lnTo>
                      <a:pt x="444" y="542"/>
                    </a:lnTo>
                    <a:lnTo>
                      <a:pt x="440" y="542"/>
                    </a:lnTo>
                    <a:lnTo>
                      <a:pt x="440" y="542"/>
                    </a:lnTo>
                    <a:lnTo>
                      <a:pt x="440" y="542"/>
                    </a:lnTo>
                    <a:close/>
                    <a:moveTo>
                      <a:pt x="502" y="550"/>
                    </a:moveTo>
                    <a:lnTo>
                      <a:pt x="498" y="550"/>
                    </a:lnTo>
                    <a:lnTo>
                      <a:pt x="498" y="546"/>
                    </a:lnTo>
                    <a:lnTo>
                      <a:pt x="502" y="546"/>
                    </a:lnTo>
                    <a:lnTo>
                      <a:pt x="502" y="550"/>
                    </a:lnTo>
                    <a:lnTo>
                      <a:pt x="502" y="550"/>
                    </a:lnTo>
                    <a:lnTo>
                      <a:pt x="502" y="550"/>
                    </a:lnTo>
                    <a:close/>
                    <a:moveTo>
                      <a:pt x="484" y="612"/>
                    </a:moveTo>
                    <a:lnTo>
                      <a:pt x="480" y="612"/>
                    </a:lnTo>
                    <a:lnTo>
                      <a:pt x="480" y="610"/>
                    </a:lnTo>
                    <a:lnTo>
                      <a:pt x="476" y="610"/>
                    </a:lnTo>
                    <a:lnTo>
                      <a:pt x="472" y="610"/>
                    </a:lnTo>
                    <a:lnTo>
                      <a:pt x="470" y="610"/>
                    </a:lnTo>
                    <a:lnTo>
                      <a:pt x="470" y="606"/>
                    </a:lnTo>
                    <a:lnTo>
                      <a:pt x="472" y="606"/>
                    </a:lnTo>
                    <a:lnTo>
                      <a:pt x="470" y="606"/>
                    </a:lnTo>
                    <a:lnTo>
                      <a:pt x="466" y="606"/>
                    </a:lnTo>
                    <a:lnTo>
                      <a:pt x="466" y="602"/>
                    </a:lnTo>
                    <a:lnTo>
                      <a:pt x="466" y="598"/>
                    </a:lnTo>
                    <a:lnTo>
                      <a:pt x="462" y="598"/>
                    </a:lnTo>
                    <a:lnTo>
                      <a:pt x="462" y="594"/>
                    </a:lnTo>
                    <a:lnTo>
                      <a:pt x="462" y="590"/>
                    </a:lnTo>
                    <a:lnTo>
                      <a:pt x="458" y="590"/>
                    </a:lnTo>
                    <a:lnTo>
                      <a:pt x="458" y="586"/>
                    </a:lnTo>
                    <a:lnTo>
                      <a:pt x="458" y="584"/>
                    </a:lnTo>
                    <a:lnTo>
                      <a:pt x="458" y="586"/>
                    </a:lnTo>
                    <a:lnTo>
                      <a:pt x="462" y="586"/>
                    </a:lnTo>
                    <a:lnTo>
                      <a:pt x="462" y="590"/>
                    </a:lnTo>
                    <a:lnTo>
                      <a:pt x="462" y="586"/>
                    </a:lnTo>
                    <a:lnTo>
                      <a:pt x="458" y="584"/>
                    </a:lnTo>
                    <a:lnTo>
                      <a:pt x="458" y="580"/>
                    </a:lnTo>
                    <a:lnTo>
                      <a:pt x="454" y="576"/>
                    </a:lnTo>
                    <a:lnTo>
                      <a:pt x="454" y="572"/>
                    </a:lnTo>
                    <a:lnTo>
                      <a:pt x="452" y="568"/>
                    </a:lnTo>
                    <a:lnTo>
                      <a:pt x="452" y="564"/>
                    </a:lnTo>
                    <a:lnTo>
                      <a:pt x="452" y="560"/>
                    </a:lnTo>
                    <a:lnTo>
                      <a:pt x="452" y="556"/>
                    </a:lnTo>
                    <a:lnTo>
                      <a:pt x="452" y="554"/>
                    </a:lnTo>
                    <a:lnTo>
                      <a:pt x="454" y="554"/>
                    </a:lnTo>
                    <a:lnTo>
                      <a:pt x="454" y="556"/>
                    </a:lnTo>
                    <a:lnTo>
                      <a:pt x="458" y="556"/>
                    </a:lnTo>
                    <a:lnTo>
                      <a:pt x="462" y="556"/>
                    </a:lnTo>
                    <a:lnTo>
                      <a:pt x="466" y="560"/>
                    </a:lnTo>
                    <a:lnTo>
                      <a:pt x="470" y="560"/>
                    </a:lnTo>
                    <a:lnTo>
                      <a:pt x="472" y="564"/>
                    </a:lnTo>
                    <a:lnTo>
                      <a:pt x="476" y="564"/>
                    </a:lnTo>
                    <a:lnTo>
                      <a:pt x="480" y="560"/>
                    </a:lnTo>
                    <a:lnTo>
                      <a:pt x="480" y="564"/>
                    </a:lnTo>
                    <a:lnTo>
                      <a:pt x="484" y="564"/>
                    </a:lnTo>
                    <a:lnTo>
                      <a:pt x="484" y="560"/>
                    </a:lnTo>
                    <a:lnTo>
                      <a:pt x="480" y="560"/>
                    </a:lnTo>
                    <a:lnTo>
                      <a:pt x="484" y="560"/>
                    </a:lnTo>
                    <a:lnTo>
                      <a:pt x="488" y="560"/>
                    </a:lnTo>
                    <a:lnTo>
                      <a:pt x="492" y="560"/>
                    </a:lnTo>
                    <a:lnTo>
                      <a:pt x="492" y="556"/>
                    </a:lnTo>
                    <a:lnTo>
                      <a:pt x="496" y="556"/>
                    </a:lnTo>
                    <a:lnTo>
                      <a:pt x="498" y="554"/>
                    </a:lnTo>
                    <a:lnTo>
                      <a:pt x="498" y="556"/>
                    </a:lnTo>
                    <a:lnTo>
                      <a:pt x="502" y="556"/>
                    </a:lnTo>
                    <a:lnTo>
                      <a:pt x="502" y="560"/>
                    </a:lnTo>
                    <a:lnTo>
                      <a:pt x="502" y="564"/>
                    </a:lnTo>
                    <a:lnTo>
                      <a:pt x="502" y="568"/>
                    </a:lnTo>
                    <a:lnTo>
                      <a:pt x="502" y="572"/>
                    </a:lnTo>
                    <a:lnTo>
                      <a:pt x="502" y="576"/>
                    </a:lnTo>
                    <a:lnTo>
                      <a:pt x="502" y="580"/>
                    </a:lnTo>
                    <a:lnTo>
                      <a:pt x="502" y="584"/>
                    </a:lnTo>
                    <a:lnTo>
                      <a:pt x="502" y="580"/>
                    </a:lnTo>
                    <a:lnTo>
                      <a:pt x="498" y="580"/>
                    </a:lnTo>
                    <a:lnTo>
                      <a:pt x="498" y="584"/>
                    </a:lnTo>
                    <a:lnTo>
                      <a:pt x="498" y="590"/>
                    </a:lnTo>
                    <a:lnTo>
                      <a:pt x="496" y="590"/>
                    </a:lnTo>
                    <a:lnTo>
                      <a:pt x="496" y="594"/>
                    </a:lnTo>
                    <a:lnTo>
                      <a:pt x="496" y="598"/>
                    </a:lnTo>
                    <a:lnTo>
                      <a:pt x="496" y="594"/>
                    </a:lnTo>
                    <a:lnTo>
                      <a:pt x="498" y="598"/>
                    </a:lnTo>
                    <a:lnTo>
                      <a:pt x="496" y="602"/>
                    </a:lnTo>
                    <a:lnTo>
                      <a:pt x="498" y="602"/>
                    </a:lnTo>
                    <a:lnTo>
                      <a:pt x="496" y="602"/>
                    </a:lnTo>
                    <a:lnTo>
                      <a:pt x="496" y="606"/>
                    </a:lnTo>
                    <a:lnTo>
                      <a:pt x="492" y="602"/>
                    </a:lnTo>
                    <a:lnTo>
                      <a:pt x="492" y="598"/>
                    </a:lnTo>
                    <a:lnTo>
                      <a:pt x="496" y="598"/>
                    </a:lnTo>
                    <a:lnTo>
                      <a:pt x="496" y="602"/>
                    </a:lnTo>
                    <a:lnTo>
                      <a:pt x="496" y="598"/>
                    </a:lnTo>
                    <a:lnTo>
                      <a:pt x="492" y="594"/>
                    </a:lnTo>
                    <a:lnTo>
                      <a:pt x="492" y="598"/>
                    </a:lnTo>
                    <a:lnTo>
                      <a:pt x="488" y="598"/>
                    </a:lnTo>
                    <a:lnTo>
                      <a:pt x="488" y="594"/>
                    </a:lnTo>
                    <a:lnTo>
                      <a:pt x="488" y="598"/>
                    </a:lnTo>
                    <a:lnTo>
                      <a:pt x="488" y="602"/>
                    </a:lnTo>
                    <a:lnTo>
                      <a:pt x="488" y="606"/>
                    </a:lnTo>
                    <a:lnTo>
                      <a:pt x="484" y="606"/>
                    </a:lnTo>
                    <a:lnTo>
                      <a:pt x="484" y="602"/>
                    </a:lnTo>
                    <a:lnTo>
                      <a:pt x="484" y="606"/>
                    </a:lnTo>
                    <a:lnTo>
                      <a:pt x="484" y="610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8" y="606"/>
                    </a:moveTo>
                    <a:lnTo>
                      <a:pt x="488" y="602"/>
                    </a:lnTo>
                    <a:lnTo>
                      <a:pt x="488" y="606"/>
                    </a:lnTo>
                    <a:lnTo>
                      <a:pt x="488" y="606"/>
                    </a:lnTo>
                    <a:lnTo>
                      <a:pt x="488" y="606"/>
                    </a:lnTo>
                    <a:close/>
                    <a:moveTo>
                      <a:pt x="488" y="610"/>
                    </a:moveTo>
                    <a:lnTo>
                      <a:pt x="484" y="610"/>
                    </a:lnTo>
                    <a:lnTo>
                      <a:pt x="488" y="606"/>
                    </a:lnTo>
                    <a:lnTo>
                      <a:pt x="488" y="610"/>
                    </a:lnTo>
                    <a:lnTo>
                      <a:pt x="488" y="610"/>
                    </a:lnTo>
                    <a:lnTo>
                      <a:pt x="488" y="6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2" name="Freeform 191">
                <a:extLst>
                  <a:ext uri="{FF2B5EF4-FFF2-40B4-BE49-F238E27FC236}">
                    <a16:creationId xmlns:a16="http://schemas.microsoft.com/office/drawing/2014/main" id="{2010D97C-3B3F-4132-B262-0FAEB394587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939925" y="5035618"/>
                <a:ext cx="965200" cy="1171575"/>
              </a:xfrm>
              <a:custGeom>
                <a:avLst/>
                <a:gdLst>
                  <a:gd name="T0" fmla="*/ 514 w 608"/>
                  <a:gd name="T1" fmla="*/ 444 h 738"/>
                  <a:gd name="T2" fmla="*/ 504 w 608"/>
                  <a:gd name="T3" fmla="*/ 366 h 738"/>
                  <a:gd name="T4" fmla="*/ 532 w 608"/>
                  <a:gd name="T5" fmla="*/ 280 h 738"/>
                  <a:gd name="T6" fmla="*/ 544 w 608"/>
                  <a:gd name="T7" fmla="*/ 180 h 738"/>
                  <a:gd name="T8" fmla="*/ 552 w 608"/>
                  <a:gd name="T9" fmla="*/ 94 h 738"/>
                  <a:gd name="T10" fmla="*/ 570 w 608"/>
                  <a:gd name="T11" fmla="*/ 16 h 738"/>
                  <a:gd name="T12" fmla="*/ 600 w 608"/>
                  <a:gd name="T13" fmla="*/ 98 h 738"/>
                  <a:gd name="T14" fmla="*/ 566 w 608"/>
                  <a:gd name="T15" fmla="*/ 190 h 738"/>
                  <a:gd name="T16" fmla="*/ 556 w 608"/>
                  <a:gd name="T17" fmla="*/ 284 h 738"/>
                  <a:gd name="T18" fmla="*/ 540 w 608"/>
                  <a:gd name="T19" fmla="*/ 374 h 738"/>
                  <a:gd name="T20" fmla="*/ 526 w 608"/>
                  <a:gd name="T21" fmla="*/ 460 h 738"/>
                  <a:gd name="T22" fmla="*/ 536 w 608"/>
                  <a:gd name="T23" fmla="*/ 516 h 738"/>
                  <a:gd name="T24" fmla="*/ 514 w 608"/>
                  <a:gd name="T25" fmla="*/ 596 h 738"/>
                  <a:gd name="T26" fmla="*/ 560 w 608"/>
                  <a:gd name="T27" fmla="*/ 656 h 738"/>
                  <a:gd name="T28" fmla="*/ 526 w 608"/>
                  <a:gd name="T29" fmla="*/ 686 h 738"/>
                  <a:gd name="T30" fmla="*/ 518 w 608"/>
                  <a:gd name="T31" fmla="*/ 682 h 738"/>
                  <a:gd name="T32" fmla="*/ 510 w 608"/>
                  <a:gd name="T33" fmla="*/ 668 h 738"/>
                  <a:gd name="T34" fmla="*/ 518 w 608"/>
                  <a:gd name="T35" fmla="*/ 656 h 738"/>
                  <a:gd name="T36" fmla="*/ 506 w 608"/>
                  <a:gd name="T37" fmla="*/ 652 h 738"/>
                  <a:gd name="T38" fmla="*/ 492 w 608"/>
                  <a:gd name="T39" fmla="*/ 620 h 738"/>
                  <a:gd name="T40" fmla="*/ 500 w 608"/>
                  <a:gd name="T41" fmla="*/ 600 h 738"/>
                  <a:gd name="T42" fmla="*/ 506 w 608"/>
                  <a:gd name="T43" fmla="*/ 570 h 738"/>
                  <a:gd name="T44" fmla="*/ 488 w 608"/>
                  <a:gd name="T45" fmla="*/ 542 h 738"/>
                  <a:gd name="T46" fmla="*/ 496 w 608"/>
                  <a:gd name="T47" fmla="*/ 538 h 738"/>
                  <a:gd name="T48" fmla="*/ 510 w 608"/>
                  <a:gd name="T49" fmla="*/ 516 h 738"/>
                  <a:gd name="T50" fmla="*/ 476 w 608"/>
                  <a:gd name="T51" fmla="*/ 590 h 738"/>
                  <a:gd name="T52" fmla="*/ 484 w 608"/>
                  <a:gd name="T53" fmla="*/ 534 h 738"/>
                  <a:gd name="T54" fmla="*/ 500 w 608"/>
                  <a:gd name="T55" fmla="*/ 642 h 738"/>
                  <a:gd name="T56" fmla="*/ 506 w 608"/>
                  <a:gd name="T57" fmla="*/ 470 h 738"/>
                  <a:gd name="T58" fmla="*/ 506 w 608"/>
                  <a:gd name="T59" fmla="*/ 470 h 738"/>
                  <a:gd name="T60" fmla="*/ 504 w 608"/>
                  <a:gd name="T61" fmla="*/ 494 h 738"/>
                  <a:gd name="T62" fmla="*/ 514 w 608"/>
                  <a:gd name="T63" fmla="*/ 508 h 738"/>
                  <a:gd name="T64" fmla="*/ 500 w 608"/>
                  <a:gd name="T65" fmla="*/ 504 h 738"/>
                  <a:gd name="T66" fmla="*/ 496 w 608"/>
                  <a:gd name="T67" fmla="*/ 512 h 738"/>
                  <a:gd name="T68" fmla="*/ 504 w 608"/>
                  <a:gd name="T69" fmla="*/ 520 h 738"/>
                  <a:gd name="T70" fmla="*/ 500 w 608"/>
                  <a:gd name="T71" fmla="*/ 526 h 738"/>
                  <a:gd name="T72" fmla="*/ 492 w 608"/>
                  <a:gd name="T73" fmla="*/ 556 h 738"/>
                  <a:gd name="T74" fmla="*/ 488 w 608"/>
                  <a:gd name="T75" fmla="*/ 574 h 738"/>
                  <a:gd name="T76" fmla="*/ 496 w 608"/>
                  <a:gd name="T77" fmla="*/ 574 h 738"/>
                  <a:gd name="T78" fmla="*/ 500 w 608"/>
                  <a:gd name="T79" fmla="*/ 578 h 738"/>
                  <a:gd name="T80" fmla="*/ 488 w 608"/>
                  <a:gd name="T81" fmla="*/ 604 h 738"/>
                  <a:gd name="T82" fmla="*/ 484 w 608"/>
                  <a:gd name="T83" fmla="*/ 590 h 738"/>
                  <a:gd name="T84" fmla="*/ 480 w 608"/>
                  <a:gd name="T85" fmla="*/ 608 h 738"/>
                  <a:gd name="T86" fmla="*/ 488 w 608"/>
                  <a:gd name="T87" fmla="*/ 624 h 738"/>
                  <a:gd name="T88" fmla="*/ 492 w 608"/>
                  <a:gd name="T89" fmla="*/ 630 h 738"/>
                  <a:gd name="T90" fmla="*/ 492 w 608"/>
                  <a:gd name="T91" fmla="*/ 642 h 738"/>
                  <a:gd name="T92" fmla="*/ 484 w 608"/>
                  <a:gd name="T93" fmla="*/ 656 h 738"/>
                  <a:gd name="T94" fmla="*/ 500 w 608"/>
                  <a:gd name="T95" fmla="*/ 650 h 738"/>
                  <a:gd name="T96" fmla="*/ 496 w 608"/>
                  <a:gd name="T97" fmla="*/ 664 h 738"/>
                  <a:gd name="T98" fmla="*/ 552 w 608"/>
                  <a:gd name="T99" fmla="*/ 712 h 738"/>
                  <a:gd name="T100" fmla="*/ 540 w 608"/>
                  <a:gd name="T101" fmla="*/ 706 h 738"/>
                  <a:gd name="T102" fmla="*/ 562 w 608"/>
                  <a:gd name="T103" fmla="*/ 702 h 738"/>
                  <a:gd name="T104" fmla="*/ 578 w 608"/>
                  <a:gd name="T105" fmla="*/ 686 h 738"/>
                  <a:gd name="T106" fmla="*/ 504 w 608"/>
                  <a:gd name="T107" fmla="*/ 676 h 738"/>
                  <a:gd name="T108" fmla="*/ 522 w 608"/>
                  <a:gd name="T109" fmla="*/ 690 h 738"/>
                  <a:gd name="T110" fmla="*/ 548 w 608"/>
                  <a:gd name="T111" fmla="*/ 690 h 738"/>
                  <a:gd name="T112" fmla="*/ 544 w 608"/>
                  <a:gd name="T113" fmla="*/ 706 h 738"/>
                  <a:gd name="T114" fmla="*/ 522 w 608"/>
                  <a:gd name="T115" fmla="*/ 706 h 738"/>
                  <a:gd name="T116" fmla="*/ 548 w 608"/>
                  <a:gd name="T117" fmla="*/ 724 h 738"/>
                  <a:gd name="T118" fmla="*/ 556 w 608"/>
                  <a:gd name="T119" fmla="*/ 720 h 738"/>
                  <a:gd name="T120" fmla="*/ 578 w 608"/>
                  <a:gd name="T121" fmla="*/ 716 h 738"/>
                  <a:gd name="T122" fmla="*/ 596 w 608"/>
                  <a:gd name="T123" fmla="*/ 724 h 7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608" h="738">
                    <a:moveTo>
                      <a:pt x="514" y="486"/>
                    </a:moveTo>
                    <a:lnTo>
                      <a:pt x="514" y="482"/>
                    </a:lnTo>
                    <a:lnTo>
                      <a:pt x="514" y="478"/>
                    </a:lnTo>
                    <a:lnTo>
                      <a:pt x="514" y="474"/>
                    </a:lnTo>
                    <a:lnTo>
                      <a:pt x="514" y="470"/>
                    </a:lnTo>
                    <a:lnTo>
                      <a:pt x="518" y="470"/>
                    </a:lnTo>
                    <a:lnTo>
                      <a:pt x="518" y="474"/>
                    </a:lnTo>
                    <a:lnTo>
                      <a:pt x="518" y="470"/>
                    </a:lnTo>
                    <a:lnTo>
                      <a:pt x="518" y="466"/>
                    </a:lnTo>
                    <a:lnTo>
                      <a:pt x="518" y="464"/>
                    </a:lnTo>
                    <a:lnTo>
                      <a:pt x="522" y="464"/>
                    </a:lnTo>
                    <a:lnTo>
                      <a:pt x="518" y="464"/>
                    </a:lnTo>
                    <a:lnTo>
                      <a:pt x="518" y="460"/>
                    </a:lnTo>
                    <a:lnTo>
                      <a:pt x="518" y="456"/>
                    </a:lnTo>
                    <a:lnTo>
                      <a:pt x="522" y="456"/>
                    </a:lnTo>
                    <a:lnTo>
                      <a:pt x="522" y="460"/>
                    </a:lnTo>
                    <a:lnTo>
                      <a:pt x="522" y="456"/>
                    </a:lnTo>
                    <a:lnTo>
                      <a:pt x="522" y="452"/>
                    </a:lnTo>
                    <a:lnTo>
                      <a:pt x="518" y="452"/>
                    </a:lnTo>
                    <a:lnTo>
                      <a:pt x="514" y="452"/>
                    </a:lnTo>
                    <a:lnTo>
                      <a:pt x="518" y="452"/>
                    </a:lnTo>
                    <a:lnTo>
                      <a:pt x="518" y="448"/>
                    </a:lnTo>
                    <a:lnTo>
                      <a:pt x="522" y="448"/>
                    </a:lnTo>
                    <a:lnTo>
                      <a:pt x="522" y="444"/>
                    </a:lnTo>
                    <a:lnTo>
                      <a:pt x="526" y="444"/>
                    </a:lnTo>
                    <a:lnTo>
                      <a:pt x="526" y="440"/>
                    </a:lnTo>
                    <a:lnTo>
                      <a:pt x="522" y="440"/>
                    </a:lnTo>
                    <a:lnTo>
                      <a:pt x="522" y="444"/>
                    </a:lnTo>
                    <a:lnTo>
                      <a:pt x="518" y="444"/>
                    </a:lnTo>
                    <a:lnTo>
                      <a:pt x="518" y="440"/>
                    </a:lnTo>
                    <a:lnTo>
                      <a:pt x="514" y="440"/>
                    </a:lnTo>
                    <a:lnTo>
                      <a:pt x="514" y="444"/>
                    </a:lnTo>
                    <a:lnTo>
                      <a:pt x="510" y="448"/>
                    </a:lnTo>
                    <a:lnTo>
                      <a:pt x="506" y="448"/>
                    </a:lnTo>
                    <a:lnTo>
                      <a:pt x="504" y="448"/>
                    </a:lnTo>
                    <a:lnTo>
                      <a:pt x="504" y="444"/>
                    </a:lnTo>
                    <a:lnTo>
                      <a:pt x="506" y="444"/>
                    </a:lnTo>
                    <a:lnTo>
                      <a:pt x="506" y="440"/>
                    </a:lnTo>
                    <a:lnTo>
                      <a:pt x="506" y="444"/>
                    </a:lnTo>
                    <a:lnTo>
                      <a:pt x="504" y="444"/>
                    </a:lnTo>
                    <a:lnTo>
                      <a:pt x="504" y="440"/>
                    </a:lnTo>
                    <a:lnTo>
                      <a:pt x="504" y="438"/>
                    </a:lnTo>
                    <a:lnTo>
                      <a:pt x="500" y="438"/>
                    </a:lnTo>
                    <a:lnTo>
                      <a:pt x="500" y="434"/>
                    </a:lnTo>
                    <a:lnTo>
                      <a:pt x="500" y="430"/>
                    </a:lnTo>
                    <a:lnTo>
                      <a:pt x="504" y="426"/>
                    </a:lnTo>
                    <a:lnTo>
                      <a:pt x="504" y="422"/>
                    </a:lnTo>
                    <a:lnTo>
                      <a:pt x="504" y="414"/>
                    </a:lnTo>
                    <a:lnTo>
                      <a:pt x="504" y="410"/>
                    </a:lnTo>
                    <a:lnTo>
                      <a:pt x="506" y="410"/>
                    </a:lnTo>
                    <a:lnTo>
                      <a:pt x="510" y="410"/>
                    </a:lnTo>
                    <a:lnTo>
                      <a:pt x="510" y="408"/>
                    </a:lnTo>
                    <a:lnTo>
                      <a:pt x="510" y="404"/>
                    </a:lnTo>
                    <a:lnTo>
                      <a:pt x="510" y="400"/>
                    </a:lnTo>
                    <a:lnTo>
                      <a:pt x="510" y="396"/>
                    </a:lnTo>
                    <a:lnTo>
                      <a:pt x="510" y="392"/>
                    </a:lnTo>
                    <a:lnTo>
                      <a:pt x="506" y="388"/>
                    </a:lnTo>
                    <a:lnTo>
                      <a:pt x="506" y="384"/>
                    </a:lnTo>
                    <a:lnTo>
                      <a:pt x="506" y="380"/>
                    </a:lnTo>
                    <a:lnTo>
                      <a:pt x="506" y="378"/>
                    </a:lnTo>
                    <a:lnTo>
                      <a:pt x="506" y="374"/>
                    </a:lnTo>
                    <a:lnTo>
                      <a:pt x="506" y="370"/>
                    </a:lnTo>
                    <a:lnTo>
                      <a:pt x="504" y="370"/>
                    </a:lnTo>
                    <a:lnTo>
                      <a:pt x="504" y="366"/>
                    </a:lnTo>
                    <a:lnTo>
                      <a:pt x="506" y="366"/>
                    </a:lnTo>
                    <a:lnTo>
                      <a:pt x="506" y="362"/>
                    </a:lnTo>
                    <a:lnTo>
                      <a:pt x="504" y="362"/>
                    </a:lnTo>
                    <a:lnTo>
                      <a:pt x="506" y="358"/>
                    </a:lnTo>
                    <a:lnTo>
                      <a:pt x="510" y="358"/>
                    </a:lnTo>
                    <a:lnTo>
                      <a:pt x="510" y="354"/>
                    </a:lnTo>
                    <a:lnTo>
                      <a:pt x="510" y="352"/>
                    </a:lnTo>
                    <a:lnTo>
                      <a:pt x="514" y="352"/>
                    </a:lnTo>
                    <a:lnTo>
                      <a:pt x="514" y="348"/>
                    </a:lnTo>
                    <a:lnTo>
                      <a:pt x="514" y="344"/>
                    </a:lnTo>
                    <a:lnTo>
                      <a:pt x="518" y="344"/>
                    </a:lnTo>
                    <a:lnTo>
                      <a:pt x="518" y="340"/>
                    </a:lnTo>
                    <a:lnTo>
                      <a:pt x="518" y="336"/>
                    </a:lnTo>
                    <a:lnTo>
                      <a:pt x="518" y="332"/>
                    </a:lnTo>
                    <a:lnTo>
                      <a:pt x="522" y="332"/>
                    </a:lnTo>
                    <a:lnTo>
                      <a:pt x="518" y="328"/>
                    </a:lnTo>
                    <a:lnTo>
                      <a:pt x="522" y="328"/>
                    </a:lnTo>
                    <a:lnTo>
                      <a:pt x="522" y="324"/>
                    </a:lnTo>
                    <a:lnTo>
                      <a:pt x="522" y="322"/>
                    </a:lnTo>
                    <a:lnTo>
                      <a:pt x="526" y="322"/>
                    </a:lnTo>
                    <a:lnTo>
                      <a:pt x="526" y="318"/>
                    </a:lnTo>
                    <a:lnTo>
                      <a:pt x="526" y="314"/>
                    </a:lnTo>
                    <a:lnTo>
                      <a:pt x="530" y="310"/>
                    </a:lnTo>
                    <a:lnTo>
                      <a:pt x="530" y="306"/>
                    </a:lnTo>
                    <a:lnTo>
                      <a:pt x="530" y="302"/>
                    </a:lnTo>
                    <a:lnTo>
                      <a:pt x="530" y="298"/>
                    </a:lnTo>
                    <a:lnTo>
                      <a:pt x="530" y="296"/>
                    </a:lnTo>
                    <a:lnTo>
                      <a:pt x="532" y="296"/>
                    </a:lnTo>
                    <a:lnTo>
                      <a:pt x="532" y="292"/>
                    </a:lnTo>
                    <a:lnTo>
                      <a:pt x="532" y="288"/>
                    </a:lnTo>
                    <a:lnTo>
                      <a:pt x="532" y="284"/>
                    </a:lnTo>
                    <a:lnTo>
                      <a:pt x="532" y="280"/>
                    </a:lnTo>
                    <a:lnTo>
                      <a:pt x="536" y="276"/>
                    </a:lnTo>
                    <a:lnTo>
                      <a:pt x="536" y="272"/>
                    </a:lnTo>
                    <a:lnTo>
                      <a:pt x="536" y="268"/>
                    </a:lnTo>
                    <a:lnTo>
                      <a:pt x="536" y="266"/>
                    </a:lnTo>
                    <a:lnTo>
                      <a:pt x="536" y="262"/>
                    </a:lnTo>
                    <a:lnTo>
                      <a:pt x="536" y="258"/>
                    </a:lnTo>
                    <a:lnTo>
                      <a:pt x="532" y="254"/>
                    </a:lnTo>
                    <a:lnTo>
                      <a:pt x="532" y="250"/>
                    </a:lnTo>
                    <a:lnTo>
                      <a:pt x="532" y="246"/>
                    </a:lnTo>
                    <a:lnTo>
                      <a:pt x="532" y="242"/>
                    </a:lnTo>
                    <a:lnTo>
                      <a:pt x="532" y="238"/>
                    </a:lnTo>
                    <a:lnTo>
                      <a:pt x="532" y="236"/>
                    </a:lnTo>
                    <a:lnTo>
                      <a:pt x="532" y="232"/>
                    </a:lnTo>
                    <a:lnTo>
                      <a:pt x="532" y="228"/>
                    </a:lnTo>
                    <a:lnTo>
                      <a:pt x="532" y="232"/>
                    </a:lnTo>
                    <a:lnTo>
                      <a:pt x="536" y="232"/>
                    </a:lnTo>
                    <a:lnTo>
                      <a:pt x="536" y="228"/>
                    </a:lnTo>
                    <a:lnTo>
                      <a:pt x="536" y="224"/>
                    </a:lnTo>
                    <a:lnTo>
                      <a:pt x="536" y="220"/>
                    </a:lnTo>
                    <a:lnTo>
                      <a:pt x="536" y="216"/>
                    </a:lnTo>
                    <a:lnTo>
                      <a:pt x="536" y="212"/>
                    </a:lnTo>
                    <a:lnTo>
                      <a:pt x="536" y="210"/>
                    </a:lnTo>
                    <a:lnTo>
                      <a:pt x="536" y="206"/>
                    </a:lnTo>
                    <a:lnTo>
                      <a:pt x="536" y="202"/>
                    </a:lnTo>
                    <a:lnTo>
                      <a:pt x="536" y="198"/>
                    </a:lnTo>
                    <a:lnTo>
                      <a:pt x="540" y="198"/>
                    </a:lnTo>
                    <a:lnTo>
                      <a:pt x="540" y="194"/>
                    </a:lnTo>
                    <a:lnTo>
                      <a:pt x="540" y="190"/>
                    </a:lnTo>
                    <a:lnTo>
                      <a:pt x="540" y="186"/>
                    </a:lnTo>
                    <a:lnTo>
                      <a:pt x="540" y="182"/>
                    </a:lnTo>
                    <a:lnTo>
                      <a:pt x="544" y="182"/>
                    </a:lnTo>
                    <a:lnTo>
                      <a:pt x="544" y="180"/>
                    </a:lnTo>
                    <a:lnTo>
                      <a:pt x="544" y="176"/>
                    </a:lnTo>
                    <a:lnTo>
                      <a:pt x="544" y="172"/>
                    </a:lnTo>
                    <a:lnTo>
                      <a:pt x="544" y="168"/>
                    </a:lnTo>
                    <a:lnTo>
                      <a:pt x="544" y="164"/>
                    </a:lnTo>
                    <a:lnTo>
                      <a:pt x="548" y="164"/>
                    </a:lnTo>
                    <a:lnTo>
                      <a:pt x="548" y="160"/>
                    </a:lnTo>
                    <a:lnTo>
                      <a:pt x="548" y="158"/>
                    </a:lnTo>
                    <a:lnTo>
                      <a:pt x="548" y="154"/>
                    </a:lnTo>
                    <a:lnTo>
                      <a:pt x="548" y="150"/>
                    </a:lnTo>
                    <a:lnTo>
                      <a:pt x="548" y="146"/>
                    </a:lnTo>
                    <a:lnTo>
                      <a:pt x="548" y="142"/>
                    </a:lnTo>
                    <a:lnTo>
                      <a:pt x="552" y="142"/>
                    </a:lnTo>
                    <a:lnTo>
                      <a:pt x="552" y="138"/>
                    </a:lnTo>
                    <a:lnTo>
                      <a:pt x="548" y="136"/>
                    </a:lnTo>
                    <a:lnTo>
                      <a:pt x="548" y="132"/>
                    </a:lnTo>
                    <a:lnTo>
                      <a:pt x="548" y="128"/>
                    </a:lnTo>
                    <a:lnTo>
                      <a:pt x="548" y="124"/>
                    </a:lnTo>
                    <a:lnTo>
                      <a:pt x="548" y="120"/>
                    </a:lnTo>
                    <a:lnTo>
                      <a:pt x="548" y="116"/>
                    </a:lnTo>
                    <a:lnTo>
                      <a:pt x="548" y="112"/>
                    </a:lnTo>
                    <a:lnTo>
                      <a:pt x="552" y="112"/>
                    </a:lnTo>
                    <a:lnTo>
                      <a:pt x="552" y="110"/>
                    </a:lnTo>
                    <a:lnTo>
                      <a:pt x="552" y="106"/>
                    </a:lnTo>
                    <a:lnTo>
                      <a:pt x="548" y="106"/>
                    </a:lnTo>
                    <a:lnTo>
                      <a:pt x="548" y="110"/>
                    </a:lnTo>
                    <a:lnTo>
                      <a:pt x="548" y="106"/>
                    </a:lnTo>
                    <a:lnTo>
                      <a:pt x="548" y="102"/>
                    </a:lnTo>
                    <a:lnTo>
                      <a:pt x="548" y="98"/>
                    </a:lnTo>
                    <a:lnTo>
                      <a:pt x="548" y="102"/>
                    </a:lnTo>
                    <a:lnTo>
                      <a:pt x="552" y="102"/>
                    </a:lnTo>
                    <a:lnTo>
                      <a:pt x="552" y="98"/>
                    </a:lnTo>
                    <a:lnTo>
                      <a:pt x="552" y="94"/>
                    </a:lnTo>
                    <a:lnTo>
                      <a:pt x="552" y="90"/>
                    </a:lnTo>
                    <a:lnTo>
                      <a:pt x="552" y="86"/>
                    </a:lnTo>
                    <a:lnTo>
                      <a:pt x="556" y="82"/>
                    </a:lnTo>
                    <a:lnTo>
                      <a:pt x="556" y="76"/>
                    </a:lnTo>
                    <a:lnTo>
                      <a:pt x="556" y="72"/>
                    </a:lnTo>
                    <a:lnTo>
                      <a:pt x="556" y="68"/>
                    </a:lnTo>
                    <a:lnTo>
                      <a:pt x="556" y="64"/>
                    </a:lnTo>
                    <a:lnTo>
                      <a:pt x="556" y="60"/>
                    </a:lnTo>
                    <a:lnTo>
                      <a:pt x="556" y="52"/>
                    </a:lnTo>
                    <a:lnTo>
                      <a:pt x="556" y="50"/>
                    </a:lnTo>
                    <a:lnTo>
                      <a:pt x="556" y="46"/>
                    </a:lnTo>
                    <a:lnTo>
                      <a:pt x="556" y="42"/>
                    </a:lnTo>
                    <a:lnTo>
                      <a:pt x="556" y="38"/>
                    </a:lnTo>
                    <a:lnTo>
                      <a:pt x="552" y="34"/>
                    </a:lnTo>
                    <a:lnTo>
                      <a:pt x="552" y="30"/>
                    </a:lnTo>
                    <a:lnTo>
                      <a:pt x="552" y="26"/>
                    </a:lnTo>
                    <a:lnTo>
                      <a:pt x="552" y="24"/>
                    </a:lnTo>
                    <a:lnTo>
                      <a:pt x="552" y="20"/>
                    </a:lnTo>
                    <a:lnTo>
                      <a:pt x="552" y="16"/>
                    </a:lnTo>
                    <a:lnTo>
                      <a:pt x="556" y="16"/>
                    </a:lnTo>
                    <a:lnTo>
                      <a:pt x="560" y="16"/>
                    </a:lnTo>
                    <a:lnTo>
                      <a:pt x="560" y="12"/>
                    </a:lnTo>
                    <a:lnTo>
                      <a:pt x="560" y="8"/>
                    </a:lnTo>
                    <a:lnTo>
                      <a:pt x="560" y="4"/>
                    </a:lnTo>
                    <a:lnTo>
                      <a:pt x="562" y="4"/>
                    </a:lnTo>
                    <a:lnTo>
                      <a:pt x="562" y="0"/>
                    </a:lnTo>
                    <a:lnTo>
                      <a:pt x="562" y="4"/>
                    </a:lnTo>
                    <a:lnTo>
                      <a:pt x="566" y="4"/>
                    </a:lnTo>
                    <a:lnTo>
                      <a:pt x="566" y="8"/>
                    </a:lnTo>
                    <a:lnTo>
                      <a:pt x="566" y="12"/>
                    </a:lnTo>
                    <a:lnTo>
                      <a:pt x="570" y="12"/>
                    </a:lnTo>
                    <a:lnTo>
                      <a:pt x="570" y="16"/>
                    </a:lnTo>
                    <a:lnTo>
                      <a:pt x="570" y="20"/>
                    </a:lnTo>
                    <a:lnTo>
                      <a:pt x="570" y="24"/>
                    </a:lnTo>
                    <a:lnTo>
                      <a:pt x="570" y="26"/>
                    </a:lnTo>
                    <a:lnTo>
                      <a:pt x="574" y="30"/>
                    </a:lnTo>
                    <a:lnTo>
                      <a:pt x="574" y="34"/>
                    </a:lnTo>
                    <a:lnTo>
                      <a:pt x="578" y="34"/>
                    </a:lnTo>
                    <a:lnTo>
                      <a:pt x="578" y="38"/>
                    </a:lnTo>
                    <a:lnTo>
                      <a:pt x="574" y="42"/>
                    </a:lnTo>
                    <a:lnTo>
                      <a:pt x="578" y="42"/>
                    </a:lnTo>
                    <a:lnTo>
                      <a:pt x="578" y="46"/>
                    </a:lnTo>
                    <a:lnTo>
                      <a:pt x="574" y="46"/>
                    </a:lnTo>
                    <a:lnTo>
                      <a:pt x="574" y="50"/>
                    </a:lnTo>
                    <a:lnTo>
                      <a:pt x="574" y="52"/>
                    </a:lnTo>
                    <a:lnTo>
                      <a:pt x="574" y="56"/>
                    </a:lnTo>
                    <a:lnTo>
                      <a:pt x="578" y="56"/>
                    </a:lnTo>
                    <a:lnTo>
                      <a:pt x="578" y="60"/>
                    </a:lnTo>
                    <a:lnTo>
                      <a:pt x="578" y="64"/>
                    </a:lnTo>
                    <a:lnTo>
                      <a:pt x="578" y="60"/>
                    </a:lnTo>
                    <a:lnTo>
                      <a:pt x="582" y="68"/>
                    </a:lnTo>
                    <a:lnTo>
                      <a:pt x="582" y="76"/>
                    </a:lnTo>
                    <a:lnTo>
                      <a:pt x="586" y="76"/>
                    </a:lnTo>
                    <a:lnTo>
                      <a:pt x="586" y="80"/>
                    </a:lnTo>
                    <a:lnTo>
                      <a:pt x="586" y="82"/>
                    </a:lnTo>
                    <a:lnTo>
                      <a:pt x="586" y="86"/>
                    </a:lnTo>
                    <a:lnTo>
                      <a:pt x="586" y="90"/>
                    </a:lnTo>
                    <a:lnTo>
                      <a:pt x="590" y="90"/>
                    </a:lnTo>
                    <a:lnTo>
                      <a:pt x="586" y="94"/>
                    </a:lnTo>
                    <a:lnTo>
                      <a:pt x="590" y="98"/>
                    </a:lnTo>
                    <a:lnTo>
                      <a:pt x="592" y="98"/>
                    </a:lnTo>
                    <a:lnTo>
                      <a:pt x="596" y="94"/>
                    </a:lnTo>
                    <a:lnTo>
                      <a:pt x="596" y="98"/>
                    </a:lnTo>
                    <a:lnTo>
                      <a:pt x="600" y="98"/>
                    </a:lnTo>
                    <a:lnTo>
                      <a:pt x="600" y="102"/>
                    </a:lnTo>
                    <a:lnTo>
                      <a:pt x="596" y="102"/>
                    </a:lnTo>
                    <a:lnTo>
                      <a:pt x="596" y="106"/>
                    </a:lnTo>
                    <a:lnTo>
                      <a:pt x="596" y="110"/>
                    </a:lnTo>
                    <a:lnTo>
                      <a:pt x="596" y="112"/>
                    </a:lnTo>
                    <a:lnTo>
                      <a:pt x="592" y="116"/>
                    </a:lnTo>
                    <a:lnTo>
                      <a:pt x="592" y="120"/>
                    </a:lnTo>
                    <a:lnTo>
                      <a:pt x="590" y="120"/>
                    </a:lnTo>
                    <a:lnTo>
                      <a:pt x="586" y="120"/>
                    </a:lnTo>
                    <a:lnTo>
                      <a:pt x="582" y="124"/>
                    </a:lnTo>
                    <a:lnTo>
                      <a:pt x="578" y="124"/>
                    </a:lnTo>
                    <a:lnTo>
                      <a:pt x="578" y="128"/>
                    </a:lnTo>
                    <a:lnTo>
                      <a:pt x="578" y="132"/>
                    </a:lnTo>
                    <a:lnTo>
                      <a:pt x="582" y="136"/>
                    </a:lnTo>
                    <a:lnTo>
                      <a:pt x="578" y="138"/>
                    </a:lnTo>
                    <a:lnTo>
                      <a:pt x="578" y="142"/>
                    </a:lnTo>
                    <a:lnTo>
                      <a:pt x="578" y="146"/>
                    </a:lnTo>
                    <a:lnTo>
                      <a:pt x="578" y="150"/>
                    </a:lnTo>
                    <a:lnTo>
                      <a:pt x="578" y="154"/>
                    </a:lnTo>
                    <a:lnTo>
                      <a:pt x="578" y="158"/>
                    </a:lnTo>
                    <a:lnTo>
                      <a:pt x="578" y="160"/>
                    </a:lnTo>
                    <a:lnTo>
                      <a:pt x="578" y="164"/>
                    </a:lnTo>
                    <a:lnTo>
                      <a:pt x="582" y="168"/>
                    </a:lnTo>
                    <a:lnTo>
                      <a:pt x="582" y="172"/>
                    </a:lnTo>
                    <a:lnTo>
                      <a:pt x="578" y="172"/>
                    </a:lnTo>
                    <a:lnTo>
                      <a:pt x="574" y="172"/>
                    </a:lnTo>
                    <a:lnTo>
                      <a:pt x="574" y="176"/>
                    </a:lnTo>
                    <a:lnTo>
                      <a:pt x="570" y="180"/>
                    </a:lnTo>
                    <a:lnTo>
                      <a:pt x="570" y="182"/>
                    </a:lnTo>
                    <a:lnTo>
                      <a:pt x="570" y="186"/>
                    </a:lnTo>
                    <a:lnTo>
                      <a:pt x="566" y="186"/>
                    </a:lnTo>
                    <a:lnTo>
                      <a:pt x="566" y="190"/>
                    </a:lnTo>
                    <a:lnTo>
                      <a:pt x="562" y="194"/>
                    </a:lnTo>
                    <a:lnTo>
                      <a:pt x="562" y="198"/>
                    </a:lnTo>
                    <a:lnTo>
                      <a:pt x="560" y="198"/>
                    </a:lnTo>
                    <a:lnTo>
                      <a:pt x="560" y="202"/>
                    </a:lnTo>
                    <a:lnTo>
                      <a:pt x="560" y="206"/>
                    </a:lnTo>
                    <a:lnTo>
                      <a:pt x="560" y="210"/>
                    </a:lnTo>
                    <a:lnTo>
                      <a:pt x="556" y="212"/>
                    </a:lnTo>
                    <a:lnTo>
                      <a:pt x="556" y="216"/>
                    </a:lnTo>
                    <a:lnTo>
                      <a:pt x="560" y="216"/>
                    </a:lnTo>
                    <a:lnTo>
                      <a:pt x="556" y="216"/>
                    </a:lnTo>
                    <a:lnTo>
                      <a:pt x="560" y="220"/>
                    </a:lnTo>
                    <a:lnTo>
                      <a:pt x="560" y="224"/>
                    </a:lnTo>
                    <a:lnTo>
                      <a:pt x="560" y="228"/>
                    </a:lnTo>
                    <a:lnTo>
                      <a:pt x="560" y="232"/>
                    </a:lnTo>
                    <a:lnTo>
                      <a:pt x="556" y="232"/>
                    </a:lnTo>
                    <a:lnTo>
                      <a:pt x="556" y="236"/>
                    </a:lnTo>
                    <a:lnTo>
                      <a:pt x="552" y="236"/>
                    </a:lnTo>
                    <a:lnTo>
                      <a:pt x="552" y="238"/>
                    </a:lnTo>
                    <a:lnTo>
                      <a:pt x="552" y="242"/>
                    </a:lnTo>
                    <a:lnTo>
                      <a:pt x="552" y="246"/>
                    </a:lnTo>
                    <a:lnTo>
                      <a:pt x="548" y="246"/>
                    </a:lnTo>
                    <a:lnTo>
                      <a:pt x="548" y="250"/>
                    </a:lnTo>
                    <a:lnTo>
                      <a:pt x="548" y="254"/>
                    </a:lnTo>
                    <a:lnTo>
                      <a:pt x="552" y="258"/>
                    </a:lnTo>
                    <a:lnTo>
                      <a:pt x="552" y="262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6" y="268"/>
                    </a:lnTo>
                    <a:lnTo>
                      <a:pt x="556" y="272"/>
                    </a:lnTo>
                    <a:lnTo>
                      <a:pt x="556" y="276"/>
                    </a:lnTo>
                    <a:lnTo>
                      <a:pt x="556" y="280"/>
                    </a:lnTo>
                    <a:lnTo>
                      <a:pt x="556" y="284"/>
                    </a:lnTo>
                    <a:lnTo>
                      <a:pt x="560" y="284"/>
                    </a:lnTo>
                    <a:lnTo>
                      <a:pt x="560" y="288"/>
                    </a:lnTo>
                    <a:lnTo>
                      <a:pt x="560" y="292"/>
                    </a:lnTo>
                    <a:lnTo>
                      <a:pt x="560" y="296"/>
                    </a:lnTo>
                    <a:lnTo>
                      <a:pt x="560" y="298"/>
                    </a:lnTo>
                    <a:lnTo>
                      <a:pt x="560" y="302"/>
                    </a:lnTo>
                    <a:lnTo>
                      <a:pt x="556" y="302"/>
                    </a:lnTo>
                    <a:lnTo>
                      <a:pt x="556" y="306"/>
                    </a:lnTo>
                    <a:lnTo>
                      <a:pt x="556" y="310"/>
                    </a:lnTo>
                    <a:lnTo>
                      <a:pt x="552" y="310"/>
                    </a:lnTo>
                    <a:lnTo>
                      <a:pt x="552" y="314"/>
                    </a:lnTo>
                    <a:lnTo>
                      <a:pt x="552" y="318"/>
                    </a:lnTo>
                    <a:lnTo>
                      <a:pt x="552" y="322"/>
                    </a:lnTo>
                    <a:lnTo>
                      <a:pt x="548" y="322"/>
                    </a:lnTo>
                    <a:lnTo>
                      <a:pt x="548" y="324"/>
                    </a:lnTo>
                    <a:lnTo>
                      <a:pt x="552" y="324"/>
                    </a:lnTo>
                    <a:lnTo>
                      <a:pt x="552" y="328"/>
                    </a:lnTo>
                    <a:lnTo>
                      <a:pt x="552" y="332"/>
                    </a:lnTo>
                    <a:lnTo>
                      <a:pt x="552" y="336"/>
                    </a:lnTo>
                    <a:lnTo>
                      <a:pt x="552" y="340"/>
                    </a:lnTo>
                    <a:lnTo>
                      <a:pt x="548" y="340"/>
                    </a:lnTo>
                    <a:lnTo>
                      <a:pt x="548" y="344"/>
                    </a:lnTo>
                    <a:lnTo>
                      <a:pt x="544" y="348"/>
                    </a:lnTo>
                    <a:lnTo>
                      <a:pt x="544" y="344"/>
                    </a:lnTo>
                    <a:lnTo>
                      <a:pt x="540" y="348"/>
                    </a:lnTo>
                    <a:lnTo>
                      <a:pt x="540" y="352"/>
                    </a:lnTo>
                    <a:lnTo>
                      <a:pt x="540" y="354"/>
                    </a:lnTo>
                    <a:lnTo>
                      <a:pt x="540" y="358"/>
                    </a:lnTo>
                    <a:lnTo>
                      <a:pt x="540" y="362"/>
                    </a:lnTo>
                    <a:lnTo>
                      <a:pt x="540" y="366"/>
                    </a:lnTo>
                    <a:lnTo>
                      <a:pt x="540" y="370"/>
                    </a:lnTo>
                    <a:lnTo>
                      <a:pt x="540" y="374"/>
                    </a:lnTo>
                    <a:lnTo>
                      <a:pt x="544" y="378"/>
                    </a:lnTo>
                    <a:lnTo>
                      <a:pt x="544" y="380"/>
                    </a:lnTo>
                    <a:lnTo>
                      <a:pt x="544" y="384"/>
                    </a:lnTo>
                    <a:lnTo>
                      <a:pt x="544" y="388"/>
                    </a:lnTo>
                    <a:lnTo>
                      <a:pt x="540" y="388"/>
                    </a:lnTo>
                    <a:lnTo>
                      <a:pt x="540" y="392"/>
                    </a:lnTo>
                    <a:lnTo>
                      <a:pt x="536" y="392"/>
                    </a:lnTo>
                    <a:lnTo>
                      <a:pt x="536" y="396"/>
                    </a:lnTo>
                    <a:lnTo>
                      <a:pt x="536" y="400"/>
                    </a:lnTo>
                    <a:lnTo>
                      <a:pt x="536" y="404"/>
                    </a:lnTo>
                    <a:lnTo>
                      <a:pt x="536" y="408"/>
                    </a:lnTo>
                    <a:lnTo>
                      <a:pt x="532" y="408"/>
                    </a:lnTo>
                    <a:lnTo>
                      <a:pt x="532" y="404"/>
                    </a:lnTo>
                    <a:lnTo>
                      <a:pt x="532" y="408"/>
                    </a:lnTo>
                    <a:lnTo>
                      <a:pt x="532" y="410"/>
                    </a:lnTo>
                    <a:lnTo>
                      <a:pt x="532" y="414"/>
                    </a:lnTo>
                    <a:lnTo>
                      <a:pt x="530" y="418"/>
                    </a:lnTo>
                    <a:lnTo>
                      <a:pt x="532" y="418"/>
                    </a:lnTo>
                    <a:lnTo>
                      <a:pt x="532" y="422"/>
                    </a:lnTo>
                    <a:lnTo>
                      <a:pt x="530" y="422"/>
                    </a:lnTo>
                    <a:lnTo>
                      <a:pt x="530" y="426"/>
                    </a:lnTo>
                    <a:lnTo>
                      <a:pt x="530" y="430"/>
                    </a:lnTo>
                    <a:lnTo>
                      <a:pt x="530" y="434"/>
                    </a:lnTo>
                    <a:lnTo>
                      <a:pt x="530" y="438"/>
                    </a:lnTo>
                    <a:lnTo>
                      <a:pt x="530" y="440"/>
                    </a:lnTo>
                    <a:lnTo>
                      <a:pt x="530" y="444"/>
                    </a:lnTo>
                    <a:lnTo>
                      <a:pt x="530" y="448"/>
                    </a:lnTo>
                    <a:lnTo>
                      <a:pt x="532" y="448"/>
                    </a:lnTo>
                    <a:lnTo>
                      <a:pt x="532" y="452"/>
                    </a:lnTo>
                    <a:lnTo>
                      <a:pt x="532" y="456"/>
                    </a:lnTo>
                    <a:lnTo>
                      <a:pt x="530" y="456"/>
                    </a:lnTo>
                    <a:lnTo>
                      <a:pt x="526" y="460"/>
                    </a:lnTo>
                    <a:lnTo>
                      <a:pt x="530" y="460"/>
                    </a:lnTo>
                    <a:lnTo>
                      <a:pt x="526" y="464"/>
                    </a:lnTo>
                    <a:lnTo>
                      <a:pt x="526" y="466"/>
                    </a:lnTo>
                    <a:lnTo>
                      <a:pt x="526" y="470"/>
                    </a:lnTo>
                    <a:lnTo>
                      <a:pt x="526" y="474"/>
                    </a:lnTo>
                    <a:lnTo>
                      <a:pt x="530" y="474"/>
                    </a:lnTo>
                    <a:lnTo>
                      <a:pt x="532" y="474"/>
                    </a:lnTo>
                    <a:lnTo>
                      <a:pt x="532" y="478"/>
                    </a:lnTo>
                    <a:lnTo>
                      <a:pt x="530" y="478"/>
                    </a:lnTo>
                    <a:lnTo>
                      <a:pt x="530" y="482"/>
                    </a:lnTo>
                    <a:lnTo>
                      <a:pt x="532" y="482"/>
                    </a:lnTo>
                    <a:lnTo>
                      <a:pt x="532" y="486"/>
                    </a:lnTo>
                    <a:lnTo>
                      <a:pt x="532" y="490"/>
                    </a:lnTo>
                    <a:lnTo>
                      <a:pt x="532" y="494"/>
                    </a:lnTo>
                    <a:lnTo>
                      <a:pt x="530" y="494"/>
                    </a:lnTo>
                    <a:lnTo>
                      <a:pt x="532" y="496"/>
                    </a:lnTo>
                    <a:lnTo>
                      <a:pt x="530" y="496"/>
                    </a:lnTo>
                    <a:lnTo>
                      <a:pt x="530" y="500"/>
                    </a:lnTo>
                    <a:lnTo>
                      <a:pt x="532" y="500"/>
                    </a:lnTo>
                    <a:lnTo>
                      <a:pt x="536" y="500"/>
                    </a:lnTo>
                    <a:lnTo>
                      <a:pt x="540" y="500"/>
                    </a:lnTo>
                    <a:lnTo>
                      <a:pt x="540" y="504"/>
                    </a:lnTo>
                    <a:lnTo>
                      <a:pt x="540" y="508"/>
                    </a:lnTo>
                    <a:lnTo>
                      <a:pt x="536" y="508"/>
                    </a:lnTo>
                    <a:lnTo>
                      <a:pt x="532" y="508"/>
                    </a:lnTo>
                    <a:lnTo>
                      <a:pt x="530" y="508"/>
                    </a:lnTo>
                    <a:lnTo>
                      <a:pt x="526" y="508"/>
                    </a:lnTo>
                    <a:lnTo>
                      <a:pt x="530" y="508"/>
                    </a:lnTo>
                    <a:lnTo>
                      <a:pt x="530" y="512"/>
                    </a:lnTo>
                    <a:lnTo>
                      <a:pt x="532" y="512"/>
                    </a:lnTo>
                    <a:lnTo>
                      <a:pt x="536" y="512"/>
                    </a:lnTo>
                    <a:lnTo>
                      <a:pt x="536" y="516"/>
                    </a:lnTo>
                    <a:lnTo>
                      <a:pt x="536" y="520"/>
                    </a:lnTo>
                    <a:lnTo>
                      <a:pt x="532" y="524"/>
                    </a:lnTo>
                    <a:lnTo>
                      <a:pt x="532" y="526"/>
                    </a:lnTo>
                    <a:lnTo>
                      <a:pt x="532" y="530"/>
                    </a:lnTo>
                    <a:lnTo>
                      <a:pt x="532" y="534"/>
                    </a:lnTo>
                    <a:lnTo>
                      <a:pt x="530" y="534"/>
                    </a:lnTo>
                    <a:lnTo>
                      <a:pt x="532" y="534"/>
                    </a:lnTo>
                    <a:lnTo>
                      <a:pt x="532" y="538"/>
                    </a:lnTo>
                    <a:lnTo>
                      <a:pt x="532" y="542"/>
                    </a:lnTo>
                    <a:lnTo>
                      <a:pt x="532" y="546"/>
                    </a:lnTo>
                    <a:lnTo>
                      <a:pt x="530" y="550"/>
                    </a:lnTo>
                    <a:lnTo>
                      <a:pt x="530" y="552"/>
                    </a:lnTo>
                    <a:lnTo>
                      <a:pt x="530" y="556"/>
                    </a:lnTo>
                    <a:lnTo>
                      <a:pt x="526" y="560"/>
                    </a:lnTo>
                    <a:lnTo>
                      <a:pt x="522" y="560"/>
                    </a:lnTo>
                    <a:lnTo>
                      <a:pt x="526" y="564"/>
                    </a:lnTo>
                    <a:lnTo>
                      <a:pt x="522" y="564"/>
                    </a:lnTo>
                    <a:lnTo>
                      <a:pt x="522" y="566"/>
                    </a:lnTo>
                    <a:lnTo>
                      <a:pt x="522" y="570"/>
                    </a:lnTo>
                    <a:lnTo>
                      <a:pt x="526" y="574"/>
                    </a:lnTo>
                    <a:lnTo>
                      <a:pt x="526" y="578"/>
                    </a:lnTo>
                    <a:lnTo>
                      <a:pt x="522" y="578"/>
                    </a:lnTo>
                    <a:lnTo>
                      <a:pt x="522" y="582"/>
                    </a:lnTo>
                    <a:lnTo>
                      <a:pt x="518" y="582"/>
                    </a:lnTo>
                    <a:lnTo>
                      <a:pt x="522" y="582"/>
                    </a:lnTo>
                    <a:lnTo>
                      <a:pt x="522" y="586"/>
                    </a:lnTo>
                    <a:lnTo>
                      <a:pt x="522" y="590"/>
                    </a:lnTo>
                    <a:lnTo>
                      <a:pt x="518" y="590"/>
                    </a:lnTo>
                    <a:lnTo>
                      <a:pt x="514" y="590"/>
                    </a:lnTo>
                    <a:lnTo>
                      <a:pt x="514" y="594"/>
                    </a:lnTo>
                    <a:lnTo>
                      <a:pt x="510" y="596"/>
                    </a:lnTo>
                    <a:lnTo>
                      <a:pt x="514" y="596"/>
                    </a:lnTo>
                    <a:lnTo>
                      <a:pt x="510" y="596"/>
                    </a:lnTo>
                    <a:lnTo>
                      <a:pt x="506" y="596"/>
                    </a:lnTo>
                    <a:lnTo>
                      <a:pt x="506" y="600"/>
                    </a:lnTo>
                    <a:lnTo>
                      <a:pt x="506" y="604"/>
                    </a:lnTo>
                    <a:lnTo>
                      <a:pt x="506" y="608"/>
                    </a:lnTo>
                    <a:lnTo>
                      <a:pt x="506" y="612"/>
                    </a:lnTo>
                    <a:lnTo>
                      <a:pt x="506" y="616"/>
                    </a:lnTo>
                    <a:lnTo>
                      <a:pt x="510" y="620"/>
                    </a:lnTo>
                    <a:lnTo>
                      <a:pt x="510" y="624"/>
                    </a:lnTo>
                    <a:lnTo>
                      <a:pt x="510" y="626"/>
                    </a:lnTo>
                    <a:lnTo>
                      <a:pt x="510" y="630"/>
                    </a:lnTo>
                    <a:lnTo>
                      <a:pt x="514" y="630"/>
                    </a:lnTo>
                    <a:lnTo>
                      <a:pt x="514" y="626"/>
                    </a:lnTo>
                    <a:lnTo>
                      <a:pt x="518" y="626"/>
                    </a:lnTo>
                    <a:lnTo>
                      <a:pt x="522" y="626"/>
                    </a:lnTo>
                    <a:lnTo>
                      <a:pt x="526" y="626"/>
                    </a:lnTo>
                    <a:lnTo>
                      <a:pt x="522" y="626"/>
                    </a:lnTo>
                    <a:lnTo>
                      <a:pt x="526" y="630"/>
                    </a:lnTo>
                    <a:lnTo>
                      <a:pt x="526" y="634"/>
                    </a:lnTo>
                    <a:lnTo>
                      <a:pt x="522" y="634"/>
                    </a:lnTo>
                    <a:lnTo>
                      <a:pt x="522" y="638"/>
                    </a:lnTo>
                    <a:lnTo>
                      <a:pt x="526" y="638"/>
                    </a:lnTo>
                    <a:lnTo>
                      <a:pt x="526" y="642"/>
                    </a:lnTo>
                    <a:lnTo>
                      <a:pt x="522" y="646"/>
                    </a:lnTo>
                    <a:lnTo>
                      <a:pt x="526" y="650"/>
                    </a:lnTo>
                    <a:lnTo>
                      <a:pt x="530" y="652"/>
                    </a:lnTo>
                    <a:lnTo>
                      <a:pt x="532" y="656"/>
                    </a:lnTo>
                    <a:lnTo>
                      <a:pt x="540" y="656"/>
                    </a:lnTo>
                    <a:lnTo>
                      <a:pt x="548" y="656"/>
                    </a:lnTo>
                    <a:lnTo>
                      <a:pt x="552" y="656"/>
                    </a:lnTo>
                    <a:lnTo>
                      <a:pt x="556" y="656"/>
                    </a:lnTo>
                    <a:lnTo>
                      <a:pt x="560" y="656"/>
                    </a:lnTo>
                    <a:lnTo>
                      <a:pt x="562" y="656"/>
                    </a:lnTo>
                    <a:lnTo>
                      <a:pt x="566" y="656"/>
                    </a:lnTo>
                    <a:lnTo>
                      <a:pt x="570" y="660"/>
                    </a:lnTo>
                    <a:lnTo>
                      <a:pt x="574" y="660"/>
                    </a:lnTo>
                    <a:lnTo>
                      <a:pt x="578" y="660"/>
                    </a:lnTo>
                    <a:lnTo>
                      <a:pt x="578" y="664"/>
                    </a:lnTo>
                    <a:lnTo>
                      <a:pt x="578" y="660"/>
                    </a:lnTo>
                    <a:lnTo>
                      <a:pt x="574" y="660"/>
                    </a:lnTo>
                    <a:lnTo>
                      <a:pt x="570" y="660"/>
                    </a:lnTo>
                    <a:lnTo>
                      <a:pt x="566" y="660"/>
                    </a:lnTo>
                    <a:lnTo>
                      <a:pt x="562" y="660"/>
                    </a:lnTo>
                    <a:lnTo>
                      <a:pt x="562" y="664"/>
                    </a:lnTo>
                    <a:lnTo>
                      <a:pt x="562" y="668"/>
                    </a:lnTo>
                    <a:lnTo>
                      <a:pt x="560" y="664"/>
                    </a:lnTo>
                    <a:lnTo>
                      <a:pt x="556" y="668"/>
                    </a:lnTo>
                    <a:lnTo>
                      <a:pt x="548" y="672"/>
                    </a:lnTo>
                    <a:lnTo>
                      <a:pt x="544" y="672"/>
                    </a:lnTo>
                    <a:lnTo>
                      <a:pt x="544" y="676"/>
                    </a:lnTo>
                    <a:lnTo>
                      <a:pt x="544" y="680"/>
                    </a:lnTo>
                    <a:lnTo>
                      <a:pt x="544" y="682"/>
                    </a:lnTo>
                    <a:lnTo>
                      <a:pt x="544" y="686"/>
                    </a:lnTo>
                    <a:lnTo>
                      <a:pt x="544" y="690"/>
                    </a:lnTo>
                    <a:lnTo>
                      <a:pt x="544" y="694"/>
                    </a:lnTo>
                    <a:lnTo>
                      <a:pt x="540" y="694"/>
                    </a:lnTo>
                    <a:lnTo>
                      <a:pt x="536" y="694"/>
                    </a:lnTo>
                    <a:lnTo>
                      <a:pt x="532" y="694"/>
                    </a:lnTo>
                    <a:lnTo>
                      <a:pt x="530" y="690"/>
                    </a:lnTo>
                    <a:lnTo>
                      <a:pt x="526" y="690"/>
                    </a:lnTo>
                    <a:lnTo>
                      <a:pt x="522" y="686"/>
                    </a:lnTo>
                    <a:lnTo>
                      <a:pt x="522" y="682"/>
                    </a:lnTo>
                    <a:lnTo>
                      <a:pt x="526" y="682"/>
                    </a:lnTo>
                    <a:lnTo>
                      <a:pt x="526" y="686"/>
                    </a:lnTo>
                    <a:lnTo>
                      <a:pt x="530" y="686"/>
                    </a:lnTo>
                    <a:lnTo>
                      <a:pt x="530" y="682"/>
                    </a:lnTo>
                    <a:lnTo>
                      <a:pt x="530" y="680"/>
                    </a:lnTo>
                    <a:lnTo>
                      <a:pt x="530" y="682"/>
                    </a:lnTo>
                    <a:lnTo>
                      <a:pt x="532" y="686"/>
                    </a:lnTo>
                    <a:lnTo>
                      <a:pt x="530" y="686"/>
                    </a:lnTo>
                    <a:lnTo>
                      <a:pt x="532" y="686"/>
                    </a:lnTo>
                    <a:lnTo>
                      <a:pt x="532" y="682"/>
                    </a:lnTo>
                    <a:lnTo>
                      <a:pt x="532" y="680"/>
                    </a:lnTo>
                    <a:lnTo>
                      <a:pt x="536" y="680"/>
                    </a:lnTo>
                    <a:lnTo>
                      <a:pt x="540" y="676"/>
                    </a:lnTo>
                    <a:lnTo>
                      <a:pt x="540" y="672"/>
                    </a:lnTo>
                    <a:lnTo>
                      <a:pt x="536" y="672"/>
                    </a:lnTo>
                    <a:lnTo>
                      <a:pt x="532" y="676"/>
                    </a:lnTo>
                    <a:lnTo>
                      <a:pt x="530" y="676"/>
                    </a:lnTo>
                    <a:lnTo>
                      <a:pt x="530" y="680"/>
                    </a:lnTo>
                    <a:lnTo>
                      <a:pt x="526" y="680"/>
                    </a:lnTo>
                    <a:lnTo>
                      <a:pt x="526" y="676"/>
                    </a:lnTo>
                    <a:lnTo>
                      <a:pt x="522" y="680"/>
                    </a:lnTo>
                    <a:lnTo>
                      <a:pt x="526" y="680"/>
                    </a:lnTo>
                    <a:lnTo>
                      <a:pt x="522" y="682"/>
                    </a:lnTo>
                    <a:lnTo>
                      <a:pt x="522" y="680"/>
                    </a:lnTo>
                    <a:lnTo>
                      <a:pt x="522" y="682"/>
                    </a:lnTo>
                    <a:lnTo>
                      <a:pt x="518" y="682"/>
                    </a:lnTo>
                    <a:lnTo>
                      <a:pt x="522" y="686"/>
                    </a:lnTo>
                    <a:lnTo>
                      <a:pt x="518" y="686"/>
                    </a:lnTo>
                    <a:lnTo>
                      <a:pt x="514" y="682"/>
                    </a:lnTo>
                    <a:lnTo>
                      <a:pt x="510" y="682"/>
                    </a:lnTo>
                    <a:lnTo>
                      <a:pt x="510" y="680"/>
                    </a:lnTo>
                    <a:lnTo>
                      <a:pt x="514" y="680"/>
                    </a:lnTo>
                    <a:lnTo>
                      <a:pt x="518" y="680"/>
                    </a:lnTo>
                    <a:lnTo>
                      <a:pt x="518" y="682"/>
                    </a:lnTo>
                    <a:lnTo>
                      <a:pt x="518" y="680"/>
                    </a:lnTo>
                    <a:lnTo>
                      <a:pt x="514" y="680"/>
                    </a:lnTo>
                    <a:lnTo>
                      <a:pt x="514" y="676"/>
                    </a:lnTo>
                    <a:lnTo>
                      <a:pt x="514" y="672"/>
                    </a:lnTo>
                    <a:lnTo>
                      <a:pt x="518" y="672"/>
                    </a:lnTo>
                    <a:lnTo>
                      <a:pt x="522" y="672"/>
                    </a:lnTo>
                    <a:lnTo>
                      <a:pt x="526" y="672"/>
                    </a:lnTo>
                    <a:lnTo>
                      <a:pt x="526" y="668"/>
                    </a:lnTo>
                    <a:lnTo>
                      <a:pt x="530" y="668"/>
                    </a:lnTo>
                    <a:lnTo>
                      <a:pt x="532" y="668"/>
                    </a:lnTo>
                    <a:lnTo>
                      <a:pt x="536" y="668"/>
                    </a:lnTo>
                    <a:lnTo>
                      <a:pt x="532" y="668"/>
                    </a:lnTo>
                    <a:lnTo>
                      <a:pt x="530" y="668"/>
                    </a:lnTo>
                    <a:lnTo>
                      <a:pt x="526" y="664"/>
                    </a:lnTo>
                    <a:lnTo>
                      <a:pt x="522" y="668"/>
                    </a:lnTo>
                    <a:lnTo>
                      <a:pt x="522" y="664"/>
                    </a:lnTo>
                    <a:lnTo>
                      <a:pt x="522" y="668"/>
                    </a:lnTo>
                    <a:lnTo>
                      <a:pt x="518" y="668"/>
                    </a:lnTo>
                    <a:lnTo>
                      <a:pt x="514" y="668"/>
                    </a:lnTo>
                    <a:lnTo>
                      <a:pt x="518" y="668"/>
                    </a:lnTo>
                    <a:lnTo>
                      <a:pt x="518" y="672"/>
                    </a:lnTo>
                    <a:lnTo>
                      <a:pt x="514" y="672"/>
                    </a:lnTo>
                    <a:lnTo>
                      <a:pt x="514" y="676"/>
                    </a:lnTo>
                    <a:lnTo>
                      <a:pt x="514" y="680"/>
                    </a:lnTo>
                    <a:lnTo>
                      <a:pt x="510" y="680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2"/>
                    </a:lnTo>
                    <a:lnTo>
                      <a:pt x="510" y="672"/>
                    </a:lnTo>
                    <a:lnTo>
                      <a:pt x="514" y="664"/>
                    </a:lnTo>
                    <a:lnTo>
                      <a:pt x="510" y="664"/>
                    </a:lnTo>
                    <a:lnTo>
                      <a:pt x="510" y="668"/>
                    </a:lnTo>
                    <a:lnTo>
                      <a:pt x="506" y="668"/>
                    </a:lnTo>
                    <a:lnTo>
                      <a:pt x="506" y="672"/>
                    </a:lnTo>
                    <a:lnTo>
                      <a:pt x="504" y="672"/>
                    </a:lnTo>
                    <a:lnTo>
                      <a:pt x="504" y="668"/>
                    </a:lnTo>
                    <a:lnTo>
                      <a:pt x="506" y="668"/>
                    </a:lnTo>
                    <a:lnTo>
                      <a:pt x="506" y="664"/>
                    </a:lnTo>
                    <a:lnTo>
                      <a:pt x="504" y="664"/>
                    </a:lnTo>
                    <a:lnTo>
                      <a:pt x="506" y="664"/>
                    </a:lnTo>
                    <a:lnTo>
                      <a:pt x="506" y="660"/>
                    </a:lnTo>
                    <a:lnTo>
                      <a:pt x="506" y="656"/>
                    </a:lnTo>
                    <a:lnTo>
                      <a:pt x="504" y="656"/>
                    </a:lnTo>
                    <a:lnTo>
                      <a:pt x="506" y="660"/>
                    </a:lnTo>
                    <a:lnTo>
                      <a:pt x="510" y="660"/>
                    </a:lnTo>
                    <a:lnTo>
                      <a:pt x="510" y="656"/>
                    </a:lnTo>
                    <a:lnTo>
                      <a:pt x="514" y="656"/>
                    </a:lnTo>
                    <a:lnTo>
                      <a:pt x="514" y="660"/>
                    </a:lnTo>
                    <a:lnTo>
                      <a:pt x="518" y="660"/>
                    </a:lnTo>
                    <a:lnTo>
                      <a:pt x="518" y="656"/>
                    </a:lnTo>
                    <a:lnTo>
                      <a:pt x="514" y="660"/>
                    </a:lnTo>
                    <a:lnTo>
                      <a:pt x="514" y="656"/>
                    </a:lnTo>
                    <a:lnTo>
                      <a:pt x="518" y="652"/>
                    </a:lnTo>
                    <a:lnTo>
                      <a:pt x="518" y="656"/>
                    </a:lnTo>
                    <a:lnTo>
                      <a:pt x="522" y="656"/>
                    </a:lnTo>
                    <a:lnTo>
                      <a:pt x="522" y="660"/>
                    </a:lnTo>
                    <a:lnTo>
                      <a:pt x="518" y="660"/>
                    </a:lnTo>
                    <a:lnTo>
                      <a:pt x="518" y="664"/>
                    </a:lnTo>
                    <a:lnTo>
                      <a:pt x="514" y="664"/>
                    </a:lnTo>
                    <a:lnTo>
                      <a:pt x="518" y="664"/>
                    </a:lnTo>
                    <a:lnTo>
                      <a:pt x="522" y="664"/>
                    </a:lnTo>
                    <a:lnTo>
                      <a:pt x="522" y="660"/>
                    </a:lnTo>
                    <a:lnTo>
                      <a:pt x="522" y="656"/>
                    </a:lnTo>
                    <a:lnTo>
                      <a:pt x="518" y="656"/>
                    </a:lnTo>
                    <a:lnTo>
                      <a:pt x="518" y="652"/>
                    </a:lnTo>
                    <a:lnTo>
                      <a:pt x="522" y="652"/>
                    </a:lnTo>
                    <a:lnTo>
                      <a:pt x="522" y="650"/>
                    </a:lnTo>
                    <a:lnTo>
                      <a:pt x="518" y="646"/>
                    </a:lnTo>
                    <a:lnTo>
                      <a:pt x="514" y="646"/>
                    </a:lnTo>
                    <a:lnTo>
                      <a:pt x="514" y="642"/>
                    </a:lnTo>
                    <a:lnTo>
                      <a:pt x="510" y="642"/>
                    </a:lnTo>
                    <a:lnTo>
                      <a:pt x="510" y="646"/>
                    </a:lnTo>
                    <a:lnTo>
                      <a:pt x="514" y="646"/>
                    </a:lnTo>
                    <a:lnTo>
                      <a:pt x="518" y="646"/>
                    </a:lnTo>
                    <a:lnTo>
                      <a:pt x="518" y="650"/>
                    </a:lnTo>
                    <a:lnTo>
                      <a:pt x="522" y="650"/>
                    </a:lnTo>
                    <a:lnTo>
                      <a:pt x="518" y="652"/>
                    </a:lnTo>
                    <a:lnTo>
                      <a:pt x="518" y="650"/>
                    </a:lnTo>
                    <a:lnTo>
                      <a:pt x="514" y="650"/>
                    </a:lnTo>
                    <a:lnTo>
                      <a:pt x="510" y="646"/>
                    </a:lnTo>
                    <a:lnTo>
                      <a:pt x="510" y="650"/>
                    </a:lnTo>
                    <a:lnTo>
                      <a:pt x="514" y="650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4" y="652"/>
                    </a:lnTo>
                    <a:lnTo>
                      <a:pt x="510" y="652"/>
                    </a:lnTo>
                    <a:lnTo>
                      <a:pt x="510" y="656"/>
                    </a:lnTo>
                    <a:lnTo>
                      <a:pt x="510" y="652"/>
                    </a:lnTo>
                    <a:lnTo>
                      <a:pt x="510" y="650"/>
                    </a:lnTo>
                    <a:lnTo>
                      <a:pt x="510" y="656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6" y="652"/>
                    </a:lnTo>
                    <a:lnTo>
                      <a:pt x="506" y="656"/>
                    </a:lnTo>
                    <a:lnTo>
                      <a:pt x="506" y="652"/>
                    </a:lnTo>
                    <a:lnTo>
                      <a:pt x="506" y="650"/>
                    </a:lnTo>
                    <a:lnTo>
                      <a:pt x="504" y="650"/>
                    </a:lnTo>
                    <a:lnTo>
                      <a:pt x="504" y="646"/>
                    </a:lnTo>
                    <a:lnTo>
                      <a:pt x="500" y="642"/>
                    </a:lnTo>
                    <a:lnTo>
                      <a:pt x="504" y="642"/>
                    </a:lnTo>
                    <a:lnTo>
                      <a:pt x="504" y="646"/>
                    </a:lnTo>
                    <a:lnTo>
                      <a:pt x="506" y="646"/>
                    </a:lnTo>
                    <a:lnTo>
                      <a:pt x="504" y="642"/>
                    </a:lnTo>
                    <a:lnTo>
                      <a:pt x="504" y="638"/>
                    </a:lnTo>
                    <a:lnTo>
                      <a:pt x="500" y="638"/>
                    </a:lnTo>
                    <a:lnTo>
                      <a:pt x="500" y="634"/>
                    </a:lnTo>
                    <a:lnTo>
                      <a:pt x="496" y="634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504" y="630"/>
                    </a:lnTo>
                    <a:lnTo>
                      <a:pt x="504" y="626"/>
                    </a:lnTo>
                    <a:lnTo>
                      <a:pt x="506" y="626"/>
                    </a:lnTo>
                    <a:lnTo>
                      <a:pt x="504" y="626"/>
                    </a:lnTo>
                    <a:lnTo>
                      <a:pt x="504" y="624"/>
                    </a:lnTo>
                    <a:lnTo>
                      <a:pt x="506" y="624"/>
                    </a:lnTo>
                    <a:lnTo>
                      <a:pt x="504" y="624"/>
                    </a:lnTo>
                    <a:lnTo>
                      <a:pt x="504" y="626"/>
                    </a:lnTo>
                    <a:lnTo>
                      <a:pt x="504" y="630"/>
                    </a:lnTo>
                    <a:lnTo>
                      <a:pt x="500" y="630"/>
                    </a:lnTo>
                    <a:lnTo>
                      <a:pt x="500" y="626"/>
                    </a:lnTo>
                    <a:lnTo>
                      <a:pt x="496" y="626"/>
                    </a:lnTo>
                    <a:lnTo>
                      <a:pt x="496" y="624"/>
                    </a:lnTo>
                    <a:lnTo>
                      <a:pt x="500" y="624"/>
                    </a:lnTo>
                    <a:lnTo>
                      <a:pt x="504" y="624"/>
                    </a:lnTo>
                    <a:lnTo>
                      <a:pt x="500" y="624"/>
                    </a:lnTo>
                    <a:lnTo>
                      <a:pt x="496" y="624"/>
                    </a:lnTo>
                    <a:lnTo>
                      <a:pt x="492" y="620"/>
                    </a:lnTo>
                    <a:lnTo>
                      <a:pt x="492" y="616"/>
                    </a:lnTo>
                    <a:lnTo>
                      <a:pt x="496" y="616"/>
                    </a:lnTo>
                    <a:lnTo>
                      <a:pt x="500" y="620"/>
                    </a:lnTo>
                    <a:lnTo>
                      <a:pt x="504" y="620"/>
                    </a:lnTo>
                    <a:lnTo>
                      <a:pt x="500" y="616"/>
                    </a:lnTo>
                    <a:lnTo>
                      <a:pt x="496" y="616"/>
                    </a:lnTo>
                    <a:lnTo>
                      <a:pt x="496" y="612"/>
                    </a:lnTo>
                    <a:lnTo>
                      <a:pt x="500" y="612"/>
                    </a:lnTo>
                    <a:lnTo>
                      <a:pt x="504" y="616"/>
                    </a:lnTo>
                    <a:lnTo>
                      <a:pt x="504" y="612"/>
                    </a:lnTo>
                    <a:lnTo>
                      <a:pt x="500" y="612"/>
                    </a:lnTo>
                    <a:lnTo>
                      <a:pt x="496" y="612"/>
                    </a:lnTo>
                    <a:lnTo>
                      <a:pt x="496" y="608"/>
                    </a:lnTo>
                    <a:lnTo>
                      <a:pt x="500" y="608"/>
                    </a:lnTo>
                    <a:lnTo>
                      <a:pt x="496" y="608"/>
                    </a:lnTo>
                    <a:lnTo>
                      <a:pt x="496" y="604"/>
                    </a:lnTo>
                    <a:lnTo>
                      <a:pt x="500" y="604"/>
                    </a:lnTo>
                    <a:lnTo>
                      <a:pt x="504" y="604"/>
                    </a:lnTo>
                    <a:lnTo>
                      <a:pt x="504" y="608"/>
                    </a:lnTo>
                    <a:lnTo>
                      <a:pt x="504" y="604"/>
                    </a:lnTo>
                    <a:lnTo>
                      <a:pt x="500" y="604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504" y="600"/>
                    </a:lnTo>
                    <a:lnTo>
                      <a:pt x="500" y="600"/>
                    </a:lnTo>
                    <a:lnTo>
                      <a:pt x="500" y="596"/>
                    </a:lnTo>
                    <a:lnTo>
                      <a:pt x="500" y="594"/>
                    </a:lnTo>
                    <a:lnTo>
                      <a:pt x="504" y="594"/>
                    </a:lnTo>
                    <a:lnTo>
                      <a:pt x="500" y="594"/>
                    </a:lnTo>
                    <a:lnTo>
                      <a:pt x="500" y="596"/>
                    </a:lnTo>
                    <a:lnTo>
                      <a:pt x="500" y="600"/>
                    </a:lnTo>
                    <a:lnTo>
                      <a:pt x="496" y="604"/>
                    </a:lnTo>
                    <a:lnTo>
                      <a:pt x="496" y="600"/>
                    </a:lnTo>
                    <a:lnTo>
                      <a:pt x="496" y="596"/>
                    </a:lnTo>
                    <a:lnTo>
                      <a:pt x="496" y="594"/>
                    </a:lnTo>
                    <a:lnTo>
                      <a:pt x="496" y="590"/>
                    </a:lnTo>
                    <a:lnTo>
                      <a:pt x="492" y="590"/>
                    </a:lnTo>
                    <a:lnTo>
                      <a:pt x="496" y="590"/>
                    </a:lnTo>
                    <a:lnTo>
                      <a:pt x="496" y="586"/>
                    </a:lnTo>
                    <a:lnTo>
                      <a:pt x="500" y="586"/>
                    </a:lnTo>
                    <a:lnTo>
                      <a:pt x="496" y="586"/>
                    </a:lnTo>
                    <a:lnTo>
                      <a:pt x="496" y="582"/>
                    </a:lnTo>
                    <a:lnTo>
                      <a:pt x="500" y="582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496" y="578"/>
                    </a:lnTo>
                    <a:lnTo>
                      <a:pt x="496" y="574"/>
                    </a:lnTo>
                    <a:lnTo>
                      <a:pt x="492" y="574"/>
                    </a:lnTo>
                    <a:lnTo>
                      <a:pt x="492" y="570"/>
                    </a:lnTo>
                    <a:lnTo>
                      <a:pt x="496" y="570"/>
                    </a:lnTo>
                    <a:lnTo>
                      <a:pt x="496" y="574"/>
                    </a:lnTo>
                    <a:lnTo>
                      <a:pt x="496" y="570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6" y="574"/>
                    </a:lnTo>
                    <a:lnTo>
                      <a:pt x="506" y="578"/>
                    </a:lnTo>
                    <a:lnTo>
                      <a:pt x="506" y="574"/>
                    </a:lnTo>
                    <a:lnTo>
                      <a:pt x="510" y="574"/>
                    </a:lnTo>
                    <a:lnTo>
                      <a:pt x="506" y="574"/>
                    </a:lnTo>
                    <a:lnTo>
                      <a:pt x="506" y="570"/>
                    </a:lnTo>
                    <a:lnTo>
                      <a:pt x="504" y="570"/>
                    </a:lnTo>
                    <a:lnTo>
                      <a:pt x="506" y="570"/>
                    </a:lnTo>
                    <a:lnTo>
                      <a:pt x="510" y="570"/>
                    </a:lnTo>
                    <a:lnTo>
                      <a:pt x="506" y="570"/>
                    </a:lnTo>
                    <a:lnTo>
                      <a:pt x="504" y="566"/>
                    </a:lnTo>
                    <a:lnTo>
                      <a:pt x="504" y="564"/>
                    </a:lnTo>
                    <a:lnTo>
                      <a:pt x="504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2" y="566"/>
                    </a:lnTo>
                    <a:lnTo>
                      <a:pt x="488" y="566"/>
                    </a:lnTo>
                    <a:lnTo>
                      <a:pt x="492" y="564"/>
                    </a:lnTo>
                    <a:lnTo>
                      <a:pt x="496" y="564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496" y="566"/>
                    </a:lnTo>
                    <a:lnTo>
                      <a:pt x="496" y="564"/>
                    </a:lnTo>
                    <a:lnTo>
                      <a:pt x="500" y="564"/>
                    </a:lnTo>
                    <a:lnTo>
                      <a:pt x="496" y="564"/>
                    </a:lnTo>
                    <a:lnTo>
                      <a:pt x="492" y="560"/>
                    </a:lnTo>
                    <a:lnTo>
                      <a:pt x="496" y="556"/>
                    </a:lnTo>
                    <a:lnTo>
                      <a:pt x="500" y="556"/>
                    </a:lnTo>
                    <a:lnTo>
                      <a:pt x="500" y="560"/>
                    </a:lnTo>
                    <a:lnTo>
                      <a:pt x="500" y="556"/>
                    </a:lnTo>
                    <a:lnTo>
                      <a:pt x="500" y="552"/>
                    </a:lnTo>
                    <a:lnTo>
                      <a:pt x="496" y="550"/>
                    </a:lnTo>
                    <a:lnTo>
                      <a:pt x="496" y="546"/>
                    </a:lnTo>
                    <a:lnTo>
                      <a:pt x="492" y="550"/>
                    </a:lnTo>
                    <a:lnTo>
                      <a:pt x="496" y="550"/>
                    </a:lnTo>
                    <a:lnTo>
                      <a:pt x="492" y="550"/>
                    </a:lnTo>
                    <a:lnTo>
                      <a:pt x="488" y="550"/>
                    </a:lnTo>
                    <a:lnTo>
                      <a:pt x="484" y="546"/>
                    </a:lnTo>
                    <a:lnTo>
                      <a:pt x="484" y="542"/>
                    </a:lnTo>
                    <a:lnTo>
                      <a:pt x="488" y="542"/>
                    </a:lnTo>
                    <a:lnTo>
                      <a:pt x="484" y="542"/>
                    </a:lnTo>
                    <a:lnTo>
                      <a:pt x="484" y="546"/>
                    </a:lnTo>
                    <a:lnTo>
                      <a:pt x="480" y="546"/>
                    </a:lnTo>
                    <a:lnTo>
                      <a:pt x="476" y="546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80" y="546"/>
                    </a:lnTo>
                    <a:lnTo>
                      <a:pt x="480" y="550"/>
                    </a:lnTo>
                    <a:lnTo>
                      <a:pt x="480" y="552"/>
                    </a:lnTo>
                    <a:lnTo>
                      <a:pt x="476" y="552"/>
                    </a:lnTo>
                    <a:lnTo>
                      <a:pt x="476" y="550"/>
                    </a:lnTo>
                    <a:lnTo>
                      <a:pt x="476" y="546"/>
                    </a:lnTo>
                    <a:lnTo>
                      <a:pt x="476" y="542"/>
                    </a:lnTo>
                    <a:lnTo>
                      <a:pt x="480" y="542"/>
                    </a:lnTo>
                    <a:lnTo>
                      <a:pt x="480" y="538"/>
                    </a:lnTo>
                    <a:lnTo>
                      <a:pt x="484" y="538"/>
                    </a:lnTo>
                    <a:lnTo>
                      <a:pt x="484" y="542"/>
                    </a:lnTo>
                    <a:lnTo>
                      <a:pt x="484" y="538"/>
                    </a:lnTo>
                    <a:lnTo>
                      <a:pt x="484" y="534"/>
                    </a:lnTo>
                    <a:lnTo>
                      <a:pt x="488" y="534"/>
                    </a:lnTo>
                    <a:lnTo>
                      <a:pt x="488" y="530"/>
                    </a:lnTo>
                    <a:lnTo>
                      <a:pt x="492" y="526"/>
                    </a:lnTo>
                    <a:lnTo>
                      <a:pt x="496" y="526"/>
                    </a:ln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500" y="530"/>
                    </a:lnTo>
                    <a:lnTo>
                      <a:pt x="500" y="534"/>
                    </a:lnTo>
                    <a:lnTo>
                      <a:pt x="496" y="538"/>
                    </a:lnTo>
                    <a:lnTo>
                      <a:pt x="496" y="534"/>
                    </a:lnTo>
                    <a:lnTo>
                      <a:pt x="492" y="534"/>
                    </a:lnTo>
                    <a:lnTo>
                      <a:pt x="496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0" y="538"/>
                    </a:lnTo>
                    <a:lnTo>
                      <a:pt x="504" y="538"/>
                    </a:lnTo>
                    <a:lnTo>
                      <a:pt x="500" y="538"/>
                    </a:lnTo>
                    <a:lnTo>
                      <a:pt x="500" y="534"/>
                    </a:lnTo>
                    <a:lnTo>
                      <a:pt x="504" y="534"/>
                    </a:lnTo>
                    <a:lnTo>
                      <a:pt x="504" y="538"/>
                    </a:lnTo>
                    <a:lnTo>
                      <a:pt x="504" y="542"/>
                    </a:lnTo>
                    <a:lnTo>
                      <a:pt x="500" y="542"/>
                    </a:lnTo>
                    <a:lnTo>
                      <a:pt x="504" y="546"/>
                    </a:lnTo>
                    <a:lnTo>
                      <a:pt x="504" y="542"/>
                    </a:lnTo>
                    <a:lnTo>
                      <a:pt x="504" y="538"/>
                    </a:lnTo>
                    <a:lnTo>
                      <a:pt x="506" y="538"/>
                    </a:lnTo>
                    <a:lnTo>
                      <a:pt x="506" y="534"/>
                    </a:lnTo>
                    <a:lnTo>
                      <a:pt x="506" y="538"/>
                    </a:lnTo>
                    <a:lnTo>
                      <a:pt x="504" y="538"/>
                    </a:lnTo>
                    <a:lnTo>
                      <a:pt x="506" y="534"/>
                    </a:lnTo>
                    <a:lnTo>
                      <a:pt x="506" y="530"/>
                    </a:lnTo>
                    <a:lnTo>
                      <a:pt x="504" y="530"/>
                    </a:lnTo>
                    <a:lnTo>
                      <a:pt x="506" y="526"/>
                    </a:lnTo>
                    <a:lnTo>
                      <a:pt x="510" y="526"/>
                    </a:lnTo>
                    <a:lnTo>
                      <a:pt x="510" y="524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0"/>
                    </a:lnTo>
                    <a:lnTo>
                      <a:pt x="510" y="520"/>
                    </a:lnTo>
                    <a:lnTo>
                      <a:pt x="514" y="520"/>
                    </a:lnTo>
                    <a:lnTo>
                      <a:pt x="518" y="520"/>
                    </a:lnTo>
                    <a:lnTo>
                      <a:pt x="514" y="520"/>
                    </a:lnTo>
                    <a:lnTo>
                      <a:pt x="510" y="520"/>
                    </a:lnTo>
                    <a:lnTo>
                      <a:pt x="510" y="516"/>
                    </a:lnTo>
                    <a:lnTo>
                      <a:pt x="510" y="520"/>
                    </a:lnTo>
                    <a:lnTo>
                      <a:pt x="506" y="516"/>
                    </a:lnTo>
                    <a:lnTo>
                      <a:pt x="510" y="516"/>
                    </a:lnTo>
                    <a:lnTo>
                      <a:pt x="510" y="512"/>
                    </a:lnTo>
                    <a:lnTo>
                      <a:pt x="506" y="512"/>
                    </a:lnTo>
                    <a:lnTo>
                      <a:pt x="510" y="512"/>
                    </a:lnTo>
                    <a:lnTo>
                      <a:pt x="514" y="508"/>
                    </a:lnTo>
                    <a:lnTo>
                      <a:pt x="518" y="508"/>
                    </a:lnTo>
                    <a:lnTo>
                      <a:pt x="518" y="504"/>
                    </a:lnTo>
                    <a:lnTo>
                      <a:pt x="518" y="500"/>
                    </a:lnTo>
                    <a:lnTo>
                      <a:pt x="514" y="496"/>
                    </a:lnTo>
                    <a:lnTo>
                      <a:pt x="510" y="496"/>
                    </a:lnTo>
                    <a:lnTo>
                      <a:pt x="510" y="494"/>
                    </a:lnTo>
                    <a:lnTo>
                      <a:pt x="514" y="490"/>
                    </a:lnTo>
                    <a:lnTo>
                      <a:pt x="518" y="486"/>
                    </a:lnTo>
                    <a:lnTo>
                      <a:pt x="514" y="486"/>
                    </a:lnTo>
                    <a:lnTo>
                      <a:pt x="514" y="486"/>
                    </a:lnTo>
                    <a:lnTo>
                      <a:pt x="514" y="486"/>
                    </a:lnTo>
                    <a:close/>
                    <a:moveTo>
                      <a:pt x="504" y="512"/>
                    </a:moveTo>
                    <a:lnTo>
                      <a:pt x="504" y="508"/>
                    </a:lnTo>
                    <a:lnTo>
                      <a:pt x="500" y="508"/>
                    </a:lnTo>
                    <a:lnTo>
                      <a:pt x="504" y="508"/>
                    </a:lnTo>
                    <a:lnTo>
                      <a:pt x="504" y="512"/>
                    </a:lnTo>
                    <a:lnTo>
                      <a:pt x="504" y="512"/>
                    </a:lnTo>
                    <a:lnTo>
                      <a:pt x="504" y="512"/>
                    </a:lnTo>
                    <a:close/>
                    <a:moveTo>
                      <a:pt x="476" y="590"/>
                    </a:moveTo>
                    <a:lnTo>
                      <a:pt x="476" y="586"/>
                    </a:lnTo>
                    <a:lnTo>
                      <a:pt x="480" y="586"/>
                    </a:lnTo>
                    <a:lnTo>
                      <a:pt x="480" y="590"/>
                    </a:lnTo>
                    <a:lnTo>
                      <a:pt x="476" y="590"/>
                    </a:lnTo>
                    <a:lnTo>
                      <a:pt x="476" y="590"/>
                    </a:lnTo>
                    <a:lnTo>
                      <a:pt x="476" y="590"/>
                    </a:lnTo>
                    <a:close/>
                    <a:moveTo>
                      <a:pt x="484" y="590"/>
                    </a:moveTo>
                    <a:lnTo>
                      <a:pt x="480" y="590"/>
                    </a:lnTo>
                    <a:lnTo>
                      <a:pt x="480" y="586"/>
                    </a:lnTo>
                    <a:lnTo>
                      <a:pt x="484" y="586"/>
                    </a:lnTo>
                    <a:lnTo>
                      <a:pt x="484" y="590"/>
                    </a:lnTo>
                    <a:lnTo>
                      <a:pt x="484" y="590"/>
                    </a:lnTo>
                    <a:lnTo>
                      <a:pt x="484" y="590"/>
                    </a:lnTo>
                    <a:close/>
                    <a:moveTo>
                      <a:pt x="500" y="672"/>
                    </a:moveTo>
                    <a:lnTo>
                      <a:pt x="500" y="668"/>
                    </a:lnTo>
                    <a:lnTo>
                      <a:pt x="500" y="664"/>
                    </a:lnTo>
                    <a:lnTo>
                      <a:pt x="504" y="664"/>
                    </a:lnTo>
                    <a:lnTo>
                      <a:pt x="504" y="668"/>
                    </a:lnTo>
                    <a:lnTo>
                      <a:pt x="504" y="672"/>
                    </a:lnTo>
                    <a:lnTo>
                      <a:pt x="500" y="672"/>
                    </a:lnTo>
                    <a:lnTo>
                      <a:pt x="500" y="672"/>
                    </a:lnTo>
                    <a:lnTo>
                      <a:pt x="500" y="672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484" y="534"/>
                    </a:moveTo>
                    <a:lnTo>
                      <a:pt x="484" y="530"/>
                    </a:lnTo>
                    <a:lnTo>
                      <a:pt x="488" y="530"/>
                    </a:lnTo>
                    <a:lnTo>
                      <a:pt x="484" y="530"/>
                    </a:lnTo>
                    <a:lnTo>
                      <a:pt x="488" y="530"/>
                    </a:lnTo>
                    <a:lnTo>
                      <a:pt x="488" y="526"/>
                    </a:lnTo>
                    <a:lnTo>
                      <a:pt x="488" y="530"/>
                    </a:lnTo>
                    <a:lnTo>
                      <a:pt x="488" y="534"/>
                    </a:lnTo>
                    <a:lnTo>
                      <a:pt x="484" y="534"/>
                    </a:lnTo>
                    <a:lnTo>
                      <a:pt x="484" y="534"/>
                    </a:lnTo>
                    <a:lnTo>
                      <a:pt x="484" y="534"/>
                    </a:lnTo>
                    <a:close/>
                    <a:moveTo>
                      <a:pt x="500" y="556"/>
                    </a:moveTo>
                    <a:lnTo>
                      <a:pt x="496" y="556"/>
                    </a:lnTo>
                    <a:lnTo>
                      <a:pt x="496" y="552"/>
                    </a:lnTo>
                    <a:lnTo>
                      <a:pt x="500" y="552"/>
                    </a:lnTo>
                    <a:lnTo>
                      <a:pt x="500" y="556"/>
                    </a:lnTo>
                    <a:lnTo>
                      <a:pt x="500" y="556"/>
                    </a:lnTo>
                    <a:lnTo>
                      <a:pt x="500" y="556"/>
                    </a:lnTo>
                    <a:close/>
                    <a:moveTo>
                      <a:pt x="496" y="582"/>
                    </a:moveTo>
                    <a:lnTo>
                      <a:pt x="492" y="582"/>
                    </a:lnTo>
                    <a:lnTo>
                      <a:pt x="492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484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76" y="596"/>
                    </a:moveTo>
                    <a:lnTo>
                      <a:pt x="476" y="594"/>
                    </a:lnTo>
                    <a:lnTo>
                      <a:pt x="480" y="594"/>
                    </a:lnTo>
                    <a:lnTo>
                      <a:pt x="480" y="596"/>
                    </a:lnTo>
                    <a:lnTo>
                      <a:pt x="476" y="596"/>
                    </a:lnTo>
                    <a:lnTo>
                      <a:pt x="476" y="596"/>
                    </a:lnTo>
                    <a:lnTo>
                      <a:pt x="476" y="596"/>
                    </a:lnTo>
                    <a:close/>
                    <a:moveTo>
                      <a:pt x="500" y="642"/>
                    </a:moveTo>
                    <a:lnTo>
                      <a:pt x="496" y="642"/>
                    </a:lnTo>
                    <a:lnTo>
                      <a:pt x="496" y="638"/>
                    </a:ln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488" y="660"/>
                    </a:moveTo>
                    <a:lnTo>
                      <a:pt x="488" y="656"/>
                    </a:lnTo>
                    <a:lnTo>
                      <a:pt x="492" y="656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06" y="682"/>
                    </a:moveTo>
                    <a:lnTo>
                      <a:pt x="506" y="686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04" y="686"/>
                    </a:lnTo>
                    <a:lnTo>
                      <a:pt x="506" y="686"/>
                    </a:lnTo>
                    <a:lnTo>
                      <a:pt x="506" y="682"/>
                    </a:lnTo>
                    <a:lnTo>
                      <a:pt x="506" y="682"/>
                    </a:lnTo>
                    <a:lnTo>
                      <a:pt x="506" y="682"/>
                    </a:lnTo>
                    <a:close/>
                    <a:moveTo>
                      <a:pt x="552" y="706"/>
                    </a:moveTo>
                    <a:lnTo>
                      <a:pt x="552" y="702"/>
                    </a:lnTo>
                    <a:lnTo>
                      <a:pt x="548" y="702"/>
                    </a:lnTo>
                    <a:lnTo>
                      <a:pt x="552" y="702"/>
                    </a:lnTo>
                    <a:lnTo>
                      <a:pt x="556" y="702"/>
                    </a:lnTo>
                    <a:lnTo>
                      <a:pt x="552" y="702"/>
                    </a:lnTo>
                    <a:lnTo>
                      <a:pt x="552" y="706"/>
                    </a:lnTo>
                    <a:lnTo>
                      <a:pt x="552" y="706"/>
                    </a:lnTo>
                    <a:lnTo>
                      <a:pt x="552" y="706"/>
                    </a:lnTo>
                    <a:close/>
                    <a:moveTo>
                      <a:pt x="0" y="176"/>
                    </a:moveTo>
                    <a:lnTo>
                      <a:pt x="0" y="172"/>
                    </a:lnTo>
                    <a:lnTo>
                      <a:pt x="2" y="172"/>
                    </a:lnTo>
                    <a:lnTo>
                      <a:pt x="0" y="172"/>
                    </a:lnTo>
                    <a:lnTo>
                      <a:pt x="0" y="176"/>
                    </a:lnTo>
                    <a:lnTo>
                      <a:pt x="0" y="176"/>
                    </a:lnTo>
                    <a:lnTo>
                      <a:pt x="0" y="176"/>
                    </a:lnTo>
                    <a:close/>
                    <a:moveTo>
                      <a:pt x="506" y="470"/>
                    </a:moveTo>
                    <a:lnTo>
                      <a:pt x="506" y="474"/>
                    </a:lnTo>
                    <a:lnTo>
                      <a:pt x="504" y="474"/>
                    </a:lnTo>
                    <a:lnTo>
                      <a:pt x="504" y="478"/>
                    </a:lnTo>
                    <a:lnTo>
                      <a:pt x="500" y="478"/>
                    </a:lnTo>
                    <a:lnTo>
                      <a:pt x="496" y="478"/>
                    </a:lnTo>
                    <a:lnTo>
                      <a:pt x="496" y="474"/>
                    </a:lnTo>
                    <a:lnTo>
                      <a:pt x="496" y="470"/>
                    </a:lnTo>
                    <a:lnTo>
                      <a:pt x="500" y="470"/>
                    </a:lnTo>
                    <a:lnTo>
                      <a:pt x="500" y="464"/>
                    </a:lnTo>
                    <a:lnTo>
                      <a:pt x="496" y="464"/>
                    </a:lnTo>
                    <a:lnTo>
                      <a:pt x="496" y="460"/>
                    </a:lnTo>
                    <a:lnTo>
                      <a:pt x="500" y="456"/>
                    </a:lnTo>
                    <a:lnTo>
                      <a:pt x="500" y="452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0" y="448"/>
                    </a:lnTo>
                    <a:lnTo>
                      <a:pt x="504" y="448"/>
                    </a:lnTo>
                    <a:lnTo>
                      <a:pt x="506" y="448"/>
                    </a:lnTo>
                    <a:lnTo>
                      <a:pt x="506" y="452"/>
                    </a:lnTo>
                    <a:lnTo>
                      <a:pt x="506" y="456"/>
                    </a:lnTo>
                    <a:lnTo>
                      <a:pt x="510" y="456"/>
                    </a:lnTo>
                    <a:lnTo>
                      <a:pt x="506" y="460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4"/>
                    </a:lnTo>
                    <a:lnTo>
                      <a:pt x="504" y="464"/>
                    </a:lnTo>
                    <a:lnTo>
                      <a:pt x="504" y="460"/>
                    </a:lnTo>
                    <a:lnTo>
                      <a:pt x="504" y="464"/>
                    </a:lnTo>
                    <a:lnTo>
                      <a:pt x="506" y="466"/>
                    </a:lnTo>
                    <a:lnTo>
                      <a:pt x="506" y="470"/>
                    </a:lnTo>
                    <a:lnTo>
                      <a:pt x="506" y="470"/>
                    </a:lnTo>
                    <a:lnTo>
                      <a:pt x="506" y="470"/>
                    </a:lnTo>
                    <a:close/>
                    <a:moveTo>
                      <a:pt x="506" y="464"/>
                    </a:moveTo>
                    <a:lnTo>
                      <a:pt x="506" y="460"/>
                    </a:lnTo>
                    <a:lnTo>
                      <a:pt x="504" y="460"/>
                    </a:lnTo>
                    <a:lnTo>
                      <a:pt x="506" y="460"/>
                    </a:lnTo>
                    <a:lnTo>
                      <a:pt x="506" y="464"/>
                    </a:lnTo>
                    <a:lnTo>
                      <a:pt x="506" y="464"/>
                    </a:lnTo>
                    <a:lnTo>
                      <a:pt x="506" y="464"/>
                    </a:lnTo>
                    <a:close/>
                    <a:moveTo>
                      <a:pt x="488" y="486"/>
                    </a:moveTo>
                    <a:lnTo>
                      <a:pt x="488" y="482"/>
                    </a:lnTo>
                    <a:lnTo>
                      <a:pt x="492" y="482"/>
                    </a:lnTo>
                    <a:lnTo>
                      <a:pt x="492" y="486"/>
                    </a:lnTo>
                    <a:lnTo>
                      <a:pt x="488" y="486"/>
                    </a:lnTo>
                    <a:lnTo>
                      <a:pt x="488" y="486"/>
                    </a:lnTo>
                    <a:lnTo>
                      <a:pt x="488" y="486"/>
                    </a:lnTo>
                    <a:close/>
                    <a:moveTo>
                      <a:pt x="500" y="490"/>
                    </a:moveTo>
                    <a:lnTo>
                      <a:pt x="504" y="490"/>
                    </a:lnTo>
                    <a:lnTo>
                      <a:pt x="504" y="486"/>
                    </a:lnTo>
                    <a:lnTo>
                      <a:pt x="504" y="490"/>
                    </a:lnTo>
                    <a:lnTo>
                      <a:pt x="500" y="490"/>
                    </a:lnTo>
                    <a:lnTo>
                      <a:pt x="500" y="490"/>
                    </a:lnTo>
                    <a:lnTo>
                      <a:pt x="500" y="490"/>
                    </a:lnTo>
                    <a:close/>
                    <a:moveTo>
                      <a:pt x="510" y="494"/>
                    </a:moveTo>
                    <a:lnTo>
                      <a:pt x="510" y="490"/>
                    </a:lnTo>
                    <a:lnTo>
                      <a:pt x="510" y="494"/>
                    </a:lnTo>
                    <a:lnTo>
                      <a:pt x="510" y="494"/>
                    </a:lnTo>
                    <a:lnTo>
                      <a:pt x="510" y="494"/>
                    </a:lnTo>
                    <a:close/>
                    <a:moveTo>
                      <a:pt x="504" y="494"/>
                    </a:moveTo>
                    <a:lnTo>
                      <a:pt x="504" y="490"/>
                    </a:lnTo>
                    <a:lnTo>
                      <a:pt x="506" y="494"/>
                    </a:lnTo>
                    <a:lnTo>
                      <a:pt x="504" y="494"/>
                    </a:lnTo>
                    <a:lnTo>
                      <a:pt x="504" y="494"/>
                    </a:lnTo>
                    <a:lnTo>
                      <a:pt x="504" y="494"/>
                    </a:lnTo>
                    <a:close/>
                    <a:moveTo>
                      <a:pt x="504" y="496"/>
                    </a:moveTo>
                    <a:lnTo>
                      <a:pt x="500" y="496"/>
                    </a:lnTo>
                    <a:lnTo>
                      <a:pt x="500" y="494"/>
                    </a:lnTo>
                    <a:lnTo>
                      <a:pt x="504" y="494"/>
                    </a:lnTo>
                    <a:lnTo>
                      <a:pt x="504" y="496"/>
                    </a:lnTo>
                    <a:lnTo>
                      <a:pt x="504" y="496"/>
                    </a:lnTo>
                    <a:lnTo>
                      <a:pt x="504" y="496"/>
                    </a:lnTo>
                    <a:close/>
                    <a:moveTo>
                      <a:pt x="500" y="496"/>
                    </a:moveTo>
                    <a:lnTo>
                      <a:pt x="500" y="494"/>
                    </a:lnTo>
                    <a:lnTo>
                      <a:pt x="500" y="496"/>
                    </a:lnTo>
                    <a:lnTo>
                      <a:pt x="500" y="496"/>
                    </a:lnTo>
                    <a:lnTo>
                      <a:pt x="500" y="496"/>
                    </a:lnTo>
                    <a:close/>
                    <a:moveTo>
                      <a:pt x="500" y="500"/>
                    </a:moveTo>
                    <a:lnTo>
                      <a:pt x="500" y="496"/>
                    </a:lnTo>
                    <a:lnTo>
                      <a:pt x="500" y="500"/>
                    </a:lnTo>
                    <a:lnTo>
                      <a:pt x="500" y="500"/>
                    </a:lnTo>
                    <a:lnTo>
                      <a:pt x="500" y="500"/>
                    </a:lnTo>
                    <a:close/>
                    <a:moveTo>
                      <a:pt x="514" y="508"/>
                    </a:moveTo>
                    <a:lnTo>
                      <a:pt x="510" y="508"/>
                    </a:lnTo>
                    <a:lnTo>
                      <a:pt x="510" y="512"/>
                    </a:lnTo>
                    <a:lnTo>
                      <a:pt x="506" y="508"/>
                    </a:lnTo>
                    <a:lnTo>
                      <a:pt x="510" y="508"/>
                    </a:lnTo>
                    <a:lnTo>
                      <a:pt x="506" y="508"/>
                    </a:lnTo>
                    <a:lnTo>
                      <a:pt x="506" y="504"/>
                    </a:lnTo>
                    <a:lnTo>
                      <a:pt x="510" y="504"/>
                    </a:lnTo>
                    <a:lnTo>
                      <a:pt x="510" y="500"/>
                    </a:lnTo>
                    <a:lnTo>
                      <a:pt x="514" y="500"/>
                    </a:lnTo>
                    <a:lnTo>
                      <a:pt x="518" y="500"/>
                    </a:lnTo>
                    <a:lnTo>
                      <a:pt x="518" y="504"/>
                    </a:lnTo>
                    <a:lnTo>
                      <a:pt x="514" y="504"/>
                    </a:lnTo>
                    <a:lnTo>
                      <a:pt x="518" y="504"/>
                    </a:lnTo>
                    <a:lnTo>
                      <a:pt x="514" y="508"/>
                    </a:lnTo>
                    <a:lnTo>
                      <a:pt x="514" y="508"/>
                    </a:lnTo>
                    <a:lnTo>
                      <a:pt x="514" y="508"/>
                    </a:lnTo>
                    <a:close/>
                    <a:moveTo>
                      <a:pt x="496" y="504"/>
                    </a:moveTo>
                    <a:lnTo>
                      <a:pt x="492" y="500"/>
                    </a:lnTo>
                    <a:lnTo>
                      <a:pt x="496" y="500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0" y="504"/>
                    </a:moveTo>
                    <a:lnTo>
                      <a:pt x="500" y="500"/>
                    </a:lnTo>
                    <a:lnTo>
                      <a:pt x="500" y="504"/>
                    </a:lnTo>
                    <a:lnTo>
                      <a:pt x="500" y="504"/>
                    </a:lnTo>
                    <a:lnTo>
                      <a:pt x="500" y="504"/>
                    </a:lnTo>
                    <a:close/>
                    <a:moveTo>
                      <a:pt x="496" y="504"/>
                    </a:moveTo>
                    <a:lnTo>
                      <a:pt x="496" y="500"/>
                    </a:lnTo>
                    <a:lnTo>
                      <a:pt x="500" y="504"/>
                    </a:lnTo>
                    <a:lnTo>
                      <a:pt x="496" y="504"/>
                    </a:lnTo>
                    <a:lnTo>
                      <a:pt x="496" y="504"/>
                    </a:lnTo>
                    <a:lnTo>
                      <a:pt x="496" y="504"/>
                    </a:lnTo>
                    <a:close/>
                    <a:moveTo>
                      <a:pt x="504" y="508"/>
                    </a:moveTo>
                    <a:lnTo>
                      <a:pt x="504" y="504"/>
                    </a:lnTo>
                    <a:lnTo>
                      <a:pt x="504" y="500"/>
                    </a:lnTo>
                    <a:lnTo>
                      <a:pt x="504" y="504"/>
                    </a:lnTo>
                    <a:lnTo>
                      <a:pt x="506" y="504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496" y="508"/>
                    </a:moveTo>
                    <a:lnTo>
                      <a:pt x="496" y="504"/>
                    </a:lnTo>
                    <a:lnTo>
                      <a:pt x="500" y="504"/>
                    </a:lnTo>
                    <a:lnTo>
                      <a:pt x="504" y="504"/>
                    </a:lnTo>
                    <a:lnTo>
                      <a:pt x="500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496" y="508"/>
                    </a:moveTo>
                    <a:lnTo>
                      <a:pt x="492" y="508"/>
                    </a:lnTo>
                    <a:lnTo>
                      <a:pt x="492" y="504"/>
                    </a:lnTo>
                    <a:lnTo>
                      <a:pt x="496" y="504"/>
                    </a:lnTo>
                    <a:lnTo>
                      <a:pt x="496" y="508"/>
                    </a:lnTo>
                    <a:lnTo>
                      <a:pt x="496" y="508"/>
                    </a:lnTo>
                    <a:lnTo>
                      <a:pt x="496" y="508"/>
                    </a:lnTo>
                    <a:close/>
                    <a:moveTo>
                      <a:pt x="504" y="508"/>
                    </a:moveTo>
                    <a:lnTo>
                      <a:pt x="506" y="508"/>
                    </a:lnTo>
                    <a:lnTo>
                      <a:pt x="504" y="508"/>
                    </a:lnTo>
                    <a:lnTo>
                      <a:pt x="504" y="508"/>
                    </a:lnTo>
                    <a:lnTo>
                      <a:pt x="504" y="508"/>
                    </a:lnTo>
                    <a:close/>
                    <a:moveTo>
                      <a:pt x="500" y="508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08"/>
                    </a:lnTo>
                    <a:lnTo>
                      <a:pt x="500" y="508"/>
                    </a:lnTo>
                    <a:close/>
                    <a:moveTo>
                      <a:pt x="484" y="512"/>
                    </a:moveTo>
                    <a:lnTo>
                      <a:pt x="484" y="508"/>
                    </a:lnTo>
                    <a:lnTo>
                      <a:pt x="484" y="512"/>
                    </a:lnTo>
                    <a:lnTo>
                      <a:pt x="484" y="512"/>
                    </a:lnTo>
                    <a:lnTo>
                      <a:pt x="484" y="512"/>
                    </a:lnTo>
                    <a:close/>
                    <a:moveTo>
                      <a:pt x="496" y="512"/>
                    </a:moveTo>
                    <a:lnTo>
                      <a:pt x="496" y="508"/>
                    </a:lnTo>
                    <a:lnTo>
                      <a:pt x="500" y="508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0" y="512"/>
                    </a:lnTo>
                    <a:lnTo>
                      <a:pt x="496" y="512"/>
                    </a:lnTo>
                    <a:lnTo>
                      <a:pt x="496" y="512"/>
                    </a:lnTo>
                    <a:lnTo>
                      <a:pt x="496" y="512"/>
                    </a:lnTo>
                    <a:close/>
                    <a:moveTo>
                      <a:pt x="504" y="516"/>
                    </a:moveTo>
                    <a:lnTo>
                      <a:pt x="500" y="516"/>
                    </a:lnTo>
                    <a:lnTo>
                      <a:pt x="496" y="516"/>
                    </a:lnTo>
                    <a:lnTo>
                      <a:pt x="496" y="512"/>
                    </a:lnTo>
                    <a:lnTo>
                      <a:pt x="500" y="512"/>
                    </a:lnTo>
                    <a:lnTo>
                      <a:pt x="504" y="512"/>
                    </a:lnTo>
                    <a:lnTo>
                      <a:pt x="504" y="516"/>
                    </a:lnTo>
                    <a:lnTo>
                      <a:pt x="504" y="516"/>
                    </a:lnTo>
                    <a:lnTo>
                      <a:pt x="504" y="516"/>
                    </a:lnTo>
                    <a:close/>
                    <a:moveTo>
                      <a:pt x="496" y="520"/>
                    </a:move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0" y="516"/>
                    </a:lnTo>
                    <a:lnTo>
                      <a:pt x="504" y="516"/>
                    </a:ln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496" y="520"/>
                    </a:moveTo>
                    <a:lnTo>
                      <a:pt x="492" y="520"/>
                    </a:lnTo>
                    <a:lnTo>
                      <a:pt x="492" y="516"/>
                    </a:lnTo>
                    <a:lnTo>
                      <a:pt x="496" y="516"/>
                    </a:lnTo>
                    <a:lnTo>
                      <a:pt x="496" y="520"/>
                    </a:lnTo>
                    <a:lnTo>
                      <a:pt x="496" y="520"/>
                    </a:lnTo>
                    <a:lnTo>
                      <a:pt x="496" y="520"/>
                    </a:lnTo>
                    <a:close/>
                    <a:moveTo>
                      <a:pt x="500" y="520"/>
                    </a:moveTo>
                    <a:lnTo>
                      <a:pt x="504" y="520"/>
                    </a:lnTo>
                    <a:lnTo>
                      <a:pt x="500" y="520"/>
                    </a:lnTo>
                    <a:lnTo>
                      <a:pt x="500" y="520"/>
                    </a:lnTo>
                    <a:lnTo>
                      <a:pt x="500" y="520"/>
                    </a:lnTo>
                    <a:close/>
                    <a:moveTo>
                      <a:pt x="500" y="524"/>
                    </a:moveTo>
                    <a:lnTo>
                      <a:pt x="500" y="520"/>
                    </a:lnTo>
                    <a:lnTo>
                      <a:pt x="504" y="520"/>
                    </a:lnTo>
                    <a:lnTo>
                      <a:pt x="504" y="524"/>
                    </a:lnTo>
                    <a:lnTo>
                      <a:pt x="500" y="524"/>
                    </a:lnTo>
                    <a:lnTo>
                      <a:pt x="500" y="524"/>
                    </a:lnTo>
                    <a:lnTo>
                      <a:pt x="500" y="524"/>
                    </a:lnTo>
                    <a:close/>
                    <a:moveTo>
                      <a:pt x="506" y="526"/>
                    </a:moveTo>
                    <a:lnTo>
                      <a:pt x="504" y="526"/>
                    </a:lnTo>
                    <a:lnTo>
                      <a:pt x="504" y="524"/>
                    </a:lnTo>
                    <a:lnTo>
                      <a:pt x="504" y="520"/>
                    </a:lnTo>
                    <a:lnTo>
                      <a:pt x="506" y="520"/>
                    </a:lnTo>
                    <a:lnTo>
                      <a:pt x="506" y="524"/>
                    </a:lnTo>
                    <a:lnTo>
                      <a:pt x="506" y="526"/>
                    </a:lnTo>
                    <a:lnTo>
                      <a:pt x="506" y="526"/>
                    </a:lnTo>
                    <a:lnTo>
                      <a:pt x="506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6" y="520"/>
                    </a:lnTo>
                    <a:lnTo>
                      <a:pt x="496" y="524"/>
                    </a:lnTo>
                    <a:lnTo>
                      <a:pt x="496" y="526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26"/>
                    </a:moveTo>
                    <a:lnTo>
                      <a:pt x="500" y="524"/>
                    </a:lnTo>
                    <a:lnTo>
                      <a:pt x="504" y="524"/>
                    </a:lnTo>
                    <a:lnTo>
                      <a:pt x="504" y="526"/>
                    </a:lnTo>
                    <a:lnTo>
                      <a:pt x="500" y="526"/>
                    </a:lnTo>
                    <a:lnTo>
                      <a:pt x="500" y="526"/>
                    </a:lnTo>
                    <a:lnTo>
                      <a:pt x="500" y="526"/>
                    </a:lnTo>
                    <a:close/>
                    <a:moveTo>
                      <a:pt x="492" y="526"/>
                    </a:moveTo>
                    <a:lnTo>
                      <a:pt x="492" y="524"/>
                    </a:lnTo>
                    <a:lnTo>
                      <a:pt x="492" y="526"/>
                    </a:lnTo>
                    <a:lnTo>
                      <a:pt x="492" y="526"/>
                    </a:lnTo>
                    <a:lnTo>
                      <a:pt x="492" y="526"/>
                    </a:lnTo>
                    <a:close/>
                    <a:moveTo>
                      <a:pt x="500" y="530"/>
                    </a:moveTo>
                    <a:lnTo>
                      <a:pt x="500" y="526"/>
                    </a:lnTo>
                    <a:lnTo>
                      <a:pt x="500" y="530"/>
                    </a:lnTo>
                    <a:lnTo>
                      <a:pt x="500" y="530"/>
                    </a:lnTo>
                    <a:lnTo>
                      <a:pt x="500" y="530"/>
                    </a:lnTo>
                    <a:close/>
                    <a:moveTo>
                      <a:pt x="504" y="530"/>
                    </a:move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26"/>
                    </a:lnTo>
                    <a:lnTo>
                      <a:pt x="504" y="530"/>
                    </a:lnTo>
                    <a:lnTo>
                      <a:pt x="504" y="530"/>
                    </a:lnTo>
                    <a:lnTo>
                      <a:pt x="504" y="530"/>
                    </a:lnTo>
                    <a:close/>
                    <a:moveTo>
                      <a:pt x="504" y="534"/>
                    </a:moveTo>
                    <a:lnTo>
                      <a:pt x="500" y="534"/>
                    </a:lnTo>
                    <a:lnTo>
                      <a:pt x="500" y="530"/>
                    </a:lnTo>
                    <a:lnTo>
                      <a:pt x="504" y="530"/>
                    </a:lnTo>
                    <a:lnTo>
                      <a:pt x="504" y="534"/>
                    </a:lnTo>
                    <a:lnTo>
                      <a:pt x="504" y="534"/>
                    </a:lnTo>
                    <a:lnTo>
                      <a:pt x="504" y="534"/>
                    </a:lnTo>
                    <a:close/>
                    <a:moveTo>
                      <a:pt x="492" y="556"/>
                    </a:moveTo>
                    <a:lnTo>
                      <a:pt x="492" y="552"/>
                    </a:lnTo>
                    <a:lnTo>
                      <a:pt x="496" y="552"/>
                    </a:lnTo>
                    <a:lnTo>
                      <a:pt x="496" y="556"/>
                    </a:lnTo>
                    <a:lnTo>
                      <a:pt x="492" y="556"/>
                    </a:lnTo>
                    <a:lnTo>
                      <a:pt x="492" y="556"/>
                    </a:lnTo>
                    <a:lnTo>
                      <a:pt x="492" y="556"/>
                    </a:lnTo>
                    <a:close/>
                    <a:moveTo>
                      <a:pt x="484" y="566"/>
                    </a:moveTo>
                    <a:lnTo>
                      <a:pt x="488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84" y="566"/>
                    </a:moveTo>
                    <a:lnTo>
                      <a:pt x="480" y="566"/>
                    </a:lnTo>
                    <a:lnTo>
                      <a:pt x="484" y="566"/>
                    </a:lnTo>
                    <a:lnTo>
                      <a:pt x="484" y="566"/>
                    </a:lnTo>
                    <a:lnTo>
                      <a:pt x="484" y="566"/>
                    </a:lnTo>
                    <a:close/>
                    <a:moveTo>
                      <a:pt x="496" y="570"/>
                    </a:moveTo>
                    <a:lnTo>
                      <a:pt x="492" y="570"/>
                    </a:lnTo>
                    <a:lnTo>
                      <a:pt x="496" y="566"/>
                    </a:lnTo>
                    <a:lnTo>
                      <a:pt x="500" y="566"/>
                    </a:lnTo>
                    <a:lnTo>
                      <a:pt x="500" y="570"/>
                    </a:lnTo>
                    <a:lnTo>
                      <a:pt x="504" y="570"/>
                    </a:lnTo>
                    <a:lnTo>
                      <a:pt x="504" y="566"/>
                    </a:lnTo>
                    <a:lnTo>
                      <a:pt x="504" y="570"/>
                    </a:lnTo>
                    <a:lnTo>
                      <a:pt x="500" y="570"/>
                    </a:lnTo>
                    <a:lnTo>
                      <a:pt x="496" y="570"/>
                    </a:lnTo>
                    <a:lnTo>
                      <a:pt x="496" y="570"/>
                    </a:lnTo>
                    <a:lnTo>
                      <a:pt x="496" y="570"/>
                    </a:lnTo>
                    <a:close/>
                    <a:moveTo>
                      <a:pt x="488" y="574"/>
                    </a:moveTo>
                    <a:lnTo>
                      <a:pt x="484" y="570"/>
                    </a:lnTo>
                    <a:lnTo>
                      <a:pt x="480" y="570"/>
                    </a:lnTo>
                    <a:lnTo>
                      <a:pt x="484" y="570"/>
                    </a:lnTo>
                    <a:lnTo>
                      <a:pt x="488" y="570"/>
                    </a:lnTo>
                    <a:lnTo>
                      <a:pt x="488" y="566"/>
                    </a:lnTo>
                    <a:lnTo>
                      <a:pt x="488" y="570"/>
                    </a:lnTo>
                    <a:lnTo>
                      <a:pt x="488" y="574"/>
                    </a:lnTo>
                    <a:lnTo>
                      <a:pt x="488" y="574"/>
                    </a:lnTo>
                    <a:lnTo>
                      <a:pt x="488" y="574"/>
                    </a:lnTo>
                    <a:close/>
                    <a:moveTo>
                      <a:pt x="484" y="586"/>
                    </a:moveTo>
                    <a:lnTo>
                      <a:pt x="480" y="586"/>
                    </a:lnTo>
                    <a:lnTo>
                      <a:pt x="480" y="582"/>
                    </a:lnTo>
                    <a:lnTo>
                      <a:pt x="480" y="578"/>
                    </a:lnTo>
                    <a:lnTo>
                      <a:pt x="480" y="582"/>
                    </a:lnTo>
                    <a:lnTo>
                      <a:pt x="476" y="582"/>
                    </a:lnTo>
                    <a:lnTo>
                      <a:pt x="476" y="578"/>
                    </a:lnTo>
                    <a:lnTo>
                      <a:pt x="480" y="578"/>
                    </a:lnTo>
                    <a:lnTo>
                      <a:pt x="476" y="578"/>
                    </a:lnTo>
                    <a:lnTo>
                      <a:pt x="476" y="574"/>
                    </a:lnTo>
                    <a:lnTo>
                      <a:pt x="476" y="570"/>
                    </a:lnTo>
                    <a:lnTo>
                      <a:pt x="480" y="570"/>
                    </a:lnTo>
                    <a:lnTo>
                      <a:pt x="480" y="574"/>
                    </a:lnTo>
                    <a:lnTo>
                      <a:pt x="480" y="578"/>
                    </a:lnTo>
                    <a:lnTo>
                      <a:pt x="484" y="578"/>
                    </a:lnTo>
                    <a:lnTo>
                      <a:pt x="484" y="582"/>
                    </a:lnTo>
                    <a:lnTo>
                      <a:pt x="484" y="586"/>
                    </a:lnTo>
                    <a:lnTo>
                      <a:pt x="484" y="586"/>
                    </a:lnTo>
                    <a:lnTo>
                      <a:pt x="484" y="586"/>
                    </a:lnTo>
                    <a:close/>
                    <a:moveTo>
                      <a:pt x="484" y="582"/>
                    </a:moveTo>
                    <a:lnTo>
                      <a:pt x="484" y="574"/>
                    </a:lnTo>
                    <a:lnTo>
                      <a:pt x="480" y="574"/>
                    </a:lnTo>
                    <a:lnTo>
                      <a:pt x="484" y="574"/>
                    </a:lnTo>
                    <a:lnTo>
                      <a:pt x="488" y="574"/>
                    </a:lnTo>
                    <a:lnTo>
                      <a:pt x="488" y="578"/>
                    </a:lnTo>
                    <a:lnTo>
                      <a:pt x="484" y="582"/>
                    </a:lnTo>
                    <a:lnTo>
                      <a:pt x="484" y="582"/>
                    </a:lnTo>
                    <a:lnTo>
                      <a:pt x="484" y="582"/>
                    </a:lnTo>
                    <a:close/>
                    <a:moveTo>
                      <a:pt x="492" y="578"/>
                    </a:moveTo>
                    <a:lnTo>
                      <a:pt x="492" y="574"/>
                    </a:lnTo>
                    <a:lnTo>
                      <a:pt x="496" y="574"/>
                    </a:lnTo>
                    <a:lnTo>
                      <a:pt x="496" y="578"/>
                    </a:lnTo>
                    <a:lnTo>
                      <a:pt x="492" y="578"/>
                    </a:lnTo>
                    <a:lnTo>
                      <a:pt x="492" y="578"/>
                    </a:lnTo>
                    <a:lnTo>
                      <a:pt x="492" y="578"/>
                    </a:lnTo>
                    <a:close/>
                    <a:moveTo>
                      <a:pt x="492" y="586"/>
                    </a:moveTo>
                    <a:lnTo>
                      <a:pt x="488" y="586"/>
                    </a:lnTo>
                    <a:lnTo>
                      <a:pt x="484" y="586"/>
                    </a:lnTo>
                    <a:lnTo>
                      <a:pt x="484" y="582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82"/>
                    </a:lnTo>
                    <a:lnTo>
                      <a:pt x="488" y="578"/>
                    </a:lnTo>
                    <a:lnTo>
                      <a:pt x="488" y="574"/>
                    </a:lnTo>
                    <a:lnTo>
                      <a:pt x="492" y="574"/>
                    </a:lnTo>
                    <a:lnTo>
                      <a:pt x="492" y="578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2"/>
                    </a:lnTo>
                    <a:lnTo>
                      <a:pt x="492" y="586"/>
                    </a:lnTo>
                    <a:lnTo>
                      <a:pt x="492" y="586"/>
                    </a:lnTo>
                    <a:lnTo>
                      <a:pt x="492" y="586"/>
                    </a:lnTo>
                    <a:close/>
                    <a:moveTo>
                      <a:pt x="496" y="582"/>
                    </a:moveTo>
                    <a:lnTo>
                      <a:pt x="496" y="578"/>
                    </a:lnTo>
                    <a:lnTo>
                      <a:pt x="492" y="578"/>
                    </a:lnTo>
                    <a:lnTo>
                      <a:pt x="496" y="578"/>
                    </a:lnTo>
                    <a:lnTo>
                      <a:pt x="496" y="582"/>
                    </a:lnTo>
                    <a:lnTo>
                      <a:pt x="496" y="582"/>
                    </a:lnTo>
                    <a:lnTo>
                      <a:pt x="496" y="582"/>
                    </a:lnTo>
                    <a:close/>
                    <a:moveTo>
                      <a:pt x="500" y="582"/>
                    </a:moveTo>
                    <a:lnTo>
                      <a:pt x="496" y="582"/>
                    </a:lnTo>
                    <a:lnTo>
                      <a:pt x="496" y="578"/>
                    </a:lnTo>
                    <a:lnTo>
                      <a:pt x="500" y="578"/>
                    </a:lnTo>
                    <a:lnTo>
                      <a:pt x="500" y="582"/>
                    </a:lnTo>
                    <a:lnTo>
                      <a:pt x="500" y="582"/>
                    </a:lnTo>
                    <a:lnTo>
                      <a:pt x="500" y="582"/>
                    </a:lnTo>
                    <a:close/>
                    <a:moveTo>
                      <a:pt x="476" y="586"/>
                    </a:move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2"/>
                    </a:lnTo>
                    <a:lnTo>
                      <a:pt x="480" y="582"/>
                    </a:lnTo>
                    <a:lnTo>
                      <a:pt x="480" y="586"/>
                    </a:lnTo>
                    <a:lnTo>
                      <a:pt x="476" y="586"/>
                    </a:lnTo>
                    <a:lnTo>
                      <a:pt x="476" y="586"/>
                    </a:lnTo>
                    <a:lnTo>
                      <a:pt x="476" y="586"/>
                    </a:lnTo>
                    <a:close/>
                    <a:moveTo>
                      <a:pt x="492" y="604"/>
                    </a:moveTo>
                    <a:lnTo>
                      <a:pt x="492" y="608"/>
                    </a:lnTo>
                    <a:lnTo>
                      <a:pt x="492" y="604"/>
                    </a:lnTo>
                    <a:lnTo>
                      <a:pt x="496" y="604"/>
                    </a:lnTo>
                    <a:lnTo>
                      <a:pt x="496" y="608"/>
                    </a:lnTo>
                    <a:lnTo>
                      <a:pt x="492" y="612"/>
                    </a:lnTo>
                    <a:lnTo>
                      <a:pt x="492" y="616"/>
                    </a:lnTo>
                    <a:lnTo>
                      <a:pt x="488" y="616"/>
                    </a:lnTo>
                    <a:lnTo>
                      <a:pt x="488" y="612"/>
                    </a:lnTo>
                    <a:lnTo>
                      <a:pt x="492" y="612"/>
                    </a:lnTo>
                    <a:lnTo>
                      <a:pt x="488" y="612"/>
                    </a:lnTo>
                    <a:lnTo>
                      <a:pt x="488" y="608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92" y="600"/>
                    </a:lnTo>
                    <a:lnTo>
                      <a:pt x="488" y="600"/>
                    </a:lnTo>
                    <a:lnTo>
                      <a:pt x="488" y="604"/>
                    </a:lnTo>
                    <a:lnTo>
                      <a:pt x="488" y="600"/>
                    </a:lnTo>
                    <a:lnTo>
                      <a:pt x="484" y="604"/>
                    </a:lnTo>
                    <a:lnTo>
                      <a:pt x="488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08"/>
                    </a:lnTo>
                    <a:lnTo>
                      <a:pt x="480" y="604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0" y="600"/>
                    </a:lnTo>
                    <a:lnTo>
                      <a:pt x="484" y="600"/>
                    </a:lnTo>
                    <a:lnTo>
                      <a:pt x="484" y="604"/>
                    </a:lnTo>
                    <a:lnTo>
                      <a:pt x="484" y="600"/>
                    </a:lnTo>
                    <a:lnTo>
                      <a:pt x="480" y="600"/>
                    </a:lnTo>
                    <a:lnTo>
                      <a:pt x="480" y="596"/>
                    </a:lnTo>
                    <a:lnTo>
                      <a:pt x="484" y="600"/>
                    </a:lnTo>
                    <a:lnTo>
                      <a:pt x="484" y="596"/>
                    </a:lnTo>
                    <a:lnTo>
                      <a:pt x="488" y="600"/>
                    </a:lnTo>
                    <a:lnTo>
                      <a:pt x="488" y="596"/>
                    </a:lnTo>
                    <a:lnTo>
                      <a:pt x="488" y="594"/>
                    </a:lnTo>
                    <a:lnTo>
                      <a:pt x="484" y="590"/>
                    </a:lnTo>
                    <a:lnTo>
                      <a:pt x="484" y="586"/>
                    </a:lnTo>
                    <a:lnTo>
                      <a:pt x="488" y="586"/>
                    </a:lnTo>
                    <a:lnTo>
                      <a:pt x="492" y="586"/>
                    </a:lnTo>
                    <a:lnTo>
                      <a:pt x="492" y="590"/>
                    </a:lnTo>
                    <a:lnTo>
                      <a:pt x="492" y="594"/>
                    </a:lnTo>
                    <a:lnTo>
                      <a:pt x="492" y="596"/>
                    </a:lnTo>
                    <a:lnTo>
                      <a:pt x="496" y="596"/>
                    </a:lnTo>
                    <a:lnTo>
                      <a:pt x="492" y="600"/>
                    </a:lnTo>
                    <a:lnTo>
                      <a:pt x="492" y="604"/>
                    </a:lnTo>
                    <a:lnTo>
                      <a:pt x="492" y="604"/>
                    </a:lnTo>
                    <a:lnTo>
                      <a:pt x="492" y="604"/>
                    </a:lnTo>
                    <a:close/>
                    <a:moveTo>
                      <a:pt x="484" y="594"/>
                    </a:moveTo>
                    <a:lnTo>
                      <a:pt x="480" y="590"/>
                    </a:lnTo>
                    <a:lnTo>
                      <a:pt x="484" y="590"/>
                    </a:lnTo>
                    <a:lnTo>
                      <a:pt x="484" y="594"/>
                    </a:lnTo>
                    <a:lnTo>
                      <a:pt x="484" y="594"/>
                    </a:lnTo>
                    <a:lnTo>
                      <a:pt x="484" y="594"/>
                    </a:lnTo>
                    <a:close/>
                    <a:moveTo>
                      <a:pt x="480" y="594"/>
                    </a:moveTo>
                    <a:lnTo>
                      <a:pt x="480" y="590"/>
                    </a:lnTo>
                    <a:lnTo>
                      <a:pt x="480" y="594"/>
                    </a:lnTo>
                    <a:lnTo>
                      <a:pt x="476" y="594"/>
                    </a:lnTo>
                    <a:lnTo>
                      <a:pt x="476" y="590"/>
                    </a:lnTo>
                    <a:lnTo>
                      <a:pt x="480" y="590"/>
                    </a:lnTo>
                    <a:lnTo>
                      <a:pt x="484" y="594"/>
                    </a:lnTo>
                    <a:lnTo>
                      <a:pt x="480" y="594"/>
                    </a:lnTo>
                    <a:lnTo>
                      <a:pt x="480" y="594"/>
                    </a:lnTo>
                    <a:lnTo>
                      <a:pt x="480" y="594"/>
                    </a:lnTo>
                    <a:close/>
                    <a:moveTo>
                      <a:pt x="488" y="596"/>
                    </a:moveTo>
                    <a:lnTo>
                      <a:pt x="484" y="596"/>
                    </a:lnTo>
                    <a:lnTo>
                      <a:pt x="480" y="596"/>
                    </a:lnTo>
                    <a:lnTo>
                      <a:pt x="480" y="594"/>
                    </a:lnTo>
                    <a:lnTo>
                      <a:pt x="484" y="594"/>
                    </a:lnTo>
                    <a:lnTo>
                      <a:pt x="488" y="594"/>
                    </a:lnTo>
                    <a:lnTo>
                      <a:pt x="488" y="596"/>
                    </a:lnTo>
                    <a:lnTo>
                      <a:pt x="488" y="596"/>
                    </a:lnTo>
                    <a:lnTo>
                      <a:pt x="488" y="596"/>
                    </a:lnTo>
                    <a:close/>
                    <a:moveTo>
                      <a:pt x="496" y="604"/>
                    </a:moveTo>
                    <a:lnTo>
                      <a:pt x="492" y="600"/>
                    </a:lnTo>
                    <a:lnTo>
                      <a:pt x="496" y="600"/>
                    </a:lnTo>
                    <a:lnTo>
                      <a:pt x="496" y="604"/>
                    </a:lnTo>
                    <a:lnTo>
                      <a:pt x="496" y="604"/>
                    </a:lnTo>
                    <a:lnTo>
                      <a:pt x="496" y="604"/>
                    </a:lnTo>
                    <a:close/>
                    <a:moveTo>
                      <a:pt x="484" y="612"/>
                    </a:moveTo>
                    <a:lnTo>
                      <a:pt x="480" y="608"/>
                    </a:lnTo>
                    <a:lnTo>
                      <a:pt x="480" y="612"/>
                    </a:lnTo>
                    <a:lnTo>
                      <a:pt x="480" y="608"/>
                    </a:lnTo>
                    <a:lnTo>
                      <a:pt x="476" y="608"/>
                    </a:lnTo>
                    <a:lnTo>
                      <a:pt x="476" y="604"/>
                    </a:lnTo>
                    <a:lnTo>
                      <a:pt x="480" y="604"/>
                    </a:lnTo>
                    <a:lnTo>
                      <a:pt x="484" y="608"/>
                    </a:lnTo>
                    <a:lnTo>
                      <a:pt x="484" y="612"/>
                    </a:lnTo>
                    <a:lnTo>
                      <a:pt x="484" y="612"/>
                    </a:lnTo>
                    <a:lnTo>
                      <a:pt x="484" y="612"/>
                    </a:lnTo>
                    <a:close/>
                    <a:moveTo>
                      <a:pt x="484" y="620"/>
                    </a:moveTo>
                    <a:lnTo>
                      <a:pt x="484" y="624"/>
                    </a:lnTo>
                    <a:lnTo>
                      <a:pt x="480" y="624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0" y="620"/>
                    </a:lnTo>
                    <a:lnTo>
                      <a:pt x="480" y="616"/>
                    </a:lnTo>
                    <a:lnTo>
                      <a:pt x="480" y="620"/>
                    </a:lnTo>
                    <a:lnTo>
                      <a:pt x="484" y="620"/>
                    </a:lnTo>
                    <a:lnTo>
                      <a:pt x="484" y="616"/>
                    </a:lnTo>
                    <a:lnTo>
                      <a:pt x="480" y="616"/>
                    </a:lnTo>
                    <a:lnTo>
                      <a:pt x="480" y="612"/>
                    </a:lnTo>
                    <a:lnTo>
                      <a:pt x="484" y="612"/>
                    </a:lnTo>
                    <a:lnTo>
                      <a:pt x="484" y="616"/>
                    </a:lnTo>
                    <a:lnTo>
                      <a:pt x="488" y="616"/>
                    </a:lnTo>
                    <a:lnTo>
                      <a:pt x="484" y="620"/>
                    </a:lnTo>
                    <a:lnTo>
                      <a:pt x="484" y="620"/>
                    </a:lnTo>
                    <a:lnTo>
                      <a:pt x="484" y="620"/>
                    </a:lnTo>
                    <a:close/>
                    <a:moveTo>
                      <a:pt x="488" y="624"/>
                    </a:moveTo>
                    <a:lnTo>
                      <a:pt x="488" y="620"/>
                    </a:lnTo>
                    <a:lnTo>
                      <a:pt x="492" y="620"/>
                    </a:lnTo>
                    <a:lnTo>
                      <a:pt x="492" y="624"/>
                    </a:lnTo>
                    <a:lnTo>
                      <a:pt x="488" y="624"/>
                    </a:lnTo>
                    <a:lnTo>
                      <a:pt x="488" y="624"/>
                    </a:lnTo>
                    <a:lnTo>
                      <a:pt x="488" y="624"/>
                    </a:lnTo>
                    <a:close/>
                    <a:moveTo>
                      <a:pt x="496" y="630"/>
                    </a:moveTo>
                    <a:lnTo>
                      <a:pt x="492" y="626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2" y="624"/>
                    </a:lnTo>
                    <a:lnTo>
                      <a:pt x="496" y="624"/>
                    </a:lnTo>
                    <a:lnTo>
                      <a:pt x="496" y="626"/>
                    </a:lnTo>
                    <a:lnTo>
                      <a:pt x="496" y="630"/>
                    </a:lnTo>
                    <a:lnTo>
                      <a:pt x="500" y="630"/>
                    </a:lnTo>
                    <a:lnTo>
                      <a:pt x="496" y="630"/>
                    </a:lnTo>
                    <a:lnTo>
                      <a:pt x="496" y="630"/>
                    </a:lnTo>
                    <a:lnTo>
                      <a:pt x="496" y="630"/>
                    </a:lnTo>
                    <a:close/>
                    <a:moveTo>
                      <a:pt x="480" y="630"/>
                    </a:moveTo>
                    <a:lnTo>
                      <a:pt x="476" y="626"/>
                    </a:lnTo>
                    <a:lnTo>
                      <a:pt x="480" y="626"/>
                    </a:lnTo>
                    <a:lnTo>
                      <a:pt x="480" y="624"/>
                    </a:lnTo>
                    <a:lnTo>
                      <a:pt x="484" y="624"/>
                    </a:lnTo>
                    <a:lnTo>
                      <a:pt x="484" y="626"/>
                    </a:lnTo>
                    <a:lnTo>
                      <a:pt x="480" y="626"/>
                    </a:lnTo>
                    <a:lnTo>
                      <a:pt x="480" y="630"/>
                    </a:lnTo>
                    <a:lnTo>
                      <a:pt x="480" y="630"/>
                    </a:lnTo>
                    <a:lnTo>
                      <a:pt x="480" y="630"/>
                    </a:lnTo>
                    <a:close/>
                    <a:moveTo>
                      <a:pt x="484" y="630"/>
                    </a:moveTo>
                    <a:lnTo>
                      <a:pt x="484" y="626"/>
                    </a:lnTo>
                    <a:lnTo>
                      <a:pt x="484" y="630"/>
                    </a:lnTo>
                    <a:lnTo>
                      <a:pt x="484" y="630"/>
                    </a:lnTo>
                    <a:lnTo>
                      <a:pt x="484" y="630"/>
                    </a:lnTo>
                    <a:close/>
                    <a:moveTo>
                      <a:pt x="492" y="630"/>
                    </a:moveTo>
                    <a:lnTo>
                      <a:pt x="488" y="630"/>
                    </a:lnTo>
                    <a:lnTo>
                      <a:pt x="488" y="626"/>
                    </a:lnTo>
                    <a:lnTo>
                      <a:pt x="492" y="630"/>
                    </a:lnTo>
                    <a:lnTo>
                      <a:pt x="492" y="630"/>
                    </a:lnTo>
                    <a:lnTo>
                      <a:pt x="492" y="630"/>
                    </a:lnTo>
                    <a:close/>
                    <a:moveTo>
                      <a:pt x="488" y="638"/>
                    </a:moveTo>
                    <a:lnTo>
                      <a:pt x="488" y="634"/>
                    </a:lnTo>
                    <a:lnTo>
                      <a:pt x="488" y="630"/>
                    </a:lnTo>
                    <a:lnTo>
                      <a:pt x="492" y="630"/>
                    </a:lnTo>
                    <a:lnTo>
                      <a:pt x="492" y="626"/>
                    </a:lnTo>
                    <a:lnTo>
                      <a:pt x="492" y="630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2" y="634"/>
                    </a:lnTo>
                    <a:lnTo>
                      <a:pt x="488" y="638"/>
                    </a:lnTo>
                    <a:lnTo>
                      <a:pt x="488" y="638"/>
                    </a:lnTo>
                    <a:lnTo>
                      <a:pt x="488" y="638"/>
                    </a:lnTo>
                    <a:close/>
                    <a:moveTo>
                      <a:pt x="496" y="638"/>
                    </a:moveTo>
                    <a:lnTo>
                      <a:pt x="496" y="634"/>
                    </a:lnTo>
                    <a:lnTo>
                      <a:pt x="496" y="630"/>
                    </a:lnTo>
                    <a:lnTo>
                      <a:pt x="496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96" y="638"/>
                    </a:moveTo>
                    <a:lnTo>
                      <a:pt x="492" y="638"/>
                    </a:lnTo>
                    <a:lnTo>
                      <a:pt x="492" y="634"/>
                    </a:lnTo>
                    <a:lnTo>
                      <a:pt x="496" y="638"/>
                    </a:lnTo>
                    <a:lnTo>
                      <a:pt x="496" y="638"/>
                    </a:lnTo>
                    <a:lnTo>
                      <a:pt x="496" y="638"/>
                    </a:lnTo>
                    <a:close/>
                    <a:moveTo>
                      <a:pt x="484" y="646"/>
                    </a:moveTo>
                    <a:lnTo>
                      <a:pt x="484" y="642"/>
                    </a:lnTo>
                    <a:lnTo>
                      <a:pt x="488" y="642"/>
                    </a:lnTo>
                    <a:lnTo>
                      <a:pt x="488" y="638"/>
                    </a:lnTo>
                    <a:lnTo>
                      <a:pt x="492" y="638"/>
                    </a:lnTo>
                    <a:lnTo>
                      <a:pt x="492" y="642"/>
                    </a:lnTo>
                    <a:lnTo>
                      <a:pt x="488" y="642"/>
                    </a:lnTo>
                    <a:lnTo>
                      <a:pt x="484" y="646"/>
                    </a:lnTo>
                    <a:lnTo>
                      <a:pt x="484" y="646"/>
                    </a:lnTo>
                    <a:lnTo>
                      <a:pt x="484" y="646"/>
                    </a:lnTo>
                    <a:close/>
                    <a:moveTo>
                      <a:pt x="500" y="642"/>
                    </a:moveTo>
                    <a:lnTo>
                      <a:pt x="500" y="638"/>
                    </a:lnTo>
                    <a:lnTo>
                      <a:pt x="500" y="642"/>
                    </a:lnTo>
                    <a:lnTo>
                      <a:pt x="500" y="642"/>
                    </a:lnTo>
                    <a:lnTo>
                      <a:pt x="500" y="642"/>
                    </a:lnTo>
                    <a:close/>
                    <a:moveTo>
                      <a:pt x="504" y="642"/>
                    </a:moveTo>
                    <a:lnTo>
                      <a:pt x="504" y="638"/>
                    </a:lnTo>
                    <a:lnTo>
                      <a:pt x="504" y="642"/>
                    </a:lnTo>
                    <a:lnTo>
                      <a:pt x="504" y="642"/>
                    </a:lnTo>
                    <a:lnTo>
                      <a:pt x="504" y="642"/>
                    </a:lnTo>
                    <a:close/>
                    <a:moveTo>
                      <a:pt x="480" y="646"/>
                    </a:moveTo>
                    <a:lnTo>
                      <a:pt x="484" y="646"/>
                    </a:lnTo>
                    <a:lnTo>
                      <a:pt x="484" y="642"/>
                    </a:lnTo>
                    <a:lnTo>
                      <a:pt x="484" y="638"/>
                    </a:lnTo>
                    <a:lnTo>
                      <a:pt x="484" y="642"/>
                    </a:lnTo>
                    <a:lnTo>
                      <a:pt x="484" y="646"/>
                    </a:lnTo>
                    <a:lnTo>
                      <a:pt x="480" y="646"/>
                    </a:lnTo>
                    <a:lnTo>
                      <a:pt x="480" y="646"/>
                    </a:lnTo>
                    <a:lnTo>
                      <a:pt x="480" y="646"/>
                    </a:lnTo>
                    <a:close/>
                    <a:moveTo>
                      <a:pt x="500" y="650"/>
                    </a:moveTo>
                    <a:lnTo>
                      <a:pt x="496" y="650"/>
                    </a:lnTo>
                    <a:lnTo>
                      <a:pt x="500" y="650"/>
                    </a:lnTo>
                    <a:lnTo>
                      <a:pt x="500" y="646"/>
                    </a:lnTo>
                    <a:lnTo>
                      <a:pt x="500" y="650"/>
                    </a:lnTo>
                    <a:lnTo>
                      <a:pt x="500" y="650"/>
                    </a:lnTo>
                    <a:lnTo>
                      <a:pt x="500" y="650"/>
                    </a:lnTo>
                    <a:close/>
                    <a:moveTo>
                      <a:pt x="488" y="656"/>
                    </a:moveTo>
                    <a:lnTo>
                      <a:pt x="484" y="656"/>
                    </a:lnTo>
                    <a:lnTo>
                      <a:pt x="484" y="652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0"/>
                    </a:lnTo>
                    <a:lnTo>
                      <a:pt x="488" y="646"/>
                    </a:lnTo>
                    <a:lnTo>
                      <a:pt x="488" y="650"/>
                    </a:lnTo>
                    <a:lnTo>
                      <a:pt x="488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4" y="650"/>
                    </a:move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0"/>
                    </a:lnTo>
                    <a:lnTo>
                      <a:pt x="504" y="650"/>
                    </a:lnTo>
                    <a:close/>
                    <a:moveTo>
                      <a:pt x="500" y="652"/>
                    </a:moveTo>
                    <a:lnTo>
                      <a:pt x="496" y="652"/>
                    </a:lnTo>
                    <a:lnTo>
                      <a:pt x="492" y="650"/>
                    </a:lnTo>
                    <a:lnTo>
                      <a:pt x="496" y="650"/>
                    </a:lnTo>
                    <a:lnTo>
                      <a:pt x="500" y="652"/>
                    </a:lnTo>
                    <a:lnTo>
                      <a:pt x="500" y="652"/>
                    </a:lnTo>
                    <a:lnTo>
                      <a:pt x="500" y="652"/>
                    </a:lnTo>
                    <a:close/>
                    <a:moveTo>
                      <a:pt x="484" y="652"/>
                    </a:moveTo>
                    <a:lnTo>
                      <a:pt x="484" y="650"/>
                    </a:lnTo>
                    <a:lnTo>
                      <a:pt x="488" y="650"/>
                    </a:lnTo>
                    <a:lnTo>
                      <a:pt x="484" y="650"/>
                    </a:lnTo>
                    <a:lnTo>
                      <a:pt x="484" y="652"/>
                    </a:lnTo>
                    <a:lnTo>
                      <a:pt x="484" y="652"/>
                    </a:lnTo>
                    <a:lnTo>
                      <a:pt x="484" y="652"/>
                    </a:lnTo>
                    <a:close/>
                    <a:moveTo>
                      <a:pt x="504" y="652"/>
                    </a:moveTo>
                    <a:lnTo>
                      <a:pt x="500" y="652"/>
                    </a:lnTo>
                    <a:lnTo>
                      <a:pt x="500" y="650"/>
                    </a:lnTo>
                    <a:lnTo>
                      <a:pt x="504" y="650"/>
                    </a:lnTo>
                    <a:lnTo>
                      <a:pt x="504" y="652"/>
                    </a:lnTo>
                    <a:lnTo>
                      <a:pt x="504" y="652"/>
                    </a:lnTo>
                    <a:lnTo>
                      <a:pt x="504" y="652"/>
                    </a:lnTo>
                    <a:close/>
                    <a:moveTo>
                      <a:pt x="488" y="656"/>
                    </a:moveTo>
                    <a:lnTo>
                      <a:pt x="488" y="652"/>
                    </a:lnTo>
                    <a:lnTo>
                      <a:pt x="492" y="652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14" y="656"/>
                    </a:moveTo>
                    <a:lnTo>
                      <a:pt x="514" y="652"/>
                    </a:lnTo>
                    <a:lnTo>
                      <a:pt x="514" y="656"/>
                    </a:lnTo>
                    <a:lnTo>
                      <a:pt x="514" y="656"/>
                    </a:lnTo>
                    <a:lnTo>
                      <a:pt x="514" y="656"/>
                    </a:lnTo>
                    <a:close/>
                    <a:moveTo>
                      <a:pt x="504" y="660"/>
                    </a:moveTo>
                    <a:lnTo>
                      <a:pt x="504" y="656"/>
                    </a:lnTo>
                    <a:lnTo>
                      <a:pt x="500" y="656"/>
                    </a:lnTo>
                    <a:lnTo>
                      <a:pt x="500" y="652"/>
                    </a:lnTo>
                    <a:lnTo>
                      <a:pt x="504" y="656"/>
                    </a:lnTo>
                    <a:lnTo>
                      <a:pt x="504" y="660"/>
                    </a:lnTo>
                    <a:lnTo>
                      <a:pt x="504" y="660"/>
                    </a:lnTo>
                    <a:lnTo>
                      <a:pt x="504" y="660"/>
                    </a:lnTo>
                    <a:close/>
                    <a:moveTo>
                      <a:pt x="488" y="656"/>
                    </a:moveTo>
                    <a:lnTo>
                      <a:pt x="492" y="656"/>
                    </a:lnTo>
                    <a:lnTo>
                      <a:pt x="492" y="652"/>
                    </a:lnTo>
                    <a:lnTo>
                      <a:pt x="492" y="656"/>
                    </a:lnTo>
                    <a:lnTo>
                      <a:pt x="488" y="656"/>
                    </a:lnTo>
                    <a:lnTo>
                      <a:pt x="488" y="656"/>
                    </a:lnTo>
                    <a:lnTo>
                      <a:pt x="488" y="656"/>
                    </a:lnTo>
                    <a:close/>
                    <a:moveTo>
                      <a:pt x="500" y="664"/>
                    </a:moveTo>
                    <a:lnTo>
                      <a:pt x="496" y="664"/>
                    </a:lnTo>
                    <a:lnTo>
                      <a:pt x="496" y="660"/>
                    </a:lnTo>
                    <a:lnTo>
                      <a:pt x="500" y="660"/>
                    </a:lnTo>
                    <a:lnTo>
                      <a:pt x="496" y="660"/>
                    </a:lnTo>
                    <a:lnTo>
                      <a:pt x="496" y="656"/>
                    </a:lnTo>
                    <a:lnTo>
                      <a:pt x="500" y="660"/>
                    </a:lnTo>
                    <a:lnTo>
                      <a:pt x="500" y="664"/>
                    </a:lnTo>
                    <a:lnTo>
                      <a:pt x="500" y="664"/>
                    </a:lnTo>
                    <a:lnTo>
                      <a:pt x="500" y="664"/>
                    </a:lnTo>
                    <a:close/>
                    <a:moveTo>
                      <a:pt x="504" y="664"/>
                    </a:moveTo>
                    <a:lnTo>
                      <a:pt x="504" y="660"/>
                    </a:lnTo>
                    <a:lnTo>
                      <a:pt x="500" y="660"/>
                    </a:lnTo>
                    <a:lnTo>
                      <a:pt x="500" y="656"/>
                    </a:lnTo>
                    <a:lnTo>
                      <a:pt x="500" y="660"/>
                    </a:lnTo>
                    <a:lnTo>
                      <a:pt x="504" y="660"/>
                    </a:lnTo>
                    <a:lnTo>
                      <a:pt x="504" y="664"/>
                    </a:lnTo>
                    <a:lnTo>
                      <a:pt x="504" y="664"/>
                    </a:lnTo>
                    <a:lnTo>
                      <a:pt x="504" y="664"/>
                    </a:lnTo>
                    <a:close/>
                    <a:moveTo>
                      <a:pt x="488" y="660"/>
                    </a:moveTo>
                    <a:lnTo>
                      <a:pt x="492" y="660"/>
                    </a:lnTo>
                    <a:lnTo>
                      <a:pt x="488" y="660"/>
                    </a:lnTo>
                    <a:lnTo>
                      <a:pt x="488" y="660"/>
                    </a:lnTo>
                    <a:lnTo>
                      <a:pt x="488" y="660"/>
                    </a:lnTo>
                    <a:close/>
                    <a:moveTo>
                      <a:pt x="578" y="716"/>
                    </a:moveTo>
                    <a:lnTo>
                      <a:pt x="574" y="716"/>
                    </a:lnTo>
                    <a:lnTo>
                      <a:pt x="570" y="716"/>
                    </a:lnTo>
                    <a:lnTo>
                      <a:pt x="562" y="716"/>
                    </a:lnTo>
                    <a:lnTo>
                      <a:pt x="562" y="712"/>
                    </a:lnTo>
                    <a:lnTo>
                      <a:pt x="560" y="712"/>
                    </a:lnTo>
                    <a:lnTo>
                      <a:pt x="560" y="716"/>
                    </a:lnTo>
                    <a:lnTo>
                      <a:pt x="556" y="716"/>
                    </a:lnTo>
                    <a:lnTo>
                      <a:pt x="552" y="716"/>
                    </a:lnTo>
                    <a:lnTo>
                      <a:pt x="552" y="712"/>
                    </a:lnTo>
                    <a:lnTo>
                      <a:pt x="552" y="716"/>
                    </a:lnTo>
                    <a:lnTo>
                      <a:pt x="548" y="716"/>
                    </a:lnTo>
                    <a:lnTo>
                      <a:pt x="544" y="716"/>
                    </a:lnTo>
                    <a:lnTo>
                      <a:pt x="544" y="712"/>
                    </a:lnTo>
                    <a:lnTo>
                      <a:pt x="548" y="712"/>
                    </a:lnTo>
                    <a:lnTo>
                      <a:pt x="552" y="712"/>
                    </a:lnTo>
                    <a:lnTo>
                      <a:pt x="548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44" y="712"/>
                    </a:lnTo>
                    <a:lnTo>
                      <a:pt x="540" y="712"/>
                    </a:lnTo>
                    <a:lnTo>
                      <a:pt x="536" y="712"/>
                    </a:lnTo>
                    <a:lnTo>
                      <a:pt x="540" y="712"/>
                    </a:lnTo>
                    <a:lnTo>
                      <a:pt x="540" y="708"/>
                    </a:lnTo>
                    <a:lnTo>
                      <a:pt x="536" y="708"/>
                    </a:lnTo>
                    <a:lnTo>
                      <a:pt x="536" y="712"/>
                    </a:lnTo>
                    <a:lnTo>
                      <a:pt x="532" y="712"/>
                    </a:lnTo>
                    <a:lnTo>
                      <a:pt x="532" y="708"/>
                    </a:lnTo>
                    <a:lnTo>
                      <a:pt x="532" y="712"/>
                    </a:lnTo>
                    <a:lnTo>
                      <a:pt x="530" y="712"/>
                    </a:lnTo>
                    <a:lnTo>
                      <a:pt x="530" y="708"/>
                    </a:lnTo>
                    <a:lnTo>
                      <a:pt x="532" y="708"/>
                    </a:lnTo>
                    <a:lnTo>
                      <a:pt x="530" y="708"/>
                    </a:lnTo>
                    <a:lnTo>
                      <a:pt x="530" y="706"/>
                    </a:lnTo>
                    <a:lnTo>
                      <a:pt x="532" y="706"/>
                    </a:lnTo>
                    <a:lnTo>
                      <a:pt x="532" y="708"/>
                    </a:lnTo>
                    <a:lnTo>
                      <a:pt x="536" y="708"/>
                    </a:lnTo>
                    <a:lnTo>
                      <a:pt x="532" y="708"/>
                    </a:lnTo>
                    <a:lnTo>
                      <a:pt x="532" y="706"/>
                    </a:lnTo>
                    <a:lnTo>
                      <a:pt x="536" y="708"/>
                    </a:lnTo>
                    <a:lnTo>
                      <a:pt x="536" y="706"/>
                    </a:lnTo>
                    <a:lnTo>
                      <a:pt x="540" y="706"/>
                    </a:lnTo>
                    <a:lnTo>
                      <a:pt x="544" y="708"/>
                    </a:lnTo>
                    <a:lnTo>
                      <a:pt x="544" y="706"/>
                    </a:lnTo>
                    <a:lnTo>
                      <a:pt x="548" y="706"/>
                    </a:lnTo>
                    <a:lnTo>
                      <a:pt x="548" y="708"/>
                    </a:lnTo>
                    <a:lnTo>
                      <a:pt x="548" y="706"/>
                    </a:lnTo>
                    <a:lnTo>
                      <a:pt x="552" y="708"/>
                    </a:lnTo>
                    <a:lnTo>
                      <a:pt x="556" y="708"/>
                    </a:lnTo>
                    <a:lnTo>
                      <a:pt x="552" y="708"/>
                    </a:lnTo>
                    <a:lnTo>
                      <a:pt x="552" y="706"/>
                    </a:lnTo>
                    <a:lnTo>
                      <a:pt x="548" y="706"/>
                    </a:lnTo>
                    <a:lnTo>
                      <a:pt x="544" y="706"/>
                    </a:lnTo>
                    <a:lnTo>
                      <a:pt x="544" y="702"/>
                    </a:lnTo>
                    <a:lnTo>
                      <a:pt x="548" y="702"/>
                    </a:lnTo>
                    <a:lnTo>
                      <a:pt x="552" y="706"/>
                    </a:lnTo>
                    <a:lnTo>
                      <a:pt x="556" y="706"/>
                    </a:lnTo>
                    <a:lnTo>
                      <a:pt x="556" y="702"/>
                    </a:lnTo>
                    <a:lnTo>
                      <a:pt x="556" y="706"/>
                    </a:lnTo>
                    <a:lnTo>
                      <a:pt x="560" y="706"/>
                    </a:lnTo>
                    <a:lnTo>
                      <a:pt x="560" y="708"/>
                    </a:lnTo>
                    <a:lnTo>
                      <a:pt x="560" y="706"/>
                    </a:lnTo>
                    <a:lnTo>
                      <a:pt x="562" y="706"/>
                    </a:lnTo>
                    <a:lnTo>
                      <a:pt x="566" y="706"/>
                    </a:lnTo>
                    <a:lnTo>
                      <a:pt x="566" y="708"/>
                    </a:lnTo>
                    <a:lnTo>
                      <a:pt x="566" y="712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66" y="708"/>
                    </a:lnTo>
                    <a:lnTo>
                      <a:pt x="570" y="708"/>
                    </a:lnTo>
                    <a:lnTo>
                      <a:pt x="570" y="706"/>
                    </a:lnTo>
                    <a:lnTo>
                      <a:pt x="566" y="706"/>
                    </a:lnTo>
                    <a:lnTo>
                      <a:pt x="562" y="706"/>
                    </a:lnTo>
                    <a:lnTo>
                      <a:pt x="562" y="702"/>
                    </a:lnTo>
                    <a:lnTo>
                      <a:pt x="560" y="702"/>
                    </a:lnTo>
                    <a:lnTo>
                      <a:pt x="556" y="702"/>
                    </a:lnTo>
                    <a:lnTo>
                      <a:pt x="556" y="698"/>
                    </a:lnTo>
                    <a:lnTo>
                      <a:pt x="556" y="694"/>
                    </a:lnTo>
                    <a:lnTo>
                      <a:pt x="556" y="690"/>
                    </a:lnTo>
                    <a:lnTo>
                      <a:pt x="560" y="690"/>
                    </a:lnTo>
                    <a:lnTo>
                      <a:pt x="566" y="686"/>
                    </a:lnTo>
                    <a:lnTo>
                      <a:pt x="566" y="682"/>
                    </a:lnTo>
                    <a:lnTo>
                      <a:pt x="562" y="682"/>
                    </a:lnTo>
                    <a:lnTo>
                      <a:pt x="560" y="682"/>
                    </a:lnTo>
                    <a:lnTo>
                      <a:pt x="556" y="682"/>
                    </a:lnTo>
                    <a:lnTo>
                      <a:pt x="556" y="686"/>
                    </a:lnTo>
                    <a:lnTo>
                      <a:pt x="552" y="686"/>
                    </a:lnTo>
                    <a:lnTo>
                      <a:pt x="552" y="682"/>
                    </a:lnTo>
                    <a:lnTo>
                      <a:pt x="552" y="680"/>
                    </a:lnTo>
                    <a:lnTo>
                      <a:pt x="552" y="676"/>
                    </a:lnTo>
                    <a:lnTo>
                      <a:pt x="556" y="676"/>
                    </a:lnTo>
                    <a:lnTo>
                      <a:pt x="556" y="672"/>
                    </a:lnTo>
                    <a:lnTo>
                      <a:pt x="552" y="672"/>
                    </a:lnTo>
                    <a:lnTo>
                      <a:pt x="556" y="672"/>
                    </a:lnTo>
                    <a:lnTo>
                      <a:pt x="560" y="672"/>
                    </a:lnTo>
                    <a:lnTo>
                      <a:pt x="562" y="668"/>
                    </a:lnTo>
                    <a:lnTo>
                      <a:pt x="562" y="664"/>
                    </a:lnTo>
                    <a:lnTo>
                      <a:pt x="566" y="664"/>
                    </a:lnTo>
                    <a:lnTo>
                      <a:pt x="566" y="668"/>
                    </a:lnTo>
                    <a:lnTo>
                      <a:pt x="570" y="668"/>
                    </a:lnTo>
                    <a:lnTo>
                      <a:pt x="574" y="668"/>
                    </a:lnTo>
                    <a:lnTo>
                      <a:pt x="578" y="668"/>
                    </a:lnTo>
                    <a:lnTo>
                      <a:pt x="578" y="672"/>
                    </a:lnTo>
                    <a:lnTo>
                      <a:pt x="578" y="680"/>
                    </a:lnTo>
                    <a:lnTo>
                      <a:pt x="578" y="682"/>
                    </a:lnTo>
                    <a:lnTo>
                      <a:pt x="578" y="686"/>
                    </a:lnTo>
                    <a:lnTo>
                      <a:pt x="578" y="694"/>
                    </a:lnTo>
                    <a:lnTo>
                      <a:pt x="578" y="698"/>
                    </a:lnTo>
                    <a:lnTo>
                      <a:pt x="578" y="706"/>
                    </a:lnTo>
                    <a:lnTo>
                      <a:pt x="578" y="708"/>
                    </a:lnTo>
                    <a:lnTo>
                      <a:pt x="578" y="716"/>
                    </a:lnTo>
                    <a:lnTo>
                      <a:pt x="578" y="716"/>
                    </a:lnTo>
                    <a:lnTo>
                      <a:pt x="578" y="716"/>
                    </a:lnTo>
                    <a:close/>
                    <a:moveTo>
                      <a:pt x="510" y="682"/>
                    </a:moveTo>
                    <a:lnTo>
                      <a:pt x="514" y="682"/>
                    </a:lnTo>
                    <a:lnTo>
                      <a:pt x="510" y="682"/>
                    </a:lnTo>
                    <a:lnTo>
                      <a:pt x="506" y="682"/>
                    </a:lnTo>
                    <a:lnTo>
                      <a:pt x="504" y="680"/>
                    </a:lnTo>
                    <a:lnTo>
                      <a:pt x="500" y="680"/>
                    </a:lnTo>
                    <a:lnTo>
                      <a:pt x="496" y="680"/>
                    </a:lnTo>
                    <a:lnTo>
                      <a:pt x="496" y="676"/>
                    </a:lnTo>
                    <a:lnTo>
                      <a:pt x="492" y="676"/>
                    </a:lnTo>
                    <a:lnTo>
                      <a:pt x="492" y="672"/>
                    </a:lnTo>
                    <a:lnTo>
                      <a:pt x="488" y="672"/>
                    </a:lnTo>
                    <a:lnTo>
                      <a:pt x="492" y="672"/>
                    </a:lnTo>
                    <a:lnTo>
                      <a:pt x="496" y="672"/>
                    </a:lnTo>
                    <a:lnTo>
                      <a:pt x="496" y="676"/>
                    </a:lnTo>
                    <a:lnTo>
                      <a:pt x="500" y="676"/>
                    </a:lnTo>
                    <a:lnTo>
                      <a:pt x="504" y="676"/>
                    </a:lnTo>
                    <a:lnTo>
                      <a:pt x="504" y="680"/>
                    </a:lnTo>
                    <a:lnTo>
                      <a:pt x="506" y="680"/>
                    </a:lnTo>
                    <a:lnTo>
                      <a:pt x="506" y="682"/>
                    </a:lnTo>
                    <a:lnTo>
                      <a:pt x="506" y="680"/>
                    </a:lnTo>
                    <a:lnTo>
                      <a:pt x="510" y="682"/>
                    </a:lnTo>
                    <a:lnTo>
                      <a:pt x="510" y="682"/>
                    </a:lnTo>
                    <a:lnTo>
                      <a:pt x="510" y="682"/>
                    </a:lnTo>
                    <a:close/>
                    <a:moveTo>
                      <a:pt x="506" y="676"/>
                    </a:moveTo>
                    <a:lnTo>
                      <a:pt x="504" y="676"/>
                    </a:lnTo>
                    <a:lnTo>
                      <a:pt x="504" y="672"/>
                    </a:lnTo>
                    <a:lnTo>
                      <a:pt x="506" y="672"/>
                    </a:lnTo>
                    <a:lnTo>
                      <a:pt x="506" y="676"/>
                    </a:lnTo>
                    <a:lnTo>
                      <a:pt x="510" y="676"/>
                    </a:lnTo>
                    <a:lnTo>
                      <a:pt x="506" y="676"/>
                    </a:lnTo>
                    <a:lnTo>
                      <a:pt x="506" y="676"/>
                    </a:lnTo>
                    <a:lnTo>
                      <a:pt x="506" y="676"/>
                    </a:lnTo>
                    <a:close/>
                    <a:moveTo>
                      <a:pt x="500" y="682"/>
                    </a:moveTo>
                    <a:lnTo>
                      <a:pt x="496" y="682"/>
                    </a:lnTo>
                    <a:lnTo>
                      <a:pt x="500" y="682"/>
                    </a:lnTo>
                    <a:lnTo>
                      <a:pt x="500" y="682"/>
                    </a:lnTo>
                    <a:lnTo>
                      <a:pt x="500" y="682"/>
                    </a:lnTo>
                    <a:close/>
                    <a:moveTo>
                      <a:pt x="510" y="694"/>
                    </a:moveTo>
                    <a:lnTo>
                      <a:pt x="510" y="690"/>
                    </a:lnTo>
                    <a:lnTo>
                      <a:pt x="506" y="690"/>
                    </a:lnTo>
                    <a:lnTo>
                      <a:pt x="506" y="694"/>
                    </a:lnTo>
                    <a:lnTo>
                      <a:pt x="506" y="690"/>
                    </a:lnTo>
                    <a:lnTo>
                      <a:pt x="506" y="686"/>
                    </a:lnTo>
                    <a:lnTo>
                      <a:pt x="510" y="690"/>
                    </a:lnTo>
                    <a:lnTo>
                      <a:pt x="514" y="690"/>
                    </a:lnTo>
                    <a:lnTo>
                      <a:pt x="510" y="690"/>
                    </a:lnTo>
                    <a:lnTo>
                      <a:pt x="506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0" y="686"/>
                    </a:lnTo>
                    <a:lnTo>
                      <a:pt x="514" y="686"/>
                    </a:lnTo>
                    <a:lnTo>
                      <a:pt x="514" y="690"/>
                    </a:lnTo>
                    <a:lnTo>
                      <a:pt x="518" y="690"/>
                    </a:lnTo>
                    <a:lnTo>
                      <a:pt x="518" y="686"/>
                    </a:lnTo>
                    <a:lnTo>
                      <a:pt x="518" y="690"/>
                    </a:lnTo>
                    <a:lnTo>
                      <a:pt x="522" y="686"/>
                    </a:lnTo>
                    <a:lnTo>
                      <a:pt x="522" y="690"/>
                    </a:lnTo>
                    <a:lnTo>
                      <a:pt x="522" y="694"/>
                    </a:lnTo>
                    <a:lnTo>
                      <a:pt x="522" y="690"/>
                    </a:lnTo>
                    <a:lnTo>
                      <a:pt x="526" y="690"/>
                    </a:lnTo>
                    <a:lnTo>
                      <a:pt x="526" y="694"/>
                    </a:lnTo>
                    <a:lnTo>
                      <a:pt x="522" y="694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2" y="698"/>
                    </a:lnTo>
                    <a:lnTo>
                      <a:pt x="522" y="702"/>
                    </a:lnTo>
                    <a:lnTo>
                      <a:pt x="518" y="698"/>
                    </a:lnTo>
                    <a:lnTo>
                      <a:pt x="518" y="702"/>
                    </a:lnTo>
                    <a:lnTo>
                      <a:pt x="514" y="702"/>
                    </a:lnTo>
                    <a:lnTo>
                      <a:pt x="514" y="698"/>
                    </a:lnTo>
                    <a:lnTo>
                      <a:pt x="518" y="698"/>
                    </a:lnTo>
                    <a:lnTo>
                      <a:pt x="518" y="694"/>
                    </a:lnTo>
                    <a:lnTo>
                      <a:pt x="514" y="694"/>
                    </a:lnTo>
                    <a:lnTo>
                      <a:pt x="514" y="698"/>
                    </a:lnTo>
                    <a:lnTo>
                      <a:pt x="510" y="698"/>
                    </a:lnTo>
                    <a:lnTo>
                      <a:pt x="510" y="694"/>
                    </a:lnTo>
                    <a:lnTo>
                      <a:pt x="510" y="694"/>
                    </a:lnTo>
                    <a:lnTo>
                      <a:pt x="510" y="694"/>
                    </a:lnTo>
                    <a:close/>
                    <a:moveTo>
                      <a:pt x="504" y="690"/>
                    </a:moveTo>
                    <a:lnTo>
                      <a:pt x="504" y="686"/>
                    </a:lnTo>
                    <a:lnTo>
                      <a:pt x="504" y="690"/>
                    </a:lnTo>
                    <a:lnTo>
                      <a:pt x="504" y="690"/>
                    </a:lnTo>
                    <a:lnTo>
                      <a:pt x="504" y="690"/>
                    </a:lnTo>
                    <a:close/>
                    <a:moveTo>
                      <a:pt x="548" y="702"/>
                    </a:moveTo>
                    <a:lnTo>
                      <a:pt x="544" y="702"/>
                    </a:lnTo>
                    <a:lnTo>
                      <a:pt x="544" y="698"/>
                    </a:lnTo>
                    <a:lnTo>
                      <a:pt x="544" y="694"/>
                    </a:lnTo>
                    <a:lnTo>
                      <a:pt x="548" y="694"/>
                    </a:lnTo>
                    <a:lnTo>
                      <a:pt x="548" y="690"/>
                    </a:lnTo>
                    <a:lnTo>
                      <a:pt x="548" y="686"/>
                    </a:lnTo>
                    <a:lnTo>
                      <a:pt x="552" y="686"/>
                    </a:lnTo>
                    <a:lnTo>
                      <a:pt x="552" y="690"/>
                    </a:lnTo>
                    <a:lnTo>
                      <a:pt x="548" y="690"/>
                    </a:lnTo>
                    <a:lnTo>
                      <a:pt x="552" y="694"/>
                    </a:lnTo>
                    <a:lnTo>
                      <a:pt x="552" y="698"/>
                    </a:lnTo>
                    <a:lnTo>
                      <a:pt x="548" y="698"/>
                    </a:lnTo>
                    <a:lnTo>
                      <a:pt x="548" y="694"/>
                    </a:lnTo>
                    <a:lnTo>
                      <a:pt x="548" y="698"/>
                    </a:lnTo>
                    <a:lnTo>
                      <a:pt x="548" y="702"/>
                    </a:lnTo>
                    <a:lnTo>
                      <a:pt x="548" y="702"/>
                    </a:lnTo>
                    <a:lnTo>
                      <a:pt x="548" y="702"/>
                    </a:lnTo>
                    <a:close/>
                    <a:moveTo>
                      <a:pt x="532" y="698"/>
                    </a:moveTo>
                    <a:lnTo>
                      <a:pt x="532" y="702"/>
                    </a:lnTo>
                    <a:lnTo>
                      <a:pt x="530" y="702"/>
                    </a:lnTo>
                    <a:lnTo>
                      <a:pt x="530" y="698"/>
                    </a:lnTo>
                    <a:lnTo>
                      <a:pt x="530" y="702"/>
                    </a:lnTo>
                    <a:lnTo>
                      <a:pt x="532" y="702"/>
                    </a:lnTo>
                    <a:lnTo>
                      <a:pt x="530" y="706"/>
                    </a:lnTo>
                    <a:lnTo>
                      <a:pt x="530" y="702"/>
                    </a:lnTo>
                    <a:lnTo>
                      <a:pt x="526" y="702"/>
                    </a:lnTo>
                    <a:lnTo>
                      <a:pt x="526" y="698"/>
                    </a:lnTo>
                    <a:lnTo>
                      <a:pt x="530" y="698"/>
                    </a:lnTo>
                    <a:lnTo>
                      <a:pt x="530" y="694"/>
                    </a:lnTo>
                    <a:lnTo>
                      <a:pt x="532" y="694"/>
                    </a:lnTo>
                    <a:lnTo>
                      <a:pt x="532" y="698"/>
                    </a:lnTo>
                    <a:lnTo>
                      <a:pt x="532" y="698"/>
                    </a:lnTo>
                    <a:lnTo>
                      <a:pt x="532" y="698"/>
                    </a:lnTo>
                    <a:close/>
                    <a:moveTo>
                      <a:pt x="536" y="698"/>
                    </a:moveTo>
                    <a:lnTo>
                      <a:pt x="540" y="698"/>
                    </a:lnTo>
                    <a:lnTo>
                      <a:pt x="544" y="702"/>
                    </a:lnTo>
                    <a:lnTo>
                      <a:pt x="544" y="706"/>
                    </a:lnTo>
                    <a:lnTo>
                      <a:pt x="540" y="706"/>
                    </a:lnTo>
                    <a:lnTo>
                      <a:pt x="536" y="706"/>
                    </a:lnTo>
                    <a:lnTo>
                      <a:pt x="536" y="702"/>
                    </a:lnTo>
                    <a:lnTo>
                      <a:pt x="532" y="702"/>
                    </a:lnTo>
                    <a:lnTo>
                      <a:pt x="532" y="698"/>
                    </a:lnTo>
                    <a:lnTo>
                      <a:pt x="536" y="698"/>
                    </a:lnTo>
                    <a:lnTo>
                      <a:pt x="536" y="698"/>
                    </a:lnTo>
                    <a:lnTo>
                      <a:pt x="536" y="698"/>
                    </a:lnTo>
                    <a:close/>
                    <a:moveTo>
                      <a:pt x="510" y="702"/>
                    </a:moveTo>
                    <a:lnTo>
                      <a:pt x="506" y="698"/>
                    </a:lnTo>
                    <a:lnTo>
                      <a:pt x="510" y="698"/>
                    </a:lnTo>
                    <a:lnTo>
                      <a:pt x="510" y="702"/>
                    </a:lnTo>
                    <a:lnTo>
                      <a:pt x="510" y="702"/>
                    </a:lnTo>
                    <a:lnTo>
                      <a:pt x="510" y="702"/>
                    </a:lnTo>
                    <a:close/>
                    <a:moveTo>
                      <a:pt x="552" y="702"/>
                    </a:moveTo>
                    <a:lnTo>
                      <a:pt x="548" y="698"/>
                    </a:lnTo>
                    <a:lnTo>
                      <a:pt x="552" y="698"/>
                    </a:lnTo>
                    <a:lnTo>
                      <a:pt x="552" y="702"/>
                    </a:lnTo>
                    <a:lnTo>
                      <a:pt x="552" y="702"/>
                    </a:lnTo>
                    <a:lnTo>
                      <a:pt x="552" y="702"/>
                    </a:lnTo>
                    <a:close/>
                    <a:moveTo>
                      <a:pt x="526" y="698"/>
                    </a:moveTo>
                    <a:lnTo>
                      <a:pt x="526" y="702"/>
                    </a:lnTo>
                    <a:lnTo>
                      <a:pt x="522" y="702"/>
                    </a:lnTo>
                    <a:lnTo>
                      <a:pt x="522" y="698"/>
                    </a:lnTo>
                    <a:lnTo>
                      <a:pt x="526" y="698"/>
                    </a:lnTo>
                    <a:lnTo>
                      <a:pt x="526" y="698"/>
                    </a:lnTo>
                    <a:lnTo>
                      <a:pt x="526" y="698"/>
                    </a:lnTo>
                    <a:close/>
                    <a:moveTo>
                      <a:pt x="522" y="706"/>
                    </a:moveTo>
                    <a:lnTo>
                      <a:pt x="526" y="706"/>
                    </a:lnTo>
                    <a:lnTo>
                      <a:pt x="522" y="706"/>
                    </a:lnTo>
                    <a:lnTo>
                      <a:pt x="522" y="706"/>
                    </a:lnTo>
                    <a:lnTo>
                      <a:pt x="522" y="706"/>
                    </a:lnTo>
                    <a:close/>
                    <a:moveTo>
                      <a:pt x="540" y="716"/>
                    </a:moveTo>
                    <a:lnTo>
                      <a:pt x="536" y="716"/>
                    </a:lnTo>
                    <a:lnTo>
                      <a:pt x="540" y="716"/>
                    </a:lnTo>
                    <a:lnTo>
                      <a:pt x="544" y="716"/>
                    </a:lnTo>
                    <a:lnTo>
                      <a:pt x="540" y="716"/>
                    </a:lnTo>
                    <a:lnTo>
                      <a:pt x="540" y="716"/>
                    </a:lnTo>
                    <a:lnTo>
                      <a:pt x="540" y="716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60" y="720"/>
                    </a:moveTo>
                    <a:lnTo>
                      <a:pt x="560" y="716"/>
                    </a:lnTo>
                    <a:lnTo>
                      <a:pt x="562" y="716"/>
                    </a:lnTo>
                    <a:lnTo>
                      <a:pt x="566" y="716"/>
                    </a:lnTo>
                    <a:lnTo>
                      <a:pt x="570" y="720"/>
                    </a:lnTo>
                    <a:lnTo>
                      <a:pt x="566" y="720"/>
                    </a:lnTo>
                    <a:lnTo>
                      <a:pt x="562" y="720"/>
                    </a:lnTo>
                    <a:lnTo>
                      <a:pt x="560" y="720"/>
                    </a:lnTo>
                    <a:lnTo>
                      <a:pt x="560" y="720"/>
                    </a:lnTo>
                    <a:lnTo>
                      <a:pt x="560" y="720"/>
                    </a:lnTo>
                    <a:close/>
                    <a:moveTo>
                      <a:pt x="552" y="716"/>
                    </a:moveTo>
                    <a:lnTo>
                      <a:pt x="548" y="716"/>
                    </a:lnTo>
                    <a:lnTo>
                      <a:pt x="548" y="720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52" y="720"/>
                    </a:lnTo>
                    <a:lnTo>
                      <a:pt x="552" y="724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8" y="724"/>
                    </a:lnTo>
                    <a:lnTo>
                      <a:pt x="548" y="720"/>
                    </a:lnTo>
                    <a:lnTo>
                      <a:pt x="544" y="720"/>
                    </a:lnTo>
                    <a:lnTo>
                      <a:pt x="544" y="716"/>
                    </a:lnTo>
                    <a:lnTo>
                      <a:pt x="548" y="720"/>
                    </a:lnTo>
                    <a:lnTo>
                      <a:pt x="548" y="716"/>
                    </a:lnTo>
                    <a:lnTo>
                      <a:pt x="552" y="716"/>
                    </a:lnTo>
                    <a:lnTo>
                      <a:pt x="552" y="716"/>
                    </a:lnTo>
                    <a:lnTo>
                      <a:pt x="552" y="716"/>
                    </a:lnTo>
                    <a:close/>
                    <a:moveTo>
                      <a:pt x="586" y="716"/>
                    </a:moveTo>
                    <a:lnTo>
                      <a:pt x="590" y="716"/>
                    </a:lnTo>
                    <a:lnTo>
                      <a:pt x="592" y="716"/>
                    </a:lnTo>
                    <a:lnTo>
                      <a:pt x="596" y="716"/>
                    </a:ln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4"/>
                    </a:lnTo>
                    <a:lnTo>
                      <a:pt x="596" y="724"/>
                    </a:lnTo>
                    <a:lnTo>
                      <a:pt x="596" y="728"/>
                    </a:lnTo>
                    <a:lnTo>
                      <a:pt x="592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90" y="724"/>
                    </a:lnTo>
                    <a:lnTo>
                      <a:pt x="586" y="724"/>
                    </a:lnTo>
                    <a:lnTo>
                      <a:pt x="582" y="724"/>
                    </a:lnTo>
                    <a:lnTo>
                      <a:pt x="582" y="720"/>
                    </a:lnTo>
                    <a:lnTo>
                      <a:pt x="582" y="716"/>
                    </a:lnTo>
                    <a:lnTo>
                      <a:pt x="586" y="716"/>
                    </a:lnTo>
                    <a:lnTo>
                      <a:pt x="586" y="716"/>
                    </a:lnTo>
                    <a:lnTo>
                      <a:pt x="586" y="716"/>
                    </a:lnTo>
                    <a:close/>
                    <a:moveTo>
                      <a:pt x="556" y="720"/>
                    </a:moveTo>
                    <a:lnTo>
                      <a:pt x="556" y="716"/>
                    </a:lnTo>
                    <a:lnTo>
                      <a:pt x="556" y="720"/>
                    </a:lnTo>
                    <a:lnTo>
                      <a:pt x="556" y="720"/>
                    </a:lnTo>
                    <a:lnTo>
                      <a:pt x="556" y="720"/>
                    </a:lnTo>
                    <a:close/>
                    <a:moveTo>
                      <a:pt x="586" y="736"/>
                    </a:moveTo>
                    <a:lnTo>
                      <a:pt x="582" y="736"/>
                    </a:lnTo>
                    <a:lnTo>
                      <a:pt x="582" y="732"/>
                    </a:lnTo>
                    <a:lnTo>
                      <a:pt x="578" y="732"/>
                    </a:lnTo>
                    <a:lnTo>
                      <a:pt x="578" y="728"/>
                    </a:lnTo>
                    <a:lnTo>
                      <a:pt x="574" y="728"/>
                    </a:lnTo>
                    <a:lnTo>
                      <a:pt x="574" y="732"/>
                    </a:lnTo>
                    <a:lnTo>
                      <a:pt x="570" y="728"/>
                    </a:lnTo>
                    <a:lnTo>
                      <a:pt x="574" y="728"/>
                    </a:lnTo>
                    <a:lnTo>
                      <a:pt x="570" y="728"/>
                    </a:lnTo>
                    <a:lnTo>
                      <a:pt x="574" y="724"/>
                    </a:lnTo>
                    <a:lnTo>
                      <a:pt x="570" y="724"/>
                    </a:lnTo>
                    <a:lnTo>
                      <a:pt x="566" y="724"/>
                    </a:lnTo>
                    <a:lnTo>
                      <a:pt x="566" y="728"/>
                    </a:lnTo>
                    <a:lnTo>
                      <a:pt x="570" y="728"/>
                    </a:lnTo>
                    <a:lnTo>
                      <a:pt x="570" y="732"/>
                    </a:lnTo>
                    <a:lnTo>
                      <a:pt x="566" y="732"/>
                    </a:lnTo>
                    <a:lnTo>
                      <a:pt x="562" y="728"/>
                    </a:lnTo>
                    <a:lnTo>
                      <a:pt x="566" y="728"/>
                    </a:lnTo>
                    <a:lnTo>
                      <a:pt x="562" y="728"/>
                    </a:lnTo>
                    <a:lnTo>
                      <a:pt x="560" y="728"/>
                    </a:lnTo>
                    <a:lnTo>
                      <a:pt x="562" y="724"/>
                    </a:lnTo>
                    <a:lnTo>
                      <a:pt x="560" y="724"/>
                    </a:lnTo>
                    <a:lnTo>
                      <a:pt x="556" y="724"/>
                    </a:lnTo>
                    <a:lnTo>
                      <a:pt x="560" y="720"/>
                    </a:lnTo>
                    <a:lnTo>
                      <a:pt x="562" y="720"/>
                    </a:lnTo>
                    <a:lnTo>
                      <a:pt x="566" y="720"/>
                    </a:lnTo>
                    <a:lnTo>
                      <a:pt x="570" y="720"/>
                    </a:lnTo>
                    <a:lnTo>
                      <a:pt x="574" y="720"/>
                    </a:lnTo>
                    <a:lnTo>
                      <a:pt x="574" y="716"/>
                    </a:lnTo>
                    <a:lnTo>
                      <a:pt x="578" y="716"/>
                    </a:lnTo>
                    <a:lnTo>
                      <a:pt x="582" y="720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4" y="720"/>
                    </a:lnTo>
                    <a:lnTo>
                      <a:pt x="570" y="720"/>
                    </a:lnTo>
                    <a:lnTo>
                      <a:pt x="574" y="724"/>
                    </a:lnTo>
                    <a:lnTo>
                      <a:pt x="578" y="724"/>
                    </a:lnTo>
                    <a:lnTo>
                      <a:pt x="582" y="724"/>
                    </a:lnTo>
                    <a:lnTo>
                      <a:pt x="578" y="728"/>
                    </a:lnTo>
                    <a:lnTo>
                      <a:pt x="578" y="724"/>
                    </a:lnTo>
                    <a:lnTo>
                      <a:pt x="574" y="724"/>
                    </a:lnTo>
                    <a:lnTo>
                      <a:pt x="578" y="728"/>
                    </a:lnTo>
                    <a:lnTo>
                      <a:pt x="582" y="728"/>
                    </a:lnTo>
                    <a:lnTo>
                      <a:pt x="582" y="732"/>
                    </a:lnTo>
                    <a:lnTo>
                      <a:pt x="586" y="728"/>
                    </a:lnTo>
                    <a:lnTo>
                      <a:pt x="586" y="732"/>
                    </a:lnTo>
                    <a:lnTo>
                      <a:pt x="586" y="736"/>
                    </a:lnTo>
                    <a:lnTo>
                      <a:pt x="586" y="736"/>
                    </a:lnTo>
                    <a:lnTo>
                      <a:pt x="586" y="736"/>
                    </a:lnTo>
                    <a:close/>
                    <a:moveTo>
                      <a:pt x="600" y="720"/>
                    </a:moveTo>
                    <a:lnTo>
                      <a:pt x="596" y="720"/>
                    </a:lnTo>
                    <a:lnTo>
                      <a:pt x="600" y="720"/>
                    </a:lnTo>
                    <a:lnTo>
                      <a:pt x="600" y="720"/>
                    </a:lnTo>
                    <a:lnTo>
                      <a:pt x="600" y="720"/>
                    </a:lnTo>
                    <a:close/>
                    <a:moveTo>
                      <a:pt x="604" y="724"/>
                    </a:moveTo>
                    <a:lnTo>
                      <a:pt x="608" y="724"/>
                    </a:lnTo>
                    <a:lnTo>
                      <a:pt x="604" y="724"/>
                    </a:lnTo>
                    <a:lnTo>
                      <a:pt x="604" y="724"/>
                    </a:lnTo>
                    <a:lnTo>
                      <a:pt x="604" y="724"/>
                    </a:lnTo>
                    <a:close/>
                    <a:moveTo>
                      <a:pt x="600" y="724"/>
                    </a:moveTo>
                    <a:lnTo>
                      <a:pt x="600" y="728"/>
                    </a:lnTo>
                    <a:lnTo>
                      <a:pt x="596" y="724"/>
                    </a:lnTo>
                    <a:lnTo>
                      <a:pt x="600" y="724"/>
                    </a:lnTo>
                    <a:lnTo>
                      <a:pt x="600" y="724"/>
                    </a:lnTo>
                    <a:lnTo>
                      <a:pt x="600" y="724"/>
                    </a:lnTo>
                    <a:close/>
                    <a:moveTo>
                      <a:pt x="590" y="732"/>
                    </a:moveTo>
                    <a:lnTo>
                      <a:pt x="592" y="732"/>
                    </a:lnTo>
                    <a:lnTo>
                      <a:pt x="590" y="732"/>
                    </a:lnTo>
                    <a:lnTo>
                      <a:pt x="590" y="732"/>
                    </a:lnTo>
                    <a:lnTo>
                      <a:pt x="590" y="732"/>
                    </a:lnTo>
                    <a:close/>
                    <a:moveTo>
                      <a:pt x="592" y="736"/>
                    </a:moveTo>
                    <a:lnTo>
                      <a:pt x="592" y="732"/>
                    </a:lnTo>
                    <a:lnTo>
                      <a:pt x="596" y="736"/>
                    </a:lnTo>
                    <a:lnTo>
                      <a:pt x="592" y="736"/>
                    </a:lnTo>
                    <a:lnTo>
                      <a:pt x="592" y="736"/>
                    </a:lnTo>
                    <a:lnTo>
                      <a:pt x="592" y="736"/>
                    </a:lnTo>
                    <a:close/>
                    <a:moveTo>
                      <a:pt x="590" y="738"/>
                    </a:moveTo>
                    <a:lnTo>
                      <a:pt x="592" y="738"/>
                    </a:lnTo>
                    <a:lnTo>
                      <a:pt x="592" y="736"/>
                    </a:lnTo>
                    <a:lnTo>
                      <a:pt x="592" y="738"/>
                    </a:lnTo>
                    <a:lnTo>
                      <a:pt x="590" y="738"/>
                    </a:lnTo>
                    <a:lnTo>
                      <a:pt x="590" y="738"/>
                    </a:lnTo>
                    <a:lnTo>
                      <a:pt x="590" y="738"/>
                    </a:lnTo>
                    <a:close/>
                    <a:moveTo>
                      <a:pt x="596" y="738"/>
                    </a:moveTo>
                    <a:lnTo>
                      <a:pt x="592" y="738"/>
                    </a:lnTo>
                    <a:lnTo>
                      <a:pt x="596" y="738"/>
                    </a:lnTo>
                    <a:lnTo>
                      <a:pt x="596" y="738"/>
                    </a:lnTo>
                    <a:lnTo>
                      <a:pt x="596" y="7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3" name="Freeform 192">
                <a:extLst>
                  <a:ext uri="{FF2B5EF4-FFF2-40B4-BE49-F238E27FC236}">
                    <a16:creationId xmlns:a16="http://schemas.microsoft.com/office/drawing/2014/main" id="{D49E4A77-2513-47D3-807C-D265FFC177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559675" y="4600643"/>
                <a:ext cx="336550" cy="276225"/>
              </a:xfrm>
              <a:custGeom>
                <a:avLst/>
                <a:gdLst>
                  <a:gd name="T0" fmla="*/ 88 w 212"/>
                  <a:gd name="T1" fmla="*/ 6 h 174"/>
                  <a:gd name="T2" fmla="*/ 78 w 212"/>
                  <a:gd name="T3" fmla="*/ 14 h 174"/>
                  <a:gd name="T4" fmla="*/ 134 w 212"/>
                  <a:gd name="T5" fmla="*/ 22 h 174"/>
                  <a:gd name="T6" fmla="*/ 134 w 212"/>
                  <a:gd name="T7" fmla="*/ 22 h 174"/>
                  <a:gd name="T8" fmla="*/ 166 w 212"/>
                  <a:gd name="T9" fmla="*/ 58 h 174"/>
                  <a:gd name="T10" fmla="*/ 156 w 212"/>
                  <a:gd name="T11" fmla="*/ 32 h 174"/>
                  <a:gd name="T12" fmla="*/ 138 w 212"/>
                  <a:gd name="T13" fmla="*/ 22 h 174"/>
                  <a:gd name="T14" fmla="*/ 152 w 212"/>
                  <a:gd name="T15" fmla="*/ 28 h 174"/>
                  <a:gd name="T16" fmla="*/ 164 w 212"/>
                  <a:gd name="T17" fmla="*/ 40 h 174"/>
                  <a:gd name="T18" fmla="*/ 58 w 212"/>
                  <a:gd name="T19" fmla="*/ 110 h 174"/>
                  <a:gd name="T20" fmla="*/ 48 w 212"/>
                  <a:gd name="T21" fmla="*/ 106 h 174"/>
                  <a:gd name="T22" fmla="*/ 40 w 212"/>
                  <a:gd name="T23" fmla="*/ 110 h 174"/>
                  <a:gd name="T24" fmla="*/ 26 w 212"/>
                  <a:gd name="T25" fmla="*/ 114 h 174"/>
                  <a:gd name="T26" fmla="*/ 22 w 212"/>
                  <a:gd name="T27" fmla="*/ 118 h 174"/>
                  <a:gd name="T28" fmla="*/ 26 w 212"/>
                  <a:gd name="T29" fmla="*/ 132 h 174"/>
                  <a:gd name="T30" fmla="*/ 0 w 212"/>
                  <a:gd name="T31" fmla="*/ 132 h 174"/>
                  <a:gd name="T32" fmla="*/ 4 w 212"/>
                  <a:gd name="T33" fmla="*/ 18 h 174"/>
                  <a:gd name="T34" fmla="*/ 26 w 212"/>
                  <a:gd name="T35" fmla="*/ 32 h 174"/>
                  <a:gd name="T36" fmla="*/ 48 w 212"/>
                  <a:gd name="T37" fmla="*/ 40 h 174"/>
                  <a:gd name="T38" fmla="*/ 66 w 212"/>
                  <a:gd name="T39" fmla="*/ 54 h 174"/>
                  <a:gd name="T40" fmla="*/ 78 w 212"/>
                  <a:gd name="T41" fmla="*/ 72 h 174"/>
                  <a:gd name="T42" fmla="*/ 96 w 212"/>
                  <a:gd name="T43" fmla="*/ 84 h 174"/>
                  <a:gd name="T44" fmla="*/ 88 w 212"/>
                  <a:gd name="T45" fmla="*/ 102 h 174"/>
                  <a:gd name="T46" fmla="*/ 100 w 212"/>
                  <a:gd name="T47" fmla="*/ 118 h 174"/>
                  <a:gd name="T48" fmla="*/ 118 w 212"/>
                  <a:gd name="T49" fmla="*/ 128 h 174"/>
                  <a:gd name="T50" fmla="*/ 122 w 212"/>
                  <a:gd name="T51" fmla="*/ 140 h 174"/>
                  <a:gd name="T52" fmla="*/ 140 w 212"/>
                  <a:gd name="T53" fmla="*/ 148 h 174"/>
                  <a:gd name="T54" fmla="*/ 130 w 212"/>
                  <a:gd name="T55" fmla="*/ 158 h 174"/>
                  <a:gd name="T56" fmla="*/ 114 w 212"/>
                  <a:gd name="T57" fmla="*/ 152 h 174"/>
                  <a:gd name="T58" fmla="*/ 88 w 212"/>
                  <a:gd name="T59" fmla="*/ 140 h 174"/>
                  <a:gd name="T60" fmla="*/ 78 w 212"/>
                  <a:gd name="T61" fmla="*/ 128 h 174"/>
                  <a:gd name="T62" fmla="*/ 138 w 212"/>
                  <a:gd name="T63" fmla="*/ 26 h 174"/>
                  <a:gd name="T64" fmla="*/ 114 w 212"/>
                  <a:gd name="T65" fmla="*/ 70 h 174"/>
                  <a:gd name="T66" fmla="*/ 126 w 212"/>
                  <a:gd name="T67" fmla="*/ 62 h 174"/>
                  <a:gd name="T68" fmla="*/ 140 w 212"/>
                  <a:gd name="T69" fmla="*/ 66 h 174"/>
                  <a:gd name="T70" fmla="*/ 152 w 212"/>
                  <a:gd name="T71" fmla="*/ 46 h 174"/>
                  <a:gd name="T72" fmla="*/ 156 w 212"/>
                  <a:gd name="T73" fmla="*/ 58 h 174"/>
                  <a:gd name="T74" fmla="*/ 144 w 212"/>
                  <a:gd name="T75" fmla="*/ 76 h 174"/>
                  <a:gd name="T76" fmla="*/ 118 w 212"/>
                  <a:gd name="T77" fmla="*/ 80 h 174"/>
                  <a:gd name="T78" fmla="*/ 104 w 212"/>
                  <a:gd name="T79" fmla="*/ 70 h 174"/>
                  <a:gd name="T80" fmla="*/ 70 w 212"/>
                  <a:gd name="T81" fmla="*/ 54 h 174"/>
                  <a:gd name="T82" fmla="*/ 194 w 212"/>
                  <a:gd name="T83" fmla="*/ 62 h 174"/>
                  <a:gd name="T84" fmla="*/ 84 w 212"/>
                  <a:gd name="T85" fmla="*/ 62 h 174"/>
                  <a:gd name="T86" fmla="*/ 208 w 212"/>
                  <a:gd name="T87" fmla="*/ 84 h 174"/>
                  <a:gd name="T88" fmla="*/ 200 w 212"/>
                  <a:gd name="T89" fmla="*/ 80 h 174"/>
                  <a:gd name="T90" fmla="*/ 204 w 212"/>
                  <a:gd name="T91" fmla="*/ 76 h 174"/>
                  <a:gd name="T92" fmla="*/ 100 w 212"/>
                  <a:gd name="T93" fmla="*/ 72 h 174"/>
                  <a:gd name="T94" fmla="*/ 36 w 212"/>
                  <a:gd name="T95" fmla="*/ 122 h 174"/>
                  <a:gd name="T96" fmla="*/ 36 w 212"/>
                  <a:gd name="T97" fmla="*/ 126 h 174"/>
                  <a:gd name="T98" fmla="*/ 144 w 212"/>
                  <a:gd name="T99" fmla="*/ 126 h 174"/>
                  <a:gd name="T100" fmla="*/ 166 w 212"/>
                  <a:gd name="T101" fmla="*/ 132 h 174"/>
                  <a:gd name="T102" fmla="*/ 34 w 212"/>
                  <a:gd name="T103" fmla="*/ 128 h 174"/>
                  <a:gd name="T104" fmla="*/ 134 w 212"/>
                  <a:gd name="T105" fmla="*/ 140 h 174"/>
                  <a:gd name="T106" fmla="*/ 138 w 212"/>
                  <a:gd name="T107" fmla="*/ 140 h 174"/>
                  <a:gd name="T108" fmla="*/ 140 w 212"/>
                  <a:gd name="T109" fmla="*/ 148 h 174"/>
                  <a:gd name="T110" fmla="*/ 140 w 212"/>
                  <a:gd name="T111" fmla="*/ 156 h 174"/>
                  <a:gd name="T112" fmla="*/ 166 w 212"/>
                  <a:gd name="T113" fmla="*/ 158 h 174"/>
                  <a:gd name="T114" fmla="*/ 186 w 212"/>
                  <a:gd name="T115" fmla="*/ 170 h 174"/>
                  <a:gd name="T116" fmla="*/ 178 w 212"/>
                  <a:gd name="T117" fmla="*/ 170 h 1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212" h="174">
                    <a:moveTo>
                      <a:pt x="122" y="2"/>
                    </a:moveTo>
                    <a:lnTo>
                      <a:pt x="122" y="0"/>
                    </a:lnTo>
                    <a:lnTo>
                      <a:pt x="118" y="0"/>
                    </a:lnTo>
                    <a:lnTo>
                      <a:pt x="122" y="0"/>
                    </a:lnTo>
                    <a:lnTo>
                      <a:pt x="122" y="2"/>
                    </a:lnTo>
                    <a:lnTo>
                      <a:pt x="122" y="2"/>
                    </a:lnTo>
                    <a:lnTo>
                      <a:pt x="122" y="2"/>
                    </a:lnTo>
                    <a:close/>
                    <a:moveTo>
                      <a:pt x="88" y="6"/>
                    </a:moveTo>
                    <a:lnTo>
                      <a:pt x="88" y="10"/>
                    </a:lnTo>
                    <a:lnTo>
                      <a:pt x="92" y="10"/>
                    </a:lnTo>
                    <a:lnTo>
                      <a:pt x="88" y="10"/>
                    </a:lnTo>
                    <a:lnTo>
                      <a:pt x="88" y="14"/>
                    </a:lnTo>
                    <a:lnTo>
                      <a:pt x="84" y="14"/>
                    </a:lnTo>
                    <a:lnTo>
                      <a:pt x="80" y="14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78" y="10"/>
                    </a:lnTo>
                    <a:lnTo>
                      <a:pt x="80" y="6"/>
                    </a:lnTo>
                    <a:lnTo>
                      <a:pt x="84" y="10"/>
                    </a:lnTo>
                    <a:lnTo>
                      <a:pt x="88" y="10"/>
                    </a:lnTo>
                    <a:lnTo>
                      <a:pt x="88" y="6"/>
                    </a:lnTo>
                    <a:lnTo>
                      <a:pt x="88" y="6"/>
                    </a:lnTo>
                    <a:lnTo>
                      <a:pt x="88" y="6"/>
                    </a:lnTo>
                    <a:close/>
                    <a:moveTo>
                      <a:pt x="134" y="22"/>
                    </a:moveTo>
                    <a:lnTo>
                      <a:pt x="130" y="22"/>
                    </a:lnTo>
                    <a:lnTo>
                      <a:pt x="126" y="18"/>
                    </a:lnTo>
                    <a:lnTo>
                      <a:pt x="130" y="18"/>
                    </a:lnTo>
                    <a:lnTo>
                      <a:pt x="130" y="14"/>
                    </a:lnTo>
                    <a:lnTo>
                      <a:pt x="134" y="18"/>
                    </a:lnTo>
                    <a:lnTo>
                      <a:pt x="134" y="22"/>
                    </a:lnTo>
                    <a:lnTo>
                      <a:pt x="134" y="22"/>
                    </a:lnTo>
                    <a:lnTo>
                      <a:pt x="134" y="22"/>
                    </a:lnTo>
                    <a:close/>
                    <a:moveTo>
                      <a:pt x="164" y="40"/>
                    </a:moveTo>
                    <a:lnTo>
                      <a:pt x="166" y="40"/>
                    </a:lnTo>
                    <a:lnTo>
                      <a:pt x="166" y="44"/>
                    </a:lnTo>
                    <a:lnTo>
                      <a:pt x="170" y="44"/>
                    </a:lnTo>
                    <a:lnTo>
                      <a:pt x="170" y="46"/>
                    </a:lnTo>
                    <a:lnTo>
                      <a:pt x="170" y="50"/>
                    </a:lnTo>
                    <a:lnTo>
                      <a:pt x="170" y="54"/>
                    </a:lnTo>
                    <a:lnTo>
                      <a:pt x="166" y="58"/>
                    </a:lnTo>
                    <a:lnTo>
                      <a:pt x="166" y="54"/>
                    </a:lnTo>
                    <a:lnTo>
                      <a:pt x="164" y="50"/>
                    </a:lnTo>
                    <a:lnTo>
                      <a:pt x="164" y="46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0" y="40"/>
                    </a:lnTo>
                    <a:lnTo>
                      <a:pt x="160" y="36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48" y="28"/>
                    </a:lnTo>
                    <a:lnTo>
                      <a:pt x="148" y="26"/>
                    </a:lnTo>
                    <a:lnTo>
                      <a:pt x="144" y="26"/>
                    </a:lnTo>
                    <a:lnTo>
                      <a:pt x="140" y="26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40" y="22"/>
                    </a:lnTo>
                    <a:lnTo>
                      <a:pt x="138" y="22"/>
                    </a:lnTo>
                    <a:lnTo>
                      <a:pt x="138" y="18"/>
                    </a:lnTo>
                    <a:lnTo>
                      <a:pt x="140" y="22"/>
                    </a:lnTo>
                    <a:lnTo>
                      <a:pt x="144" y="22"/>
                    </a:lnTo>
                    <a:lnTo>
                      <a:pt x="144" y="26"/>
                    </a:lnTo>
                    <a:lnTo>
                      <a:pt x="148" y="26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60" y="32"/>
                    </a:lnTo>
                    <a:lnTo>
                      <a:pt x="160" y="36"/>
                    </a:lnTo>
                    <a:lnTo>
                      <a:pt x="164" y="36"/>
                    </a:lnTo>
                    <a:lnTo>
                      <a:pt x="164" y="40"/>
                    </a:lnTo>
                    <a:lnTo>
                      <a:pt x="164" y="40"/>
                    </a:lnTo>
                    <a:lnTo>
                      <a:pt x="164" y="40"/>
                    </a:lnTo>
                    <a:close/>
                    <a:moveTo>
                      <a:pt x="74" y="122"/>
                    </a:moveTo>
                    <a:lnTo>
                      <a:pt x="74" y="118"/>
                    </a:lnTo>
                    <a:lnTo>
                      <a:pt x="74" y="114"/>
                    </a:lnTo>
                    <a:lnTo>
                      <a:pt x="70" y="114"/>
                    </a:lnTo>
                    <a:lnTo>
                      <a:pt x="70" y="110"/>
                    </a:lnTo>
                    <a:lnTo>
                      <a:pt x="66" y="110"/>
                    </a:lnTo>
                    <a:lnTo>
                      <a:pt x="62" y="110"/>
                    </a:lnTo>
                    <a:lnTo>
                      <a:pt x="58" y="110"/>
                    </a:lnTo>
                    <a:lnTo>
                      <a:pt x="58" y="106"/>
                    </a:lnTo>
                    <a:lnTo>
                      <a:pt x="54" y="106"/>
                    </a:lnTo>
                    <a:lnTo>
                      <a:pt x="54" y="102"/>
                    </a:lnTo>
                    <a:lnTo>
                      <a:pt x="54" y="106"/>
                    </a:lnTo>
                    <a:lnTo>
                      <a:pt x="52" y="106"/>
                    </a:lnTo>
                    <a:lnTo>
                      <a:pt x="52" y="102"/>
                    </a:lnTo>
                    <a:lnTo>
                      <a:pt x="48" y="102"/>
                    </a:lnTo>
                    <a:lnTo>
                      <a:pt x="48" y="106"/>
                    </a:lnTo>
                    <a:lnTo>
                      <a:pt x="48" y="102"/>
                    </a:lnTo>
                    <a:lnTo>
                      <a:pt x="44" y="106"/>
                    </a:lnTo>
                    <a:lnTo>
                      <a:pt x="40" y="106"/>
                    </a:lnTo>
                    <a:lnTo>
                      <a:pt x="40" y="102"/>
                    </a:lnTo>
                    <a:lnTo>
                      <a:pt x="36" y="102"/>
                    </a:lnTo>
                    <a:lnTo>
                      <a:pt x="40" y="102"/>
                    </a:lnTo>
                    <a:lnTo>
                      <a:pt x="40" y="106"/>
                    </a:lnTo>
                    <a:lnTo>
                      <a:pt x="40" y="110"/>
                    </a:lnTo>
                    <a:lnTo>
                      <a:pt x="36" y="110"/>
                    </a:lnTo>
                    <a:lnTo>
                      <a:pt x="34" y="110"/>
                    </a:lnTo>
                    <a:lnTo>
                      <a:pt x="36" y="110"/>
                    </a:lnTo>
                    <a:lnTo>
                      <a:pt x="36" y="114"/>
                    </a:lnTo>
                    <a:lnTo>
                      <a:pt x="34" y="114"/>
                    </a:lnTo>
                    <a:lnTo>
                      <a:pt x="30" y="118"/>
                    </a:lnTo>
                    <a:lnTo>
                      <a:pt x="26" y="118"/>
                    </a:lnTo>
                    <a:lnTo>
                      <a:pt x="26" y="114"/>
                    </a:lnTo>
                    <a:lnTo>
                      <a:pt x="22" y="114"/>
                    </a:lnTo>
                    <a:lnTo>
                      <a:pt x="22" y="118"/>
                    </a:lnTo>
                    <a:lnTo>
                      <a:pt x="18" y="118"/>
                    </a:lnTo>
                    <a:lnTo>
                      <a:pt x="18" y="114"/>
                    </a:lnTo>
                    <a:lnTo>
                      <a:pt x="14" y="114"/>
                    </a:lnTo>
                    <a:lnTo>
                      <a:pt x="18" y="114"/>
                    </a:lnTo>
                    <a:lnTo>
                      <a:pt x="18" y="118"/>
                    </a:lnTo>
                    <a:lnTo>
                      <a:pt x="22" y="118"/>
                    </a:lnTo>
                    <a:lnTo>
                      <a:pt x="26" y="118"/>
                    </a:lnTo>
                    <a:lnTo>
                      <a:pt x="30" y="118"/>
                    </a:lnTo>
                    <a:lnTo>
                      <a:pt x="30" y="122"/>
                    </a:lnTo>
                    <a:lnTo>
                      <a:pt x="34" y="122"/>
                    </a:lnTo>
                    <a:lnTo>
                      <a:pt x="34" y="126"/>
                    </a:lnTo>
                    <a:lnTo>
                      <a:pt x="34" y="128"/>
                    </a:lnTo>
                    <a:lnTo>
                      <a:pt x="30" y="128"/>
                    </a:lnTo>
                    <a:lnTo>
                      <a:pt x="26" y="132"/>
                    </a:lnTo>
                    <a:lnTo>
                      <a:pt x="22" y="132"/>
                    </a:lnTo>
                    <a:lnTo>
                      <a:pt x="18" y="132"/>
                    </a:lnTo>
                    <a:lnTo>
                      <a:pt x="14" y="132"/>
                    </a:lnTo>
                    <a:lnTo>
                      <a:pt x="10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76"/>
                    </a:lnTo>
                    <a:lnTo>
                      <a:pt x="0" y="58"/>
                    </a:lnTo>
                    <a:lnTo>
                      <a:pt x="0" y="18"/>
                    </a:lnTo>
                    <a:lnTo>
                      <a:pt x="4" y="18"/>
                    </a:lnTo>
                    <a:lnTo>
                      <a:pt x="4" y="22"/>
                    </a:lnTo>
                    <a:lnTo>
                      <a:pt x="8" y="22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4" y="28"/>
                    </a:lnTo>
                    <a:lnTo>
                      <a:pt x="18" y="28"/>
                    </a:lnTo>
                    <a:lnTo>
                      <a:pt x="22" y="28"/>
                    </a:lnTo>
                    <a:lnTo>
                      <a:pt x="26" y="32"/>
                    </a:lnTo>
                    <a:lnTo>
                      <a:pt x="30" y="32"/>
                    </a:lnTo>
                    <a:lnTo>
                      <a:pt x="34" y="32"/>
                    </a:lnTo>
                    <a:lnTo>
                      <a:pt x="36" y="32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52" y="40"/>
                    </a:lnTo>
                    <a:lnTo>
                      <a:pt x="52" y="44"/>
                    </a:lnTo>
                    <a:lnTo>
                      <a:pt x="54" y="44"/>
                    </a:lnTo>
                    <a:lnTo>
                      <a:pt x="54" y="46"/>
                    </a:lnTo>
                    <a:lnTo>
                      <a:pt x="58" y="50"/>
                    </a:lnTo>
                    <a:lnTo>
                      <a:pt x="62" y="50"/>
                    </a:lnTo>
                    <a:lnTo>
                      <a:pt x="62" y="54"/>
                    </a:lnTo>
                    <a:lnTo>
                      <a:pt x="66" y="54"/>
                    </a:lnTo>
                    <a:lnTo>
                      <a:pt x="66" y="58"/>
                    </a:lnTo>
                    <a:lnTo>
                      <a:pt x="66" y="62"/>
                    </a:lnTo>
                    <a:lnTo>
                      <a:pt x="66" y="66"/>
                    </a:lnTo>
                    <a:lnTo>
                      <a:pt x="66" y="70"/>
                    </a:lnTo>
                    <a:lnTo>
                      <a:pt x="70" y="70"/>
                    </a:lnTo>
                    <a:lnTo>
                      <a:pt x="74" y="70"/>
                    </a:lnTo>
                    <a:lnTo>
                      <a:pt x="78" y="70"/>
                    </a:lnTo>
                    <a:lnTo>
                      <a:pt x="78" y="72"/>
                    </a:lnTo>
                    <a:lnTo>
                      <a:pt x="80" y="72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2" y="80"/>
                    </a:lnTo>
                    <a:lnTo>
                      <a:pt x="96" y="80"/>
                    </a:lnTo>
                    <a:lnTo>
                      <a:pt x="96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88"/>
                    </a:lnTo>
                    <a:lnTo>
                      <a:pt x="84" y="88"/>
                    </a:lnTo>
                    <a:lnTo>
                      <a:pt x="84" y="92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8" y="102"/>
                    </a:lnTo>
                    <a:lnTo>
                      <a:pt x="92" y="102"/>
                    </a:lnTo>
                    <a:lnTo>
                      <a:pt x="92" y="106"/>
                    </a:lnTo>
                    <a:lnTo>
                      <a:pt x="96" y="110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0"/>
                    </a:lnTo>
                    <a:lnTo>
                      <a:pt x="100" y="114"/>
                    </a:lnTo>
                    <a:lnTo>
                      <a:pt x="100" y="118"/>
                    </a:lnTo>
                    <a:lnTo>
                      <a:pt x="100" y="122"/>
                    </a:lnTo>
                    <a:lnTo>
                      <a:pt x="104" y="122"/>
                    </a:lnTo>
                    <a:lnTo>
                      <a:pt x="104" y="126"/>
                    </a:lnTo>
                    <a:lnTo>
                      <a:pt x="108" y="126"/>
                    </a:lnTo>
                    <a:lnTo>
                      <a:pt x="108" y="128"/>
                    </a:lnTo>
                    <a:lnTo>
                      <a:pt x="110" y="128"/>
                    </a:lnTo>
                    <a:lnTo>
                      <a:pt x="114" y="128"/>
                    </a:lnTo>
                    <a:lnTo>
                      <a:pt x="118" y="128"/>
                    </a:lnTo>
                    <a:lnTo>
                      <a:pt x="118" y="132"/>
                    </a:lnTo>
                    <a:lnTo>
                      <a:pt x="114" y="132"/>
                    </a:lnTo>
                    <a:lnTo>
                      <a:pt x="114" y="136"/>
                    </a:lnTo>
                    <a:lnTo>
                      <a:pt x="118" y="136"/>
                    </a:lnTo>
                    <a:lnTo>
                      <a:pt x="118" y="140"/>
                    </a:lnTo>
                    <a:lnTo>
                      <a:pt x="122" y="140"/>
                    </a:lnTo>
                    <a:lnTo>
                      <a:pt x="126" y="140"/>
                    </a:lnTo>
                    <a:lnTo>
                      <a:pt x="122" y="140"/>
                    </a:lnTo>
                    <a:lnTo>
                      <a:pt x="122" y="144"/>
                    </a:lnTo>
                    <a:lnTo>
                      <a:pt x="126" y="148"/>
                    </a:lnTo>
                    <a:lnTo>
                      <a:pt x="130" y="148"/>
                    </a:lnTo>
                    <a:lnTo>
                      <a:pt x="134" y="148"/>
                    </a:lnTo>
                    <a:lnTo>
                      <a:pt x="134" y="152"/>
                    </a:lnTo>
                    <a:lnTo>
                      <a:pt x="138" y="152"/>
                    </a:lnTo>
                    <a:lnTo>
                      <a:pt x="138" y="148"/>
                    </a:lnTo>
                    <a:lnTo>
                      <a:pt x="140" y="148"/>
                    </a:lnTo>
                    <a:lnTo>
                      <a:pt x="140" y="152"/>
                    </a:lnTo>
                    <a:lnTo>
                      <a:pt x="138" y="152"/>
                    </a:lnTo>
                    <a:lnTo>
                      <a:pt x="134" y="152"/>
                    </a:lnTo>
                    <a:lnTo>
                      <a:pt x="134" y="156"/>
                    </a:lnTo>
                    <a:lnTo>
                      <a:pt x="138" y="156"/>
                    </a:lnTo>
                    <a:lnTo>
                      <a:pt x="134" y="156"/>
                    </a:lnTo>
                    <a:lnTo>
                      <a:pt x="134" y="158"/>
                    </a:lnTo>
                    <a:lnTo>
                      <a:pt x="130" y="158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30" y="156"/>
                    </a:lnTo>
                    <a:lnTo>
                      <a:pt x="126" y="156"/>
                    </a:lnTo>
                    <a:lnTo>
                      <a:pt x="126" y="152"/>
                    </a:lnTo>
                    <a:lnTo>
                      <a:pt x="122" y="152"/>
                    </a:lnTo>
                    <a:lnTo>
                      <a:pt x="118" y="152"/>
                    </a:lnTo>
                    <a:lnTo>
                      <a:pt x="114" y="152"/>
                    </a:lnTo>
                    <a:lnTo>
                      <a:pt x="110" y="152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2" y="144"/>
                    </a:lnTo>
                    <a:lnTo>
                      <a:pt x="92" y="140"/>
                    </a:lnTo>
                    <a:lnTo>
                      <a:pt x="88" y="140"/>
                    </a:lnTo>
                    <a:lnTo>
                      <a:pt x="88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28"/>
                    </a:lnTo>
                    <a:lnTo>
                      <a:pt x="84" y="128"/>
                    </a:lnTo>
                    <a:lnTo>
                      <a:pt x="80" y="128"/>
                    </a:lnTo>
                    <a:lnTo>
                      <a:pt x="78" y="128"/>
                    </a:lnTo>
                    <a:lnTo>
                      <a:pt x="78" y="126"/>
                    </a:lnTo>
                    <a:lnTo>
                      <a:pt x="78" y="122"/>
                    </a:lnTo>
                    <a:lnTo>
                      <a:pt x="74" y="122"/>
                    </a:lnTo>
                    <a:lnTo>
                      <a:pt x="74" y="122"/>
                    </a:lnTo>
                    <a:lnTo>
                      <a:pt x="74" y="122"/>
                    </a:lnTo>
                    <a:close/>
                    <a:moveTo>
                      <a:pt x="138" y="26"/>
                    </a:moveTo>
                    <a:lnTo>
                      <a:pt x="140" y="26"/>
                    </a:lnTo>
                    <a:lnTo>
                      <a:pt x="138" y="26"/>
                    </a:lnTo>
                    <a:lnTo>
                      <a:pt x="138" y="26"/>
                    </a:lnTo>
                    <a:lnTo>
                      <a:pt x="138" y="26"/>
                    </a:lnTo>
                    <a:close/>
                    <a:moveTo>
                      <a:pt x="164" y="28"/>
                    </a:moveTo>
                    <a:lnTo>
                      <a:pt x="164" y="26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64" y="28"/>
                    </a:lnTo>
                    <a:close/>
                    <a:moveTo>
                      <a:pt x="114" y="70"/>
                    </a:moveTo>
                    <a:lnTo>
                      <a:pt x="118" y="70"/>
                    </a:lnTo>
                    <a:lnTo>
                      <a:pt x="122" y="70"/>
                    </a:lnTo>
                    <a:lnTo>
                      <a:pt x="126" y="70"/>
                    </a:lnTo>
                    <a:lnTo>
                      <a:pt x="126" y="66"/>
                    </a:lnTo>
                    <a:lnTo>
                      <a:pt x="126" y="62"/>
                    </a:lnTo>
                    <a:lnTo>
                      <a:pt x="130" y="58"/>
                    </a:lnTo>
                    <a:lnTo>
                      <a:pt x="130" y="62"/>
                    </a:lnTo>
                    <a:lnTo>
                      <a:pt x="126" y="62"/>
                    </a:lnTo>
                    <a:lnTo>
                      <a:pt x="126" y="66"/>
                    </a:lnTo>
                    <a:lnTo>
                      <a:pt x="130" y="70"/>
                    </a:lnTo>
                    <a:lnTo>
                      <a:pt x="134" y="70"/>
                    </a:lnTo>
                    <a:lnTo>
                      <a:pt x="134" y="66"/>
                    </a:lnTo>
                    <a:lnTo>
                      <a:pt x="134" y="70"/>
                    </a:lnTo>
                    <a:lnTo>
                      <a:pt x="138" y="70"/>
                    </a:lnTo>
                    <a:lnTo>
                      <a:pt x="140" y="70"/>
                    </a:lnTo>
                    <a:lnTo>
                      <a:pt x="140" y="66"/>
                    </a:lnTo>
                    <a:lnTo>
                      <a:pt x="140" y="62"/>
                    </a:lnTo>
                    <a:lnTo>
                      <a:pt x="144" y="58"/>
                    </a:lnTo>
                    <a:lnTo>
                      <a:pt x="148" y="58"/>
                    </a:lnTo>
                    <a:lnTo>
                      <a:pt x="152" y="58"/>
                    </a:lnTo>
                    <a:lnTo>
                      <a:pt x="152" y="54"/>
                    </a:lnTo>
                    <a:lnTo>
                      <a:pt x="148" y="50"/>
                    </a:lnTo>
                    <a:lnTo>
                      <a:pt x="148" y="46"/>
                    </a:lnTo>
                    <a:lnTo>
                      <a:pt x="152" y="46"/>
                    </a:lnTo>
                    <a:lnTo>
                      <a:pt x="156" y="46"/>
                    </a:lnTo>
                    <a:lnTo>
                      <a:pt x="156" y="44"/>
                    </a:lnTo>
                    <a:lnTo>
                      <a:pt x="160" y="46"/>
                    </a:lnTo>
                    <a:lnTo>
                      <a:pt x="156" y="46"/>
                    </a:lnTo>
                    <a:lnTo>
                      <a:pt x="160" y="46"/>
                    </a:lnTo>
                    <a:lnTo>
                      <a:pt x="160" y="54"/>
                    </a:lnTo>
                    <a:lnTo>
                      <a:pt x="160" y="58"/>
                    </a:lnTo>
                    <a:lnTo>
                      <a:pt x="156" y="58"/>
                    </a:lnTo>
                    <a:lnTo>
                      <a:pt x="156" y="62"/>
                    </a:lnTo>
                    <a:lnTo>
                      <a:pt x="156" y="66"/>
                    </a:lnTo>
                    <a:lnTo>
                      <a:pt x="156" y="70"/>
                    </a:lnTo>
                    <a:lnTo>
                      <a:pt x="152" y="70"/>
                    </a:lnTo>
                    <a:lnTo>
                      <a:pt x="148" y="70"/>
                    </a:lnTo>
                    <a:lnTo>
                      <a:pt x="148" y="72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0" y="76"/>
                    </a:lnTo>
                    <a:lnTo>
                      <a:pt x="138" y="76"/>
                    </a:lnTo>
                    <a:lnTo>
                      <a:pt x="138" y="80"/>
                    </a:lnTo>
                    <a:lnTo>
                      <a:pt x="134" y="80"/>
                    </a:lnTo>
                    <a:lnTo>
                      <a:pt x="130" y="80"/>
                    </a:lnTo>
                    <a:lnTo>
                      <a:pt x="126" y="80"/>
                    </a:lnTo>
                    <a:lnTo>
                      <a:pt x="122" y="80"/>
                    </a:lnTo>
                    <a:lnTo>
                      <a:pt x="118" y="80"/>
                    </a:lnTo>
                    <a:lnTo>
                      <a:pt x="118" y="76"/>
                    </a:lnTo>
                    <a:lnTo>
                      <a:pt x="114" y="80"/>
                    </a:lnTo>
                    <a:lnTo>
                      <a:pt x="114" y="76"/>
                    </a:lnTo>
                    <a:lnTo>
                      <a:pt x="110" y="76"/>
                    </a:lnTo>
                    <a:lnTo>
                      <a:pt x="110" y="72"/>
                    </a:lnTo>
                    <a:lnTo>
                      <a:pt x="108" y="72"/>
                    </a:lnTo>
                    <a:lnTo>
                      <a:pt x="104" y="72"/>
                    </a:lnTo>
                    <a:lnTo>
                      <a:pt x="104" y="70"/>
                    </a:lnTo>
                    <a:lnTo>
                      <a:pt x="104" y="66"/>
                    </a:lnTo>
                    <a:lnTo>
                      <a:pt x="104" y="70"/>
                    </a:lnTo>
                    <a:lnTo>
                      <a:pt x="108" y="70"/>
                    </a:lnTo>
                    <a:lnTo>
                      <a:pt x="110" y="70"/>
                    </a:lnTo>
                    <a:lnTo>
                      <a:pt x="114" y="70"/>
                    </a:lnTo>
                    <a:lnTo>
                      <a:pt x="114" y="70"/>
                    </a:lnTo>
                    <a:lnTo>
                      <a:pt x="114" y="70"/>
                    </a:lnTo>
                    <a:close/>
                    <a:moveTo>
                      <a:pt x="70" y="54"/>
                    </a:moveTo>
                    <a:lnTo>
                      <a:pt x="70" y="50"/>
                    </a:lnTo>
                    <a:lnTo>
                      <a:pt x="70" y="54"/>
                    </a:lnTo>
                    <a:lnTo>
                      <a:pt x="70" y="54"/>
                    </a:lnTo>
                    <a:lnTo>
                      <a:pt x="70" y="54"/>
                    </a:lnTo>
                    <a:close/>
                    <a:moveTo>
                      <a:pt x="194" y="70"/>
                    </a:moveTo>
                    <a:lnTo>
                      <a:pt x="194" y="66"/>
                    </a:lnTo>
                    <a:lnTo>
                      <a:pt x="190" y="62"/>
                    </a:lnTo>
                    <a:lnTo>
                      <a:pt x="194" y="62"/>
                    </a:lnTo>
                    <a:lnTo>
                      <a:pt x="194" y="58"/>
                    </a:lnTo>
                    <a:lnTo>
                      <a:pt x="194" y="62"/>
                    </a:lnTo>
                    <a:lnTo>
                      <a:pt x="194" y="66"/>
                    </a:lnTo>
                    <a:lnTo>
                      <a:pt x="194" y="70"/>
                    </a:lnTo>
                    <a:lnTo>
                      <a:pt x="194" y="70"/>
                    </a:lnTo>
                    <a:lnTo>
                      <a:pt x="194" y="70"/>
                    </a:lnTo>
                    <a:close/>
                    <a:moveTo>
                      <a:pt x="84" y="66"/>
                    </a:moveTo>
                    <a:lnTo>
                      <a:pt x="84" y="62"/>
                    </a:lnTo>
                    <a:lnTo>
                      <a:pt x="88" y="66"/>
                    </a:lnTo>
                    <a:lnTo>
                      <a:pt x="84" y="66"/>
                    </a:lnTo>
                    <a:lnTo>
                      <a:pt x="84" y="66"/>
                    </a:lnTo>
                    <a:lnTo>
                      <a:pt x="84" y="66"/>
                    </a:lnTo>
                    <a:close/>
                    <a:moveTo>
                      <a:pt x="204" y="76"/>
                    </a:moveTo>
                    <a:lnTo>
                      <a:pt x="204" y="80"/>
                    </a:lnTo>
                    <a:lnTo>
                      <a:pt x="208" y="80"/>
                    </a:lnTo>
                    <a:lnTo>
                      <a:pt x="208" y="84"/>
                    </a:lnTo>
                    <a:lnTo>
                      <a:pt x="212" y="84"/>
                    </a:lnTo>
                    <a:lnTo>
                      <a:pt x="212" y="88"/>
                    </a:lnTo>
                    <a:lnTo>
                      <a:pt x="212" y="92"/>
                    </a:lnTo>
                    <a:lnTo>
                      <a:pt x="208" y="92"/>
                    </a:lnTo>
                    <a:lnTo>
                      <a:pt x="204" y="92"/>
                    </a:lnTo>
                    <a:lnTo>
                      <a:pt x="200" y="88"/>
                    </a:lnTo>
                    <a:lnTo>
                      <a:pt x="200" y="84"/>
                    </a:lnTo>
                    <a:lnTo>
                      <a:pt x="200" y="80"/>
                    </a:lnTo>
                    <a:lnTo>
                      <a:pt x="196" y="80"/>
                    </a:lnTo>
                    <a:lnTo>
                      <a:pt x="196" y="76"/>
                    </a:lnTo>
                    <a:lnTo>
                      <a:pt x="194" y="76"/>
                    </a:lnTo>
                    <a:lnTo>
                      <a:pt x="194" y="72"/>
                    </a:lnTo>
                    <a:lnTo>
                      <a:pt x="194" y="70"/>
                    </a:lnTo>
                    <a:lnTo>
                      <a:pt x="196" y="70"/>
                    </a:lnTo>
                    <a:lnTo>
                      <a:pt x="200" y="72"/>
                    </a:lnTo>
                    <a:lnTo>
                      <a:pt x="204" y="76"/>
                    </a:lnTo>
                    <a:lnTo>
                      <a:pt x="204" y="76"/>
                    </a:lnTo>
                    <a:lnTo>
                      <a:pt x="204" y="76"/>
                    </a:lnTo>
                    <a:close/>
                    <a:moveTo>
                      <a:pt x="100" y="72"/>
                    </a:moveTo>
                    <a:lnTo>
                      <a:pt x="96" y="72"/>
                    </a:lnTo>
                    <a:lnTo>
                      <a:pt x="96" y="70"/>
                    </a:lnTo>
                    <a:lnTo>
                      <a:pt x="100" y="70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2"/>
                    </a:lnTo>
                    <a:close/>
                    <a:moveTo>
                      <a:pt x="36" y="118"/>
                    </a:moveTo>
                    <a:lnTo>
                      <a:pt x="34" y="118"/>
                    </a:lnTo>
                    <a:lnTo>
                      <a:pt x="36" y="118"/>
                    </a:lnTo>
                    <a:lnTo>
                      <a:pt x="36" y="118"/>
                    </a:lnTo>
                    <a:lnTo>
                      <a:pt x="36" y="118"/>
                    </a:lnTo>
                    <a:close/>
                    <a:moveTo>
                      <a:pt x="36" y="126"/>
                    </a:move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18"/>
                    </a:lnTo>
                    <a:lnTo>
                      <a:pt x="30" y="118"/>
                    </a:lnTo>
                    <a:lnTo>
                      <a:pt x="34" y="118"/>
                    </a:lnTo>
                    <a:lnTo>
                      <a:pt x="34" y="122"/>
                    </a:lnTo>
                    <a:lnTo>
                      <a:pt x="36" y="122"/>
                    </a:lnTo>
                    <a:lnTo>
                      <a:pt x="36" y="126"/>
                    </a:lnTo>
                    <a:lnTo>
                      <a:pt x="36" y="126"/>
                    </a:lnTo>
                    <a:lnTo>
                      <a:pt x="36" y="126"/>
                    </a:lnTo>
                    <a:close/>
                    <a:moveTo>
                      <a:pt x="144" y="126"/>
                    </a:moveTo>
                    <a:lnTo>
                      <a:pt x="140" y="126"/>
                    </a:lnTo>
                    <a:lnTo>
                      <a:pt x="140" y="122"/>
                    </a:lnTo>
                    <a:lnTo>
                      <a:pt x="140" y="118"/>
                    </a:lnTo>
                    <a:lnTo>
                      <a:pt x="140" y="122"/>
                    </a:lnTo>
                    <a:lnTo>
                      <a:pt x="140" y="126"/>
                    </a:lnTo>
                    <a:lnTo>
                      <a:pt x="144" y="126"/>
                    </a:lnTo>
                    <a:lnTo>
                      <a:pt x="144" y="126"/>
                    </a:lnTo>
                    <a:lnTo>
                      <a:pt x="144" y="126"/>
                    </a:lnTo>
                    <a:close/>
                    <a:moveTo>
                      <a:pt x="166" y="132"/>
                    </a:moveTo>
                    <a:lnTo>
                      <a:pt x="164" y="128"/>
                    </a:lnTo>
                    <a:lnTo>
                      <a:pt x="166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66" y="132"/>
                    </a:lnTo>
                    <a:close/>
                    <a:moveTo>
                      <a:pt x="34" y="128"/>
                    </a:moveTo>
                    <a:lnTo>
                      <a:pt x="34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8"/>
                    </a:lnTo>
                    <a:lnTo>
                      <a:pt x="34" y="128"/>
                    </a:lnTo>
                    <a:close/>
                    <a:moveTo>
                      <a:pt x="134" y="136"/>
                    </a:moveTo>
                    <a:lnTo>
                      <a:pt x="130" y="136"/>
                    </a:lnTo>
                    <a:lnTo>
                      <a:pt x="130" y="132"/>
                    </a:lnTo>
                    <a:lnTo>
                      <a:pt x="134" y="136"/>
                    </a:lnTo>
                    <a:lnTo>
                      <a:pt x="134" y="136"/>
                    </a:lnTo>
                    <a:lnTo>
                      <a:pt x="134" y="136"/>
                    </a:lnTo>
                    <a:close/>
                    <a:moveTo>
                      <a:pt x="138" y="140"/>
                    </a:moveTo>
                    <a:lnTo>
                      <a:pt x="134" y="140"/>
                    </a:lnTo>
                    <a:lnTo>
                      <a:pt x="134" y="136"/>
                    </a:lnTo>
                    <a:lnTo>
                      <a:pt x="134" y="132"/>
                    </a:lnTo>
                    <a:lnTo>
                      <a:pt x="134" y="136"/>
                    </a:lnTo>
                    <a:lnTo>
                      <a:pt x="138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38" y="140"/>
                    </a:lnTo>
                    <a:lnTo>
                      <a:pt x="138" y="140"/>
                    </a:lnTo>
                    <a:lnTo>
                      <a:pt x="138" y="140"/>
                    </a:lnTo>
                    <a:close/>
                    <a:moveTo>
                      <a:pt x="144" y="148"/>
                    </a:moveTo>
                    <a:lnTo>
                      <a:pt x="140" y="148"/>
                    </a:lnTo>
                    <a:lnTo>
                      <a:pt x="140" y="144"/>
                    </a:lnTo>
                    <a:lnTo>
                      <a:pt x="138" y="144"/>
                    </a:lnTo>
                    <a:lnTo>
                      <a:pt x="138" y="140"/>
                    </a:lnTo>
                    <a:lnTo>
                      <a:pt x="140" y="144"/>
                    </a:lnTo>
                    <a:lnTo>
                      <a:pt x="140" y="148"/>
                    </a:lnTo>
                    <a:lnTo>
                      <a:pt x="144" y="148"/>
                    </a:lnTo>
                    <a:lnTo>
                      <a:pt x="144" y="144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close/>
                    <a:moveTo>
                      <a:pt x="140" y="156"/>
                    </a:moveTo>
                    <a:lnTo>
                      <a:pt x="138" y="156"/>
                    </a:lnTo>
                    <a:lnTo>
                      <a:pt x="140" y="156"/>
                    </a:lnTo>
                    <a:lnTo>
                      <a:pt x="140" y="156"/>
                    </a:lnTo>
                    <a:lnTo>
                      <a:pt x="140" y="156"/>
                    </a:lnTo>
                    <a:close/>
                    <a:moveTo>
                      <a:pt x="166" y="158"/>
                    </a:moveTo>
                    <a:lnTo>
                      <a:pt x="164" y="158"/>
                    </a:lnTo>
                    <a:lnTo>
                      <a:pt x="164" y="156"/>
                    </a:lnTo>
                    <a:lnTo>
                      <a:pt x="166" y="156"/>
                    </a:lnTo>
                    <a:lnTo>
                      <a:pt x="166" y="158"/>
                    </a:lnTo>
                    <a:lnTo>
                      <a:pt x="166" y="158"/>
                    </a:lnTo>
                    <a:lnTo>
                      <a:pt x="166" y="158"/>
                    </a:lnTo>
                    <a:close/>
                    <a:moveTo>
                      <a:pt x="186" y="170"/>
                    </a:moveTo>
                    <a:lnTo>
                      <a:pt x="182" y="170"/>
                    </a:lnTo>
                    <a:lnTo>
                      <a:pt x="186" y="170"/>
                    </a:lnTo>
                    <a:lnTo>
                      <a:pt x="186" y="166"/>
                    </a:lnTo>
                    <a:lnTo>
                      <a:pt x="186" y="170"/>
                    </a:lnTo>
                    <a:lnTo>
                      <a:pt x="190" y="170"/>
                    </a:lnTo>
                    <a:lnTo>
                      <a:pt x="186" y="170"/>
                    </a:lnTo>
                    <a:lnTo>
                      <a:pt x="186" y="170"/>
                    </a:lnTo>
                    <a:lnTo>
                      <a:pt x="186" y="170"/>
                    </a:lnTo>
                    <a:close/>
                    <a:moveTo>
                      <a:pt x="178" y="174"/>
                    </a:moveTo>
                    <a:lnTo>
                      <a:pt x="174" y="174"/>
                    </a:lnTo>
                    <a:lnTo>
                      <a:pt x="174" y="170"/>
                    </a:lnTo>
                    <a:lnTo>
                      <a:pt x="170" y="170"/>
                    </a:lnTo>
                    <a:lnTo>
                      <a:pt x="174" y="170"/>
                    </a:lnTo>
                    <a:lnTo>
                      <a:pt x="178" y="170"/>
                    </a:lnTo>
                    <a:lnTo>
                      <a:pt x="178" y="174"/>
                    </a:lnTo>
                    <a:lnTo>
                      <a:pt x="182" y="174"/>
                    </a:lnTo>
                    <a:lnTo>
                      <a:pt x="178" y="174"/>
                    </a:lnTo>
                    <a:lnTo>
                      <a:pt x="178" y="174"/>
                    </a:lnTo>
                    <a:lnTo>
                      <a:pt x="178" y="17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4" name="Freeform 193">
                <a:extLst>
                  <a:ext uri="{FF2B5EF4-FFF2-40B4-BE49-F238E27FC236}">
                    <a16:creationId xmlns:a16="http://schemas.microsoft.com/office/drawing/2014/main" id="{33EBEAFC-F41E-4D41-A6DB-8414093FB1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689350" y="3359218"/>
                <a:ext cx="568325" cy="292100"/>
              </a:xfrm>
              <a:custGeom>
                <a:avLst/>
                <a:gdLst>
                  <a:gd name="T0" fmla="*/ 320 w 358"/>
                  <a:gd name="T1" fmla="*/ 16 h 184"/>
                  <a:gd name="T2" fmla="*/ 320 w 358"/>
                  <a:gd name="T3" fmla="*/ 8 h 184"/>
                  <a:gd name="T4" fmla="*/ 324 w 358"/>
                  <a:gd name="T5" fmla="*/ 0 h 184"/>
                  <a:gd name="T6" fmla="*/ 328 w 358"/>
                  <a:gd name="T7" fmla="*/ 8 h 184"/>
                  <a:gd name="T8" fmla="*/ 340 w 358"/>
                  <a:gd name="T9" fmla="*/ 8 h 184"/>
                  <a:gd name="T10" fmla="*/ 348 w 358"/>
                  <a:gd name="T11" fmla="*/ 4 h 184"/>
                  <a:gd name="T12" fmla="*/ 350 w 358"/>
                  <a:gd name="T13" fmla="*/ 12 h 184"/>
                  <a:gd name="T14" fmla="*/ 354 w 358"/>
                  <a:gd name="T15" fmla="*/ 12 h 184"/>
                  <a:gd name="T16" fmla="*/ 350 w 358"/>
                  <a:gd name="T17" fmla="*/ 20 h 184"/>
                  <a:gd name="T18" fmla="*/ 348 w 358"/>
                  <a:gd name="T19" fmla="*/ 30 h 184"/>
                  <a:gd name="T20" fmla="*/ 344 w 358"/>
                  <a:gd name="T21" fmla="*/ 38 h 184"/>
                  <a:gd name="T22" fmla="*/ 344 w 358"/>
                  <a:gd name="T23" fmla="*/ 50 h 184"/>
                  <a:gd name="T24" fmla="*/ 340 w 358"/>
                  <a:gd name="T25" fmla="*/ 54 h 184"/>
                  <a:gd name="T26" fmla="*/ 348 w 358"/>
                  <a:gd name="T27" fmla="*/ 60 h 184"/>
                  <a:gd name="T28" fmla="*/ 340 w 358"/>
                  <a:gd name="T29" fmla="*/ 68 h 184"/>
                  <a:gd name="T30" fmla="*/ 344 w 358"/>
                  <a:gd name="T31" fmla="*/ 76 h 184"/>
                  <a:gd name="T32" fmla="*/ 344 w 358"/>
                  <a:gd name="T33" fmla="*/ 82 h 184"/>
                  <a:gd name="T34" fmla="*/ 336 w 358"/>
                  <a:gd name="T35" fmla="*/ 90 h 184"/>
                  <a:gd name="T36" fmla="*/ 340 w 358"/>
                  <a:gd name="T37" fmla="*/ 98 h 184"/>
                  <a:gd name="T38" fmla="*/ 332 w 358"/>
                  <a:gd name="T39" fmla="*/ 102 h 184"/>
                  <a:gd name="T40" fmla="*/ 324 w 358"/>
                  <a:gd name="T41" fmla="*/ 98 h 184"/>
                  <a:gd name="T42" fmla="*/ 318 w 358"/>
                  <a:gd name="T43" fmla="*/ 102 h 184"/>
                  <a:gd name="T44" fmla="*/ 320 w 358"/>
                  <a:gd name="T45" fmla="*/ 94 h 184"/>
                  <a:gd name="T46" fmla="*/ 320 w 358"/>
                  <a:gd name="T47" fmla="*/ 82 h 184"/>
                  <a:gd name="T48" fmla="*/ 320 w 358"/>
                  <a:gd name="T49" fmla="*/ 76 h 184"/>
                  <a:gd name="T50" fmla="*/ 318 w 358"/>
                  <a:gd name="T51" fmla="*/ 76 h 184"/>
                  <a:gd name="T52" fmla="*/ 314 w 358"/>
                  <a:gd name="T53" fmla="*/ 68 h 184"/>
                  <a:gd name="T54" fmla="*/ 318 w 358"/>
                  <a:gd name="T55" fmla="*/ 64 h 184"/>
                  <a:gd name="T56" fmla="*/ 310 w 358"/>
                  <a:gd name="T57" fmla="*/ 68 h 184"/>
                  <a:gd name="T58" fmla="*/ 314 w 358"/>
                  <a:gd name="T59" fmla="*/ 56 h 184"/>
                  <a:gd name="T60" fmla="*/ 314 w 358"/>
                  <a:gd name="T61" fmla="*/ 54 h 184"/>
                  <a:gd name="T62" fmla="*/ 318 w 358"/>
                  <a:gd name="T63" fmla="*/ 42 h 184"/>
                  <a:gd name="T64" fmla="*/ 320 w 358"/>
                  <a:gd name="T65" fmla="*/ 30 h 184"/>
                  <a:gd name="T66" fmla="*/ 320 w 358"/>
                  <a:gd name="T67" fmla="*/ 26 h 184"/>
                  <a:gd name="T68" fmla="*/ 320 w 358"/>
                  <a:gd name="T69" fmla="*/ 24 h 184"/>
                  <a:gd name="T70" fmla="*/ 0 w 358"/>
                  <a:gd name="T71" fmla="*/ 54 h 184"/>
                  <a:gd name="T72" fmla="*/ 4 w 358"/>
                  <a:gd name="T73" fmla="*/ 56 h 184"/>
                  <a:gd name="T74" fmla="*/ 60 w 358"/>
                  <a:gd name="T75" fmla="*/ 68 h 184"/>
                  <a:gd name="T76" fmla="*/ 60 w 358"/>
                  <a:gd name="T77" fmla="*/ 72 h 184"/>
                  <a:gd name="T78" fmla="*/ 48 w 358"/>
                  <a:gd name="T79" fmla="*/ 72 h 184"/>
                  <a:gd name="T80" fmla="*/ 52 w 358"/>
                  <a:gd name="T81" fmla="*/ 72 h 184"/>
                  <a:gd name="T82" fmla="*/ 48 w 358"/>
                  <a:gd name="T83" fmla="*/ 72 h 184"/>
                  <a:gd name="T84" fmla="*/ 38 w 358"/>
                  <a:gd name="T85" fmla="*/ 72 h 184"/>
                  <a:gd name="T86" fmla="*/ 46 w 358"/>
                  <a:gd name="T87" fmla="*/ 76 h 184"/>
                  <a:gd name="T88" fmla="*/ 46 w 358"/>
                  <a:gd name="T89" fmla="*/ 72 h 184"/>
                  <a:gd name="T90" fmla="*/ 46 w 358"/>
                  <a:gd name="T91" fmla="*/ 76 h 184"/>
                  <a:gd name="T92" fmla="*/ 78 w 358"/>
                  <a:gd name="T93" fmla="*/ 86 h 184"/>
                  <a:gd name="T94" fmla="*/ 86 w 358"/>
                  <a:gd name="T95" fmla="*/ 86 h 184"/>
                  <a:gd name="T96" fmla="*/ 90 w 358"/>
                  <a:gd name="T97" fmla="*/ 86 h 184"/>
                  <a:gd name="T98" fmla="*/ 82 w 358"/>
                  <a:gd name="T99" fmla="*/ 86 h 184"/>
                  <a:gd name="T100" fmla="*/ 86 w 358"/>
                  <a:gd name="T101" fmla="*/ 102 h 184"/>
                  <a:gd name="T102" fmla="*/ 90 w 358"/>
                  <a:gd name="T103" fmla="*/ 102 h 184"/>
                  <a:gd name="T104" fmla="*/ 202 w 358"/>
                  <a:gd name="T105" fmla="*/ 180 h 184"/>
                  <a:gd name="T106" fmla="*/ 204 w 358"/>
                  <a:gd name="T107" fmla="*/ 184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8" h="184">
                    <a:moveTo>
                      <a:pt x="320" y="24"/>
                    </a:moveTo>
                    <a:lnTo>
                      <a:pt x="320" y="20"/>
                    </a:lnTo>
                    <a:lnTo>
                      <a:pt x="320" y="16"/>
                    </a:lnTo>
                    <a:lnTo>
                      <a:pt x="320" y="12"/>
                    </a:lnTo>
                    <a:lnTo>
                      <a:pt x="318" y="8"/>
                    </a:lnTo>
                    <a:lnTo>
                      <a:pt x="320" y="8"/>
                    </a:lnTo>
                    <a:lnTo>
                      <a:pt x="320" y="4"/>
                    </a:lnTo>
                    <a:lnTo>
                      <a:pt x="324" y="4"/>
                    </a:lnTo>
                    <a:lnTo>
                      <a:pt x="324" y="0"/>
                    </a:lnTo>
                    <a:lnTo>
                      <a:pt x="328" y="0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32" y="8"/>
                    </a:lnTo>
                    <a:lnTo>
                      <a:pt x="336" y="8"/>
                    </a:lnTo>
                    <a:lnTo>
                      <a:pt x="340" y="8"/>
                    </a:lnTo>
                    <a:lnTo>
                      <a:pt x="344" y="8"/>
                    </a:lnTo>
                    <a:lnTo>
                      <a:pt x="344" y="4"/>
                    </a:lnTo>
                    <a:lnTo>
                      <a:pt x="348" y="4"/>
                    </a:lnTo>
                    <a:lnTo>
                      <a:pt x="350" y="4"/>
                    </a:lnTo>
                    <a:lnTo>
                      <a:pt x="350" y="8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54" y="12"/>
                    </a:lnTo>
                    <a:lnTo>
                      <a:pt x="354" y="16"/>
                    </a:lnTo>
                    <a:lnTo>
                      <a:pt x="354" y="20"/>
                    </a:lnTo>
                    <a:lnTo>
                      <a:pt x="350" y="20"/>
                    </a:lnTo>
                    <a:lnTo>
                      <a:pt x="348" y="24"/>
                    </a:lnTo>
                    <a:lnTo>
                      <a:pt x="348" y="26"/>
                    </a:lnTo>
                    <a:lnTo>
                      <a:pt x="348" y="30"/>
                    </a:lnTo>
                    <a:lnTo>
                      <a:pt x="348" y="34"/>
                    </a:lnTo>
                    <a:lnTo>
                      <a:pt x="348" y="38"/>
                    </a:lnTo>
                    <a:lnTo>
                      <a:pt x="344" y="38"/>
                    </a:lnTo>
                    <a:lnTo>
                      <a:pt x="344" y="42"/>
                    </a:lnTo>
                    <a:lnTo>
                      <a:pt x="348" y="42"/>
                    </a:lnTo>
                    <a:lnTo>
                      <a:pt x="344" y="50"/>
                    </a:lnTo>
                    <a:lnTo>
                      <a:pt x="340" y="50"/>
                    </a:lnTo>
                    <a:lnTo>
                      <a:pt x="336" y="50"/>
                    </a:lnTo>
                    <a:lnTo>
                      <a:pt x="340" y="54"/>
                    </a:lnTo>
                    <a:lnTo>
                      <a:pt x="340" y="56"/>
                    </a:lnTo>
                    <a:lnTo>
                      <a:pt x="344" y="60"/>
                    </a:lnTo>
                    <a:lnTo>
                      <a:pt x="348" y="60"/>
                    </a:lnTo>
                    <a:lnTo>
                      <a:pt x="344" y="64"/>
                    </a:lnTo>
                    <a:lnTo>
                      <a:pt x="344" y="68"/>
                    </a:lnTo>
                    <a:lnTo>
                      <a:pt x="340" y="68"/>
                    </a:lnTo>
                    <a:lnTo>
                      <a:pt x="340" y="72"/>
                    </a:lnTo>
                    <a:lnTo>
                      <a:pt x="340" y="76"/>
                    </a:lnTo>
                    <a:lnTo>
                      <a:pt x="344" y="76"/>
                    </a:lnTo>
                    <a:lnTo>
                      <a:pt x="344" y="80"/>
                    </a:lnTo>
                    <a:lnTo>
                      <a:pt x="348" y="80"/>
                    </a:lnTo>
                    <a:lnTo>
                      <a:pt x="344" y="82"/>
                    </a:lnTo>
                    <a:lnTo>
                      <a:pt x="340" y="82"/>
                    </a:lnTo>
                    <a:lnTo>
                      <a:pt x="340" y="86"/>
                    </a:lnTo>
                    <a:lnTo>
                      <a:pt x="336" y="90"/>
                    </a:lnTo>
                    <a:lnTo>
                      <a:pt x="340" y="90"/>
                    </a:lnTo>
                    <a:lnTo>
                      <a:pt x="340" y="94"/>
                    </a:lnTo>
                    <a:lnTo>
                      <a:pt x="340" y="98"/>
                    </a:lnTo>
                    <a:lnTo>
                      <a:pt x="336" y="98"/>
                    </a:lnTo>
                    <a:lnTo>
                      <a:pt x="336" y="102"/>
                    </a:lnTo>
                    <a:lnTo>
                      <a:pt x="332" y="102"/>
                    </a:lnTo>
                    <a:lnTo>
                      <a:pt x="328" y="102"/>
                    </a:lnTo>
                    <a:lnTo>
                      <a:pt x="328" y="98"/>
                    </a:lnTo>
                    <a:lnTo>
                      <a:pt x="324" y="98"/>
                    </a:lnTo>
                    <a:lnTo>
                      <a:pt x="320" y="98"/>
                    </a:lnTo>
                    <a:lnTo>
                      <a:pt x="320" y="102"/>
                    </a:lnTo>
                    <a:lnTo>
                      <a:pt x="318" y="102"/>
                    </a:lnTo>
                    <a:lnTo>
                      <a:pt x="318" y="98"/>
                    </a:lnTo>
                    <a:lnTo>
                      <a:pt x="318" y="94"/>
                    </a:lnTo>
                    <a:lnTo>
                      <a:pt x="320" y="94"/>
                    </a:lnTo>
                    <a:lnTo>
                      <a:pt x="320" y="90"/>
                    </a:lnTo>
                    <a:lnTo>
                      <a:pt x="320" y="86"/>
                    </a:lnTo>
                    <a:lnTo>
                      <a:pt x="320" y="82"/>
                    </a:lnTo>
                    <a:lnTo>
                      <a:pt x="318" y="82"/>
                    </a:lnTo>
                    <a:lnTo>
                      <a:pt x="320" y="80"/>
                    </a:lnTo>
                    <a:lnTo>
                      <a:pt x="320" y="76"/>
                    </a:lnTo>
                    <a:lnTo>
                      <a:pt x="320" y="72"/>
                    </a:lnTo>
                    <a:lnTo>
                      <a:pt x="318" y="72"/>
                    </a:lnTo>
                    <a:lnTo>
                      <a:pt x="318" y="76"/>
                    </a:lnTo>
                    <a:lnTo>
                      <a:pt x="314" y="76"/>
                    </a:lnTo>
                    <a:lnTo>
                      <a:pt x="314" y="72"/>
                    </a:lnTo>
                    <a:lnTo>
                      <a:pt x="314" y="68"/>
                    </a:lnTo>
                    <a:lnTo>
                      <a:pt x="318" y="72"/>
                    </a:lnTo>
                    <a:lnTo>
                      <a:pt x="318" y="68"/>
                    </a:lnTo>
                    <a:lnTo>
                      <a:pt x="318" y="64"/>
                    </a:lnTo>
                    <a:lnTo>
                      <a:pt x="318" y="68"/>
                    </a:lnTo>
                    <a:lnTo>
                      <a:pt x="314" y="68"/>
                    </a:lnTo>
                    <a:lnTo>
                      <a:pt x="310" y="68"/>
                    </a:lnTo>
                    <a:lnTo>
                      <a:pt x="310" y="64"/>
                    </a:lnTo>
                    <a:lnTo>
                      <a:pt x="310" y="60"/>
                    </a:lnTo>
                    <a:lnTo>
                      <a:pt x="314" y="56"/>
                    </a:lnTo>
                    <a:lnTo>
                      <a:pt x="310" y="56"/>
                    </a:lnTo>
                    <a:lnTo>
                      <a:pt x="314" y="56"/>
                    </a:lnTo>
                    <a:lnTo>
                      <a:pt x="314" y="54"/>
                    </a:lnTo>
                    <a:lnTo>
                      <a:pt x="318" y="50"/>
                    </a:lnTo>
                    <a:lnTo>
                      <a:pt x="318" y="46"/>
                    </a:lnTo>
                    <a:lnTo>
                      <a:pt x="318" y="42"/>
                    </a:lnTo>
                    <a:lnTo>
                      <a:pt x="318" y="38"/>
                    </a:lnTo>
                    <a:lnTo>
                      <a:pt x="320" y="34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30"/>
                    </a:lnTo>
                    <a:lnTo>
                      <a:pt x="320" y="26"/>
                    </a:lnTo>
                    <a:lnTo>
                      <a:pt x="320" y="24"/>
                    </a:lnTo>
                    <a:lnTo>
                      <a:pt x="320" y="24"/>
                    </a:lnTo>
                    <a:lnTo>
                      <a:pt x="320" y="24"/>
                    </a:lnTo>
                    <a:close/>
                    <a:moveTo>
                      <a:pt x="4" y="56"/>
                    </a:moveTo>
                    <a:lnTo>
                      <a:pt x="0" y="56"/>
                    </a:lnTo>
                    <a:lnTo>
                      <a:pt x="0" y="54"/>
                    </a:lnTo>
                    <a:lnTo>
                      <a:pt x="4" y="54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  <a:moveTo>
                      <a:pt x="60" y="72"/>
                    </a:moveTo>
                    <a:lnTo>
                      <a:pt x="60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close/>
                    <a:moveTo>
                      <a:pt x="48" y="72"/>
                    </a:moveTo>
                    <a:lnTo>
                      <a:pt x="46" y="68"/>
                    </a:lnTo>
                    <a:lnTo>
                      <a:pt x="48" y="68"/>
                    </a:lnTo>
                    <a:lnTo>
                      <a:pt x="52" y="72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8" y="72"/>
                    </a:lnTo>
                    <a:close/>
                    <a:moveTo>
                      <a:pt x="38" y="72"/>
                    </a:moveTo>
                    <a:lnTo>
                      <a:pt x="38" y="68"/>
                    </a:lnTo>
                    <a:lnTo>
                      <a:pt x="38" y="72"/>
                    </a:lnTo>
                    <a:lnTo>
                      <a:pt x="38" y="72"/>
                    </a:lnTo>
                    <a:lnTo>
                      <a:pt x="38" y="72"/>
                    </a:lnTo>
                    <a:close/>
                    <a:moveTo>
                      <a:pt x="46" y="76"/>
                    </a:moveTo>
                    <a:lnTo>
                      <a:pt x="42" y="76"/>
                    </a:lnTo>
                    <a:lnTo>
                      <a:pt x="42" y="72"/>
                    </a:lnTo>
                    <a:lnTo>
                      <a:pt x="46" y="72"/>
                    </a:lnTo>
                    <a:lnTo>
                      <a:pt x="48" y="76"/>
                    </a:lnTo>
                    <a:lnTo>
                      <a:pt x="46" y="76"/>
                    </a:lnTo>
                    <a:lnTo>
                      <a:pt x="46" y="76"/>
                    </a:lnTo>
                    <a:lnTo>
                      <a:pt x="46" y="76"/>
                    </a:lnTo>
                    <a:close/>
                    <a:moveTo>
                      <a:pt x="82" y="86"/>
                    </a:moveTo>
                    <a:lnTo>
                      <a:pt x="78" y="86"/>
                    </a:lnTo>
                    <a:lnTo>
                      <a:pt x="78" y="82"/>
                    </a:lnTo>
                    <a:lnTo>
                      <a:pt x="82" y="86"/>
                    </a:lnTo>
                    <a:lnTo>
                      <a:pt x="86" y="86"/>
                    </a:lnTo>
                    <a:lnTo>
                      <a:pt x="86" y="82"/>
                    </a:lnTo>
                    <a:lnTo>
                      <a:pt x="90" y="82"/>
                    </a:lnTo>
                    <a:lnTo>
                      <a:pt x="90" y="86"/>
                    </a:lnTo>
                    <a:lnTo>
                      <a:pt x="86" y="86"/>
                    </a:lnTo>
                    <a:lnTo>
                      <a:pt x="82" y="86"/>
                    </a:lnTo>
                    <a:lnTo>
                      <a:pt x="82" y="86"/>
                    </a:lnTo>
                    <a:lnTo>
                      <a:pt x="82" y="86"/>
                    </a:lnTo>
                    <a:close/>
                    <a:moveTo>
                      <a:pt x="90" y="102"/>
                    </a:moveTo>
                    <a:lnTo>
                      <a:pt x="86" y="102"/>
                    </a:lnTo>
                    <a:lnTo>
                      <a:pt x="90" y="102"/>
                    </a:lnTo>
                    <a:lnTo>
                      <a:pt x="90" y="102"/>
                    </a:lnTo>
                    <a:lnTo>
                      <a:pt x="90" y="102"/>
                    </a:lnTo>
                    <a:close/>
                    <a:moveTo>
                      <a:pt x="204" y="184"/>
                    </a:moveTo>
                    <a:lnTo>
                      <a:pt x="202" y="184"/>
                    </a:lnTo>
                    <a:lnTo>
                      <a:pt x="202" y="180"/>
                    </a:lnTo>
                    <a:lnTo>
                      <a:pt x="204" y="180"/>
                    </a:lnTo>
                    <a:lnTo>
                      <a:pt x="208" y="180"/>
                    </a:lnTo>
                    <a:lnTo>
                      <a:pt x="204" y="184"/>
                    </a:lnTo>
                    <a:lnTo>
                      <a:pt x="204" y="184"/>
                    </a:lnTo>
                    <a:lnTo>
                      <a:pt x="204" y="18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5" name="Freeform 194">
                <a:extLst>
                  <a:ext uri="{FF2B5EF4-FFF2-40B4-BE49-F238E27FC236}">
                    <a16:creationId xmlns:a16="http://schemas.microsoft.com/office/drawing/2014/main" id="{A9C99610-F0F5-47D2-BD7E-45853EAB276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765675" y="5165793"/>
                <a:ext cx="479425" cy="746125"/>
              </a:xfrm>
              <a:custGeom>
                <a:avLst/>
                <a:gdLst>
                  <a:gd name="T0" fmla="*/ 12 w 302"/>
                  <a:gd name="T1" fmla="*/ 116 h 470"/>
                  <a:gd name="T2" fmla="*/ 28 w 302"/>
                  <a:gd name="T3" fmla="*/ 122 h 470"/>
                  <a:gd name="T4" fmla="*/ 42 w 302"/>
                  <a:gd name="T5" fmla="*/ 116 h 470"/>
                  <a:gd name="T6" fmla="*/ 50 w 302"/>
                  <a:gd name="T7" fmla="*/ 92 h 470"/>
                  <a:gd name="T8" fmla="*/ 50 w 302"/>
                  <a:gd name="T9" fmla="*/ 56 h 470"/>
                  <a:gd name="T10" fmla="*/ 56 w 302"/>
                  <a:gd name="T11" fmla="*/ 60 h 470"/>
                  <a:gd name="T12" fmla="*/ 60 w 302"/>
                  <a:gd name="T13" fmla="*/ 78 h 470"/>
                  <a:gd name="T14" fmla="*/ 68 w 302"/>
                  <a:gd name="T15" fmla="*/ 86 h 470"/>
                  <a:gd name="T16" fmla="*/ 80 w 302"/>
                  <a:gd name="T17" fmla="*/ 76 h 470"/>
                  <a:gd name="T18" fmla="*/ 90 w 302"/>
                  <a:gd name="T19" fmla="*/ 60 h 470"/>
                  <a:gd name="T20" fmla="*/ 110 w 302"/>
                  <a:gd name="T21" fmla="*/ 64 h 470"/>
                  <a:gd name="T22" fmla="*/ 120 w 302"/>
                  <a:gd name="T23" fmla="*/ 68 h 470"/>
                  <a:gd name="T24" fmla="*/ 128 w 302"/>
                  <a:gd name="T25" fmla="*/ 60 h 470"/>
                  <a:gd name="T26" fmla="*/ 142 w 302"/>
                  <a:gd name="T27" fmla="*/ 46 h 470"/>
                  <a:gd name="T28" fmla="*/ 146 w 302"/>
                  <a:gd name="T29" fmla="*/ 26 h 470"/>
                  <a:gd name="T30" fmla="*/ 164 w 302"/>
                  <a:gd name="T31" fmla="*/ 12 h 470"/>
                  <a:gd name="T32" fmla="*/ 180 w 302"/>
                  <a:gd name="T33" fmla="*/ 0 h 470"/>
                  <a:gd name="T34" fmla="*/ 198 w 302"/>
                  <a:gd name="T35" fmla="*/ 4 h 470"/>
                  <a:gd name="T36" fmla="*/ 212 w 302"/>
                  <a:gd name="T37" fmla="*/ 22 h 470"/>
                  <a:gd name="T38" fmla="*/ 216 w 302"/>
                  <a:gd name="T39" fmla="*/ 42 h 470"/>
                  <a:gd name="T40" fmla="*/ 216 w 302"/>
                  <a:gd name="T41" fmla="*/ 60 h 470"/>
                  <a:gd name="T42" fmla="*/ 210 w 302"/>
                  <a:gd name="T43" fmla="*/ 64 h 470"/>
                  <a:gd name="T44" fmla="*/ 202 w 302"/>
                  <a:gd name="T45" fmla="*/ 82 h 470"/>
                  <a:gd name="T46" fmla="*/ 206 w 302"/>
                  <a:gd name="T47" fmla="*/ 92 h 470"/>
                  <a:gd name="T48" fmla="*/ 220 w 302"/>
                  <a:gd name="T49" fmla="*/ 86 h 470"/>
                  <a:gd name="T50" fmla="*/ 228 w 302"/>
                  <a:gd name="T51" fmla="*/ 96 h 470"/>
                  <a:gd name="T52" fmla="*/ 224 w 302"/>
                  <a:gd name="T53" fmla="*/ 116 h 470"/>
                  <a:gd name="T54" fmla="*/ 210 w 302"/>
                  <a:gd name="T55" fmla="*/ 130 h 470"/>
                  <a:gd name="T56" fmla="*/ 202 w 302"/>
                  <a:gd name="T57" fmla="*/ 148 h 470"/>
                  <a:gd name="T58" fmla="*/ 190 w 302"/>
                  <a:gd name="T59" fmla="*/ 168 h 470"/>
                  <a:gd name="T60" fmla="*/ 180 w 302"/>
                  <a:gd name="T61" fmla="*/ 178 h 470"/>
                  <a:gd name="T62" fmla="*/ 164 w 302"/>
                  <a:gd name="T63" fmla="*/ 194 h 470"/>
                  <a:gd name="T64" fmla="*/ 150 w 302"/>
                  <a:gd name="T65" fmla="*/ 206 h 470"/>
                  <a:gd name="T66" fmla="*/ 136 w 302"/>
                  <a:gd name="T67" fmla="*/ 212 h 470"/>
                  <a:gd name="T68" fmla="*/ 124 w 302"/>
                  <a:gd name="T69" fmla="*/ 216 h 470"/>
                  <a:gd name="T70" fmla="*/ 98 w 302"/>
                  <a:gd name="T71" fmla="*/ 216 h 470"/>
                  <a:gd name="T72" fmla="*/ 80 w 302"/>
                  <a:gd name="T73" fmla="*/ 220 h 470"/>
                  <a:gd name="T74" fmla="*/ 60 w 302"/>
                  <a:gd name="T75" fmla="*/ 224 h 470"/>
                  <a:gd name="T76" fmla="*/ 42 w 302"/>
                  <a:gd name="T77" fmla="*/ 232 h 470"/>
                  <a:gd name="T78" fmla="*/ 30 w 302"/>
                  <a:gd name="T79" fmla="*/ 220 h 470"/>
                  <a:gd name="T80" fmla="*/ 28 w 302"/>
                  <a:gd name="T81" fmla="*/ 224 h 470"/>
                  <a:gd name="T82" fmla="*/ 28 w 302"/>
                  <a:gd name="T83" fmla="*/ 212 h 470"/>
                  <a:gd name="T84" fmla="*/ 24 w 302"/>
                  <a:gd name="T85" fmla="*/ 194 h 470"/>
                  <a:gd name="T86" fmla="*/ 24 w 302"/>
                  <a:gd name="T87" fmla="*/ 178 h 470"/>
                  <a:gd name="T88" fmla="*/ 16 w 302"/>
                  <a:gd name="T89" fmla="*/ 164 h 470"/>
                  <a:gd name="T90" fmla="*/ 8 w 302"/>
                  <a:gd name="T91" fmla="*/ 142 h 470"/>
                  <a:gd name="T92" fmla="*/ 0 w 302"/>
                  <a:gd name="T93" fmla="*/ 120 h 470"/>
                  <a:gd name="T94" fmla="*/ 8 w 302"/>
                  <a:gd name="T95" fmla="*/ 108 h 470"/>
                  <a:gd name="T96" fmla="*/ 180 w 302"/>
                  <a:gd name="T97" fmla="*/ 122 h 470"/>
                  <a:gd name="T98" fmla="*/ 168 w 302"/>
                  <a:gd name="T99" fmla="*/ 120 h 470"/>
                  <a:gd name="T100" fmla="*/ 154 w 302"/>
                  <a:gd name="T101" fmla="*/ 134 h 470"/>
                  <a:gd name="T102" fmla="*/ 154 w 302"/>
                  <a:gd name="T103" fmla="*/ 148 h 470"/>
                  <a:gd name="T104" fmla="*/ 164 w 302"/>
                  <a:gd name="T105" fmla="*/ 146 h 470"/>
                  <a:gd name="T106" fmla="*/ 180 w 302"/>
                  <a:gd name="T107" fmla="*/ 134 h 470"/>
                  <a:gd name="T108" fmla="*/ 302 w 302"/>
                  <a:gd name="T109" fmla="*/ 466 h 4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02" h="470">
                    <a:moveTo>
                      <a:pt x="8" y="108"/>
                    </a:moveTo>
                    <a:lnTo>
                      <a:pt x="8" y="112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20" y="120"/>
                    </a:lnTo>
                    <a:lnTo>
                      <a:pt x="20" y="122"/>
                    </a:lnTo>
                    <a:lnTo>
                      <a:pt x="24" y="122"/>
                    </a:lnTo>
                    <a:lnTo>
                      <a:pt x="28" y="122"/>
                    </a:lnTo>
                    <a:lnTo>
                      <a:pt x="30" y="120"/>
                    </a:lnTo>
                    <a:lnTo>
                      <a:pt x="34" y="122"/>
                    </a:lnTo>
                    <a:lnTo>
                      <a:pt x="38" y="122"/>
                    </a:lnTo>
                    <a:lnTo>
                      <a:pt x="38" y="120"/>
                    </a:lnTo>
                    <a:lnTo>
                      <a:pt x="42" y="120"/>
                    </a:lnTo>
                    <a:lnTo>
                      <a:pt x="42" y="116"/>
                    </a:lnTo>
                    <a:lnTo>
                      <a:pt x="46" y="116"/>
                    </a:lnTo>
                    <a:lnTo>
                      <a:pt x="50" y="112"/>
                    </a:lnTo>
                    <a:lnTo>
                      <a:pt x="50" y="108"/>
                    </a:lnTo>
                    <a:lnTo>
                      <a:pt x="50" y="104"/>
                    </a:lnTo>
                    <a:lnTo>
                      <a:pt x="50" y="96"/>
                    </a:lnTo>
                    <a:lnTo>
                      <a:pt x="50" y="92"/>
                    </a:lnTo>
                    <a:lnTo>
                      <a:pt x="50" y="90"/>
                    </a:lnTo>
                    <a:lnTo>
                      <a:pt x="50" y="78"/>
                    </a:lnTo>
                    <a:lnTo>
                      <a:pt x="50" y="68"/>
                    </a:lnTo>
                    <a:lnTo>
                      <a:pt x="50" y="64"/>
                    </a:lnTo>
                    <a:lnTo>
                      <a:pt x="50" y="60"/>
                    </a:lnTo>
                    <a:lnTo>
                      <a:pt x="50" y="56"/>
                    </a:lnTo>
                    <a:lnTo>
                      <a:pt x="50" y="52"/>
                    </a:lnTo>
                    <a:lnTo>
                      <a:pt x="50" y="48"/>
                    </a:lnTo>
                    <a:lnTo>
                      <a:pt x="54" y="48"/>
                    </a:lnTo>
                    <a:lnTo>
                      <a:pt x="54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8"/>
                    </a:lnTo>
                    <a:lnTo>
                      <a:pt x="56" y="78"/>
                    </a:lnTo>
                    <a:lnTo>
                      <a:pt x="56" y="82"/>
                    </a:lnTo>
                    <a:lnTo>
                      <a:pt x="56" y="86"/>
                    </a:lnTo>
                    <a:lnTo>
                      <a:pt x="60" y="86"/>
                    </a:lnTo>
                    <a:lnTo>
                      <a:pt x="64" y="86"/>
                    </a:lnTo>
                    <a:lnTo>
                      <a:pt x="68" y="86"/>
                    </a:lnTo>
                    <a:lnTo>
                      <a:pt x="72" y="86"/>
                    </a:lnTo>
                    <a:lnTo>
                      <a:pt x="76" y="86"/>
                    </a:lnTo>
                    <a:lnTo>
                      <a:pt x="76" y="82"/>
                    </a:lnTo>
                    <a:lnTo>
                      <a:pt x="80" y="82"/>
                    </a:lnTo>
                    <a:lnTo>
                      <a:pt x="80" y="78"/>
                    </a:lnTo>
                    <a:lnTo>
                      <a:pt x="80" y="76"/>
                    </a:lnTo>
                    <a:lnTo>
                      <a:pt x="84" y="76"/>
                    </a:lnTo>
                    <a:lnTo>
                      <a:pt x="86" y="72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90" y="64"/>
                    </a:lnTo>
                    <a:lnTo>
                      <a:pt x="90" y="60"/>
                    </a:lnTo>
                    <a:lnTo>
                      <a:pt x="90" y="56"/>
                    </a:lnTo>
                    <a:lnTo>
                      <a:pt x="94" y="56"/>
                    </a:lnTo>
                    <a:lnTo>
                      <a:pt x="98" y="56"/>
                    </a:lnTo>
                    <a:lnTo>
                      <a:pt x="102" y="60"/>
                    </a:lnTo>
                    <a:lnTo>
                      <a:pt x="106" y="64"/>
                    </a:lnTo>
                    <a:lnTo>
                      <a:pt x="110" y="64"/>
                    </a:lnTo>
                    <a:lnTo>
                      <a:pt x="110" y="68"/>
                    </a:lnTo>
                    <a:lnTo>
                      <a:pt x="112" y="68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20" y="68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64"/>
                    </a:lnTo>
                    <a:lnTo>
                      <a:pt x="128" y="64"/>
                    </a:lnTo>
                    <a:lnTo>
                      <a:pt x="128" y="60"/>
                    </a:lnTo>
                    <a:lnTo>
                      <a:pt x="132" y="56"/>
                    </a:lnTo>
                    <a:lnTo>
                      <a:pt x="132" y="52"/>
                    </a:lnTo>
                    <a:lnTo>
                      <a:pt x="132" y="48"/>
                    </a:lnTo>
                    <a:lnTo>
                      <a:pt x="136" y="46"/>
                    </a:lnTo>
                    <a:lnTo>
                      <a:pt x="140" y="46"/>
                    </a:lnTo>
                    <a:lnTo>
                      <a:pt x="142" y="46"/>
                    </a:lnTo>
                    <a:lnTo>
                      <a:pt x="142" y="42"/>
                    </a:lnTo>
                    <a:lnTo>
                      <a:pt x="146" y="42"/>
                    </a:lnTo>
                    <a:lnTo>
                      <a:pt x="146" y="38"/>
                    </a:lnTo>
                    <a:lnTo>
                      <a:pt x="146" y="34"/>
                    </a:lnTo>
                    <a:lnTo>
                      <a:pt x="146" y="30"/>
                    </a:lnTo>
                    <a:lnTo>
                      <a:pt x="146" y="26"/>
                    </a:lnTo>
                    <a:lnTo>
                      <a:pt x="150" y="26"/>
                    </a:lnTo>
                    <a:lnTo>
                      <a:pt x="154" y="22"/>
                    </a:lnTo>
                    <a:lnTo>
                      <a:pt x="158" y="22"/>
                    </a:lnTo>
                    <a:lnTo>
                      <a:pt x="158" y="18"/>
                    </a:lnTo>
                    <a:lnTo>
                      <a:pt x="162" y="16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6" y="8"/>
                    </a:lnTo>
                    <a:lnTo>
                      <a:pt x="176" y="4"/>
                    </a:lnTo>
                    <a:lnTo>
                      <a:pt x="180" y="0"/>
                    </a:lnTo>
                    <a:lnTo>
                      <a:pt x="182" y="0"/>
                    </a:lnTo>
                    <a:lnTo>
                      <a:pt x="186" y="0"/>
                    </a:lnTo>
                    <a:lnTo>
                      <a:pt x="190" y="0"/>
                    </a:lnTo>
                    <a:lnTo>
                      <a:pt x="190" y="4"/>
                    </a:lnTo>
                    <a:lnTo>
                      <a:pt x="194" y="4"/>
                    </a:lnTo>
                    <a:lnTo>
                      <a:pt x="198" y="4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2" y="18"/>
                    </a:lnTo>
                    <a:lnTo>
                      <a:pt x="212" y="22"/>
                    </a:lnTo>
                    <a:lnTo>
                      <a:pt x="212" y="26"/>
                    </a:lnTo>
                    <a:lnTo>
                      <a:pt x="212" y="30"/>
                    </a:lnTo>
                    <a:lnTo>
                      <a:pt x="216" y="30"/>
                    </a:lnTo>
                    <a:lnTo>
                      <a:pt x="216" y="34"/>
                    </a:lnTo>
                    <a:lnTo>
                      <a:pt x="216" y="38"/>
                    </a:lnTo>
                    <a:lnTo>
                      <a:pt x="216" y="42"/>
                    </a:lnTo>
                    <a:lnTo>
                      <a:pt x="220" y="42"/>
                    </a:lnTo>
                    <a:lnTo>
                      <a:pt x="216" y="46"/>
                    </a:lnTo>
                    <a:lnTo>
                      <a:pt x="216" y="48"/>
                    </a:lnTo>
                    <a:lnTo>
                      <a:pt x="216" y="52"/>
                    </a:lnTo>
                    <a:lnTo>
                      <a:pt x="220" y="52"/>
                    </a:lnTo>
                    <a:lnTo>
                      <a:pt x="216" y="60"/>
                    </a:lnTo>
                    <a:lnTo>
                      <a:pt x="216" y="64"/>
                    </a:lnTo>
                    <a:lnTo>
                      <a:pt x="216" y="68"/>
                    </a:lnTo>
                    <a:lnTo>
                      <a:pt x="216" y="72"/>
                    </a:lnTo>
                    <a:lnTo>
                      <a:pt x="216" y="68"/>
                    </a:lnTo>
                    <a:lnTo>
                      <a:pt x="212" y="68"/>
                    </a:lnTo>
                    <a:lnTo>
                      <a:pt x="210" y="64"/>
                    </a:lnTo>
                    <a:lnTo>
                      <a:pt x="206" y="68"/>
                    </a:lnTo>
                    <a:lnTo>
                      <a:pt x="206" y="72"/>
                    </a:lnTo>
                    <a:lnTo>
                      <a:pt x="206" y="76"/>
                    </a:lnTo>
                    <a:lnTo>
                      <a:pt x="202" y="76"/>
                    </a:lnTo>
                    <a:lnTo>
                      <a:pt x="202" y="78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2" y="82"/>
                    </a:lnTo>
                    <a:lnTo>
                      <a:pt x="202" y="86"/>
                    </a:lnTo>
                    <a:lnTo>
                      <a:pt x="206" y="86"/>
                    </a:lnTo>
                    <a:lnTo>
                      <a:pt x="206" y="90"/>
                    </a:lnTo>
                    <a:lnTo>
                      <a:pt x="206" y="92"/>
                    </a:lnTo>
                    <a:lnTo>
                      <a:pt x="210" y="92"/>
                    </a:lnTo>
                    <a:lnTo>
                      <a:pt x="212" y="92"/>
                    </a:lnTo>
                    <a:lnTo>
                      <a:pt x="216" y="92"/>
                    </a:lnTo>
                    <a:lnTo>
                      <a:pt x="216" y="90"/>
                    </a:lnTo>
                    <a:lnTo>
                      <a:pt x="216" y="86"/>
                    </a:lnTo>
                    <a:lnTo>
                      <a:pt x="220" y="86"/>
                    </a:lnTo>
                    <a:lnTo>
                      <a:pt x="224" y="86"/>
                    </a:lnTo>
                    <a:lnTo>
                      <a:pt x="228" y="86"/>
                    </a:lnTo>
                    <a:lnTo>
                      <a:pt x="232" y="86"/>
                    </a:lnTo>
                    <a:lnTo>
                      <a:pt x="232" y="90"/>
                    </a:lnTo>
                    <a:lnTo>
                      <a:pt x="228" y="92"/>
                    </a:lnTo>
                    <a:lnTo>
                      <a:pt x="228" y="96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28" y="108"/>
                    </a:lnTo>
                    <a:lnTo>
                      <a:pt x="224" y="108"/>
                    </a:lnTo>
                    <a:lnTo>
                      <a:pt x="224" y="112"/>
                    </a:lnTo>
                    <a:lnTo>
                      <a:pt x="224" y="116"/>
                    </a:lnTo>
                    <a:lnTo>
                      <a:pt x="220" y="120"/>
                    </a:lnTo>
                    <a:lnTo>
                      <a:pt x="220" y="122"/>
                    </a:lnTo>
                    <a:lnTo>
                      <a:pt x="216" y="122"/>
                    </a:lnTo>
                    <a:lnTo>
                      <a:pt x="212" y="122"/>
                    </a:lnTo>
                    <a:lnTo>
                      <a:pt x="212" y="126"/>
                    </a:lnTo>
                    <a:lnTo>
                      <a:pt x="210" y="130"/>
                    </a:lnTo>
                    <a:lnTo>
                      <a:pt x="206" y="134"/>
                    </a:lnTo>
                    <a:lnTo>
                      <a:pt x="206" y="138"/>
                    </a:lnTo>
                    <a:lnTo>
                      <a:pt x="206" y="142"/>
                    </a:lnTo>
                    <a:lnTo>
                      <a:pt x="202" y="142"/>
                    </a:lnTo>
                    <a:lnTo>
                      <a:pt x="202" y="146"/>
                    </a:lnTo>
                    <a:lnTo>
                      <a:pt x="202" y="148"/>
                    </a:lnTo>
                    <a:lnTo>
                      <a:pt x="198" y="148"/>
                    </a:lnTo>
                    <a:lnTo>
                      <a:pt x="198" y="156"/>
                    </a:lnTo>
                    <a:lnTo>
                      <a:pt x="194" y="156"/>
                    </a:lnTo>
                    <a:lnTo>
                      <a:pt x="194" y="160"/>
                    </a:lnTo>
                    <a:lnTo>
                      <a:pt x="190" y="164"/>
                    </a:lnTo>
                    <a:lnTo>
                      <a:pt x="190" y="168"/>
                    </a:lnTo>
                    <a:lnTo>
                      <a:pt x="186" y="168"/>
                    </a:lnTo>
                    <a:lnTo>
                      <a:pt x="186" y="172"/>
                    </a:lnTo>
                    <a:lnTo>
                      <a:pt x="182" y="172"/>
                    </a:lnTo>
                    <a:lnTo>
                      <a:pt x="182" y="176"/>
                    </a:lnTo>
                    <a:lnTo>
                      <a:pt x="180" y="176"/>
                    </a:lnTo>
                    <a:lnTo>
                      <a:pt x="180" y="178"/>
                    </a:lnTo>
                    <a:lnTo>
                      <a:pt x="176" y="178"/>
                    </a:lnTo>
                    <a:lnTo>
                      <a:pt x="176" y="182"/>
                    </a:lnTo>
                    <a:lnTo>
                      <a:pt x="172" y="186"/>
                    </a:lnTo>
                    <a:lnTo>
                      <a:pt x="168" y="190"/>
                    </a:lnTo>
                    <a:lnTo>
                      <a:pt x="168" y="194"/>
                    </a:lnTo>
                    <a:lnTo>
                      <a:pt x="164" y="194"/>
                    </a:lnTo>
                    <a:lnTo>
                      <a:pt x="164" y="198"/>
                    </a:lnTo>
                    <a:lnTo>
                      <a:pt x="162" y="198"/>
                    </a:lnTo>
                    <a:lnTo>
                      <a:pt x="158" y="198"/>
                    </a:lnTo>
                    <a:lnTo>
                      <a:pt x="158" y="202"/>
                    </a:lnTo>
                    <a:lnTo>
                      <a:pt x="154" y="206"/>
                    </a:lnTo>
                    <a:lnTo>
                      <a:pt x="150" y="206"/>
                    </a:lnTo>
                    <a:lnTo>
                      <a:pt x="150" y="208"/>
                    </a:lnTo>
                    <a:lnTo>
                      <a:pt x="146" y="208"/>
                    </a:lnTo>
                    <a:lnTo>
                      <a:pt x="142" y="208"/>
                    </a:lnTo>
                    <a:lnTo>
                      <a:pt x="142" y="212"/>
                    </a:lnTo>
                    <a:lnTo>
                      <a:pt x="140" y="212"/>
                    </a:lnTo>
                    <a:lnTo>
                      <a:pt x="136" y="212"/>
                    </a:lnTo>
                    <a:lnTo>
                      <a:pt x="132" y="212"/>
                    </a:lnTo>
                    <a:lnTo>
                      <a:pt x="128" y="212"/>
                    </a:lnTo>
                    <a:lnTo>
                      <a:pt x="128" y="216"/>
                    </a:lnTo>
                    <a:lnTo>
                      <a:pt x="132" y="216"/>
                    </a:lnTo>
                    <a:lnTo>
                      <a:pt x="128" y="216"/>
                    </a:lnTo>
                    <a:lnTo>
                      <a:pt x="124" y="216"/>
                    </a:lnTo>
                    <a:lnTo>
                      <a:pt x="120" y="216"/>
                    </a:lnTo>
                    <a:lnTo>
                      <a:pt x="116" y="220"/>
                    </a:lnTo>
                    <a:lnTo>
                      <a:pt x="112" y="220"/>
                    </a:lnTo>
                    <a:lnTo>
                      <a:pt x="106" y="216"/>
                    </a:lnTo>
                    <a:lnTo>
                      <a:pt x="102" y="216"/>
                    </a:lnTo>
                    <a:lnTo>
                      <a:pt x="98" y="216"/>
                    </a:lnTo>
                    <a:lnTo>
                      <a:pt x="94" y="216"/>
                    </a:lnTo>
                    <a:lnTo>
                      <a:pt x="90" y="216"/>
                    </a:lnTo>
                    <a:lnTo>
                      <a:pt x="86" y="216"/>
                    </a:lnTo>
                    <a:lnTo>
                      <a:pt x="84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2" y="224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0" y="224"/>
                    </a:lnTo>
                    <a:lnTo>
                      <a:pt x="56" y="224"/>
                    </a:lnTo>
                    <a:lnTo>
                      <a:pt x="56" y="228"/>
                    </a:lnTo>
                    <a:lnTo>
                      <a:pt x="54" y="228"/>
                    </a:lnTo>
                    <a:lnTo>
                      <a:pt x="50" y="232"/>
                    </a:lnTo>
                    <a:lnTo>
                      <a:pt x="46" y="232"/>
                    </a:lnTo>
                    <a:lnTo>
                      <a:pt x="42" y="232"/>
                    </a:lnTo>
                    <a:lnTo>
                      <a:pt x="42" y="228"/>
                    </a:lnTo>
                    <a:lnTo>
                      <a:pt x="38" y="228"/>
                    </a:lnTo>
                    <a:lnTo>
                      <a:pt x="38" y="224"/>
                    </a:lnTo>
                    <a:lnTo>
                      <a:pt x="34" y="224"/>
                    </a:lnTo>
                    <a:lnTo>
                      <a:pt x="30" y="224"/>
                    </a:lnTo>
                    <a:lnTo>
                      <a:pt x="30" y="220"/>
                    </a:lnTo>
                    <a:lnTo>
                      <a:pt x="34" y="220"/>
                    </a:lnTo>
                    <a:lnTo>
                      <a:pt x="30" y="220"/>
                    </a:lnTo>
                    <a:lnTo>
                      <a:pt x="30" y="216"/>
                    </a:lnTo>
                    <a:lnTo>
                      <a:pt x="28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24" y="216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16"/>
                    </a:lnTo>
                    <a:lnTo>
                      <a:pt x="28" y="212"/>
                    </a:lnTo>
                    <a:lnTo>
                      <a:pt x="28" y="208"/>
                    </a:lnTo>
                    <a:lnTo>
                      <a:pt x="24" y="206"/>
                    </a:lnTo>
                    <a:lnTo>
                      <a:pt x="24" y="202"/>
                    </a:lnTo>
                    <a:lnTo>
                      <a:pt x="20" y="198"/>
                    </a:lnTo>
                    <a:lnTo>
                      <a:pt x="20" y="194"/>
                    </a:lnTo>
                    <a:lnTo>
                      <a:pt x="24" y="194"/>
                    </a:lnTo>
                    <a:lnTo>
                      <a:pt x="24" y="190"/>
                    </a:lnTo>
                    <a:lnTo>
                      <a:pt x="28" y="190"/>
                    </a:lnTo>
                    <a:lnTo>
                      <a:pt x="28" y="186"/>
                    </a:lnTo>
                    <a:lnTo>
                      <a:pt x="28" y="182"/>
                    </a:lnTo>
                    <a:lnTo>
                      <a:pt x="24" y="182"/>
                    </a:lnTo>
                    <a:lnTo>
                      <a:pt x="24" y="178"/>
                    </a:lnTo>
                    <a:lnTo>
                      <a:pt x="24" y="176"/>
                    </a:lnTo>
                    <a:lnTo>
                      <a:pt x="24" y="172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16" y="164"/>
                    </a:lnTo>
                    <a:lnTo>
                      <a:pt x="16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8" y="146"/>
                    </a:lnTo>
                    <a:lnTo>
                      <a:pt x="8" y="142"/>
                    </a:lnTo>
                    <a:lnTo>
                      <a:pt x="8" y="138"/>
                    </a:lnTo>
                    <a:lnTo>
                      <a:pt x="8" y="134"/>
                    </a:lnTo>
                    <a:lnTo>
                      <a:pt x="4" y="130"/>
                    </a:lnTo>
                    <a:lnTo>
                      <a:pt x="4" y="126"/>
                    </a:lnTo>
                    <a:lnTo>
                      <a:pt x="0" y="122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8" y="108"/>
                    </a:lnTo>
                    <a:close/>
                    <a:moveTo>
                      <a:pt x="180" y="134"/>
                    </a:moveTo>
                    <a:lnTo>
                      <a:pt x="180" y="130"/>
                    </a:lnTo>
                    <a:lnTo>
                      <a:pt x="182" y="130"/>
                    </a:lnTo>
                    <a:lnTo>
                      <a:pt x="180" y="126"/>
                    </a:lnTo>
                    <a:lnTo>
                      <a:pt x="180" y="122"/>
                    </a:lnTo>
                    <a:lnTo>
                      <a:pt x="176" y="122"/>
                    </a:lnTo>
                    <a:lnTo>
                      <a:pt x="176" y="120"/>
                    </a:lnTo>
                    <a:lnTo>
                      <a:pt x="172" y="120"/>
                    </a:lnTo>
                    <a:lnTo>
                      <a:pt x="172" y="116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4" y="120"/>
                    </a:lnTo>
                    <a:lnTo>
                      <a:pt x="162" y="122"/>
                    </a:lnTo>
                    <a:lnTo>
                      <a:pt x="158" y="122"/>
                    </a:lnTo>
                    <a:lnTo>
                      <a:pt x="158" y="126"/>
                    </a:lnTo>
                    <a:lnTo>
                      <a:pt x="154" y="130"/>
                    </a:lnTo>
                    <a:lnTo>
                      <a:pt x="154" y="134"/>
                    </a:lnTo>
                    <a:lnTo>
                      <a:pt x="150" y="134"/>
                    </a:lnTo>
                    <a:lnTo>
                      <a:pt x="150" y="138"/>
                    </a:lnTo>
                    <a:lnTo>
                      <a:pt x="150" y="142"/>
                    </a:lnTo>
                    <a:lnTo>
                      <a:pt x="154" y="142"/>
                    </a:lnTo>
                    <a:lnTo>
                      <a:pt x="154" y="146"/>
                    </a:lnTo>
                    <a:lnTo>
                      <a:pt x="154" y="148"/>
                    </a:lnTo>
                    <a:lnTo>
                      <a:pt x="158" y="148"/>
                    </a:lnTo>
                    <a:lnTo>
                      <a:pt x="158" y="152"/>
                    </a:lnTo>
                    <a:lnTo>
                      <a:pt x="162" y="152"/>
                    </a:lnTo>
                    <a:lnTo>
                      <a:pt x="164" y="152"/>
                    </a:lnTo>
                    <a:lnTo>
                      <a:pt x="164" y="148"/>
                    </a:lnTo>
                    <a:lnTo>
                      <a:pt x="164" y="146"/>
                    </a:lnTo>
                    <a:lnTo>
                      <a:pt x="168" y="146"/>
                    </a:lnTo>
                    <a:lnTo>
                      <a:pt x="172" y="146"/>
                    </a:lnTo>
                    <a:lnTo>
                      <a:pt x="176" y="142"/>
                    </a:lnTo>
                    <a:lnTo>
                      <a:pt x="180" y="142"/>
                    </a:lnTo>
                    <a:lnTo>
                      <a:pt x="180" y="138"/>
                    </a:lnTo>
                    <a:lnTo>
                      <a:pt x="180" y="134"/>
                    </a:lnTo>
                    <a:lnTo>
                      <a:pt x="180" y="134"/>
                    </a:lnTo>
                    <a:lnTo>
                      <a:pt x="180" y="134"/>
                    </a:lnTo>
                    <a:close/>
                    <a:moveTo>
                      <a:pt x="302" y="470"/>
                    </a:moveTo>
                    <a:lnTo>
                      <a:pt x="298" y="470"/>
                    </a:lnTo>
                    <a:lnTo>
                      <a:pt x="298" y="466"/>
                    </a:lnTo>
                    <a:lnTo>
                      <a:pt x="302" y="466"/>
                    </a:lnTo>
                    <a:lnTo>
                      <a:pt x="302" y="470"/>
                    </a:lnTo>
                    <a:lnTo>
                      <a:pt x="302" y="470"/>
                    </a:lnTo>
                    <a:lnTo>
                      <a:pt x="302" y="470"/>
                    </a:lnTo>
                    <a:close/>
                  </a:path>
                </a:pathLst>
              </a:custGeom>
              <a:solidFill>
                <a:srgbClr val="8ED201">
                  <a:alpha val="52000"/>
                </a:srgbClr>
              </a:solidFill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6" name="Freeform 195">
                <a:extLst>
                  <a:ext uri="{FF2B5EF4-FFF2-40B4-BE49-F238E27FC236}">
                    <a16:creationId xmlns:a16="http://schemas.microsoft.com/office/drawing/2014/main" id="{807AFFC1-64E5-4F7C-8362-68DE3B3EDE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84625" y="3314768"/>
                <a:ext cx="504825" cy="479425"/>
              </a:xfrm>
              <a:custGeom>
                <a:avLst/>
                <a:gdLst>
                  <a:gd name="T0" fmla="*/ 210 w 318"/>
                  <a:gd name="T1" fmla="*/ 8 h 302"/>
                  <a:gd name="T2" fmla="*/ 224 w 318"/>
                  <a:gd name="T3" fmla="*/ 8 h 302"/>
                  <a:gd name="T4" fmla="*/ 236 w 318"/>
                  <a:gd name="T5" fmla="*/ 12 h 302"/>
                  <a:gd name="T6" fmla="*/ 250 w 318"/>
                  <a:gd name="T7" fmla="*/ 18 h 302"/>
                  <a:gd name="T8" fmla="*/ 266 w 318"/>
                  <a:gd name="T9" fmla="*/ 18 h 302"/>
                  <a:gd name="T10" fmla="*/ 278 w 318"/>
                  <a:gd name="T11" fmla="*/ 22 h 302"/>
                  <a:gd name="T12" fmla="*/ 296 w 318"/>
                  <a:gd name="T13" fmla="*/ 26 h 302"/>
                  <a:gd name="T14" fmla="*/ 304 w 318"/>
                  <a:gd name="T15" fmla="*/ 36 h 302"/>
                  <a:gd name="T16" fmla="*/ 284 w 318"/>
                  <a:gd name="T17" fmla="*/ 48 h 302"/>
                  <a:gd name="T18" fmla="*/ 270 w 318"/>
                  <a:gd name="T19" fmla="*/ 58 h 302"/>
                  <a:gd name="T20" fmla="*/ 266 w 318"/>
                  <a:gd name="T21" fmla="*/ 62 h 302"/>
                  <a:gd name="T22" fmla="*/ 254 w 318"/>
                  <a:gd name="T23" fmla="*/ 88 h 302"/>
                  <a:gd name="T24" fmla="*/ 258 w 318"/>
                  <a:gd name="T25" fmla="*/ 100 h 302"/>
                  <a:gd name="T26" fmla="*/ 248 w 318"/>
                  <a:gd name="T27" fmla="*/ 110 h 302"/>
                  <a:gd name="T28" fmla="*/ 236 w 318"/>
                  <a:gd name="T29" fmla="*/ 122 h 302"/>
                  <a:gd name="T30" fmla="*/ 220 w 318"/>
                  <a:gd name="T31" fmla="*/ 134 h 302"/>
                  <a:gd name="T32" fmla="*/ 202 w 318"/>
                  <a:gd name="T33" fmla="*/ 134 h 302"/>
                  <a:gd name="T34" fmla="*/ 188 w 318"/>
                  <a:gd name="T35" fmla="*/ 140 h 302"/>
                  <a:gd name="T36" fmla="*/ 176 w 318"/>
                  <a:gd name="T37" fmla="*/ 144 h 302"/>
                  <a:gd name="T38" fmla="*/ 168 w 318"/>
                  <a:gd name="T39" fmla="*/ 134 h 302"/>
                  <a:gd name="T40" fmla="*/ 154 w 318"/>
                  <a:gd name="T41" fmla="*/ 118 h 302"/>
                  <a:gd name="T42" fmla="*/ 158 w 318"/>
                  <a:gd name="T43" fmla="*/ 108 h 302"/>
                  <a:gd name="T44" fmla="*/ 158 w 318"/>
                  <a:gd name="T45" fmla="*/ 92 h 302"/>
                  <a:gd name="T46" fmla="*/ 154 w 318"/>
                  <a:gd name="T47" fmla="*/ 78 h 302"/>
                  <a:gd name="T48" fmla="*/ 162 w 318"/>
                  <a:gd name="T49" fmla="*/ 62 h 302"/>
                  <a:gd name="T50" fmla="*/ 168 w 318"/>
                  <a:gd name="T51" fmla="*/ 44 h 302"/>
                  <a:gd name="T52" fmla="*/ 164 w 318"/>
                  <a:gd name="T53" fmla="*/ 32 h 302"/>
                  <a:gd name="T54" fmla="*/ 146 w 318"/>
                  <a:gd name="T55" fmla="*/ 36 h 302"/>
                  <a:gd name="T56" fmla="*/ 134 w 318"/>
                  <a:gd name="T57" fmla="*/ 32 h 302"/>
                  <a:gd name="T58" fmla="*/ 134 w 318"/>
                  <a:gd name="T59" fmla="*/ 28 h 302"/>
                  <a:gd name="T60" fmla="*/ 132 w 318"/>
                  <a:gd name="T61" fmla="*/ 26 h 302"/>
                  <a:gd name="T62" fmla="*/ 132 w 318"/>
                  <a:gd name="T63" fmla="*/ 18 h 302"/>
                  <a:gd name="T64" fmla="*/ 134 w 318"/>
                  <a:gd name="T65" fmla="*/ 8 h 302"/>
                  <a:gd name="T66" fmla="*/ 154 w 318"/>
                  <a:gd name="T67" fmla="*/ 4 h 302"/>
                  <a:gd name="T68" fmla="*/ 176 w 318"/>
                  <a:gd name="T69" fmla="*/ 0 h 302"/>
                  <a:gd name="T70" fmla="*/ 192 w 318"/>
                  <a:gd name="T71" fmla="*/ 8 h 302"/>
                  <a:gd name="T72" fmla="*/ 184 w 318"/>
                  <a:gd name="T73" fmla="*/ 152 h 302"/>
                  <a:gd name="T74" fmla="*/ 218 w 318"/>
                  <a:gd name="T75" fmla="*/ 164 h 302"/>
                  <a:gd name="T76" fmla="*/ 318 w 318"/>
                  <a:gd name="T77" fmla="*/ 70 h 302"/>
                  <a:gd name="T78" fmla="*/ 296 w 318"/>
                  <a:gd name="T79" fmla="*/ 78 h 302"/>
                  <a:gd name="T80" fmla="*/ 304 w 318"/>
                  <a:gd name="T81" fmla="*/ 82 h 302"/>
                  <a:gd name="T82" fmla="*/ 292 w 318"/>
                  <a:gd name="T83" fmla="*/ 82 h 302"/>
                  <a:gd name="T84" fmla="*/ 278 w 318"/>
                  <a:gd name="T85" fmla="*/ 92 h 302"/>
                  <a:gd name="T86" fmla="*/ 278 w 318"/>
                  <a:gd name="T87" fmla="*/ 96 h 302"/>
                  <a:gd name="T88" fmla="*/ 64 w 318"/>
                  <a:gd name="T89" fmla="*/ 276 h 302"/>
                  <a:gd name="T90" fmla="*/ 64 w 318"/>
                  <a:gd name="T91" fmla="*/ 282 h 302"/>
                  <a:gd name="T92" fmla="*/ 8 w 318"/>
                  <a:gd name="T93" fmla="*/ 282 h 302"/>
                  <a:gd name="T94" fmla="*/ 56 w 318"/>
                  <a:gd name="T95" fmla="*/ 294 h 302"/>
                  <a:gd name="T96" fmla="*/ 60 w 318"/>
                  <a:gd name="T97" fmla="*/ 290 h 302"/>
                  <a:gd name="T98" fmla="*/ 22 w 318"/>
                  <a:gd name="T99" fmla="*/ 294 h 302"/>
                  <a:gd name="T100" fmla="*/ 26 w 318"/>
                  <a:gd name="T101" fmla="*/ 286 h 302"/>
                  <a:gd name="T102" fmla="*/ 22 w 318"/>
                  <a:gd name="T103" fmla="*/ 298 h 302"/>
                  <a:gd name="T104" fmla="*/ 16 w 318"/>
                  <a:gd name="T105" fmla="*/ 298 h 302"/>
                  <a:gd name="T106" fmla="*/ 42 w 318"/>
                  <a:gd name="T107" fmla="*/ 298 h 302"/>
                  <a:gd name="T108" fmla="*/ 4 w 318"/>
                  <a:gd name="T109" fmla="*/ 302 h 3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318" h="302">
                    <a:moveTo>
                      <a:pt x="194" y="8"/>
                    </a:moveTo>
                    <a:lnTo>
                      <a:pt x="198" y="8"/>
                    </a:lnTo>
                    <a:lnTo>
                      <a:pt x="202" y="4"/>
                    </a:lnTo>
                    <a:lnTo>
                      <a:pt x="206" y="4"/>
                    </a:lnTo>
                    <a:lnTo>
                      <a:pt x="210" y="4"/>
                    </a:lnTo>
                    <a:lnTo>
                      <a:pt x="210" y="8"/>
                    </a:lnTo>
                    <a:lnTo>
                      <a:pt x="214" y="8"/>
                    </a:lnTo>
                    <a:lnTo>
                      <a:pt x="218" y="8"/>
                    </a:lnTo>
                    <a:lnTo>
                      <a:pt x="218" y="4"/>
                    </a:lnTo>
                    <a:lnTo>
                      <a:pt x="220" y="4"/>
                    </a:lnTo>
                    <a:lnTo>
                      <a:pt x="220" y="8"/>
                    </a:lnTo>
                    <a:lnTo>
                      <a:pt x="224" y="8"/>
                    </a:lnTo>
                    <a:lnTo>
                      <a:pt x="228" y="8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40" y="8"/>
                    </a:lnTo>
                    <a:lnTo>
                      <a:pt x="240" y="12"/>
                    </a:lnTo>
                    <a:lnTo>
                      <a:pt x="236" y="12"/>
                    </a:lnTo>
                    <a:lnTo>
                      <a:pt x="240" y="12"/>
                    </a:lnTo>
                    <a:lnTo>
                      <a:pt x="240" y="14"/>
                    </a:lnTo>
                    <a:lnTo>
                      <a:pt x="240" y="12"/>
                    </a:lnTo>
                    <a:lnTo>
                      <a:pt x="244" y="14"/>
                    </a:lnTo>
                    <a:lnTo>
                      <a:pt x="248" y="14"/>
                    </a:lnTo>
                    <a:lnTo>
                      <a:pt x="250" y="18"/>
                    </a:lnTo>
                    <a:lnTo>
                      <a:pt x="254" y="18"/>
                    </a:lnTo>
                    <a:lnTo>
                      <a:pt x="258" y="18"/>
                    </a:lnTo>
                    <a:lnTo>
                      <a:pt x="262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66" y="18"/>
                    </a:lnTo>
                    <a:lnTo>
                      <a:pt x="270" y="18"/>
                    </a:lnTo>
                    <a:lnTo>
                      <a:pt x="270" y="14"/>
                    </a:lnTo>
                    <a:lnTo>
                      <a:pt x="270" y="18"/>
                    </a:lnTo>
                    <a:lnTo>
                      <a:pt x="274" y="18"/>
                    </a:lnTo>
                    <a:lnTo>
                      <a:pt x="278" y="18"/>
                    </a:lnTo>
                    <a:lnTo>
                      <a:pt x="278" y="22"/>
                    </a:lnTo>
                    <a:lnTo>
                      <a:pt x="280" y="26"/>
                    </a:lnTo>
                    <a:lnTo>
                      <a:pt x="284" y="22"/>
                    </a:lnTo>
                    <a:lnTo>
                      <a:pt x="284" y="26"/>
                    </a:lnTo>
                    <a:lnTo>
                      <a:pt x="288" y="26"/>
                    </a:lnTo>
                    <a:lnTo>
                      <a:pt x="292" y="26"/>
                    </a:lnTo>
                    <a:lnTo>
                      <a:pt x="296" y="26"/>
                    </a:lnTo>
                    <a:lnTo>
                      <a:pt x="300" y="22"/>
                    </a:lnTo>
                    <a:lnTo>
                      <a:pt x="304" y="26"/>
                    </a:lnTo>
                    <a:lnTo>
                      <a:pt x="306" y="26"/>
                    </a:lnTo>
                    <a:lnTo>
                      <a:pt x="304" y="28"/>
                    </a:lnTo>
                    <a:lnTo>
                      <a:pt x="304" y="32"/>
                    </a:lnTo>
                    <a:lnTo>
                      <a:pt x="304" y="36"/>
                    </a:lnTo>
                    <a:lnTo>
                      <a:pt x="300" y="36"/>
                    </a:lnTo>
                    <a:lnTo>
                      <a:pt x="296" y="40"/>
                    </a:lnTo>
                    <a:lnTo>
                      <a:pt x="292" y="44"/>
                    </a:lnTo>
                    <a:lnTo>
                      <a:pt x="288" y="44"/>
                    </a:lnTo>
                    <a:lnTo>
                      <a:pt x="288" y="48"/>
                    </a:lnTo>
                    <a:lnTo>
                      <a:pt x="284" y="48"/>
                    </a:lnTo>
                    <a:lnTo>
                      <a:pt x="280" y="48"/>
                    </a:lnTo>
                    <a:lnTo>
                      <a:pt x="278" y="52"/>
                    </a:lnTo>
                    <a:lnTo>
                      <a:pt x="274" y="52"/>
                    </a:lnTo>
                    <a:lnTo>
                      <a:pt x="270" y="52"/>
                    </a:lnTo>
                    <a:lnTo>
                      <a:pt x="270" y="54"/>
                    </a:lnTo>
                    <a:lnTo>
                      <a:pt x="270" y="58"/>
                    </a:lnTo>
                    <a:lnTo>
                      <a:pt x="270" y="62"/>
                    </a:lnTo>
                    <a:lnTo>
                      <a:pt x="266" y="62"/>
                    </a:lnTo>
                    <a:lnTo>
                      <a:pt x="266" y="58"/>
                    </a:lnTo>
                    <a:lnTo>
                      <a:pt x="270" y="58"/>
                    </a:lnTo>
                    <a:lnTo>
                      <a:pt x="266" y="58"/>
                    </a:lnTo>
                    <a:lnTo>
                      <a:pt x="266" y="62"/>
                    </a:lnTo>
                    <a:lnTo>
                      <a:pt x="262" y="66"/>
                    </a:lnTo>
                    <a:lnTo>
                      <a:pt x="258" y="70"/>
                    </a:lnTo>
                    <a:lnTo>
                      <a:pt x="258" y="74"/>
                    </a:lnTo>
                    <a:lnTo>
                      <a:pt x="254" y="78"/>
                    </a:lnTo>
                    <a:lnTo>
                      <a:pt x="254" y="82"/>
                    </a:lnTo>
                    <a:lnTo>
                      <a:pt x="254" y="88"/>
                    </a:lnTo>
                    <a:lnTo>
                      <a:pt x="254" y="92"/>
                    </a:lnTo>
                    <a:lnTo>
                      <a:pt x="258" y="92"/>
                    </a:lnTo>
                    <a:lnTo>
                      <a:pt x="262" y="92"/>
                    </a:lnTo>
                    <a:lnTo>
                      <a:pt x="262" y="96"/>
                    </a:lnTo>
                    <a:lnTo>
                      <a:pt x="258" y="96"/>
                    </a:lnTo>
                    <a:lnTo>
                      <a:pt x="258" y="100"/>
                    </a:lnTo>
                    <a:lnTo>
                      <a:pt x="254" y="100"/>
                    </a:lnTo>
                    <a:lnTo>
                      <a:pt x="254" y="104"/>
                    </a:lnTo>
                    <a:lnTo>
                      <a:pt x="250" y="104"/>
                    </a:lnTo>
                    <a:lnTo>
                      <a:pt x="250" y="108"/>
                    </a:lnTo>
                    <a:lnTo>
                      <a:pt x="250" y="110"/>
                    </a:lnTo>
                    <a:lnTo>
                      <a:pt x="248" y="110"/>
                    </a:lnTo>
                    <a:lnTo>
                      <a:pt x="248" y="114"/>
                    </a:lnTo>
                    <a:lnTo>
                      <a:pt x="248" y="118"/>
                    </a:lnTo>
                    <a:lnTo>
                      <a:pt x="244" y="118"/>
                    </a:lnTo>
                    <a:lnTo>
                      <a:pt x="240" y="118"/>
                    </a:lnTo>
                    <a:lnTo>
                      <a:pt x="236" y="118"/>
                    </a:lnTo>
                    <a:lnTo>
                      <a:pt x="236" y="122"/>
                    </a:lnTo>
                    <a:lnTo>
                      <a:pt x="232" y="126"/>
                    </a:lnTo>
                    <a:lnTo>
                      <a:pt x="232" y="130"/>
                    </a:lnTo>
                    <a:lnTo>
                      <a:pt x="228" y="130"/>
                    </a:lnTo>
                    <a:lnTo>
                      <a:pt x="228" y="134"/>
                    </a:lnTo>
                    <a:lnTo>
                      <a:pt x="224" y="134"/>
                    </a:lnTo>
                    <a:lnTo>
                      <a:pt x="220" y="134"/>
                    </a:lnTo>
                    <a:lnTo>
                      <a:pt x="218" y="138"/>
                    </a:lnTo>
                    <a:lnTo>
                      <a:pt x="218" y="134"/>
                    </a:lnTo>
                    <a:lnTo>
                      <a:pt x="214" y="134"/>
                    </a:lnTo>
                    <a:lnTo>
                      <a:pt x="210" y="134"/>
                    </a:lnTo>
                    <a:lnTo>
                      <a:pt x="206" y="134"/>
                    </a:lnTo>
                    <a:lnTo>
                      <a:pt x="202" y="134"/>
                    </a:lnTo>
                    <a:lnTo>
                      <a:pt x="198" y="134"/>
                    </a:lnTo>
                    <a:lnTo>
                      <a:pt x="194" y="134"/>
                    </a:lnTo>
                    <a:lnTo>
                      <a:pt x="194" y="138"/>
                    </a:lnTo>
                    <a:lnTo>
                      <a:pt x="192" y="138"/>
                    </a:lnTo>
                    <a:lnTo>
                      <a:pt x="188" y="138"/>
                    </a:lnTo>
                    <a:lnTo>
                      <a:pt x="188" y="140"/>
                    </a:lnTo>
                    <a:lnTo>
                      <a:pt x="184" y="140"/>
                    </a:lnTo>
                    <a:lnTo>
                      <a:pt x="184" y="144"/>
                    </a:lnTo>
                    <a:lnTo>
                      <a:pt x="180" y="144"/>
                    </a:lnTo>
                    <a:lnTo>
                      <a:pt x="180" y="148"/>
                    </a:lnTo>
                    <a:lnTo>
                      <a:pt x="176" y="148"/>
                    </a:lnTo>
                    <a:lnTo>
                      <a:pt x="176" y="144"/>
                    </a:lnTo>
                    <a:lnTo>
                      <a:pt x="172" y="144"/>
                    </a:lnTo>
                    <a:lnTo>
                      <a:pt x="172" y="140"/>
                    </a:lnTo>
                    <a:lnTo>
                      <a:pt x="168" y="140"/>
                    </a:lnTo>
                    <a:lnTo>
                      <a:pt x="172" y="138"/>
                    </a:lnTo>
                    <a:lnTo>
                      <a:pt x="168" y="138"/>
                    </a:lnTo>
                    <a:lnTo>
                      <a:pt x="168" y="134"/>
                    </a:lnTo>
                    <a:lnTo>
                      <a:pt x="164" y="130"/>
                    </a:lnTo>
                    <a:lnTo>
                      <a:pt x="162" y="126"/>
                    </a:lnTo>
                    <a:lnTo>
                      <a:pt x="158" y="126"/>
                    </a:lnTo>
                    <a:lnTo>
                      <a:pt x="154" y="126"/>
                    </a:lnTo>
                    <a:lnTo>
                      <a:pt x="154" y="122"/>
                    </a:lnTo>
                    <a:lnTo>
                      <a:pt x="154" y="118"/>
                    </a:lnTo>
                    <a:lnTo>
                      <a:pt x="150" y="118"/>
                    </a:lnTo>
                    <a:lnTo>
                      <a:pt x="154" y="114"/>
                    </a:lnTo>
                    <a:lnTo>
                      <a:pt x="154" y="110"/>
                    </a:lnTo>
                    <a:lnTo>
                      <a:pt x="158" y="110"/>
                    </a:lnTo>
                    <a:lnTo>
                      <a:pt x="162" y="108"/>
                    </a:lnTo>
                    <a:lnTo>
                      <a:pt x="158" y="108"/>
                    </a:lnTo>
                    <a:lnTo>
                      <a:pt x="158" y="104"/>
                    </a:lnTo>
                    <a:lnTo>
                      <a:pt x="154" y="104"/>
                    </a:lnTo>
                    <a:lnTo>
                      <a:pt x="154" y="100"/>
                    </a:lnTo>
                    <a:lnTo>
                      <a:pt x="154" y="96"/>
                    </a:lnTo>
                    <a:lnTo>
                      <a:pt x="158" y="96"/>
                    </a:lnTo>
                    <a:lnTo>
                      <a:pt x="158" y="92"/>
                    </a:lnTo>
                    <a:lnTo>
                      <a:pt x="162" y="88"/>
                    </a:lnTo>
                    <a:lnTo>
                      <a:pt x="158" y="88"/>
                    </a:lnTo>
                    <a:lnTo>
                      <a:pt x="154" y="84"/>
                    </a:lnTo>
                    <a:lnTo>
                      <a:pt x="154" y="82"/>
                    </a:lnTo>
                    <a:lnTo>
                      <a:pt x="150" y="78"/>
                    </a:lnTo>
                    <a:lnTo>
                      <a:pt x="154" y="78"/>
                    </a:lnTo>
                    <a:lnTo>
                      <a:pt x="158" y="78"/>
                    </a:lnTo>
                    <a:lnTo>
                      <a:pt x="162" y="70"/>
                    </a:lnTo>
                    <a:lnTo>
                      <a:pt x="158" y="70"/>
                    </a:lnTo>
                    <a:lnTo>
                      <a:pt x="158" y="66"/>
                    </a:lnTo>
                    <a:lnTo>
                      <a:pt x="162" y="66"/>
                    </a:lnTo>
                    <a:lnTo>
                      <a:pt x="162" y="62"/>
                    </a:lnTo>
                    <a:lnTo>
                      <a:pt x="162" y="58"/>
                    </a:lnTo>
                    <a:lnTo>
                      <a:pt x="162" y="54"/>
                    </a:lnTo>
                    <a:lnTo>
                      <a:pt x="162" y="52"/>
                    </a:lnTo>
                    <a:lnTo>
                      <a:pt x="164" y="48"/>
                    </a:lnTo>
                    <a:lnTo>
                      <a:pt x="168" y="48"/>
                    </a:lnTo>
                    <a:lnTo>
                      <a:pt x="168" y="44"/>
                    </a:lnTo>
                    <a:lnTo>
                      <a:pt x="168" y="40"/>
                    </a:lnTo>
                    <a:lnTo>
                      <a:pt x="172" y="40"/>
                    </a:lnTo>
                    <a:lnTo>
                      <a:pt x="168" y="40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2" y="32"/>
                    </a:lnTo>
                    <a:lnTo>
                      <a:pt x="158" y="32"/>
                    </a:lnTo>
                    <a:lnTo>
                      <a:pt x="158" y="36"/>
                    </a:lnTo>
                    <a:lnTo>
                      <a:pt x="154" y="36"/>
                    </a:lnTo>
                    <a:lnTo>
                      <a:pt x="150" y="36"/>
                    </a:lnTo>
                    <a:lnTo>
                      <a:pt x="146" y="36"/>
                    </a:lnTo>
                    <a:lnTo>
                      <a:pt x="142" y="36"/>
                    </a:lnTo>
                    <a:lnTo>
                      <a:pt x="142" y="32"/>
                    </a:lnTo>
                    <a:lnTo>
                      <a:pt x="142" y="28"/>
                    </a:lnTo>
                    <a:lnTo>
                      <a:pt x="138" y="28"/>
                    </a:lnTo>
                    <a:lnTo>
                      <a:pt x="138" y="32"/>
                    </a:lnTo>
                    <a:lnTo>
                      <a:pt x="134" y="32"/>
                    </a:lnTo>
                    <a:lnTo>
                      <a:pt x="132" y="36"/>
                    </a:lnTo>
                    <a:lnTo>
                      <a:pt x="132" y="32"/>
                    </a:lnTo>
                    <a:lnTo>
                      <a:pt x="132" y="28"/>
                    </a:lnTo>
                    <a:lnTo>
                      <a:pt x="134" y="28"/>
                    </a:lnTo>
                    <a:lnTo>
                      <a:pt x="134" y="26"/>
                    </a:lnTo>
                    <a:lnTo>
                      <a:pt x="134" y="28"/>
                    </a:lnTo>
                    <a:lnTo>
                      <a:pt x="132" y="28"/>
                    </a:lnTo>
                    <a:lnTo>
                      <a:pt x="132" y="26"/>
                    </a:lnTo>
                    <a:lnTo>
                      <a:pt x="134" y="26"/>
                    </a:lnTo>
                    <a:lnTo>
                      <a:pt x="132" y="26"/>
                    </a:lnTo>
                    <a:lnTo>
                      <a:pt x="132" y="22"/>
                    </a:lnTo>
                    <a:lnTo>
                      <a:pt x="132" y="26"/>
                    </a:lnTo>
                    <a:lnTo>
                      <a:pt x="134" y="22"/>
                    </a:lnTo>
                    <a:lnTo>
                      <a:pt x="132" y="22"/>
                    </a:lnTo>
                    <a:lnTo>
                      <a:pt x="134" y="22"/>
                    </a:lnTo>
                    <a:lnTo>
                      <a:pt x="134" y="18"/>
                    </a:lnTo>
                    <a:lnTo>
                      <a:pt x="132" y="22"/>
                    </a:lnTo>
                    <a:lnTo>
                      <a:pt x="132" y="18"/>
                    </a:lnTo>
                    <a:lnTo>
                      <a:pt x="128" y="18"/>
                    </a:lnTo>
                    <a:lnTo>
                      <a:pt x="128" y="14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2" y="8"/>
                    </a:lnTo>
                    <a:lnTo>
                      <a:pt x="134" y="8"/>
                    </a:lnTo>
                    <a:lnTo>
                      <a:pt x="138" y="8"/>
                    </a:lnTo>
                    <a:lnTo>
                      <a:pt x="142" y="4"/>
                    </a:lnTo>
                    <a:lnTo>
                      <a:pt x="146" y="0"/>
                    </a:lnTo>
                    <a:lnTo>
                      <a:pt x="150" y="0"/>
                    </a:lnTo>
                    <a:lnTo>
                      <a:pt x="154" y="0"/>
                    </a:lnTo>
                    <a:lnTo>
                      <a:pt x="154" y="4"/>
                    </a:lnTo>
                    <a:lnTo>
                      <a:pt x="158" y="4"/>
                    </a:lnTo>
                    <a:lnTo>
                      <a:pt x="162" y="4"/>
                    </a:lnTo>
                    <a:lnTo>
                      <a:pt x="164" y="4"/>
                    </a:lnTo>
                    <a:lnTo>
                      <a:pt x="168" y="4"/>
                    </a:lnTo>
                    <a:lnTo>
                      <a:pt x="172" y="4"/>
                    </a:lnTo>
                    <a:lnTo>
                      <a:pt x="176" y="0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2" y="8"/>
                    </a:lnTo>
                    <a:lnTo>
                      <a:pt x="194" y="8"/>
                    </a:lnTo>
                    <a:lnTo>
                      <a:pt x="194" y="8"/>
                    </a:lnTo>
                    <a:lnTo>
                      <a:pt x="194" y="8"/>
                    </a:lnTo>
                    <a:close/>
                    <a:moveTo>
                      <a:pt x="184" y="152"/>
                    </a:move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2"/>
                    </a:lnTo>
                    <a:lnTo>
                      <a:pt x="184" y="152"/>
                    </a:lnTo>
                    <a:close/>
                    <a:moveTo>
                      <a:pt x="218" y="164"/>
                    </a:moveTo>
                    <a:lnTo>
                      <a:pt x="218" y="160"/>
                    </a:lnTo>
                    <a:lnTo>
                      <a:pt x="218" y="164"/>
                    </a:lnTo>
                    <a:lnTo>
                      <a:pt x="218" y="164"/>
                    </a:lnTo>
                    <a:lnTo>
                      <a:pt x="218" y="164"/>
                    </a:lnTo>
                    <a:close/>
                    <a:moveTo>
                      <a:pt x="318" y="74"/>
                    </a:moveTo>
                    <a:lnTo>
                      <a:pt x="314" y="74"/>
                    </a:lnTo>
                    <a:lnTo>
                      <a:pt x="310" y="70"/>
                    </a:lnTo>
                    <a:lnTo>
                      <a:pt x="314" y="70"/>
                    </a:lnTo>
                    <a:lnTo>
                      <a:pt x="318" y="70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8" y="74"/>
                    </a:lnTo>
                    <a:close/>
                    <a:moveTo>
                      <a:pt x="292" y="82"/>
                    </a:moveTo>
                    <a:lnTo>
                      <a:pt x="292" y="78"/>
                    </a:lnTo>
                    <a:lnTo>
                      <a:pt x="296" y="78"/>
                    </a:lnTo>
                    <a:lnTo>
                      <a:pt x="300" y="74"/>
                    </a:lnTo>
                    <a:lnTo>
                      <a:pt x="304" y="74"/>
                    </a:lnTo>
                    <a:lnTo>
                      <a:pt x="304" y="78"/>
                    </a:lnTo>
                    <a:lnTo>
                      <a:pt x="306" y="78"/>
                    </a:lnTo>
                    <a:lnTo>
                      <a:pt x="306" y="82"/>
                    </a:lnTo>
                    <a:lnTo>
                      <a:pt x="304" y="82"/>
                    </a:lnTo>
                    <a:lnTo>
                      <a:pt x="304" y="84"/>
                    </a:lnTo>
                    <a:lnTo>
                      <a:pt x="300" y="84"/>
                    </a:lnTo>
                    <a:lnTo>
                      <a:pt x="296" y="84"/>
                    </a:lnTo>
                    <a:lnTo>
                      <a:pt x="296" y="82"/>
                    </a:lnTo>
                    <a:lnTo>
                      <a:pt x="292" y="82"/>
                    </a:lnTo>
                    <a:lnTo>
                      <a:pt x="292" y="82"/>
                    </a:lnTo>
                    <a:lnTo>
                      <a:pt x="292" y="82"/>
                    </a:lnTo>
                    <a:close/>
                    <a:moveTo>
                      <a:pt x="278" y="92"/>
                    </a:moveTo>
                    <a:lnTo>
                      <a:pt x="278" y="88"/>
                    </a:lnTo>
                    <a:lnTo>
                      <a:pt x="280" y="88"/>
                    </a:lnTo>
                    <a:lnTo>
                      <a:pt x="280" y="92"/>
                    </a:lnTo>
                    <a:lnTo>
                      <a:pt x="278" y="92"/>
                    </a:lnTo>
                    <a:lnTo>
                      <a:pt x="278" y="92"/>
                    </a:lnTo>
                    <a:lnTo>
                      <a:pt x="278" y="92"/>
                    </a:lnTo>
                    <a:close/>
                    <a:moveTo>
                      <a:pt x="278" y="96"/>
                    </a:moveTo>
                    <a:lnTo>
                      <a:pt x="280" y="96"/>
                    </a:lnTo>
                    <a:lnTo>
                      <a:pt x="278" y="96"/>
                    </a:lnTo>
                    <a:lnTo>
                      <a:pt x="278" y="96"/>
                    </a:lnTo>
                    <a:lnTo>
                      <a:pt x="278" y="96"/>
                    </a:lnTo>
                    <a:close/>
                    <a:moveTo>
                      <a:pt x="64" y="282"/>
                    </a:moveTo>
                    <a:lnTo>
                      <a:pt x="64" y="278"/>
                    </a:lnTo>
                    <a:lnTo>
                      <a:pt x="60" y="278"/>
                    </a:lnTo>
                    <a:lnTo>
                      <a:pt x="64" y="278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8"/>
                    </a:lnTo>
                    <a:lnTo>
                      <a:pt x="64" y="278"/>
                    </a:lnTo>
                    <a:lnTo>
                      <a:pt x="64" y="282"/>
                    </a:lnTo>
                    <a:lnTo>
                      <a:pt x="64" y="282"/>
                    </a:lnTo>
                    <a:lnTo>
                      <a:pt x="64" y="282"/>
                    </a:lnTo>
                    <a:close/>
                    <a:moveTo>
                      <a:pt x="8" y="286"/>
                    </a:moveTo>
                    <a:lnTo>
                      <a:pt x="4" y="286"/>
                    </a:lnTo>
                    <a:lnTo>
                      <a:pt x="4" y="282"/>
                    </a:lnTo>
                    <a:lnTo>
                      <a:pt x="4" y="278"/>
                    </a:lnTo>
                    <a:lnTo>
                      <a:pt x="4" y="282"/>
                    </a:lnTo>
                    <a:lnTo>
                      <a:pt x="8" y="282"/>
                    </a:lnTo>
                    <a:lnTo>
                      <a:pt x="8" y="286"/>
                    </a:lnTo>
                    <a:lnTo>
                      <a:pt x="8" y="286"/>
                    </a:lnTo>
                    <a:lnTo>
                      <a:pt x="8" y="286"/>
                    </a:lnTo>
                    <a:close/>
                    <a:moveTo>
                      <a:pt x="56" y="294"/>
                    </a:moveTo>
                    <a:lnTo>
                      <a:pt x="52" y="294"/>
                    </a:lnTo>
                    <a:lnTo>
                      <a:pt x="56" y="294"/>
                    </a:lnTo>
                    <a:lnTo>
                      <a:pt x="56" y="290"/>
                    </a:lnTo>
                    <a:lnTo>
                      <a:pt x="60" y="286"/>
                    </a:lnTo>
                    <a:lnTo>
                      <a:pt x="60" y="282"/>
                    </a:lnTo>
                    <a:lnTo>
                      <a:pt x="64" y="282"/>
                    </a:lnTo>
                    <a:lnTo>
                      <a:pt x="64" y="286"/>
                    </a:lnTo>
                    <a:lnTo>
                      <a:pt x="60" y="290"/>
                    </a:lnTo>
                    <a:lnTo>
                      <a:pt x="60" y="294"/>
                    </a:lnTo>
                    <a:lnTo>
                      <a:pt x="56" y="294"/>
                    </a:lnTo>
                    <a:lnTo>
                      <a:pt x="56" y="294"/>
                    </a:lnTo>
                    <a:lnTo>
                      <a:pt x="56" y="294"/>
                    </a:lnTo>
                    <a:close/>
                    <a:moveTo>
                      <a:pt x="22" y="298"/>
                    </a:moveTo>
                    <a:lnTo>
                      <a:pt x="22" y="294"/>
                    </a:lnTo>
                    <a:lnTo>
                      <a:pt x="20" y="294"/>
                    </a:lnTo>
                    <a:lnTo>
                      <a:pt x="20" y="290"/>
                    </a:lnTo>
                    <a:lnTo>
                      <a:pt x="22" y="290"/>
                    </a:lnTo>
                    <a:lnTo>
                      <a:pt x="26" y="286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90"/>
                    </a:lnTo>
                    <a:lnTo>
                      <a:pt x="26" y="294"/>
                    </a:lnTo>
                    <a:lnTo>
                      <a:pt x="22" y="294"/>
                    </a:lnTo>
                    <a:lnTo>
                      <a:pt x="22" y="298"/>
                    </a:lnTo>
                    <a:lnTo>
                      <a:pt x="22" y="298"/>
                    </a:lnTo>
                    <a:lnTo>
                      <a:pt x="22" y="298"/>
                    </a:lnTo>
                    <a:close/>
                    <a:moveTo>
                      <a:pt x="16" y="298"/>
                    </a:moveTo>
                    <a:lnTo>
                      <a:pt x="12" y="294"/>
                    </a:lnTo>
                    <a:lnTo>
                      <a:pt x="16" y="294"/>
                    </a:lnTo>
                    <a:lnTo>
                      <a:pt x="16" y="298"/>
                    </a:lnTo>
                    <a:lnTo>
                      <a:pt x="16" y="298"/>
                    </a:lnTo>
                    <a:lnTo>
                      <a:pt x="16" y="298"/>
                    </a:lnTo>
                    <a:close/>
                    <a:moveTo>
                      <a:pt x="38" y="302"/>
                    </a:moveTo>
                    <a:lnTo>
                      <a:pt x="34" y="298"/>
                    </a:lnTo>
                    <a:lnTo>
                      <a:pt x="34" y="294"/>
                    </a:lnTo>
                    <a:lnTo>
                      <a:pt x="38" y="294"/>
                    </a:lnTo>
                    <a:lnTo>
                      <a:pt x="42" y="294"/>
                    </a:lnTo>
                    <a:lnTo>
                      <a:pt x="42" y="298"/>
                    </a:lnTo>
                    <a:lnTo>
                      <a:pt x="38" y="302"/>
                    </a:lnTo>
                    <a:lnTo>
                      <a:pt x="38" y="302"/>
                    </a:lnTo>
                    <a:lnTo>
                      <a:pt x="38" y="302"/>
                    </a:lnTo>
                    <a:close/>
                    <a:moveTo>
                      <a:pt x="4" y="302"/>
                    </a:moveTo>
                    <a:lnTo>
                      <a:pt x="0" y="302"/>
                    </a:lnTo>
                    <a:lnTo>
                      <a:pt x="4" y="302"/>
                    </a:lnTo>
                    <a:lnTo>
                      <a:pt x="4" y="298"/>
                    </a:lnTo>
                    <a:lnTo>
                      <a:pt x="4" y="302"/>
                    </a:lnTo>
                    <a:lnTo>
                      <a:pt x="4" y="302"/>
                    </a:lnTo>
                    <a:lnTo>
                      <a:pt x="4" y="30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7" name="Freeform 196">
                <a:extLst>
                  <a:ext uri="{FF2B5EF4-FFF2-40B4-BE49-F238E27FC236}">
                    <a16:creationId xmlns:a16="http://schemas.microsoft.com/office/drawing/2014/main" id="{F5EA0C72-2472-485D-B249-049EBB42752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93700" y="2330518"/>
                <a:ext cx="8032750" cy="1711325"/>
              </a:xfrm>
              <a:custGeom>
                <a:avLst/>
                <a:gdLst>
                  <a:gd name="T0" fmla="*/ 374 w 5060"/>
                  <a:gd name="T1" fmla="*/ 280 h 1078"/>
                  <a:gd name="T2" fmla="*/ 344 w 5060"/>
                  <a:gd name="T3" fmla="*/ 284 h 1078"/>
                  <a:gd name="T4" fmla="*/ 280 w 5060"/>
                  <a:gd name="T5" fmla="*/ 358 h 1078"/>
                  <a:gd name="T6" fmla="*/ 228 w 5060"/>
                  <a:gd name="T7" fmla="*/ 370 h 1078"/>
                  <a:gd name="T8" fmla="*/ 284 w 5060"/>
                  <a:gd name="T9" fmla="*/ 294 h 1078"/>
                  <a:gd name="T10" fmla="*/ 224 w 5060"/>
                  <a:gd name="T11" fmla="*/ 262 h 1078"/>
                  <a:gd name="T12" fmla="*/ 192 w 5060"/>
                  <a:gd name="T13" fmla="*/ 238 h 1078"/>
                  <a:gd name="T14" fmla="*/ 244 w 5060"/>
                  <a:gd name="T15" fmla="*/ 176 h 1078"/>
                  <a:gd name="T16" fmla="*/ 162 w 5060"/>
                  <a:gd name="T17" fmla="*/ 150 h 1078"/>
                  <a:gd name="T18" fmla="*/ 232 w 5060"/>
                  <a:gd name="T19" fmla="*/ 136 h 1078"/>
                  <a:gd name="T20" fmla="*/ 202 w 5060"/>
                  <a:gd name="T21" fmla="*/ 94 h 1078"/>
                  <a:gd name="T22" fmla="*/ 254 w 5060"/>
                  <a:gd name="T23" fmla="*/ 24 h 1078"/>
                  <a:gd name="T24" fmla="*/ 344 w 5060"/>
                  <a:gd name="T25" fmla="*/ 12 h 1078"/>
                  <a:gd name="T26" fmla="*/ 508 w 5060"/>
                  <a:gd name="T27" fmla="*/ 38 h 1078"/>
                  <a:gd name="T28" fmla="*/ 606 w 5060"/>
                  <a:gd name="T29" fmla="*/ 280 h 1078"/>
                  <a:gd name="T30" fmla="*/ 672 w 5060"/>
                  <a:gd name="T31" fmla="*/ 380 h 1078"/>
                  <a:gd name="T32" fmla="*/ 630 w 5060"/>
                  <a:gd name="T33" fmla="*/ 322 h 1078"/>
                  <a:gd name="T34" fmla="*/ 598 w 5060"/>
                  <a:gd name="T35" fmla="*/ 302 h 1078"/>
                  <a:gd name="T36" fmla="*/ 552 w 5060"/>
                  <a:gd name="T37" fmla="*/ 276 h 1078"/>
                  <a:gd name="T38" fmla="*/ 448 w 5060"/>
                  <a:gd name="T39" fmla="*/ 246 h 1078"/>
                  <a:gd name="T40" fmla="*/ 1440 w 5060"/>
                  <a:gd name="T41" fmla="*/ 728 h 1078"/>
                  <a:gd name="T42" fmla="*/ 1450 w 5060"/>
                  <a:gd name="T43" fmla="*/ 764 h 1078"/>
                  <a:gd name="T44" fmla="*/ 1428 w 5060"/>
                  <a:gd name="T45" fmla="*/ 794 h 1078"/>
                  <a:gd name="T46" fmla="*/ 1380 w 5060"/>
                  <a:gd name="T47" fmla="*/ 906 h 1078"/>
                  <a:gd name="T48" fmla="*/ 1350 w 5060"/>
                  <a:gd name="T49" fmla="*/ 914 h 1078"/>
                  <a:gd name="T50" fmla="*/ 1274 w 5060"/>
                  <a:gd name="T51" fmla="*/ 874 h 1078"/>
                  <a:gd name="T52" fmla="*/ 1198 w 5060"/>
                  <a:gd name="T53" fmla="*/ 884 h 1078"/>
                  <a:gd name="T54" fmla="*/ 1144 w 5060"/>
                  <a:gd name="T55" fmla="*/ 952 h 1078"/>
                  <a:gd name="T56" fmla="*/ 1026 w 5060"/>
                  <a:gd name="T57" fmla="*/ 858 h 1078"/>
                  <a:gd name="T58" fmla="*/ 846 w 5060"/>
                  <a:gd name="T59" fmla="*/ 806 h 1078"/>
                  <a:gd name="T60" fmla="*/ 784 w 5060"/>
                  <a:gd name="T61" fmla="*/ 732 h 1078"/>
                  <a:gd name="T62" fmla="*/ 772 w 5060"/>
                  <a:gd name="T63" fmla="*/ 568 h 1078"/>
                  <a:gd name="T64" fmla="*/ 790 w 5060"/>
                  <a:gd name="T65" fmla="*/ 546 h 1078"/>
                  <a:gd name="T66" fmla="*/ 1010 w 5060"/>
                  <a:gd name="T67" fmla="*/ 512 h 1078"/>
                  <a:gd name="T68" fmla="*/ 1242 w 5060"/>
                  <a:gd name="T69" fmla="*/ 530 h 1078"/>
                  <a:gd name="T70" fmla="*/ 1376 w 5060"/>
                  <a:gd name="T71" fmla="*/ 648 h 1078"/>
                  <a:gd name="T72" fmla="*/ 1532 w 5060"/>
                  <a:gd name="T73" fmla="*/ 556 h 1078"/>
                  <a:gd name="T74" fmla="*/ 1526 w 5060"/>
                  <a:gd name="T75" fmla="*/ 620 h 1078"/>
                  <a:gd name="T76" fmla="*/ 1472 w 5060"/>
                  <a:gd name="T77" fmla="*/ 676 h 1078"/>
                  <a:gd name="T78" fmla="*/ 1442 w 5060"/>
                  <a:gd name="T79" fmla="*/ 728 h 1078"/>
                  <a:gd name="T80" fmla="*/ 426 w 5060"/>
                  <a:gd name="T81" fmla="*/ 258 h 1078"/>
                  <a:gd name="T82" fmla="*/ 120 w 5060"/>
                  <a:gd name="T83" fmla="*/ 350 h 1078"/>
                  <a:gd name="T84" fmla="*/ 1144 w 5060"/>
                  <a:gd name="T85" fmla="*/ 926 h 1078"/>
                  <a:gd name="T86" fmla="*/ 116 w 5060"/>
                  <a:gd name="T87" fmla="*/ 194 h 1078"/>
                  <a:gd name="T88" fmla="*/ 172 w 5060"/>
                  <a:gd name="T89" fmla="*/ 266 h 1078"/>
                  <a:gd name="T90" fmla="*/ 370 w 5060"/>
                  <a:gd name="T91" fmla="*/ 318 h 1078"/>
                  <a:gd name="T92" fmla="*/ 606 w 5060"/>
                  <a:gd name="T93" fmla="*/ 314 h 1078"/>
                  <a:gd name="T94" fmla="*/ 348 w 5060"/>
                  <a:gd name="T95" fmla="*/ 324 h 1078"/>
                  <a:gd name="T96" fmla="*/ 340 w 5060"/>
                  <a:gd name="T97" fmla="*/ 328 h 1078"/>
                  <a:gd name="T98" fmla="*/ 354 w 5060"/>
                  <a:gd name="T99" fmla="*/ 340 h 1078"/>
                  <a:gd name="T100" fmla="*/ 630 w 5060"/>
                  <a:gd name="T101" fmla="*/ 350 h 1078"/>
                  <a:gd name="T102" fmla="*/ 648 w 5060"/>
                  <a:gd name="T103" fmla="*/ 378 h 1078"/>
                  <a:gd name="T104" fmla="*/ 660 w 5060"/>
                  <a:gd name="T105" fmla="*/ 374 h 1078"/>
                  <a:gd name="T106" fmla="*/ 630 w 5060"/>
                  <a:gd name="T107" fmla="*/ 374 h 1078"/>
                  <a:gd name="T108" fmla="*/ 634 w 5060"/>
                  <a:gd name="T109" fmla="*/ 384 h 1078"/>
                  <a:gd name="T110" fmla="*/ 642 w 5060"/>
                  <a:gd name="T111" fmla="*/ 388 h 1078"/>
                  <a:gd name="T112" fmla="*/ 168 w 5060"/>
                  <a:gd name="T113" fmla="*/ 414 h 1078"/>
                  <a:gd name="T114" fmla="*/ 52 w 5060"/>
                  <a:gd name="T115" fmla="*/ 440 h 1078"/>
                  <a:gd name="T116" fmla="*/ 24 w 5060"/>
                  <a:gd name="T117" fmla="*/ 452 h 1078"/>
                  <a:gd name="T118" fmla="*/ 780 w 5060"/>
                  <a:gd name="T119" fmla="*/ 522 h 1078"/>
                  <a:gd name="T120" fmla="*/ 1480 w 5060"/>
                  <a:gd name="T121" fmla="*/ 678 h 1078"/>
                  <a:gd name="T122" fmla="*/ 1152 w 5060"/>
                  <a:gd name="T123" fmla="*/ 914 h 1078"/>
                  <a:gd name="T124" fmla="*/ 302 w 5060"/>
                  <a:gd name="T125" fmla="*/ 1046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5060" h="1078">
                    <a:moveTo>
                      <a:pt x="418" y="266"/>
                    </a:moveTo>
                    <a:lnTo>
                      <a:pt x="418" y="262"/>
                    </a:lnTo>
                    <a:lnTo>
                      <a:pt x="422" y="262"/>
                    </a:lnTo>
                    <a:lnTo>
                      <a:pt x="426" y="262"/>
                    </a:lnTo>
                    <a:lnTo>
                      <a:pt x="430" y="262"/>
                    </a:lnTo>
                    <a:lnTo>
                      <a:pt x="430" y="266"/>
                    </a:lnTo>
                    <a:lnTo>
                      <a:pt x="426" y="266"/>
                    </a:lnTo>
                    <a:lnTo>
                      <a:pt x="422" y="268"/>
                    </a:lnTo>
                    <a:lnTo>
                      <a:pt x="426" y="268"/>
                    </a:lnTo>
                    <a:lnTo>
                      <a:pt x="426" y="272"/>
                    </a:lnTo>
                    <a:lnTo>
                      <a:pt x="422" y="272"/>
                    </a:lnTo>
                    <a:lnTo>
                      <a:pt x="422" y="268"/>
                    </a:lnTo>
                    <a:lnTo>
                      <a:pt x="422" y="272"/>
                    </a:lnTo>
                    <a:lnTo>
                      <a:pt x="422" y="276"/>
                    </a:lnTo>
                    <a:lnTo>
                      <a:pt x="418" y="276"/>
                    </a:lnTo>
                    <a:lnTo>
                      <a:pt x="414" y="276"/>
                    </a:lnTo>
                    <a:lnTo>
                      <a:pt x="410" y="276"/>
                    </a:lnTo>
                    <a:lnTo>
                      <a:pt x="410" y="272"/>
                    </a:lnTo>
                    <a:lnTo>
                      <a:pt x="410" y="276"/>
                    </a:lnTo>
                    <a:lnTo>
                      <a:pt x="406" y="276"/>
                    </a:lnTo>
                    <a:lnTo>
                      <a:pt x="406" y="272"/>
                    </a:lnTo>
                    <a:lnTo>
                      <a:pt x="406" y="276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6" y="280"/>
                    </a:lnTo>
                    <a:lnTo>
                      <a:pt x="404" y="280"/>
                    </a:lnTo>
                    <a:lnTo>
                      <a:pt x="404" y="276"/>
                    </a:lnTo>
                    <a:lnTo>
                      <a:pt x="404" y="280"/>
                    </a:lnTo>
                    <a:lnTo>
                      <a:pt x="404" y="284"/>
                    </a:lnTo>
                    <a:lnTo>
                      <a:pt x="404" y="280"/>
                    </a:lnTo>
                    <a:lnTo>
                      <a:pt x="400" y="280"/>
                    </a:lnTo>
                    <a:lnTo>
                      <a:pt x="400" y="284"/>
                    </a:lnTo>
                    <a:lnTo>
                      <a:pt x="396" y="288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96" y="284"/>
                    </a:lnTo>
                    <a:lnTo>
                      <a:pt x="396" y="280"/>
                    </a:lnTo>
                    <a:lnTo>
                      <a:pt x="396" y="284"/>
                    </a:lnTo>
                    <a:lnTo>
                      <a:pt x="392" y="284"/>
                    </a:lnTo>
                    <a:lnTo>
                      <a:pt x="392" y="288"/>
                    </a:lnTo>
                    <a:lnTo>
                      <a:pt x="392" y="284"/>
                    </a:lnTo>
                    <a:lnTo>
                      <a:pt x="388" y="284"/>
                    </a:lnTo>
                    <a:lnTo>
                      <a:pt x="392" y="288"/>
                    </a:lnTo>
                    <a:lnTo>
                      <a:pt x="388" y="288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84" y="292"/>
                    </a:lnTo>
                    <a:lnTo>
                      <a:pt x="380" y="292"/>
                    </a:lnTo>
                    <a:lnTo>
                      <a:pt x="378" y="292"/>
                    </a:lnTo>
                    <a:lnTo>
                      <a:pt x="378" y="294"/>
                    </a:lnTo>
                    <a:lnTo>
                      <a:pt x="374" y="294"/>
                    </a:lnTo>
                    <a:lnTo>
                      <a:pt x="374" y="292"/>
                    </a:lnTo>
                    <a:lnTo>
                      <a:pt x="370" y="292"/>
                    </a:lnTo>
                    <a:lnTo>
                      <a:pt x="374" y="288"/>
                    </a:lnTo>
                    <a:lnTo>
                      <a:pt x="378" y="288"/>
                    </a:lnTo>
                    <a:lnTo>
                      <a:pt x="378" y="284"/>
                    </a:lnTo>
                    <a:lnTo>
                      <a:pt x="380" y="284"/>
                    </a:lnTo>
                    <a:lnTo>
                      <a:pt x="384" y="280"/>
                    </a:lnTo>
                    <a:lnTo>
                      <a:pt x="380" y="280"/>
                    </a:lnTo>
                    <a:lnTo>
                      <a:pt x="378" y="284"/>
                    </a:lnTo>
                    <a:lnTo>
                      <a:pt x="374" y="280"/>
                    </a:lnTo>
                    <a:lnTo>
                      <a:pt x="374" y="272"/>
                    </a:lnTo>
                    <a:lnTo>
                      <a:pt x="378" y="272"/>
                    </a:lnTo>
                    <a:lnTo>
                      <a:pt x="378" y="268"/>
                    </a:lnTo>
                    <a:lnTo>
                      <a:pt x="380" y="266"/>
                    </a:lnTo>
                    <a:lnTo>
                      <a:pt x="380" y="262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80" y="258"/>
                    </a:lnTo>
                    <a:lnTo>
                      <a:pt x="384" y="258"/>
                    </a:lnTo>
                    <a:lnTo>
                      <a:pt x="388" y="254"/>
                    </a:lnTo>
                    <a:lnTo>
                      <a:pt x="392" y="250"/>
                    </a:lnTo>
                    <a:lnTo>
                      <a:pt x="396" y="250"/>
                    </a:lnTo>
                    <a:lnTo>
                      <a:pt x="396" y="254"/>
                    </a:lnTo>
                    <a:lnTo>
                      <a:pt x="400" y="254"/>
                    </a:lnTo>
                    <a:lnTo>
                      <a:pt x="400" y="250"/>
                    </a:lnTo>
                    <a:lnTo>
                      <a:pt x="404" y="250"/>
                    </a:lnTo>
                    <a:lnTo>
                      <a:pt x="404" y="254"/>
                    </a:lnTo>
                    <a:lnTo>
                      <a:pt x="406" y="254"/>
                    </a:lnTo>
                    <a:lnTo>
                      <a:pt x="410" y="254"/>
                    </a:lnTo>
                    <a:lnTo>
                      <a:pt x="406" y="254"/>
                    </a:lnTo>
                    <a:lnTo>
                      <a:pt x="404" y="250"/>
                    </a:lnTo>
                    <a:lnTo>
                      <a:pt x="400" y="250"/>
                    </a:lnTo>
                    <a:lnTo>
                      <a:pt x="400" y="246"/>
                    </a:lnTo>
                    <a:lnTo>
                      <a:pt x="400" y="242"/>
                    </a:lnTo>
                    <a:lnTo>
                      <a:pt x="404" y="242"/>
                    </a:lnTo>
                    <a:lnTo>
                      <a:pt x="406" y="242"/>
                    </a:lnTo>
                    <a:lnTo>
                      <a:pt x="410" y="238"/>
                    </a:lnTo>
                    <a:lnTo>
                      <a:pt x="406" y="238"/>
                    </a:lnTo>
                    <a:lnTo>
                      <a:pt x="404" y="238"/>
                    </a:lnTo>
                    <a:lnTo>
                      <a:pt x="404" y="242"/>
                    </a:lnTo>
                    <a:lnTo>
                      <a:pt x="400" y="242"/>
                    </a:lnTo>
                    <a:lnTo>
                      <a:pt x="400" y="246"/>
                    </a:lnTo>
                    <a:lnTo>
                      <a:pt x="396" y="246"/>
                    </a:lnTo>
                    <a:lnTo>
                      <a:pt x="392" y="246"/>
                    </a:lnTo>
                    <a:lnTo>
                      <a:pt x="388" y="246"/>
                    </a:lnTo>
                    <a:lnTo>
                      <a:pt x="384" y="246"/>
                    </a:lnTo>
                    <a:lnTo>
                      <a:pt x="380" y="250"/>
                    </a:lnTo>
                    <a:lnTo>
                      <a:pt x="378" y="250"/>
                    </a:lnTo>
                    <a:lnTo>
                      <a:pt x="374" y="254"/>
                    </a:lnTo>
                    <a:lnTo>
                      <a:pt x="374" y="258"/>
                    </a:lnTo>
                    <a:lnTo>
                      <a:pt x="370" y="258"/>
                    </a:lnTo>
                    <a:lnTo>
                      <a:pt x="370" y="262"/>
                    </a:lnTo>
                    <a:lnTo>
                      <a:pt x="366" y="262"/>
                    </a:lnTo>
                    <a:lnTo>
                      <a:pt x="366" y="266"/>
                    </a:lnTo>
                    <a:lnTo>
                      <a:pt x="366" y="268"/>
                    </a:lnTo>
                    <a:lnTo>
                      <a:pt x="362" y="268"/>
                    </a:lnTo>
                    <a:lnTo>
                      <a:pt x="358" y="268"/>
                    </a:lnTo>
                    <a:lnTo>
                      <a:pt x="354" y="268"/>
                    </a:lnTo>
                    <a:lnTo>
                      <a:pt x="358" y="268"/>
                    </a:lnTo>
                    <a:lnTo>
                      <a:pt x="362" y="272"/>
                    </a:lnTo>
                    <a:lnTo>
                      <a:pt x="358" y="276"/>
                    </a:lnTo>
                    <a:lnTo>
                      <a:pt x="354" y="276"/>
                    </a:lnTo>
                    <a:lnTo>
                      <a:pt x="350" y="280"/>
                    </a:lnTo>
                    <a:lnTo>
                      <a:pt x="354" y="276"/>
                    </a:lnTo>
                    <a:lnTo>
                      <a:pt x="354" y="280"/>
                    </a:lnTo>
                    <a:lnTo>
                      <a:pt x="354" y="284"/>
                    </a:lnTo>
                    <a:lnTo>
                      <a:pt x="350" y="284"/>
                    </a:lnTo>
                    <a:lnTo>
                      <a:pt x="350" y="280"/>
                    </a:lnTo>
                    <a:lnTo>
                      <a:pt x="350" y="284"/>
                    </a:lnTo>
                    <a:lnTo>
                      <a:pt x="348" y="284"/>
                    </a:lnTo>
                    <a:lnTo>
                      <a:pt x="344" y="284"/>
                    </a:lnTo>
                    <a:lnTo>
                      <a:pt x="348" y="288"/>
                    </a:lnTo>
                    <a:lnTo>
                      <a:pt x="344" y="288"/>
                    </a:lnTo>
                    <a:lnTo>
                      <a:pt x="340" y="288"/>
                    </a:lnTo>
                    <a:lnTo>
                      <a:pt x="344" y="288"/>
                    </a:lnTo>
                    <a:lnTo>
                      <a:pt x="340" y="292"/>
                    </a:lnTo>
                    <a:lnTo>
                      <a:pt x="340" y="294"/>
                    </a:lnTo>
                    <a:lnTo>
                      <a:pt x="344" y="294"/>
                    </a:lnTo>
                    <a:lnTo>
                      <a:pt x="348" y="294"/>
                    </a:lnTo>
                    <a:lnTo>
                      <a:pt x="348" y="298"/>
                    </a:lnTo>
                    <a:lnTo>
                      <a:pt x="350" y="298"/>
                    </a:lnTo>
                    <a:lnTo>
                      <a:pt x="350" y="302"/>
                    </a:lnTo>
                    <a:lnTo>
                      <a:pt x="348" y="306"/>
                    </a:lnTo>
                    <a:lnTo>
                      <a:pt x="344" y="306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44" y="310"/>
                    </a:lnTo>
                    <a:lnTo>
                      <a:pt x="340" y="310"/>
                    </a:lnTo>
                    <a:lnTo>
                      <a:pt x="336" y="314"/>
                    </a:lnTo>
                    <a:lnTo>
                      <a:pt x="340" y="314"/>
                    </a:lnTo>
                    <a:lnTo>
                      <a:pt x="340" y="318"/>
                    </a:lnTo>
                    <a:lnTo>
                      <a:pt x="336" y="318"/>
                    </a:lnTo>
                    <a:lnTo>
                      <a:pt x="332" y="318"/>
                    </a:lnTo>
                    <a:lnTo>
                      <a:pt x="332" y="322"/>
                    </a:lnTo>
                    <a:lnTo>
                      <a:pt x="328" y="318"/>
                    </a:lnTo>
                    <a:lnTo>
                      <a:pt x="328" y="322"/>
                    </a:lnTo>
                    <a:lnTo>
                      <a:pt x="324" y="322"/>
                    </a:lnTo>
                    <a:lnTo>
                      <a:pt x="324" y="324"/>
                    </a:lnTo>
                    <a:lnTo>
                      <a:pt x="322" y="324"/>
                    </a:lnTo>
                    <a:lnTo>
                      <a:pt x="318" y="324"/>
                    </a:lnTo>
                    <a:lnTo>
                      <a:pt x="318" y="328"/>
                    </a:lnTo>
                    <a:lnTo>
                      <a:pt x="314" y="328"/>
                    </a:lnTo>
                    <a:lnTo>
                      <a:pt x="314" y="332"/>
                    </a:lnTo>
                    <a:lnTo>
                      <a:pt x="310" y="332"/>
                    </a:lnTo>
                    <a:lnTo>
                      <a:pt x="306" y="336"/>
                    </a:lnTo>
                    <a:lnTo>
                      <a:pt x="310" y="336"/>
                    </a:lnTo>
                    <a:lnTo>
                      <a:pt x="310" y="340"/>
                    </a:lnTo>
                    <a:lnTo>
                      <a:pt x="306" y="340"/>
                    </a:lnTo>
                    <a:lnTo>
                      <a:pt x="306" y="344"/>
                    </a:lnTo>
                    <a:lnTo>
                      <a:pt x="302" y="344"/>
                    </a:lnTo>
                    <a:lnTo>
                      <a:pt x="298" y="344"/>
                    </a:lnTo>
                    <a:lnTo>
                      <a:pt x="298" y="348"/>
                    </a:lnTo>
                    <a:lnTo>
                      <a:pt x="294" y="348"/>
                    </a:lnTo>
                    <a:lnTo>
                      <a:pt x="294" y="344"/>
                    </a:lnTo>
                    <a:lnTo>
                      <a:pt x="292" y="344"/>
                    </a:lnTo>
                    <a:lnTo>
                      <a:pt x="292" y="348"/>
                    </a:lnTo>
                    <a:lnTo>
                      <a:pt x="292" y="350"/>
                    </a:lnTo>
                    <a:lnTo>
                      <a:pt x="288" y="348"/>
                    </a:lnTo>
                    <a:lnTo>
                      <a:pt x="288" y="350"/>
                    </a:lnTo>
                    <a:lnTo>
                      <a:pt x="284" y="350"/>
                    </a:lnTo>
                    <a:lnTo>
                      <a:pt x="288" y="350"/>
                    </a:lnTo>
                    <a:lnTo>
                      <a:pt x="288" y="354"/>
                    </a:lnTo>
                    <a:lnTo>
                      <a:pt x="284" y="354"/>
                    </a:lnTo>
                    <a:lnTo>
                      <a:pt x="284" y="350"/>
                    </a:lnTo>
                    <a:lnTo>
                      <a:pt x="284" y="354"/>
                    </a:lnTo>
                    <a:lnTo>
                      <a:pt x="280" y="354"/>
                    </a:lnTo>
                    <a:lnTo>
                      <a:pt x="278" y="354"/>
                    </a:lnTo>
                    <a:lnTo>
                      <a:pt x="278" y="358"/>
                    </a:lnTo>
                    <a:lnTo>
                      <a:pt x="280" y="354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58"/>
                    </a:lnTo>
                    <a:lnTo>
                      <a:pt x="284" y="358"/>
                    </a:lnTo>
                    <a:lnTo>
                      <a:pt x="280" y="362"/>
                    </a:lnTo>
                    <a:lnTo>
                      <a:pt x="280" y="358"/>
                    </a:lnTo>
                    <a:lnTo>
                      <a:pt x="280" y="362"/>
                    </a:lnTo>
                    <a:lnTo>
                      <a:pt x="278" y="362"/>
                    </a:lnTo>
                    <a:lnTo>
                      <a:pt x="280" y="358"/>
                    </a:lnTo>
                    <a:lnTo>
                      <a:pt x="278" y="358"/>
                    </a:lnTo>
                    <a:lnTo>
                      <a:pt x="278" y="362"/>
                    </a:lnTo>
                    <a:lnTo>
                      <a:pt x="278" y="366"/>
                    </a:lnTo>
                    <a:lnTo>
                      <a:pt x="278" y="362"/>
                    </a:lnTo>
                    <a:lnTo>
                      <a:pt x="274" y="362"/>
                    </a:lnTo>
                    <a:lnTo>
                      <a:pt x="274" y="366"/>
                    </a:lnTo>
                    <a:lnTo>
                      <a:pt x="270" y="366"/>
                    </a:lnTo>
                    <a:lnTo>
                      <a:pt x="266" y="366"/>
                    </a:lnTo>
                    <a:lnTo>
                      <a:pt x="266" y="370"/>
                    </a:lnTo>
                    <a:lnTo>
                      <a:pt x="262" y="370"/>
                    </a:lnTo>
                    <a:lnTo>
                      <a:pt x="262" y="374"/>
                    </a:lnTo>
                    <a:lnTo>
                      <a:pt x="262" y="370"/>
                    </a:lnTo>
                    <a:lnTo>
                      <a:pt x="262" y="366"/>
                    </a:lnTo>
                    <a:lnTo>
                      <a:pt x="258" y="366"/>
                    </a:lnTo>
                    <a:lnTo>
                      <a:pt x="258" y="370"/>
                    </a:lnTo>
                    <a:lnTo>
                      <a:pt x="254" y="370"/>
                    </a:lnTo>
                    <a:lnTo>
                      <a:pt x="254" y="374"/>
                    </a:lnTo>
                    <a:lnTo>
                      <a:pt x="250" y="374"/>
                    </a:lnTo>
                    <a:lnTo>
                      <a:pt x="248" y="374"/>
                    </a:lnTo>
                    <a:lnTo>
                      <a:pt x="248" y="378"/>
                    </a:lnTo>
                    <a:lnTo>
                      <a:pt x="248" y="374"/>
                    </a:lnTo>
                    <a:lnTo>
                      <a:pt x="244" y="374"/>
                    </a:lnTo>
                    <a:lnTo>
                      <a:pt x="244" y="378"/>
                    </a:lnTo>
                    <a:lnTo>
                      <a:pt x="240" y="378"/>
                    </a:lnTo>
                    <a:lnTo>
                      <a:pt x="236" y="378"/>
                    </a:lnTo>
                    <a:lnTo>
                      <a:pt x="236" y="374"/>
                    </a:lnTo>
                    <a:lnTo>
                      <a:pt x="240" y="374"/>
                    </a:lnTo>
                    <a:lnTo>
                      <a:pt x="236" y="374"/>
                    </a:lnTo>
                    <a:lnTo>
                      <a:pt x="232" y="374"/>
                    </a:lnTo>
                    <a:lnTo>
                      <a:pt x="232" y="378"/>
                    </a:lnTo>
                    <a:lnTo>
                      <a:pt x="232" y="380"/>
                    </a:lnTo>
                    <a:lnTo>
                      <a:pt x="228" y="380"/>
                    </a:lnTo>
                    <a:lnTo>
                      <a:pt x="228" y="384"/>
                    </a:lnTo>
                    <a:lnTo>
                      <a:pt x="228" y="380"/>
                    </a:lnTo>
                    <a:lnTo>
                      <a:pt x="224" y="384"/>
                    </a:lnTo>
                    <a:lnTo>
                      <a:pt x="222" y="384"/>
                    </a:lnTo>
                    <a:lnTo>
                      <a:pt x="222" y="380"/>
                    </a:lnTo>
                    <a:lnTo>
                      <a:pt x="222" y="384"/>
                    </a:lnTo>
                    <a:lnTo>
                      <a:pt x="218" y="388"/>
                    </a:lnTo>
                    <a:lnTo>
                      <a:pt x="218" y="384"/>
                    </a:lnTo>
                    <a:lnTo>
                      <a:pt x="214" y="384"/>
                    </a:lnTo>
                    <a:lnTo>
                      <a:pt x="214" y="380"/>
                    </a:lnTo>
                    <a:lnTo>
                      <a:pt x="214" y="384"/>
                    </a:lnTo>
                    <a:lnTo>
                      <a:pt x="214" y="388"/>
                    </a:lnTo>
                    <a:lnTo>
                      <a:pt x="210" y="388"/>
                    </a:lnTo>
                    <a:lnTo>
                      <a:pt x="210" y="384"/>
                    </a:lnTo>
                    <a:lnTo>
                      <a:pt x="210" y="380"/>
                    </a:lnTo>
                    <a:lnTo>
                      <a:pt x="214" y="380"/>
                    </a:lnTo>
                    <a:lnTo>
                      <a:pt x="218" y="380"/>
                    </a:lnTo>
                    <a:lnTo>
                      <a:pt x="218" y="378"/>
                    </a:lnTo>
                    <a:lnTo>
                      <a:pt x="222" y="378"/>
                    </a:lnTo>
                    <a:lnTo>
                      <a:pt x="222" y="374"/>
                    </a:lnTo>
                    <a:lnTo>
                      <a:pt x="224" y="374"/>
                    </a:lnTo>
                    <a:lnTo>
                      <a:pt x="224" y="370"/>
                    </a:lnTo>
                    <a:lnTo>
                      <a:pt x="228" y="370"/>
                    </a:lnTo>
                    <a:lnTo>
                      <a:pt x="232" y="366"/>
                    </a:lnTo>
                    <a:lnTo>
                      <a:pt x="240" y="366"/>
                    </a:lnTo>
                    <a:lnTo>
                      <a:pt x="244" y="366"/>
                    </a:lnTo>
                    <a:lnTo>
                      <a:pt x="248" y="370"/>
                    </a:lnTo>
                    <a:lnTo>
                      <a:pt x="248" y="366"/>
                    </a:lnTo>
                    <a:lnTo>
                      <a:pt x="250" y="366"/>
                    </a:lnTo>
                    <a:lnTo>
                      <a:pt x="250" y="370"/>
                    </a:lnTo>
                    <a:lnTo>
                      <a:pt x="254" y="370"/>
                    </a:lnTo>
                    <a:lnTo>
                      <a:pt x="254" y="366"/>
                    </a:lnTo>
                    <a:lnTo>
                      <a:pt x="250" y="366"/>
                    </a:lnTo>
                    <a:lnTo>
                      <a:pt x="250" y="362"/>
                    </a:lnTo>
                    <a:lnTo>
                      <a:pt x="250" y="358"/>
                    </a:lnTo>
                    <a:lnTo>
                      <a:pt x="254" y="358"/>
                    </a:lnTo>
                    <a:lnTo>
                      <a:pt x="254" y="354"/>
                    </a:lnTo>
                    <a:lnTo>
                      <a:pt x="258" y="354"/>
                    </a:lnTo>
                    <a:lnTo>
                      <a:pt x="258" y="350"/>
                    </a:lnTo>
                    <a:lnTo>
                      <a:pt x="262" y="350"/>
                    </a:lnTo>
                    <a:lnTo>
                      <a:pt x="266" y="350"/>
                    </a:lnTo>
                    <a:lnTo>
                      <a:pt x="270" y="348"/>
                    </a:lnTo>
                    <a:lnTo>
                      <a:pt x="274" y="348"/>
                    </a:lnTo>
                    <a:lnTo>
                      <a:pt x="278" y="348"/>
                    </a:lnTo>
                    <a:lnTo>
                      <a:pt x="278" y="344"/>
                    </a:lnTo>
                    <a:lnTo>
                      <a:pt x="278" y="340"/>
                    </a:lnTo>
                    <a:lnTo>
                      <a:pt x="280" y="336"/>
                    </a:lnTo>
                    <a:lnTo>
                      <a:pt x="284" y="332"/>
                    </a:lnTo>
                    <a:lnTo>
                      <a:pt x="288" y="332"/>
                    </a:lnTo>
                    <a:lnTo>
                      <a:pt x="288" y="328"/>
                    </a:lnTo>
                    <a:lnTo>
                      <a:pt x="292" y="328"/>
                    </a:lnTo>
                    <a:lnTo>
                      <a:pt x="292" y="332"/>
                    </a:lnTo>
                    <a:lnTo>
                      <a:pt x="294" y="332"/>
                    </a:lnTo>
                    <a:lnTo>
                      <a:pt x="294" y="328"/>
                    </a:lnTo>
                    <a:lnTo>
                      <a:pt x="292" y="332"/>
                    </a:lnTo>
                    <a:lnTo>
                      <a:pt x="292" y="328"/>
                    </a:lnTo>
                    <a:lnTo>
                      <a:pt x="292" y="324"/>
                    </a:lnTo>
                    <a:lnTo>
                      <a:pt x="292" y="322"/>
                    </a:lnTo>
                    <a:lnTo>
                      <a:pt x="292" y="318"/>
                    </a:lnTo>
                    <a:lnTo>
                      <a:pt x="294" y="314"/>
                    </a:lnTo>
                    <a:lnTo>
                      <a:pt x="298" y="314"/>
                    </a:lnTo>
                    <a:lnTo>
                      <a:pt x="298" y="318"/>
                    </a:lnTo>
                    <a:lnTo>
                      <a:pt x="298" y="314"/>
                    </a:lnTo>
                    <a:lnTo>
                      <a:pt x="294" y="314"/>
                    </a:lnTo>
                    <a:lnTo>
                      <a:pt x="292" y="314"/>
                    </a:lnTo>
                    <a:lnTo>
                      <a:pt x="292" y="310"/>
                    </a:lnTo>
                    <a:lnTo>
                      <a:pt x="294" y="306"/>
                    </a:lnTo>
                    <a:lnTo>
                      <a:pt x="298" y="302"/>
                    </a:lnTo>
                    <a:lnTo>
                      <a:pt x="298" y="298"/>
                    </a:lnTo>
                    <a:lnTo>
                      <a:pt x="302" y="298"/>
                    </a:lnTo>
                    <a:lnTo>
                      <a:pt x="302" y="294"/>
                    </a:lnTo>
                    <a:lnTo>
                      <a:pt x="298" y="298"/>
                    </a:lnTo>
                    <a:lnTo>
                      <a:pt x="294" y="298"/>
                    </a:lnTo>
                    <a:lnTo>
                      <a:pt x="294" y="302"/>
                    </a:lnTo>
                    <a:lnTo>
                      <a:pt x="292" y="302"/>
                    </a:lnTo>
                    <a:lnTo>
                      <a:pt x="288" y="302"/>
                    </a:lnTo>
                    <a:lnTo>
                      <a:pt x="284" y="306"/>
                    </a:lnTo>
                    <a:lnTo>
                      <a:pt x="280" y="306"/>
                    </a:lnTo>
                    <a:lnTo>
                      <a:pt x="280" y="302"/>
                    </a:lnTo>
                    <a:lnTo>
                      <a:pt x="278" y="302"/>
                    </a:lnTo>
                    <a:lnTo>
                      <a:pt x="278" y="298"/>
                    </a:lnTo>
                    <a:lnTo>
                      <a:pt x="280" y="298"/>
                    </a:lnTo>
                    <a:lnTo>
                      <a:pt x="280" y="294"/>
                    </a:lnTo>
                    <a:lnTo>
                      <a:pt x="284" y="294"/>
                    </a:lnTo>
                    <a:lnTo>
                      <a:pt x="284" y="298"/>
                    </a:lnTo>
                    <a:lnTo>
                      <a:pt x="284" y="294"/>
                    </a:lnTo>
                    <a:lnTo>
                      <a:pt x="280" y="294"/>
                    </a:lnTo>
                    <a:lnTo>
                      <a:pt x="278" y="292"/>
                    </a:lnTo>
                    <a:lnTo>
                      <a:pt x="278" y="294"/>
                    </a:lnTo>
                    <a:lnTo>
                      <a:pt x="280" y="294"/>
                    </a:lnTo>
                    <a:lnTo>
                      <a:pt x="278" y="298"/>
                    </a:lnTo>
                    <a:lnTo>
                      <a:pt x="274" y="298"/>
                    </a:lnTo>
                    <a:lnTo>
                      <a:pt x="274" y="302"/>
                    </a:lnTo>
                    <a:lnTo>
                      <a:pt x="278" y="310"/>
                    </a:lnTo>
                    <a:lnTo>
                      <a:pt x="274" y="310"/>
                    </a:lnTo>
                    <a:lnTo>
                      <a:pt x="270" y="310"/>
                    </a:lnTo>
                    <a:lnTo>
                      <a:pt x="270" y="306"/>
                    </a:lnTo>
                    <a:lnTo>
                      <a:pt x="266" y="302"/>
                    </a:lnTo>
                    <a:lnTo>
                      <a:pt x="262" y="298"/>
                    </a:lnTo>
                    <a:lnTo>
                      <a:pt x="262" y="302"/>
                    </a:lnTo>
                    <a:lnTo>
                      <a:pt x="258" y="302"/>
                    </a:lnTo>
                    <a:lnTo>
                      <a:pt x="258" y="298"/>
                    </a:lnTo>
                    <a:lnTo>
                      <a:pt x="254" y="298"/>
                    </a:lnTo>
                    <a:lnTo>
                      <a:pt x="254" y="294"/>
                    </a:lnTo>
                    <a:lnTo>
                      <a:pt x="250" y="294"/>
                    </a:lnTo>
                    <a:lnTo>
                      <a:pt x="248" y="298"/>
                    </a:lnTo>
                    <a:lnTo>
                      <a:pt x="244" y="298"/>
                    </a:lnTo>
                    <a:lnTo>
                      <a:pt x="244" y="302"/>
                    </a:lnTo>
                    <a:lnTo>
                      <a:pt x="240" y="302"/>
                    </a:lnTo>
                    <a:lnTo>
                      <a:pt x="240" y="306"/>
                    </a:lnTo>
                    <a:lnTo>
                      <a:pt x="236" y="306"/>
                    </a:lnTo>
                    <a:lnTo>
                      <a:pt x="232" y="306"/>
                    </a:lnTo>
                    <a:lnTo>
                      <a:pt x="228" y="306"/>
                    </a:lnTo>
                    <a:lnTo>
                      <a:pt x="228" y="302"/>
                    </a:lnTo>
                    <a:lnTo>
                      <a:pt x="228" y="306"/>
                    </a:lnTo>
                    <a:lnTo>
                      <a:pt x="232" y="306"/>
                    </a:lnTo>
                    <a:lnTo>
                      <a:pt x="232" y="302"/>
                    </a:lnTo>
                    <a:lnTo>
                      <a:pt x="236" y="302"/>
                    </a:lnTo>
                    <a:lnTo>
                      <a:pt x="232" y="302"/>
                    </a:lnTo>
                    <a:lnTo>
                      <a:pt x="232" y="298"/>
                    </a:lnTo>
                    <a:lnTo>
                      <a:pt x="232" y="294"/>
                    </a:lnTo>
                    <a:lnTo>
                      <a:pt x="236" y="294"/>
                    </a:lnTo>
                    <a:lnTo>
                      <a:pt x="232" y="294"/>
                    </a:lnTo>
                    <a:lnTo>
                      <a:pt x="228" y="294"/>
                    </a:lnTo>
                    <a:lnTo>
                      <a:pt x="228" y="292"/>
                    </a:lnTo>
                    <a:lnTo>
                      <a:pt x="228" y="288"/>
                    </a:lnTo>
                    <a:lnTo>
                      <a:pt x="232" y="288"/>
                    </a:lnTo>
                    <a:lnTo>
                      <a:pt x="232" y="284"/>
                    </a:lnTo>
                    <a:lnTo>
                      <a:pt x="232" y="280"/>
                    </a:lnTo>
                    <a:lnTo>
                      <a:pt x="228" y="280"/>
                    </a:lnTo>
                    <a:lnTo>
                      <a:pt x="228" y="276"/>
                    </a:lnTo>
                    <a:lnTo>
                      <a:pt x="224" y="272"/>
                    </a:lnTo>
                    <a:lnTo>
                      <a:pt x="228" y="268"/>
                    </a:lnTo>
                    <a:lnTo>
                      <a:pt x="224" y="268"/>
                    </a:lnTo>
                    <a:lnTo>
                      <a:pt x="224" y="272"/>
                    </a:lnTo>
                    <a:lnTo>
                      <a:pt x="224" y="268"/>
                    </a:lnTo>
                    <a:lnTo>
                      <a:pt x="224" y="266"/>
                    </a:lnTo>
                    <a:lnTo>
                      <a:pt x="224" y="262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28" y="262"/>
                    </a:lnTo>
                    <a:lnTo>
                      <a:pt x="228" y="258"/>
                    </a:lnTo>
                    <a:lnTo>
                      <a:pt x="232" y="258"/>
                    </a:lnTo>
                    <a:lnTo>
                      <a:pt x="228" y="258"/>
                    </a:lnTo>
                    <a:lnTo>
                      <a:pt x="224" y="262"/>
                    </a:lnTo>
                    <a:lnTo>
                      <a:pt x="224" y="266"/>
                    </a:lnTo>
                    <a:lnTo>
                      <a:pt x="222" y="266"/>
                    </a:lnTo>
                    <a:lnTo>
                      <a:pt x="222" y="268"/>
                    </a:lnTo>
                    <a:lnTo>
                      <a:pt x="224" y="268"/>
                    </a:lnTo>
                    <a:lnTo>
                      <a:pt x="222" y="272"/>
                    </a:lnTo>
                    <a:lnTo>
                      <a:pt x="222" y="276"/>
                    </a:lnTo>
                    <a:lnTo>
                      <a:pt x="218" y="276"/>
                    </a:lnTo>
                    <a:lnTo>
                      <a:pt x="214" y="276"/>
                    </a:lnTo>
                    <a:lnTo>
                      <a:pt x="210" y="280"/>
                    </a:lnTo>
                    <a:lnTo>
                      <a:pt x="206" y="280"/>
                    </a:lnTo>
                    <a:lnTo>
                      <a:pt x="202" y="280"/>
                    </a:lnTo>
                    <a:lnTo>
                      <a:pt x="198" y="280"/>
                    </a:lnTo>
                    <a:lnTo>
                      <a:pt x="198" y="276"/>
                    </a:lnTo>
                    <a:lnTo>
                      <a:pt x="198" y="272"/>
                    </a:lnTo>
                    <a:lnTo>
                      <a:pt x="194" y="272"/>
                    </a:lnTo>
                    <a:lnTo>
                      <a:pt x="194" y="268"/>
                    </a:lnTo>
                    <a:lnTo>
                      <a:pt x="192" y="268"/>
                    </a:lnTo>
                    <a:lnTo>
                      <a:pt x="188" y="266"/>
                    </a:lnTo>
                    <a:lnTo>
                      <a:pt x="184" y="266"/>
                    </a:lnTo>
                    <a:lnTo>
                      <a:pt x="188" y="266"/>
                    </a:lnTo>
                    <a:lnTo>
                      <a:pt x="188" y="262"/>
                    </a:lnTo>
                    <a:lnTo>
                      <a:pt x="184" y="262"/>
                    </a:lnTo>
                    <a:lnTo>
                      <a:pt x="180" y="262"/>
                    </a:lnTo>
                    <a:lnTo>
                      <a:pt x="184" y="262"/>
                    </a:lnTo>
                    <a:lnTo>
                      <a:pt x="188" y="258"/>
                    </a:lnTo>
                    <a:lnTo>
                      <a:pt x="188" y="254"/>
                    </a:lnTo>
                    <a:lnTo>
                      <a:pt x="192" y="254"/>
                    </a:lnTo>
                    <a:lnTo>
                      <a:pt x="194" y="258"/>
                    </a:lnTo>
                    <a:lnTo>
                      <a:pt x="198" y="258"/>
                    </a:lnTo>
                    <a:lnTo>
                      <a:pt x="194" y="258"/>
                    </a:lnTo>
                    <a:lnTo>
                      <a:pt x="194" y="262"/>
                    </a:lnTo>
                    <a:lnTo>
                      <a:pt x="198" y="258"/>
                    </a:lnTo>
                    <a:lnTo>
                      <a:pt x="202" y="258"/>
                    </a:lnTo>
                    <a:lnTo>
                      <a:pt x="202" y="262"/>
                    </a:lnTo>
                    <a:lnTo>
                      <a:pt x="206" y="262"/>
                    </a:lnTo>
                    <a:lnTo>
                      <a:pt x="210" y="258"/>
                    </a:lnTo>
                    <a:lnTo>
                      <a:pt x="206" y="258"/>
                    </a:lnTo>
                    <a:lnTo>
                      <a:pt x="206" y="254"/>
                    </a:lnTo>
                    <a:lnTo>
                      <a:pt x="202" y="254"/>
                    </a:lnTo>
                    <a:lnTo>
                      <a:pt x="206" y="254"/>
                    </a:lnTo>
                    <a:lnTo>
                      <a:pt x="206" y="250"/>
                    </a:lnTo>
                    <a:lnTo>
                      <a:pt x="202" y="254"/>
                    </a:lnTo>
                    <a:lnTo>
                      <a:pt x="198" y="254"/>
                    </a:lnTo>
                    <a:lnTo>
                      <a:pt x="194" y="254"/>
                    </a:lnTo>
                    <a:lnTo>
                      <a:pt x="192" y="254"/>
                    </a:lnTo>
                    <a:lnTo>
                      <a:pt x="188" y="254"/>
                    </a:lnTo>
                    <a:lnTo>
                      <a:pt x="184" y="254"/>
                    </a:lnTo>
                    <a:lnTo>
                      <a:pt x="184" y="250"/>
                    </a:lnTo>
                    <a:lnTo>
                      <a:pt x="188" y="250"/>
                    </a:lnTo>
                    <a:lnTo>
                      <a:pt x="192" y="250"/>
                    </a:lnTo>
                    <a:lnTo>
                      <a:pt x="188" y="250"/>
                    </a:lnTo>
                    <a:lnTo>
                      <a:pt x="184" y="250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4" y="242"/>
                    </a:lnTo>
                    <a:lnTo>
                      <a:pt x="188" y="242"/>
                    </a:lnTo>
                    <a:lnTo>
                      <a:pt x="188" y="238"/>
                    </a:lnTo>
                    <a:lnTo>
                      <a:pt x="192" y="238"/>
                    </a:lnTo>
                    <a:lnTo>
                      <a:pt x="192" y="236"/>
                    </a:lnTo>
                    <a:lnTo>
                      <a:pt x="192" y="238"/>
                    </a:lnTo>
                    <a:lnTo>
                      <a:pt x="188" y="238"/>
                    </a:lnTo>
                    <a:lnTo>
                      <a:pt x="188" y="242"/>
                    </a:lnTo>
                    <a:lnTo>
                      <a:pt x="184" y="242"/>
                    </a:lnTo>
                    <a:lnTo>
                      <a:pt x="184" y="246"/>
                    </a:lnTo>
                    <a:lnTo>
                      <a:pt x="180" y="246"/>
                    </a:lnTo>
                    <a:lnTo>
                      <a:pt x="184" y="246"/>
                    </a:lnTo>
                    <a:lnTo>
                      <a:pt x="180" y="250"/>
                    </a:lnTo>
                    <a:lnTo>
                      <a:pt x="176" y="246"/>
                    </a:lnTo>
                    <a:lnTo>
                      <a:pt x="180" y="246"/>
                    </a:lnTo>
                    <a:lnTo>
                      <a:pt x="176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6" y="238"/>
                    </a:lnTo>
                    <a:lnTo>
                      <a:pt x="172" y="238"/>
                    </a:lnTo>
                    <a:lnTo>
                      <a:pt x="168" y="238"/>
                    </a:lnTo>
                    <a:lnTo>
                      <a:pt x="168" y="236"/>
                    </a:lnTo>
                    <a:lnTo>
                      <a:pt x="172" y="236"/>
                    </a:lnTo>
                    <a:lnTo>
                      <a:pt x="176" y="236"/>
                    </a:lnTo>
                    <a:lnTo>
                      <a:pt x="172" y="236"/>
                    </a:lnTo>
                    <a:lnTo>
                      <a:pt x="172" y="232"/>
                    </a:lnTo>
                    <a:lnTo>
                      <a:pt x="176" y="232"/>
                    </a:lnTo>
                    <a:lnTo>
                      <a:pt x="176" y="228"/>
                    </a:lnTo>
                    <a:lnTo>
                      <a:pt x="176" y="224"/>
                    </a:lnTo>
                    <a:lnTo>
                      <a:pt x="180" y="224"/>
                    </a:lnTo>
                    <a:lnTo>
                      <a:pt x="180" y="222"/>
                    </a:lnTo>
                    <a:lnTo>
                      <a:pt x="184" y="222"/>
                    </a:lnTo>
                    <a:lnTo>
                      <a:pt x="184" y="218"/>
                    </a:lnTo>
                    <a:lnTo>
                      <a:pt x="188" y="218"/>
                    </a:lnTo>
                    <a:lnTo>
                      <a:pt x="192" y="218"/>
                    </a:lnTo>
                    <a:lnTo>
                      <a:pt x="192" y="222"/>
                    </a:lnTo>
                    <a:lnTo>
                      <a:pt x="192" y="218"/>
                    </a:lnTo>
                    <a:lnTo>
                      <a:pt x="188" y="218"/>
                    </a:lnTo>
                    <a:lnTo>
                      <a:pt x="192" y="214"/>
                    </a:lnTo>
                    <a:lnTo>
                      <a:pt x="194" y="210"/>
                    </a:lnTo>
                    <a:lnTo>
                      <a:pt x="192" y="214"/>
                    </a:lnTo>
                    <a:lnTo>
                      <a:pt x="188" y="210"/>
                    </a:lnTo>
                    <a:lnTo>
                      <a:pt x="192" y="206"/>
                    </a:lnTo>
                    <a:lnTo>
                      <a:pt x="194" y="206"/>
                    </a:lnTo>
                    <a:lnTo>
                      <a:pt x="194" y="202"/>
                    </a:lnTo>
                    <a:lnTo>
                      <a:pt x="192" y="202"/>
                    </a:lnTo>
                    <a:lnTo>
                      <a:pt x="194" y="198"/>
                    </a:lnTo>
                    <a:lnTo>
                      <a:pt x="198" y="198"/>
                    </a:lnTo>
                    <a:lnTo>
                      <a:pt x="202" y="198"/>
                    </a:lnTo>
                    <a:lnTo>
                      <a:pt x="206" y="198"/>
                    </a:lnTo>
                    <a:lnTo>
                      <a:pt x="206" y="202"/>
                    </a:lnTo>
                    <a:lnTo>
                      <a:pt x="210" y="202"/>
                    </a:lnTo>
                    <a:lnTo>
                      <a:pt x="210" y="206"/>
                    </a:lnTo>
                    <a:lnTo>
                      <a:pt x="214" y="206"/>
                    </a:lnTo>
                    <a:lnTo>
                      <a:pt x="214" y="202"/>
                    </a:lnTo>
                    <a:lnTo>
                      <a:pt x="218" y="202"/>
                    </a:lnTo>
                    <a:lnTo>
                      <a:pt x="222" y="198"/>
                    </a:lnTo>
                    <a:lnTo>
                      <a:pt x="224" y="194"/>
                    </a:lnTo>
                    <a:lnTo>
                      <a:pt x="224" y="192"/>
                    </a:lnTo>
                    <a:lnTo>
                      <a:pt x="228" y="194"/>
                    </a:lnTo>
                    <a:lnTo>
                      <a:pt x="232" y="194"/>
                    </a:lnTo>
                    <a:lnTo>
                      <a:pt x="236" y="194"/>
                    </a:lnTo>
                    <a:lnTo>
                      <a:pt x="240" y="19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44" y="180"/>
                    </a:lnTo>
                    <a:lnTo>
                      <a:pt x="244" y="176"/>
                    </a:lnTo>
                    <a:lnTo>
                      <a:pt x="240" y="172"/>
                    </a:lnTo>
                    <a:lnTo>
                      <a:pt x="236" y="172"/>
                    </a:lnTo>
                    <a:lnTo>
                      <a:pt x="236" y="168"/>
                    </a:lnTo>
                    <a:lnTo>
                      <a:pt x="240" y="168"/>
                    </a:lnTo>
                    <a:lnTo>
                      <a:pt x="244" y="168"/>
                    </a:lnTo>
                    <a:lnTo>
                      <a:pt x="248" y="166"/>
                    </a:lnTo>
                    <a:lnTo>
                      <a:pt x="248" y="162"/>
                    </a:lnTo>
                    <a:lnTo>
                      <a:pt x="244" y="162"/>
                    </a:lnTo>
                    <a:lnTo>
                      <a:pt x="240" y="162"/>
                    </a:lnTo>
                    <a:lnTo>
                      <a:pt x="244" y="162"/>
                    </a:lnTo>
                    <a:lnTo>
                      <a:pt x="244" y="158"/>
                    </a:lnTo>
                    <a:lnTo>
                      <a:pt x="240" y="158"/>
                    </a:lnTo>
                    <a:lnTo>
                      <a:pt x="240" y="162"/>
                    </a:lnTo>
                    <a:lnTo>
                      <a:pt x="236" y="166"/>
                    </a:lnTo>
                    <a:lnTo>
                      <a:pt x="236" y="162"/>
                    </a:lnTo>
                    <a:lnTo>
                      <a:pt x="232" y="162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32" y="166"/>
                    </a:lnTo>
                    <a:lnTo>
                      <a:pt x="228" y="166"/>
                    </a:lnTo>
                    <a:lnTo>
                      <a:pt x="224" y="166"/>
                    </a:lnTo>
                    <a:lnTo>
                      <a:pt x="224" y="168"/>
                    </a:lnTo>
                    <a:lnTo>
                      <a:pt x="222" y="168"/>
                    </a:lnTo>
                    <a:lnTo>
                      <a:pt x="222" y="172"/>
                    </a:lnTo>
                    <a:lnTo>
                      <a:pt x="218" y="172"/>
                    </a:lnTo>
                    <a:lnTo>
                      <a:pt x="218" y="168"/>
                    </a:lnTo>
                    <a:lnTo>
                      <a:pt x="214" y="166"/>
                    </a:lnTo>
                    <a:lnTo>
                      <a:pt x="210" y="166"/>
                    </a:lnTo>
                    <a:lnTo>
                      <a:pt x="210" y="168"/>
                    </a:lnTo>
                    <a:lnTo>
                      <a:pt x="214" y="168"/>
                    </a:lnTo>
                    <a:lnTo>
                      <a:pt x="214" y="172"/>
                    </a:lnTo>
                    <a:lnTo>
                      <a:pt x="210" y="172"/>
                    </a:lnTo>
                    <a:lnTo>
                      <a:pt x="210" y="168"/>
                    </a:lnTo>
                    <a:lnTo>
                      <a:pt x="206" y="168"/>
                    </a:lnTo>
                    <a:lnTo>
                      <a:pt x="202" y="168"/>
                    </a:lnTo>
                    <a:lnTo>
                      <a:pt x="198" y="168"/>
                    </a:lnTo>
                    <a:lnTo>
                      <a:pt x="194" y="168"/>
                    </a:lnTo>
                    <a:lnTo>
                      <a:pt x="192" y="168"/>
                    </a:lnTo>
                    <a:lnTo>
                      <a:pt x="188" y="168"/>
                    </a:lnTo>
                    <a:lnTo>
                      <a:pt x="188" y="172"/>
                    </a:lnTo>
                    <a:lnTo>
                      <a:pt x="192" y="172"/>
                    </a:lnTo>
                    <a:lnTo>
                      <a:pt x="192" y="168"/>
                    </a:lnTo>
                    <a:lnTo>
                      <a:pt x="192" y="172"/>
                    </a:lnTo>
                    <a:lnTo>
                      <a:pt x="188" y="172"/>
                    </a:lnTo>
                    <a:lnTo>
                      <a:pt x="184" y="172"/>
                    </a:lnTo>
                    <a:lnTo>
                      <a:pt x="184" y="168"/>
                    </a:lnTo>
                    <a:lnTo>
                      <a:pt x="180" y="168"/>
                    </a:lnTo>
                    <a:lnTo>
                      <a:pt x="176" y="168"/>
                    </a:lnTo>
                    <a:lnTo>
                      <a:pt x="172" y="168"/>
                    </a:lnTo>
                    <a:lnTo>
                      <a:pt x="168" y="168"/>
                    </a:lnTo>
                    <a:lnTo>
                      <a:pt x="168" y="166"/>
                    </a:lnTo>
                    <a:lnTo>
                      <a:pt x="166" y="166"/>
                    </a:lnTo>
                    <a:lnTo>
                      <a:pt x="166" y="162"/>
                    </a:lnTo>
                    <a:lnTo>
                      <a:pt x="168" y="162"/>
                    </a:lnTo>
                    <a:lnTo>
                      <a:pt x="166" y="162"/>
                    </a:lnTo>
                    <a:lnTo>
                      <a:pt x="166" y="158"/>
                    </a:lnTo>
                    <a:lnTo>
                      <a:pt x="162" y="158"/>
                    </a:lnTo>
                    <a:lnTo>
                      <a:pt x="162" y="154"/>
                    </a:lnTo>
                    <a:lnTo>
                      <a:pt x="158" y="154"/>
                    </a:lnTo>
                    <a:lnTo>
                      <a:pt x="162" y="154"/>
                    </a:lnTo>
                    <a:lnTo>
                      <a:pt x="162" y="150"/>
                    </a:lnTo>
                    <a:lnTo>
                      <a:pt x="162" y="154"/>
                    </a:lnTo>
                    <a:lnTo>
                      <a:pt x="166" y="154"/>
                    </a:lnTo>
                    <a:lnTo>
                      <a:pt x="168" y="150"/>
                    </a:lnTo>
                    <a:lnTo>
                      <a:pt x="168" y="154"/>
                    </a:lnTo>
                    <a:lnTo>
                      <a:pt x="172" y="154"/>
                    </a:lnTo>
                    <a:lnTo>
                      <a:pt x="172" y="150"/>
                    </a:lnTo>
                    <a:lnTo>
                      <a:pt x="168" y="150"/>
                    </a:lnTo>
                    <a:lnTo>
                      <a:pt x="166" y="150"/>
                    </a:lnTo>
                    <a:lnTo>
                      <a:pt x="162" y="150"/>
                    </a:lnTo>
                    <a:lnTo>
                      <a:pt x="158" y="150"/>
                    </a:lnTo>
                    <a:lnTo>
                      <a:pt x="154" y="146"/>
                    </a:lnTo>
                    <a:lnTo>
                      <a:pt x="150" y="146"/>
                    </a:lnTo>
                    <a:lnTo>
                      <a:pt x="146" y="146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2" y="138"/>
                    </a:lnTo>
                    <a:lnTo>
                      <a:pt x="146" y="138"/>
                    </a:lnTo>
                    <a:lnTo>
                      <a:pt x="146" y="142"/>
                    </a:lnTo>
                    <a:lnTo>
                      <a:pt x="142" y="142"/>
                    </a:lnTo>
                    <a:lnTo>
                      <a:pt x="146" y="142"/>
                    </a:lnTo>
                    <a:lnTo>
                      <a:pt x="150" y="138"/>
                    </a:lnTo>
                    <a:lnTo>
                      <a:pt x="154" y="138"/>
                    </a:lnTo>
                    <a:lnTo>
                      <a:pt x="154" y="136"/>
                    </a:lnTo>
                    <a:lnTo>
                      <a:pt x="158" y="138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58" y="136"/>
                    </a:lnTo>
                    <a:lnTo>
                      <a:pt x="162" y="136"/>
                    </a:lnTo>
                    <a:lnTo>
                      <a:pt x="162" y="132"/>
                    </a:lnTo>
                    <a:lnTo>
                      <a:pt x="166" y="132"/>
                    </a:lnTo>
                    <a:lnTo>
                      <a:pt x="168" y="128"/>
                    </a:lnTo>
                    <a:lnTo>
                      <a:pt x="172" y="132"/>
                    </a:lnTo>
                    <a:lnTo>
                      <a:pt x="176" y="132"/>
                    </a:lnTo>
                    <a:lnTo>
                      <a:pt x="180" y="132"/>
                    </a:lnTo>
                    <a:lnTo>
                      <a:pt x="176" y="128"/>
                    </a:lnTo>
                    <a:lnTo>
                      <a:pt x="172" y="128"/>
                    </a:lnTo>
                    <a:lnTo>
                      <a:pt x="176" y="128"/>
                    </a:lnTo>
                    <a:lnTo>
                      <a:pt x="176" y="124"/>
                    </a:lnTo>
                    <a:lnTo>
                      <a:pt x="180" y="124"/>
                    </a:lnTo>
                    <a:lnTo>
                      <a:pt x="184" y="124"/>
                    </a:lnTo>
                    <a:lnTo>
                      <a:pt x="188" y="124"/>
                    </a:lnTo>
                    <a:lnTo>
                      <a:pt x="192" y="120"/>
                    </a:lnTo>
                    <a:lnTo>
                      <a:pt x="194" y="120"/>
                    </a:lnTo>
                    <a:lnTo>
                      <a:pt x="198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0"/>
                    </a:lnTo>
                    <a:lnTo>
                      <a:pt x="206" y="120"/>
                    </a:lnTo>
                    <a:lnTo>
                      <a:pt x="202" y="124"/>
                    </a:lnTo>
                    <a:lnTo>
                      <a:pt x="202" y="128"/>
                    </a:lnTo>
                    <a:lnTo>
                      <a:pt x="198" y="128"/>
                    </a:lnTo>
                    <a:lnTo>
                      <a:pt x="202" y="128"/>
                    </a:lnTo>
                    <a:lnTo>
                      <a:pt x="202" y="132"/>
                    </a:lnTo>
                    <a:lnTo>
                      <a:pt x="206" y="132"/>
                    </a:lnTo>
                    <a:lnTo>
                      <a:pt x="210" y="132"/>
                    </a:lnTo>
                    <a:lnTo>
                      <a:pt x="214" y="132"/>
                    </a:lnTo>
                    <a:lnTo>
                      <a:pt x="218" y="132"/>
                    </a:lnTo>
                    <a:lnTo>
                      <a:pt x="222" y="132"/>
                    </a:lnTo>
                    <a:lnTo>
                      <a:pt x="224" y="132"/>
                    </a:lnTo>
                    <a:lnTo>
                      <a:pt x="228" y="132"/>
                    </a:lnTo>
                    <a:lnTo>
                      <a:pt x="232" y="136"/>
                    </a:lnTo>
                    <a:lnTo>
                      <a:pt x="232" y="132"/>
                    </a:lnTo>
                    <a:lnTo>
                      <a:pt x="236" y="132"/>
                    </a:lnTo>
                    <a:lnTo>
                      <a:pt x="236" y="128"/>
                    </a:lnTo>
                    <a:lnTo>
                      <a:pt x="240" y="128"/>
                    </a:lnTo>
                    <a:lnTo>
                      <a:pt x="244" y="128"/>
                    </a:lnTo>
                    <a:lnTo>
                      <a:pt x="244" y="132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28"/>
                    </a:lnTo>
                    <a:lnTo>
                      <a:pt x="244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2" y="124"/>
                    </a:lnTo>
                    <a:lnTo>
                      <a:pt x="232" y="128"/>
                    </a:lnTo>
                    <a:lnTo>
                      <a:pt x="228" y="124"/>
                    </a:lnTo>
                    <a:lnTo>
                      <a:pt x="232" y="124"/>
                    </a:lnTo>
                    <a:lnTo>
                      <a:pt x="232" y="120"/>
                    </a:lnTo>
                    <a:lnTo>
                      <a:pt x="228" y="116"/>
                    </a:lnTo>
                    <a:lnTo>
                      <a:pt x="224" y="116"/>
                    </a:lnTo>
                    <a:lnTo>
                      <a:pt x="222" y="116"/>
                    </a:lnTo>
                    <a:lnTo>
                      <a:pt x="222" y="112"/>
                    </a:lnTo>
                    <a:lnTo>
                      <a:pt x="224" y="110"/>
                    </a:lnTo>
                    <a:lnTo>
                      <a:pt x="228" y="112"/>
                    </a:lnTo>
                    <a:lnTo>
                      <a:pt x="228" y="116"/>
                    </a:lnTo>
                    <a:lnTo>
                      <a:pt x="232" y="120"/>
                    </a:lnTo>
                    <a:lnTo>
                      <a:pt x="236" y="124"/>
                    </a:lnTo>
                    <a:lnTo>
                      <a:pt x="240" y="120"/>
                    </a:lnTo>
                    <a:lnTo>
                      <a:pt x="244" y="120"/>
                    </a:lnTo>
                    <a:lnTo>
                      <a:pt x="244" y="124"/>
                    </a:lnTo>
                    <a:lnTo>
                      <a:pt x="248" y="124"/>
                    </a:lnTo>
                    <a:lnTo>
                      <a:pt x="250" y="124"/>
                    </a:lnTo>
                    <a:lnTo>
                      <a:pt x="254" y="124"/>
                    </a:lnTo>
                    <a:lnTo>
                      <a:pt x="254" y="120"/>
                    </a:lnTo>
                    <a:lnTo>
                      <a:pt x="254" y="116"/>
                    </a:lnTo>
                    <a:lnTo>
                      <a:pt x="250" y="120"/>
                    </a:lnTo>
                    <a:lnTo>
                      <a:pt x="248" y="120"/>
                    </a:lnTo>
                    <a:lnTo>
                      <a:pt x="248" y="116"/>
                    </a:lnTo>
                    <a:lnTo>
                      <a:pt x="244" y="116"/>
                    </a:lnTo>
                    <a:lnTo>
                      <a:pt x="240" y="116"/>
                    </a:lnTo>
                    <a:lnTo>
                      <a:pt x="240" y="120"/>
                    </a:lnTo>
                    <a:lnTo>
                      <a:pt x="236" y="120"/>
                    </a:lnTo>
                    <a:lnTo>
                      <a:pt x="232" y="120"/>
                    </a:lnTo>
                    <a:lnTo>
                      <a:pt x="232" y="116"/>
                    </a:lnTo>
                    <a:lnTo>
                      <a:pt x="232" y="112"/>
                    </a:lnTo>
                    <a:lnTo>
                      <a:pt x="232" y="110"/>
                    </a:lnTo>
                    <a:lnTo>
                      <a:pt x="236" y="110"/>
                    </a:lnTo>
                    <a:lnTo>
                      <a:pt x="232" y="110"/>
                    </a:lnTo>
                    <a:lnTo>
                      <a:pt x="224" y="110"/>
                    </a:lnTo>
                    <a:lnTo>
                      <a:pt x="222" y="110"/>
                    </a:lnTo>
                    <a:lnTo>
                      <a:pt x="224" y="110"/>
                    </a:lnTo>
                    <a:lnTo>
                      <a:pt x="224" y="106"/>
                    </a:lnTo>
                    <a:lnTo>
                      <a:pt x="222" y="110"/>
                    </a:lnTo>
                    <a:lnTo>
                      <a:pt x="218" y="110"/>
                    </a:lnTo>
                    <a:lnTo>
                      <a:pt x="214" y="110"/>
                    </a:lnTo>
                    <a:lnTo>
                      <a:pt x="210" y="110"/>
                    </a:lnTo>
                    <a:lnTo>
                      <a:pt x="206" y="106"/>
                    </a:lnTo>
                    <a:lnTo>
                      <a:pt x="202" y="106"/>
                    </a:lnTo>
                    <a:lnTo>
                      <a:pt x="206" y="106"/>
                    </a:lnTo>
                    <a:lnTo>
                      <a:pt x="202" y="102"/>
                    </a:lnTo>
                    <a:lnTo>
                      <a:pt x="202" y="98"/>
                    </a:lnTo>
                    <a:lnTo>
                      <a:pt x="202" y="94"/>
                    </a:lnTo>
                    <a:lnTo>
                      <a:pt x="198" y="94"/>
                    </a:lnTo>
                    <a:lnTo>
                      <a:pt x="194" y="94"/>
                    </a:lnTo>
                    <a:lnTo>
                      <a:pt x="194" y="90"/>
                    </a:lnTo>
                    <a:lnTo>
                      <a:pt x="192" y="90"/>
                    </a:lnTo>
                    <a:lnTo>
                      <a:pt x="184" y="86"/>
                    </a:lnTo>
                    <a:lnTo>
                      <a:pt x="184" y="82"/>
                    </a:lnTo>
                    <a:lnTo>
                      <a:pt x="180" y="82"/>
                    </a:lnTo>
                    <a:lnTo>
                      <a:pt x="176" y="82"/>
                    </a:lnTo>
                    <a:lnTo>
                      <a:pt x="172" y="82"/>
                    </a:lnTo>
                    <a:lnTo>
                      <a:pt x="172" y="80"/>
                    </a:lnTo>
                    <a:lnTo>
                      <a:pt x="168" y="80"/>
                    </a:lnTo>
                    <a:lnTo>
                      <a:pt x="168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2" y="76"/>
                    </a:lnTo>
                    <a:lnTo>
                      <a:pt x="166" y="76"/>
                    </a:lnTo>
                    <a:lnTo>
                      <a:pt x="168" y="76"/>
                    </a:lnTo>
                    <a:lnTo>
                      <a:pt x="168" y="72"/>
                    </a:lnTo>
                    <a:lnTo>
                      <a:pt x="168" y="68"/>
                    </a:lnTo>
                    <a:lnTo>
                      <a:pt x="168" y="64"/>
                    </a:lnTo>
                    <a:lnTo>
                      <a:pt x="172" y="64"/>
                    </a:lnTo>
                    <a:lnTo>
                      <a:pt x="176" y="64"/>
                    </a:lnTo>
                    <a:lnTo>
                      <a:pt x="180" y="64"/>
                    </a:lnTo>
                    <a:lnTo>
                      <a:pt x="184" y="64"/>
                    </a:lnTo>
                    <a:lnTo>
                      <a:pt x="188" y="60"/>
                    </a:lnTo>
                    <a:lnTo>
                      <a:pt x="192" y="60"/>
                    </a:lnTo>
                    <a:lnTo>
                      <a:pt x="194" y="60"/>
                    </a:lnTo>
                    <a:lnTo>
                      <a:pt x="198" y="60"/>
                    </a:lnTo>
                    <a:lnTo>
                      <a:pt x="202" y="60"/>
                    </a:lnTo>
                    <a:lnTo>
                      <a:pt x="206" y="56"/>
                    </a:lnTo>
                    <a:lnTo>
                      <a:pt x="210" y="56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0" y="52"/>
                    </a:lnTo>
                    <a:lnTo>
                      <a:pt x="214" y="50"/>
                    </a:lnTo>
                    <a:lnTo>
                      <a:pt x="214" y="46"/>
                    </a:lnTo>
                    <a:lnTo>
                      <a:pt x="214" y="42"/>
                    </a:lnTo>
                    <a:lnTo>
                      <a:pt x="218" y="42"/>
                    </a:lnTo>
                    <a:lnTo>
                      <a:pt x="214" y="42"/>
                    </a:lnTo>
                    <a:lnTo>
                      <a:pt x="218" y="38"/>
                    </a:lnTo>
                    <a:lnTo>
                      <a:pt x="222" y="38"/>
                    </a:lnTo>
                    <a:lnTo>
                      <a:pt x="222" y="34"/>
                    </a:lnTo>
                    <a:lnTo>
                      <a:pt x="224" y="30"/>
                    </a:lnTo>
                    <a:lnTo>
                      <a:pt x="228" y="26"/>
                    </a:lnTo>
                    <a:lnTo>
                      <a:pt x="232" y="26"/>
                    </a:lnTo>
                    <a:lnTo>
                      <a:pt x="232" y="30"/>
                    </a:lnTo>
                    <a:lnTo>
                      <a:pt x="228" y="30"/>
                    </a:lnTo>
                    <a:lnTo>
                      <a:pt x="232" y="30"/>
                    </a:lnTo>
                    <a:lnTo>
                      <a:pt x="232" y="26"/>
                    </a:lnTo>
                    <a:lnTo>
                      <a:pt x="236" y="26"/>
                    </a:lnTo>
                    <a:lnTo>
                      <a:pt x="240" y="26"/>
                    </a:lnTo>
                    <a:lnTo>
                      <a:pt x="244" y="26"/>
                    </a:lnTo>
                    <a:lnTo>
                      <a:pt x="248" y="26"/>
                    </a:lnTo>
                    <a:lnTo>
                      <a:pt x="248" y="24"/>
                    </a:lnTo>
                    <a:lnTo>
                      <a:pt x="250" y="24"/>
                    </a:lnTo>
                    <a:lnTo>
                      <a:pt x="250" y="20"/>
                    </a:lnTo>
                    <a:lnTo>
                      <a:pt x="254" y="20"/>
                    </a:lnTo>
                    <a:lnTo>
                      <a:pt x="258" y="20"/>
                    </a:lnTo>
                    <a:lnTo>
                      <a:pt x="258" y="24"/>
                    </a:lnTo>
                    <a:lnTo>
                      <a:pt x="254" y="24"/>
                    </a:lnTo>
                    <a:lnTo>
                      <a:pt x="258" y="24"/>
                    </a:lnTo>
                    <a:lnTo>
                      <a:pt x="258" y="26"/>
                    </a:lnTo>
                    <a:lnTo>
                      <a:pt x="258" y="24"/>
                    </a:lnTo>
                    <a:lnTo>
                      <a:pt x="262" y="24"/>
                    </a:lnTo>
                    <a:lnTo>
                      <a:pt x="266" y="24"/>
                    </a:lnTo>
                    <a:lnTo>
                      <a:pt x="266" y="20"/>
                    </a:lnTo>
                    <a:lnTo>
                      <a:pt x="262" y="20"/>
                    </a:lnTo>
                    <a:lnTo>
                      <a:pt x="262" y="24"/>
                    </a:lnTo>
                    <a:lnTo>
                      <a:pt x="258" y="20"/>
                    </a:lnTo>
                    <a:lnTo>
                      <a:pt x="254" y="20"/>
                    </a:lnTo>
                    <a:lnTo>
                      <a:pt x="258" y="16"/>
                    </a:lnTo>
                    <a:lnTo>
                      <a:pt x="262" y="16"/>
                    </a:lnTo>
                    <a:lnTo>
                      <a:pt x="262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70" y="12"/>
                    </a:lnTo>
                    <a:lnTo>
                      <a:pt x="266" y="12"/>
                    </a:lnTo>
                    <a:lnTo>
                      <a:pt x="266" y="16"/>
                    </a:lnTo>
                    <a:lnTo>
                      <a:pt x="270" y="16"/>
                    </a:lnTo>
                    <a:lnTo>
                      <a:pt x="274" y="16"/>
                    </a:lnTo>
                    <a:lnTo>
                      <a:pt x="274" y="12"/>
                    </a:lnTo>
                    <a:lnTo>
                      <a:pt x="274" y="16"/>
                    </a:lnTo>
                    <a:lnTo>
                      <a:pt x="278" y="16"/>
                    </a:lnTo>
                    <a:lnTo>
                      <a:pt x="278" y="12"/>
                    </a:lnTo>
                    <a:lnTo>
                      <a:pt x="280" y="12"/>
                    </a:lnTo>
                    <a:lnTo>
                      <a:pt x="284" y="12"/>
                    </a:lnTo>
                    <a:lnTo>
                      <a:pt x="288" y="12"/>
                    </a:lnTo>
                    <a:lnTo>
                      <a:pt x="292" y="8"/>
                    </a:lnTo>
                    <a:lnTo>
                      <a:pt x="294" y="8"/>
                    </a:lnTo>
                    <a:lnTo>
                      <a:pt x="294" y="4"/>
                    </a:lnTo>
                    <a:lnTo>
                      <a:pt x="298" y="4"/>
                    </a:lnTo>
                    <a:lnTo>
                      <a:pt x="302" y="0"/>
                    </a:lnTo>
                    <a:lnTo>
                      <a:pt x="306" y="0"/>
                    </a:lnTo>
                    <a:lnTo>
                      <a:pt x="310" y="0"/>
                    </a:lnTo>
                    <a:lnTo>
                      <a:pt x="314" y="0"/>
                    </a:lnTo>
                    <a:lnTo>
                      <a:pt x="314" y="4"/>
                    </a:lnTo>
                    <a:lnTo>
                      <a:pt x="318" y="4"/>
                    </a:lnTo>
                    <a:lnTo>
                      <a:pt x="322" y="4"/>
                    </a:lnTo>
                    <a:lnTo>
                      <a:pt x="318" y="8"/>
                    </a:lnTo>
                    <a:lnTo>
                      <a:pt x="314" y="8"/>
                    </a:lnTo>
                    <a:lnTo>
                      <a:pt x="310" y="12"/>
                    </a:lnTo>
                    <a:lnTo>
                      <a:pt x="314" y="12"/>
                    </a:lnTo>
                    <a:lnTo>
                      <a:pt x="314" y="16"/>
                    </a:lnTo>
                    <a:lnTo>
                      <a:pt x="314" y="12"/>
                    </a:lnTo>
                    <a:lnTo>
                      <a:pt x="318" y="12"/>
                    </a:lnTo>
                    <a:lnTo>
                      <a:pt x="322" y="12"/>
                    </a:lnTo>
                    <a:lnTo>
                      <a:pt x="322" y="8"/>
                    </a:lnTo>
                    <a:lnTo>
                      <a:pt x="324" y="8"/>
                    </a:lnTo>
                    <a:lnTo>
                      <a:pt x="324" y="4"/>
                    </a:lnTo>
                    <a:lnTo>
                      <a:pt x="328" y="4"/>
                    </a:lnTo>
                    <a:lnTo>
                      <a:pt x="328" y="8"/>
                    </a:lnTo>
                    <a:lnTo>
                      <a:pt x="324" y="8"/>
                    </a:lnTo>
                    <a:lnTo>
                      <a:pt x="328" y="8"/>
                    </a:lnTo>
                    <a:lnTo>
                      <a:pt x="328" y="4"/>
                    </a:lnTo>
                    <a:lnTo>
                      <a:pt x="332" y="8"/>
                    </a:lnTo>
                    <a:lnTo>
                      <a:pt x="332" y="12"/>
                    </a:lnTo>
                    <a:lnTo>
                      <a:pt x="336" y="12"/>
                    </a:lnTo>
                    <a:lnTo>
                      <a:pt x="340" y="12"/>
                    </a:lnTo>
                    <a:lnTo>
                      <a:pt x="340" y="16"/>
                    </a:lnTo>
                    <a:lnTo>
                      <a:pt x="344" y="12"/>
                    </a:lnTo>
                    <a:lnTo>
                      <a:pt x="348" y="12"/>
                    </a:lnTo>
                    <a:lnTo>
                      <a:pt x="350" y="12"/>
                    </a:lnTo>
                    <a:lnTo>
                      <a:pt x="354" y="12"/>
                    </a:lnTo>
                    <a:lnTo>
                      <a:pt x="358" y="12"/>
                    </a:lnTo>
                    <a:lnTo>
                      <a:pt x="362" y="12"/>
                    </a:lnTo>
                    <a:lnTo>
                      <a:pt x="366" y="12"/>
                    </a:lnTo>
                    <a:lnTo>
                      <a:pt x="366" y="16"/>
                    </a:lnTo>
                    <a:lnTo>
                      <a:pt x="362" y="16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66" y="20"/>
                    </a:lnTo>
                    <a:lnTo>
                      <a:pt x="362" y="20"/>
                    </a:lnTo>
                    <a:lnTo>
                      <a:pt x="366" y="20"/>
                    </a:lnTo>
                    <a:lnTo>
                      <a:pt x="370" y="20"/>
                    </a:lnTo>
                    <a:lnTo>
                      <a:pt x="374" y="20"/>
                    </a:lnTo>
                    <a:lnTo>
                      <a:pt x="374" y="24"/>
                    </a:lnTo>
                    <a:lnTo>
                      <a:pt x="370" y="24"/>
                    </a:lnTo>
                    <a:lnTo>
                      <a:pt x="374" y="24"/>
                    </a:lnTo>
                    <a:lnTo>
                      <a:pt x="378" y="24"/>
                    </a:lnTo>
                    <a:lnTo>
                      <a:pt x="380" y="24"/>
                    </a:lnTo>
                    <a:lnTo>
                      <a:pt x="384" y="24"/>
                    </a:lnTo>
                    <a:lnTo>
                      <a:pt x="388" y="24"/>
                    </a:lnTo>
                    <a:lnTo>
                      <a:pt x="388" y="20"/>
                    </a:lnTo>
                    <a:lnTo>
                      <a:pt x="392" y="20"/>
                    </a:lnTo>
                    <a:lnTo>
                      <a:pt x="392" y="24"/>
                    </a:lnTo>
                    <a:lnTo>
                      <a:pt x="396" y="24"/>
                    </a:lnTo>
                    <a:lnTo>
                      <a:pt x="400" y="24"/>
                    </a:lnTo>
                    <a:lnTo>
                      <a:pt x="400" y="20"/>
                    </a:lnTo>
                    <a:lnTo>
                      <a:pt x="406" y="20"/>
                    </a:lnTo>
                    <a:lnTo>
                      <a:pt x="406" y="24"/>
                    </a:lnTo>
                    <a:lnTo>
                      <a:pt x="410" y="24"/>
                    </a:lnTo>
                    <a:lnTo>
                      <a:pt x="414" y="24"/>
                    </a:lnTo>
                    <a:lnTo>
                      <a:pt x="418" y="24"/>
                    </a:lnTo>
                    <a:lnTo>
                      <a:pt x="418" y="26"/>
                    </a:lnTo>
                    <a:lnTo>
                      <a:pt x="422" y="26"/>
                    </a:lnTo>
                    <a:lnTo>
                      <a:pt x="426" y="24"/>
                    </a:lnTo>
                    <a:lnTo>
                      <a:pt x="426" y="26"/>
                    </a:lnTo>
                    <a:lnTo>
                      <a:pt x="430" y="26"/>
                    </a:lnTo>
                    <a:lnTo>
                      <a:pt x="434" y="30"/>
                    </a:lnTo>
                    <a:lnTo>
                      <a:pt x="436" y="30"/>
                    </a:lnTo>
                    <a:lnTo>
                      <a:pt x="440" y="30"/>
                    </a:lnTo>
                    <a:lnTo>
                      <a:pt x="444" y="30"/>
                    </a:lnTo>
                    <a:lnTo>
                      <a:pt x="448" y="30"/>
                    </a:lnTo>
                    <a:lnTo>
                      <a:pt x="452" y="30"/>
                    </a:lnTo>
                    <a:lnTo>
                      <a:pt x="456" y="30"/>
                    </a:lnTo>
                    <a:lnTo>
                      <a:pt x="460" y="30"/>
                    </a:lnTo>
                    <a:lnTo>
                      <a:pt x="464" y="34"/>
                    </a:lnTo>
                    <a:lnTo>
                      <a:pt x="466" y="34"/>
                    </a:lnTo>
                    <a:lnTo>
                      <a:pt x="470" y="34"/>
                    </a:lnTo>
                    <a:lnTo>
                      <a:pt x="474" y="34"/>
                    </a:lnTo>
                    <a:lnTo>
                      <a:pt x="478" y="34"/>
                    </a:lnTo>
                    <a:lnTo>
                      <a:pt x="482" y="34"/>
                    </a:lnTo>
                    <a:lnTo>
                      <a:pt x="482" y="30"/>
                    </a:lnTo>
                    <a:lnTo>
                      <a:pt x="490" y="30"/>
                    </a:lnTo>
                    <a:lnTo>
                      <a:pt x="492" y="30"/>
                    </a:lnTo>
                    <a:lnTo>
                      <a:pt x="496" y="30"/>
                    </a:lnTo>
                    <a:lnTo>
                      <a:pt x="500" y="30"/>
                    </a:lnTo>
                    <a:lnTo>
                      <a:pt x="504" y="34"/>
                    </a:lnTo>
                    <a:lnTo>
                      <a:pt x="508" y="34"/>
                    </a:lnTo>
                    <a:lnTo>
                      <a:pt x="508" y="38"/>
                    </a:lnTo>
                    <a:lnTo>
                      <a:pt x="512" y="38"/>
                    </a:lnTo>
                    <a:lnTo>
                      <a:pt x="516" y="38"/>
                    </a:lnTo>
                    <a:lnTo>
                      <a:pt x="516" y="42"/>
                    </a:lnTo>
                    <a:lnTo>
                      <a:pt x="520" y="42"/>
                    </a:lnTo>
                    <a:lnTo>
                      <a:pt x="522" y="42"/>
                    </a:lnTo>
                    <a:lnTo>
                      <a:pt x="526" y="42"/>
                    </a:lnTo>
                    <a:lnTo>
                      <a:pt x="526" y="46"/>
                    </a:lnTo>
                    <a:lnTo>
                      <a:pt x="526" y="50"/>
                    </a:lnTo>
                    <a:lnTo>
                      <a:pt x="526" y="60"/>
                    </a:lnTo>
                    <a:lnTo>
                      <a:pt x="526" y="72"/>
                    </a:lnTo>
                    <a:lnTo>
                      <a:pt x="526" y="80"/>
                    </a:lnTo>
                    <a:lnTo>
                      <a:pt x="526" y="82"/>
                    </a:lnTo>
                    <a:lnTo>
                      <a:pt x="526" y="86"/>
                    </a:lnTo>
                    <a:lnTo>
                      <a:pt x="526" y="90"/>
                    </a:lnTo>
                    <a:lnTo>
                      <a:pt x="526" y="98"/>
                    </a:lnTo>
                    <a:lnTo>
                      <a:pt x="526" y="102"/>
                    </a:lnTo>
                    <a:lnTo>
                      <a:pt x="526" y="110"/>
                    </a:lnTo>
                    <a:lnTo>
                      <a:pt x="526" y="112"/>
                    </a:lnTo>
                    <a:lnTo>
                      <a:pt x="526" y="116"/>
                    </a:lnTo>
                    <a:lnTo>
                      <a:pt x="526" y="120"/>
                    </a:lnTo>
                    <a:lnTo>
                      <a:pt x="526" y="132"/>
                    </a:lnTo>
                    <a:lnTo>
                      <a:pt x="526" y="142"/>
                    </a:lnTo>
                    <a:lnTo>
                      <a:pt x="526" y="154"/>
                    </a:lnTo>
                    <a:lnTo>
                      <a:pt x="526" y="176"/>
                    </a:lnTo>
                    <a:lnTo>
                      <a:pt x="526" y="184"/>
                    </a:lnTo>
                    <a:lnTo>
                      <a:pt x="526" y="188"/>
                    </a:lnTo>
                    <a:lnTo>
                      <a:pt x="526" y="202"/>
                    </a:lnTo>
                    <a:lnTo>
                      <a:pt x="526" y="214"/>
                    </a:lnTo>
                    <a:lnTo>
                      <a:pt x="526" y="254"/>
                    </a:lnTo>
                    <a:lnTo>
                      <a:pt x="526" y="266"/>
                    </a:lnTo>
                    <a:lnTo>
                      <a:pt x="526" y="268"/>
                    </a:lnTo>
                    <a:lnTo>
                      <a:pt x="534" y="268"/>
                    </a:lnTo>
                    <a:lnTo>
                      <a:pt x="542" y="268"/>
                    </a:lnTo>
                    <a:lnTo>
                      <a:pt x="546" y="268"/>
                    </a:lnTo>
                    <a:lnTo>
                      <a:pt x="546" y="266"/>
                    </a:lnTo>
                    <a:lnTo>
                      <a:pt x="548" y="266"/>
                    </a:lnTo>
                    <a:lnTo>
                      <a:pt x="552" y="266"/>
                    </a:lnTo>
                    <a:lnTo>
                      <a:pt x="552" y="268"/>
                    </a:lnTo>
                    <a:lnTo>
                      <a:pt x="552" y="272"/>
                    </a:lnTo>
                    <a:lnTo>
                      <a:pt x="556" y="276"/>
                    </a:lnTo>
                    <a:lnTo>
                      <a:pt x="560" y="276"/>
                    </a:lnTo>
                    <a:lnTo>
                      <a:pt x="560" y="280"/>
                    </a:lnTo>
                    <a:lnTo>
                      <a:pt x="564" y="284"/>
                    </a:lnTo>
                    <a:lnTo>
                      <a:pt x="568" y="284"/>
                    </a:lnTo>
                    <a:lnTo>
                      <a:pt x="572" y="288"/>
                    </a:lnTo>
                    <a:lnTo>
                      <a:pt x="576" y="292"/>
                    </a:lnTo>
                    <a:lnTo>
                      <a:pt x="576" y="294"/>
                    </a:lnTo>
                    <a:lnTo>
                      <a:pt x="576" y="298"/>
                    </a:lnTo>
                    <a:lnTo>
                      <a:pt x="578" y="298"/>
                    </a:lnTo>
                    <a:lnTo>
                      <a:pt x="578" y="294"/>
                    </a:lnTo>
                    <a:lnTo>
                      <a:pt x="582" y="294"/>
                    </a:lnTo>
                    <a:lnTo>
                      <a:pt x="586" y="294"/>
                    </a:lnTo>
                    <a:lnTo>
                      <a:pt x="590" y="294"/>
                    </a:lnTo>
                    <a:lnTo>
                      <a:pt x="590" y="292"/>
                    </a:lnTo>
                    <a:lnTo>
                      <a:pt x="590" y="288"/>
                    </a:lnTo>
                    <a:lnTo>
                      <a:pt x="594" y="288"/>
                    </a:lnTo>
                    <a:lnTo>
                      <a:pt x="594" y="284"/>
                    </a:lnTo>
                    <a:lnTo>
                      <a:pt x="598" y="284"/>
                    </a:lnTo>
                    <a:lnTo>
                      <a:pt x="598" y="280"/>
                    </a:lnTo>
                    <a:lnTo>
                      <a:pt x="602" y="280"/>
                    </a:lnTo>
                    <a:lnTo>
                      <a:pt x="606" y="280"/>
                    </a:lnTo>
                    <a:lnTo>
                      <a:pt x="608" y="284"/>
                    </a:lnTo>
                    <a:lnTo>
                      <a:pt x="612" y="284"/>
                    </a:lnTo>
                    <a:lnTo>
                      <a:pt x="612" y="288"/>
                    </a:lnTo>
                    <a:lnTo>
                      <a:pt x="608" y="288"/>
                    </a:lnTo>
                    <a:lnTo>
                      <a:pt x="612" y="292"/>
                    </a:lnTo>
                    <a:lnTo>
                      <a:pt x="616" y="292"/>
                    </a:lnTo>
                    <a:lnTo>
                      <a:pt x="616" y="294"/>
                    </a:lnTo>
                    <a:lnTo>
                      <a:pt x="620" y="294"/>
                    </a:lnTo>
                    <a:lnTo>
                      <a:pt x="620" y="298"/>
                    </a:lnTo>
                    <a:lnTo>
                      <a:pt x="622" y="298"/>
                    </a:lnTo>
                    <a:lnTo>
                      <a:pt x="622" y="302"/>
                    </a:lnTo>
                    <a:lnTo>
                      <a:pt x="626" y="302"/>
                    </a:lnTo>
                    <a:lnTo>
                      <a:pt x="626" y="306"/>
                    </a:lnTo>
                    <a:lnTo>
                      <a:pt x="630" y="306"/>
                    </a:lnTo>
                    <a:lnTo>
                      <a:pt x="634" y="310"/>
                    </a:lnTo>
                    <a:lnTo>
                      <a:pt x="634" y="314"/>
                    </a:lnTo>
                    <a:lnTo>
                      <a:pt x="638" y="314"/>
                    </a:lnTo>
                    <a:lnTo>
                      <a:pt x="638" y="318"/>
                    </a:lnTo>
                    <a:lnTo>
                      <a:pt x="638" y="322"/>
                    </a:lnTo>
                    <a:lnTo>
                      <a:pt x="642" y="322"/>
                    </a:lnTo>
                    <a:lnTo>
                      <a:pt x="642" y="324"/>
                    </a:lnTo>
                    <a:lnTo>
                      <a:pt x="646" y="328"/>
                    </a:lnTo>
                    <a:lnTo>
                      <a:pt x="646" y="332"/>
                    </a:lnTo>
                    <a:lnTo>
                      <a:pt x="648" y="332"/>
                    </a:lnTo>
                    <a:lnTo>
                      <a:pt x="648" y="336"/>
                    </a:lnTo>
                    <a:lnTo>
                      <a:pt x="648" y="340"/>
                    </a:lnTo>
                    <a:lnTo>
                      <a:pt x="652" y="340"/>
                    </a:lnTo>
                    <a:lnTo>
                      <a:pt x="652" y="344"/>
                    </a:lnTo>
                    <a:lnTo>
                      <a:pt x="656" y="348"/>
                    </a:lnTo>
                    <a:lnTo>
                      <a:pt x="656" y="350"/>
                    </a:lnTo>
                    <a:lnTo>
                      <a:pt x="660" y="350"/>
                    </a:lnTo>
                    <a:lnTo>
                      <a:pt x="664" y="350"/>
                    </a:lnTo>
                    <a:lnTo>
                      <a:pt x="664" y="354"/>
                    </a:lnTo>
                    <a:lnTo>
                      <a:pt x="668" y="354"/>
                    </a:lnTo>
                    <a:lnTo>
                      <a:pt x="672" y="354"/>
                    </a:lnTo>
                    <a:lnTo>
                      <a:pt x="672" y="358"/>
                    </a:lnTo>
                    <a:lnTo>
                      <a:pt x="676" y="358"/>
                    </a:lnTo>
                    <a:lnTo>
                      <a:pt x="676" y="362"/>
                    </a:lnTo>
                    <a:lnTo>
                      <a:pt x="678" y="362"/>
                    </a:lnTo>
                    <a:lnTo>
                      <a:pt x="682" y="362"/>
                    </a:lnTo>
                    <a:lnTo>
                      <a:pt x="682" y="366"/>
                    </a:lnTo>
                    <a:lnTo>
                      <a:pt x="678" y="366"/>
                    </a:lnTo>
                    <a:lnTo>
                      <a:pt x="678" y="370"/>
                    </a:lnTo>
                    <a:lnTo>
                      <a:pt x="678" y="374"/>
                    </a:lnTo>
                    <a:lnTo>
                      <a:pt x="678" y="378"/>
                    </a:lnTo>
                    <a:lnTo>
                      <a:pt x="682" y="380"/>
                    </a:lnTo>
                    <a:lnTo>
                      <a:pt x="678" y="380"/>
                    </a:lnTo>
                    <a:lnTo>
                      <a:pt x="678" y="384"/>
                    </a:lnTo>
                    <a:lnTo>
                      <a:pt x="676" y="388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72" y="388"/>
                    </a:lnTo>
                    <a:lnTo>
                      <a:pt x="672" y="392"/>
                    </a:lnTo>
                    <a:lnTo>
                      <a:pt x="668" y="392"/>
                    </a:lnTo>
                    <a:lnTo>
                      <a:pt x="668" y="388"/>
                    </a:lnTo>
                    <a:lnTo>
                      <a:pt x="668" y="384"/>
                    </a:lnTo>
                    <a:lnTo>
                      <a:pt x="672" y="384"/>
                    </a:lnTo>
                    <a:lnTo>
                      <a:pt x="676" y="380"/>
                    </a:lnTo>
                    <a:lnTo>
                      <a:pt x="676" y="378"/>
                    </a:lnTo>
                    <a:lnTo>
                      <a:pt x="676" y="380"/>
                    </a:lnTo>
                    <a:lnTo>
                      <a:pt x="672" y="380"/>
                    </a:lnTo>
                    <a:lnTo>
                      <a:pt x="672" y="384"/>
                    </a:lnTo>
                    <a:lnTo>
                      <a:pt x="672" y="380"/>
                    </a:lnTo>
                    <a:lnTo>
                      <a:pt x="668" y="384"/>
                    </a:lnTo>
                    <a:lnTo>
                      <a:pt x="668" y="380"/>
                    </a:lnTo>
                    <a:lnTo>
                      <a:pt x="672" y="380"/>
                    </a:lnTo>
                    <a:lnTo>
                      <a:pt x="672" y="378"/>
                    </a:lnTo>
                    <a:lnTo>
                      <a:pt x="668" y="378"/>
                    </a:lnTo>
                    <a:lnTo>
                      <a:pt x="668" y="374"/>
                    </a:lnTo>
                    <a:lnTo>
                      <a:pt x="668" y="370"/>
                    </a:lnTo>
                    <a:lnTo>
                      <a:pt x="668" y="366"/>
                    </a:lnTo>
                    <a:lnTo>
                      <a:pt x="664" y="366"/>
                    </a:lnTo>
                    <a:lnTo>
                      <a:pt x="664" y="362"/>
                    </a:lnTo>
                    <a:lnTo>
                      <a:pt x="668" y="362"/>
                    </a:lnTo>
                    <a:lnTo>
                      <a:pt x="664" y="362"/>
                    </a:lnTo>
                    <a:lnTo>
                      <a:pt x="664" y="366"/>
                    </a:lnTo>
                    <a:lnTo>
                      <a:pt x="660" y="366"/>
                    </a:lnTo>
                    <a:lnTo>
                      <a:pt x="660" y="362"/>
                    </a:lnTo>
                    <a:lnTo>
                      <a:pt x="660" y="366"/>
                    </a:lnTo>
                    <a:lnTo>
                      <a:pt x="656" y="366"/>
                    </a:lnTo>
                    <a:lnTo>
                      <a:pt x="652" y="366"/>
                    </a:lnTo>
                    <a:lnTo>
                      <a:pt x="656" y="366"/>
                    </a:lnTo>
                    <a:lnTo>
                      <a:pt x="656" y="370"/>
                    </a:lnTo>
                    <a:lnTo>
                      <a:pt x="656" y="374"/>
                    </a:lnTo>
                    <a:lnTo>
                      <a:pt x="652" y="374"/>
                    </a:lnTo>
                    <a:lnTo>
                      <a:pt x="648" y="374"/>
                    </a:lnTo>
                    <a:lnTo>
                      <a:pt x="648" y="370"/>
                    </a:lnTo>
                    <a:lnTo>
                      <a:pt x="652" y="370"/>
                    </a:lnTo>
                    <a:lnTo>
                      <a:pt x="652" y="366"/>
                    </a:lnTo>
                    <a:lnTo>
                      <a:pt x="652" y="362"/>
                    </a:lnTo>
                    <a:lnTo>
                      <a:pt x="652" y="358"/>
                    </a:lnTo>
                    <a:lnTo>
                      <a:pt x="656" y="358"/>
                    </a:lnTo>
                    <a:lnTo>
                      <a:pt x="652" y="358"/>
                    </a:lnTo>
                    <a:lnTo>
                      <a:pt x="652" y="354"/>
                    </a:lnTo>
                    <a:lnTo>
                      <a:pt x="648" y="354"/>
                    </a:lnTo>
                    <a:lnTo>
                      <a:pt x="648" y="350"/>
                    </a:lnTo>
                    <a:lnTo>
                      <a:pt x="646" y="350"/>
                    </a:lnTo>
                    <a:lnTo>
                      <a:pt x="646" y="348"/>
                    </a:lnTo>
                    <a:lnTo>
                      <a:pt x="648" y="348"/>
                    </a:lnTo>
                    <a:lnTo>
                      <a:pt x="646" y="348"/>
                    </a:lnTo>
                    <a:lnTo>
                      <a:pt x="642" y="348"/>
                    </a:lnTo>
                    <a:lnTo>
                      <a:pt x="642" y="344"/>
                    </a:lnTo>
                    <a:lnTo>
                      <a:pt x="642" y="340"/>
                    </a:lnTo>
                    <a:lnTo>
                      <a:pt x="638" y="340"/>
                    </a:lnTo>
                    <a:lnTo>
                      <a:pt x="634" y="340"/>
                    </a:lnTo>
                    <a:lnTo>
                      <a:pt x="630" y="340"/>
                    </a:lnTo>
                    <a:lnTo>
                      <a:pt x="630" y="336"/>
                    </a:lnTo>
                    <a:lnTo>
                      <a:pt x="634" y="336"/>
                    </a:lnTo>
                    <a:lnTo>
                      <a:pt x="638" y="336"/>
                    </a:lnTo>
                    <a:lnTo>
                      <a:pt x="638" y="332"/>
                    </a:lnTo>
                    <a:lnTo>
                      <a:pt x="638" y="336"/>
                    </a:lnTo>
                    <a:lnTo>
                      <a:pt x="634" y="336"/>
                    </a:lnTo>
                    <a:lnTo>
                      <a:pt x="634" y="332"/>
                    </a:lnTo>
                    <a:lnTo>
                      <a:pt x="630" y="332"/>
                    </a:lnTo>
                    <a:lnTo>
                      <a:pt x="634" y="328"/>
                    </a:lnTo>
                    <a:lnTo>
                      <a:pt x="630" y="328"/>
                    </a:lnTo>
                    <a:lnTo>
                      <a:pt x="630" y="324"/>
                    </a:lnTo>
                    <a:lnTo>
                      <a:pt x="638" y="328"/>
                    </a:lnTo>
                    <a:lnTo>
                      <a:pt x="634" y="328"/>
                    </a:lnTo>
                    <a:lnTo>
                      <a:pt x="634" y="324"/>
                    </a:lnTo>
                    <a:lnTo>
                      <a:pt x="630" y="324"/>
                    </a:lnTo>
                    <a:lnTo>
                      <a:pt x="630" y="322"/>
                    </a:lnTo>
                    <a:lnTo>
                      <a:pt x="634" y="322"/>
                    </a:lnTo>
                    <a:lnTo>
                      <a:pt x="638" y="322"/>
                    </a:lnTo>
                    <a:lnTo>
                      <a:pt x="634" y="322"/>
                    </a:lnTo>
                    <a:lnTo>
                      <a:pt x="630" y="322"/>
                    </a:lnTo>
                    <a:lnTo>
                      <a:pt x="630" y="324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30" y="318"/>
                    </a:lnTo>
                    <a:lnTo>
                      <a:pt x="626" y="318"/>
                    </a:lnTo>
                    <a:lnTo>
                      <a:pt x="626" y="322"/>
                    </a:lnTo>
                    <a:lnTo>
                      <a:pt x="626" y="318"/>
                    </a:lnTo>
                    <a:lnTo>
                      <a:pt x="622" y="318"/>
                    </a:lnTo>
                    <a:lnTo>
                      <a:pt x="622" y="314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6" y="306"/>
                    </a:lnTo>
                    <a:lnTo>
                      <a:pt x="626" y="310"/>
                    </a:lnTo>
                    <a:lnTo>
                      <a:pt x="622" y="310"/>
                    </a:lnTo>
                    <a:lnTo>
                      <a:pt x="622" y="314"/>
                    </a:lnTo>
                    <a:lnTo>
                      <a:pt x="620" y="314"/>
                    </a:lnTo>
                    <a:lnTo>
                      <a:pt x="620" y="310"/>
                    </a:lnTo>
                    <a:lnTo>
                      <a:pt x="616" y="310"/>
                    </a:lnTo>
                    <a:lnTo>
                      <a:pt x="612" y="306"/>
                    </a:lnTo>
                    <a:lnTo>
                      <a:pt x="612" y="302"/>
                    </a:lnTo>
                    <a:lnTo>
                      <a:pt x="608" y="302"/>
                    </a:lnTo>
                    <a:lnTo>
                      <a:pt x="608" y="298"/>
                    </a:lnTo>
                    <a:lnTo>
                      <a:pt x="608" y="294"/>
                    </a:lnTo>
                    <a:lnTo>
                      <a:pt x="608" y="292"/>
                    </a:lnTo>
                    <a:lnTo>
                      <a:pt x="606" y="292"/>
                    </a:lnTo>
                    <a:lnTo>
                      <a:pt x="606" y="288"/>
                    </a:lnTo>
                    <a:lnTo>
                      <a:pt x="606" y="292"/>
                    </a:lnTo>
                    <a:lnTo>
                      <a:pt x="608" y="294"/>
                    </a:lnTo>
                    <a:lnTo>
                      <a:pt x="606" y="294"/>
                    </a:lnTo>
                    <a:lnTo>
                      <a:pt x="606" y="292"/>
                    </a:lnTo>
                    <a:lnTo>
                      <a:pt x="606" y="294"/>
                    </a:lnTo>
                    <a:lnTo>
                      <a:pt x="606" y="298"/>
                    </a:lnTo>
                    <a:lnTo>
                      <a:pt x="608" y="298"/>
                    </a:lnTo>
                    <a:lnTo>
                      <a:pt x="608" y="302"/>
                    </a:lnTo>
                    <a:lnTo>
                      <a:pt x="608" y="306"/>
                    </a:lnTo>
                    <a:lnTo>
                      <a:pt x="608" y="310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08" y="314"/>
                    </a:lnTo>
                    <a:lnTo>
                      <a:pt x="606" y="314"/>
                    </a:lnTo>
                    <a:lnTo>
                      <a:pt x="606" y="310"/>
                    </a:lnTo>
                    <a:lnTo>
                      <a:pt x="602" y="310"/>
                    </a:lnTo>
                    <a:lnTo>
                      <a:pt x="598" y="310"/>
                    </a:lnTo>
                    <a:lnTo>
                      <a:pt x="602" y="306"/>
                    </a:lnTo>
                    <a:lnTo>
                      <a:pt x="598" y="306"/>
                    </a:lnTo>
                    <a:lnTo>
                      <a:pt x="598" y="302"/>
                    </a:lnTo>
                    <a:lnTo>
                      <a:pt x="598" y="298"/>
                    </a:lnTo>
                    <a:lnTo>
                      <a:pt x="602" y="298"/>
                    </a:lnTo>
                    <a:lnTo>
                      <a:pt x="598" y="298"/>
                    </a:lnTo>
                    <a:lnTo>
                      <a:pt x="598" y="294"/>
                    </a:lnTo>
                    <a:lnTo>
                      <a:pt x="594" y="294"/>
                    </a:lnTo>
                    <a:lnTo>
                      <a:pt x="594" y="298"/>
                    </a:lnTo>
                    <a:lnTo>
                      <a:pt x="598" y="298"/>
                    </a:lnTo>
                    <a:lnTo>
                      <a:pt x="598" y="302"/>
                    </a:lnTo>
                    <a:lnTo>
                      <a:pt x="594" y="302"/>
                    </a:lnTo>
                    <a:lnTo>
                      <a:pt x="590" y="302"/>
                    </a:lnTo>
                    <a:lnTo>
                      <a:pt x="590" y="298"/>
                    </a:lnTo>
                    <a:lnTo>
                      <a:pt x="586" y="298"/>
                    </a:lnTo>
                    <a:lnTo>
                      <a:pt x="582" y="294"/>
                    </a:lnTo>
                    <a:lnTo>
                      <a:pt x="582" y="298"/>
                    </a:lnTo>
                    <a:lnTo>
                      <a:pt x="582" y="302"/>
                    </a:lnTo>
                    <a:lnTo>
                      <a:pt x="582" y="298"/>
                    </a:lnTo>
                    <a:lnTo>
                      <a:pt x="586" y="298"/>
                    </a:lnTo>
                    <a:lnTo>
                      <a:pt x="590" y="298"/>
                    </a:lnTo>
                    <a:lnTo>
                      <a:pt x="590" y="302"/>
                    </a:lnTo>
                    <a:lnTo>
                      <a:pt x="586" y="302"/>
                    </a:lnTo>
                    <a:lnTo>
                      <a:pt x="590" y="302"/>
                    </a:lnTo>
                    <a:lnTo>
                      <a:pt x="594" y="302"/>
                    </a:lnTo>
                    <a:lnTo>
                      <a:pt x="590" y="306"/>
                    </a:lnTo>
                    <a:lnTo>
                      <a:pt x="594" y="306"/>
                    </a:lnTo>
                    <a:lnTo>
                      <a:pt x="598" y="306"/>
                    </a:lnTo>
                    <a:lnTo>
                      <a:pt x="598" y="310"/>
                    </a:lnTo>
                    <a:lnTo>
                      <a:pt x="594" y="314"/>
                    </a:lnTo>
                    <a:lnTo>
                      <a:pt x="594" y="310"/>
                    </a:lnTo>
                    <a:lnTo>
                      <a:pt x="590" y="310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94" y="314"/>
                    </a:lnTo>
                    <a:lnTo>
                      <a:pt x="590" y="314"/>
                    </a:lnTo>
                    <a:lnTo>
                      <a:pt x="590" y="310"/>
                    </a:lnTo>
                    <a:lnTo>
                      <a:pt x="586" y="314"/>
                    </a:lnTo>
                    <a:lnTo>
                      <a:pt x="590" y="314"/>
                    </a:lnTo>
                    <a:lnTo>
                      <a:pt x="586" y="314"/>
                    </a:lnTo>
                    <a:lnTo>
                      <a:pt x="586" y="310"/>
                    </a:lnTo>
                    <a:lnTo>
                      <a:pt x="582" y="310"/>
                    </a:lnTo>
                    <a:lnTo>
                      <a:pt x="578" y="310"/>
                    </a:lnTo>
                    <a:lnTo>
                      <a:pt x="578" y="306"/>
                    </a:lnTo>
                    <a:lnTo>
                      <a:pt x="576" y="306"/>
                    </a:lnTo>
                    <a:lnTo>
                      <a:pt x="576" y="302"/>
                    </a:lnTo>
                    <a:lnTo>
                      <a:pt x="576" y="306"/>
                    </a:lnTo>
                    <a:lnTo>
                      <a:pt x="572" y="302"/>
                    </a:lnTo>
                    <a:lnTo>
                      <a:pt x="572" y="298"/>
                    </a:lnTo>
                    <a:lnTo>
                      <a:pt x="568" y="298"/>
                    </a:lnTo>
                    <a:lnTo>
                      <a:pt x="568" y="294"/>
                    </a:lnTo>
                    <a:lnTo>
                      <a:pt x="564" y="294"/>
                    </a:lnTo>
                    <a:lnTo>
                      <a:pt x="560" y="294"/>
                    </a:lnTo>
                    <a:lnTo>
                      <a:pt x="564" y="292"/>
                    </a:lnTo>
                    <a:lnTo>
                      <a:pt x="560" y="292"/>
                    </a:lnTo>
                    <a:lnTo>
                      <a:pt x="560" y="294"/>
                    </a:lnTo>
                    <a:lnTo>
                      <a:pt x="556" y="292"/>
                    </a:lnTo>
                    <a:lnTo>
                      <a:pt x="552" y="292"/>
                    </a:lnTo>
                    <a:lnTo>
                      <a:pt x="552" y="288"/>
                    </a:lnTo>
                    <a:lnTo>
                      <a:pt x="548" y="288"/>
                    </a:lnTo>
                    <a:lnTo>
                      <a:pt x="546" y="288"/>
                    </a:lnTo>
                    <a:lnTo>
                      <a:pt x="546" y="284"/>
                    </a:lnTo>
                    <a:lnTo>
                      <a:pt x="548" y="280"/>
                    </a:lnTo>
                    <a:lnTo>
                      <a:pt x="546" y="280"/>
                    </a:lnTo>
                    <a:lnTo>
                      <a:pt x="546" y="276"/>
                    </a:lnTo>
                    <a:lnTo>
                      <a:pt x="548" y="276"/>
                    </a:lnTo>
                    <a:lnTo>
                      <a:pt x="548" y="280"/>
                    </a:lnTo>
                    <a:lnTo>
                      <a:pt x="548" y="284"/>
                    </a:lnTo>
                    <a:lnTo>
                      <a:pt x="552" y="284"/>
                    </a:lnTo>
                    <a:lnTo>
                      <a:pt x="552" y="280"/>
                    </a:lnTo>
                    <a:lnTo>
                      <a:pt x="548" y="280"/>
                    </a:lnTo>
                    <a:lnTo>
                      <a:pt x="552" y="276"/>
                    </a:lnTo>
                    <a:lnTo>
                      <a:pt x="556" y="280"/>
                    </a:lnTo>
                    <a:lnTo>
                      <a:pt x="556" y="276"/>
                    </a:lnTo>
                    <a:lnTo>
                      <a:pt x="552" y="276"/>
                    </a:lnTo>
                    <a:lnTo>
                      <a:pt x="548" y="276"/>
                    </a:lnTo>
                    <a:lnTo>
                      <a:pt x="548" y="272"/>
                    </a:lnTo>
                    <a:lnTo>
                      <a:pt x="546" y="272"/>
                    </a:lnTo>
                    <a:lnTo>
                      <a:pt x="546" y="276"/>
                    </a:lnTo>
                    <a:lnTo>
                      <a:pt x="542" y="280"/>
                    </a:lnTo>
                    <a:lnTo>
                      <a:pt x="538" y="280"/>
                    </a:lnTo>
                    <a:lnTo>
                      <a:pt x="534" y="280"/>
                    </a:lnTo>
                    <a:lnTo>
                      <a:pt x="530" y="280"/>
                    </a:lnTo>
                    <a:lnTo>
                      <a:pt x="526" y="280"/>
                    </a:lnTo>
                    <a:lnTo>
                      <a:pt x="522" y="276"/>
                    </a:lnTo>
                    <a:lnTo>
                      <a:pt x="520" y="276"/>
                    </a:lnTo>
                    <a:lnTo>
                      <a:pt x="522" y="276"/>
                    </a:lnTo>
                    <a:lnTo>
                      <a:pt x="522" y="272"/>
                    </a:lnTo>
                    <a:lnTo>
                      <a:pt x="520" y="272"/>
                    </a:lnTo>
                    <a:lnTo>
                      <a:pt x="520" y="276"/>
                    </a:lnTo>
                    <a:lnTo>
                      <a:pt x="516" y="276"/>
                    </a:lnTo>
                    <a:lnTo>
                      <a:pt x="516" y="272"/>
                    </a:lnTo>
                    <a:lnTo>
                      <a:pt x="512" y="272"/>
                    </a:lnTo>
                    <a:lnTo>
                      <a:pt x="504" y="272"/>
                    </a:lnTo>
                    <a:lnTo>
                      <a:pt x="500" y="272"/>
                    </a:lnTo>
                    <a:lnTo>
                      <a:pt x="496" y="272"/>
                    </a:lnTo>
                    <a:lnTo>
                      <a:pt x="492" y="272"/>
                    </a:lnTo>
                    <a:lnTo>
                      <a:pt x="490" y="272"/>
                    </a:lnTo>
                    <a:lnTo>
                      <a:pt x="486" y="272"/>
                    </a:lnTo>
                    <a:lnTo>
                      <a:pt x="482" y="272"/>
                    </a:lnTo>
                    <a:lnTo>
                      <a:pt x="482" y="268"/>
                    </a:lnTo>
                    <a:lnTo>
                      <a:pt x="478" y="268"/>
                    </a:lnTo>
                    <a:lnTo>
                      <a:pt x="474" y="268"/>
                    </a:lnTo>
                    <a:lnTo>
                      <a:pt x="470" y="268"/>
                    </a:lnTo>
                    <a:lnTo>
                      <a:pt x="470" y="266"/>
                    </a:lnTo>
                    <a:lnTo>
                      <a:pt x="470" y="262"/>
                    </a:lnTo>
                    <a:lnTo>
                      <a:pt x="474" y="262"/>
                    </a:lnTo>
                    <a:lnTo>
                      <a:pt x="474" y="258"/>
                    </a:lnTo>
                    <a:lnTo>
                      <a:pt x="470" y="262"/>
                    </a:lnTo>
                    <a:lnTo>
                      <a:pt x="466" y="266"/>
                    </a:lnTo>
                    <a:lnTo>
                      <a:pt x="464" y="266"/>
                    </a:lnTo>
                    <a:lnTo>
                      <a:pt x="460" y="266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58"/>
                    </a:lnTo>
                    <a:lnTo>
                      <a:pt x="460" y="262"/>
                    </a:lnTo>
                    <a:lnTo>
                      <a:pt x="456" y="262"/>
                    </a:lnTo>
                    <a:lnTo>
                      <a:pt x="456" y="258"/>
                    </a:lnTo>
                    <a:lnTo>
                      <a:pt x="456" y="262"/>
                    </a:lnTo>
                    <a:lnTo>
                      <a:pt x="452" y="262"/>
                    </a:lnTo>
                    <a:lnTo>
                      <a:pt x="452" y="258"/>
                    </a:lnTo>
                    <a:lnTo>
                      <a:pt x="456" y="258"/>
                    </a:lnTo>
                    <a:lnTo>
                      <a:pt x="452" y="258"/>
                    </a:lnTo>
                    <a:lnTo>
                      <a:pt x="448" y="258"/>
                    </a:lnTo>
                    <a:lnTo>
                      <a:pt x="444" y="258"/>
                    </a:lnTo>
                    <a:lnTo>
                      <a:pt x="448" y="258"/>
                    </a:lnTo>
                    <a:lnTo>
                      <a:pt x="452" y="254"/>
                    </a:lnTo>
                    <a:lnTo>
                      <a:pt x="448" y="254"/>
                    </a:lnTo>
                    <a:lnTo>
                      <a:pt x="444" y="254"/>
                    </a:lnTo>
                    <a:lnTo>
                      <a:pt x="448" y="250"/>
                    </a:lnTo>
                    <a:lnTo>
                      <a:pt x="452" y="250"/>
                    </a:lnTo>
                    <a:lnTo>
                      <a:pt x="452" y="246"/>
                    </a:lnTo>
                    <a:lnTo>
                      <a:pt x="448" y="246"/>
                    </a:lnTo>
                    <a:lnTo>
                      <a:pt x="448" y="250"/>
                    </a:lnTo>
                    <a:lnTo>
                      <a:pt x="444" y="250"/>
                    </a:lnTo>
                    <a:lnTo>
                      <a:pt x="440" y="254"/>
                    </a:lnTo>
                    <a:lnTo>
                      <a:pt x="440" y="250"/>
                    </a:lnTo>
                    <a:lnTo>
                      <a:pt x="436" y="250"/>
                    </a:lnTo>
                    <a:lnTo>
                      <a:pt x="436" y="254"/>
                    </a:lnTo>
                    <a:lnTo>
                      <a:pt x="434" y="254"/>
                    </a:lnTo>
                    <a:lnTo>
                      <a:pt x="434" y="250"/>
                    </a:lnTo>
                    <a:lnTo>
                      <a:pt x="434" y="246"/>
                    </a:lnTo>
                    <a:lnTo>
                      <a:pt x="434" y="254"/>
                    </a:lnTo>
                    <a:lnTo>
                      <a:pt x="430" y="254"/>
                    </a:lnTo>
                    <a:lnTo>
                      <a:pt x="426" y="254"/>
                    </a:lnTo>
                    <a:lnTo>
                      <a:pt x="430" y="250"/>
                    </a:lnTo>
                    <a:lnTo>
                      <a:pt x="430" y="246"/>
                    </a:lnTo>
                    <a:lnTo>
                      <a:pt x="430" y="250"/>
                    </a:lnTo>
                    <a:lnTo>
                      <a:pt x="426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2" y="254"/>
                    </a:lnTo>
                    <a:lnTo>
                      <a:pt x="418" y="254"/>
                    </a:lnTo>
                    <a:lnTo>
                      <a:pt x="418" y="258"/>
                    </a:lnTo>
                    <a:lnTo>
                      <a:pt x="418" y="254"/>
                    </a:lnTo>
                    <a:lnTo>
                      <a:pt x="422" y="258"/>
                    </a:lnTo>
                    <a:lnTo>
                      <a:pt x="418" y="258"/>
                    </a:lnTo>
                    <a:lnTo>
                      <a:pt x="422" y="258"/>
                    </a:lnTo>
                    <a:lnTo>
                      <a:pt x="426" y="262"/>
                    </a:lnTo>
                    <a:lnTo>
                      <a:pt x="422" y="262"/>
                    </a:lnTo>
                    <a:lnTo>
                      <a:pt x="418" y="262"/>
                    </a:lnTo>
                    <a:lnTo>
                      <a:pt x="418" y="266"/>
                    </a:lnTo>
                    <a:lnTo>
                      <a:pt x="418" y="266"/>
                    </a:lnTo>
                    <a:lnTo>
                      <a:pt x="418" y="266"/>
                    </a:lnTo>
                    <a:close/>
                    <a:moveTo>
                      <a:pt x="434" y="266"/>
                    </a:moveTo>
                    <a:lnTo>
                      <a:pt x="430" y="266"/>
                    </a:lnTo>
                    <a:lnTo>
                      <a:pt x="434" y="266"/>
                    </a:lnTo>
                    <a:lnTo>
                      <a:pt x="430" y="268"/>
                    </a:lnTo>
                    <a:lnTo>
                      <a:pt x="430" y="266"/>
                    </a:lnTo>
                    <a:lnTo>
                      <a:pt x="434" y="262"/>
                    </a:lnTo>
                    <a:lnTo>
                      <a:pt x="434" y="266"/>
                    </a:lnTo>
                    <a:lnTo>
                      <a:pt x="434" y="266"/>
                    </a:lnTo>
                    <a:lnTo>
                      <a:pt x="434" y="266"/>
                    </a:lnTo>
                    <a:close/>
                    <a:moveTo>
                      <a:pt x="224" y="384"/>
                    </a:moveTo>
                    <a:lnTo>
                      <a:pt x="224" y="388"/>
                    </a:lnTo>
                    <a:lnTo>
                      <a:pt x="224" y="384"/>
                    </a:lnTo>
                    <a:lnTo>
                      <a:pt x="224" y="384"/>
                    </a:lnTo>
                    <a:lnTo>
                      <a:pt x="224" y="384"/>
                    </a:lnTo>
                    <a:close/>
                    <a:moveTo>
                      <a:pt x="1440" y="706"/>
                    </a:moveTo>
                    <a:lnTo>
                      <a:pt x="1440" y="708"/>
                    </a:lnTo>
                    <a:lnTo>
                      <a:pt x="1440" y="706"/>
                    </a:lnTo>
                    <a:lnTo>
                      <a:pt x="1436" y="706"/>
                    </a:lnTo>
                    <a:lnTo>
                      <a:pt x="1440" y="708"/>
                    </a:lnTo>
                    <a:lnTo>
                      <a:pt x="1440" y="712"/>
                    </a:lnTo>
                    <a:lnTo>
                      <a:pt x="1440" y="716"/>
                    </a:lnTo>
                    <a:lnTo>
                      <a:pt x="1440" y="720"/>
                    </a:lnTo>
                    <a:lnTo>
                      <a:pt x="1440" y="724"/>
                    </a:lnTo>
                    <a:lnTo>
                      <a:pt x="1436" y="724"/>
                    </a:lnTo>
                    <a:lnTo>
                      <a:pt x="1436" y="720"/>
                    </a:lnTo>
                    <a:lnTo>
                      <a:pt x="1436" y="716"/>
                    </a:lnTo>
                    <a:lnTo>
                      <a:pt x="1436" y="720"/>
                    </a:lnTo>
                    <a:lnTo>
                      <a:pt x="1436" y="724"/>
                    </a:lnTo>
                    <a:lnTo>
                      <a:pt x="1440" y="724"/>
                    </a:lnTo>
                    <a:lnTo>
                      <a:pt x="1440" y="728"/>
                    </a:lnTo>
                    <a:lnTo>
                      <a:pt x="1440" y="732"/>
                    </a:lnTo>
                    <a:lnTo>
                      <a:pt x="1440" y="728"/>
                    </a:lnTo>
                    <a:lnTo>
                      <a:pt x="1436" y="728"/>
                    </a:lnTo>
                    <a:lnTo>
                      <a:pt x="1432" y="724"/>
                    </a:lnTo>
                    <a:lnTo>
                      <a:pt x="1428" y="724"/>
                    </a:lnTo>
                    <a:lnTo>
                      <a:pt x="1428" y="720"/>
                    </a:lnTo>
                    <a:lnTo>
                      <a:pt x="1428" y="716"/>
                    </a:lnTo>
                    <a:lnTo>
                      <a:pt x="1432" y="716"/>
                    </a:lnTo>
                    <a:lnTo>
                      <a:pt x="1432" y="712"/>
                    </a:lnTo>
                    <a:lnTo>
                      <a:pt x="1432" y="716"/>
                    </a:lnTo>
                    <a:lnTo>
                      <a:pt x="1428" y="716"/>
                    </a:lnTo>
                    <a:lnTo>
                      <a:pt x="1428" y="720"/>
                    </a:lnTo>
                    <a:lnTo>
                      <a:pt x="1428" y="724"/>
                    </a:lnTo>
                    <a:lnTo>
                      <a:pt x="1432" y="724"/>
                    </a:lnTo>
                    <a:lnTo>
                      <a:pt x="1432" y="728"/>
                    </a:lnTo>
                    <a:lnTo>
                      <a:pt x="1436" y="728"/>
                    </a:lnTo>
                    <a:lnTo>
                      <a:pt x="1440" y="732"/>
                    </a:lnTo>
                    <a:lnTo>
                      <a:pt x="1442" y="732"/>
                    </a:lnTo>
                    <a:lnTo>
                      <a:pt x="1442" y="734"/>
                    </a:lnTo>
                    <a:lnTo>
                      <a:pt x="1440" y="738"/>
                    </a:lnTo>
                    <a:lnTo>
                      <a:pt x="1440" y="734"/>
                    </a:lnTo>
                    <a:lnTo>
                      <a:pt x="1436" y="734"/>
                    </a:lnTo>
                    <a:lnTo>
                      <a:pt x="1432" y="732"/>
                    </a:lnTo>
                    <a:lnTo>
                      <a:pt x="1432" y="728"/>
                    </a:lnTo>
                    <a:lnTo>
                      <a:pt x="1428" y="728"/>
                    </a:lnTo>
                    <a:lnTo>
                      <a:pt x="1432" y="728"/>
                    </a:lnTo>
                    <a:lnTo>
                      <a:pt x="1432" y="732"/>
                    </a:lnTo>
                    <a:lnTo>
                      <a:pt x="1436" y="734"/>
                    </a:lnTo>
                    <a:lnTo>
                      <a:pt x="1440" y="738"/>
                    </a:lnTo>
                    <a:lnTo>
                      <a:pt x="1442" y="738"/>
                    </a:lnTo>
                    <a:lnTo>
                      <a:pt x="1442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0" y="742"/>
                    </a:lnTo>
                    <a:lnTo>
                      <a:pt x="1436" y="742"/>
                    </a:lnTo>
                    <a:lnTo>
                      <a:pt x="1440" y="742"/>
                    </a:lnTo>
                    <a:lnTo>
                      <a:pt x="1440" y="746"/>
                    </a:lnTo>
                    <a:lnTo>
                      <a:pt x="1442" y="746"/>
                    </a:lnTo>
                    <a:lnTo>
                      <a:pt x="1440" y="750"/>
                    </a:lnTo>
                    <a:lnTo>
                      <a:pt x="1436" y="746"/>
                    </a:lnTo>
                    <a:lnTo>
                      <a:pt x="1432" y="746"/>
                    </a:lnTo>
                    <a:lnTo>
                      <a:pt x="1432" y="742"/>
                    </a:lnTo>
                    <a:lnTo>
                      <a:pt x="1428" y="742"/>
                    </a:lnTo>
                    <a:lnTo>
                      <a:pt x="1432" y="742"/>
                    </a:lnTo>
                    <a:lnTo>
                      <a:pt x="1432" y="746"/>
                    </a:lnTo>
                    <a:lnTo>
                      <a:pt x="1436" y="746"/>
                    </a:lnTo>
                    <a:lnTo>
                      <a:pt x="1436" y="750"/>
                    </a:lnTo>
                    <a:lnTo>
                      <a:pt x="1440" y="750"/>
                    </a:lnTo>
                    <a:lnTo>
                      <a:pt x="1440" y="754"/>
                    </a:lnTo>
                    <a:lnTo>
                      <a:pt x="1440" y="750"/>
                    </a:lnTo>
                    <a:lnTo>
                      <a:pt x="1442" y="750"/>
                    </a:lnTo>
                    <a:lnTo>
                      <a:pt x="1446" y="750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50" y="764"/>
                    </a:lnTo>
                    <a:lnTo>
                      <a:pt x="1450" y="768"/>
                    </a:lnTo>
                    <a:lnTo>
                      <a:pt x="1450" y="772"/>
                    </a:lnTo>
                    <a:lnTo>
                      <a:pt x="1450" y="768"/>
                    </a:lnTo>
                    <a:lnTo>
                      <a:pt x="1450" y="764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58"/>
                    </a:lnTo>
                    <a:lnTo>
                      <a:pt x="1446" y="754"/>
                    </a:lnTo>
                    <a:lnTo>
                      <a:pt x="1446" y="758"/>
                    </a:lnTo>
                    <a:lnTo>
                      <a:pt x="1442" y="758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6" y="768"/>
                    </a:lnTo>
                    <a:lnTo>
                      <a:pt x="1446" y="764"/>
                    </a:lnTo>
                    <a:lnTo>
                      <a:pt x="1446" y="762"/>
                    </a:lnTo>
                    <a:lnTo>
                      <a:pt x="1446" y="764"/>
                    </a:lnTo>
                    <a:lnTo>
                      <a:pt x="1442" y="764"/>
                    </a:lnTo>
                    <a:lnTo>
                      <a:pt x="1442" y="762"/>
                    </a:lnTo>
                    <a:lnTo>
                      <a:pt x="1442" y="764"/>
                    </a:lnTo>
                    <a:lnTo>
                      <a:pt x="1440" y="764"/>
                    </a:lnTo>
                    <a:lnTo>
                      <a:pt x="1440" y="768"/>
                    </a:lnTo>
                    <a:lnTo>
                      <a:pt x="1436" y="768"/>
                    </a:lnTo>
                    <a:lnTo>
                      <a:pt x="1436" y="764"/>
                    </a:lnTo>
                    <a:lnTo>
                      <a:pt x="1436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0" y="768"/>
                    </a:lnTo>
                    <a:lnTo>
                      <a:pt x="1442" y="768"/>
                    </a:lnTo>
                    <a:lnTo>
                      <a:pt x="1446" y="768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2" y="772"/>
                    </a:lnTo>
                    <a:lnTo>
                      <a:pt x="1442" y="776"/>
                    </a:lnTo>
                    <a:lnTo>
                      <a:pt x="1446" y="772"/>
                    </a:lnTo>
                    <a:lnTo>
                      <a:pt x="1446" y="768"/>
                    </a:lnTo>
                    <a:lnTo>
                      <a:pt x="1450" y="772"/>
                    </a:lnTo>
                    <a:lnTo>
                      <a:pt x="1450" y="776"/>
                    </a:lnTo>
                    <a:lnTo>
                      <a:pt x="1446" y="776"/>
                    </a:lnTo>
                    <a:lnTo>
                      <a:pt x="1446" y="780"/>
                    </a:lnTo>
                    <a:lnTo>
                      <a:pt x="1442" y="780"/>
                    </a:lnTo>
                    <a:lnTo>
                      <a:pt x="1440" y="780"/>
                    </a:lnTo>
                    <a:lnTo>
                      <a:pt x="1436" y="780"/>
                    </a:lnTo>
                    <a:lnTo>
                      <a:pt x="1436" y="776"/>
                    </a:lnTo>
                    <a:lnTo>
                      <a:pt x="1440" y="776"/>
                    </a:lnTo>
                    <a:lnTo>
                      <a:pt x="1436" y="776"/>
                    </a:lnTo>
                    <a:lnTo>
                      <a:pt x="1436" y="780"/>
                    </a:lnTo>
                    <a:lnTo>
                      <a:pt x="1432" y="780"/>
                    </a:lnTo>
                    <a:lnTo>
                      <a:pt x="1432" y="776"/>
                    </a:lnTo>
                    <a:lnTo>
                      <a:pt x="1432" y="780"/>
                    </a:lnTo>
                    <a:lnTo>
                      <a:pt x="1440" y="780"/>
                    </a:lnTo>
                    <a:lnTo>
                      <a:pt x="1440" y="784"/>
                    </a:lnTo>
                    <a:lnTo>
                      <a:pt x="1436" y="784"/>
                    </a:lnTo>
                    <a:lnTo>
                      <a:pt x="1436" y="788"/>
                    </a:lnTo>
                    <a:lnTo>
                      <a:pt x="1432" y="788"/>
                    </a:lnTo>
                    <a:lnTo>
                      <a:pt x="1432" y="784"/>
                    </a:lnTo>
                    <a:lnTo>
                      <a:pt x="1432" y="788"/>
                    </a:lnTo>
                    <a:lnTo>
                      <a:pt x="1436" y="788"/>
                    </a:lnTo>
                    <a:lnTo>
                      <a:pt x="1440" y="788"/>
                    </a:lnTo>
                    <a:lnTo>
                      <a:pt x="1442" y="788"/>
                    </a:lnTo>
                    <a:lnTo>
                      <a:pt x="1440" y="788"/>
                    </a:lnTo>
                    <a:lnTo>
                      <a:pt x="1440" y="790"/>
                    </a:lnTo>
                    <a:lnTo>
                      <a:pt x="1436" y="790"/>
                    </a:lnTo>
                    <a:lnTo>
                      <a:pt x="1428" y="794"/>
                    </a:lnTo>
                    <a:lnTo>
                      <a:pt x="1424" y="794"/>
                    </a:lnTo>
                    <a:lnTo>
                      <a:pt x="1428" y="794"/>
                    </a:lnTo>
                    <a:lnTo>
                      <a:pt x="1424" y="790"/>
                    </a:lnTo>
                    <a:lnTo>
                      <a:pt x="1424" y="794"/>
                    </a:lnTo>
                    <a:lnTo>
                      <a:pt x="1424" y="798"/>
                    </a:lnTo>
                    <a:lnTo>
                      <a:pt x="1420" y="798"/>
                    </a:lnTo>
                    <a:lnTo>
                      <a:pt x="1420" y="802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02"/>
                    </a:lnTo>
                    <a:lnTo>
                      <a:pt x="1416" y="806"/>
                    </a:lnTo>
                    <a:lnTo>
                      <a:pt x="1416" y="810"/>
                    </a:lnTo>
                    <a:lnTo>
                      <a:pt x="1416" y="806"/>
                    </a:lnTo>
                    <a:lnTo>
                      <a:pt x="1414" y="806"/>
                    </a:lnTo>
                    <a:lnTo>
                      <a:pt x="1410" y="810"/>
                    </a:lnTo>
                    <a:lnTo>
                      <a:pt x="1406" y="810"/>
                    </a:lnTo>
                    <a:lnTo>
                      <a:pt x="1406" y="814"/>
                    </a:lnTo>
                    <a:lnTo>
                      <a:pt x="1402" y="814"/>
                    </a:lnTo>
                    <a:lnTo>
                      <a:pt x="1402" y="818"/>
                    </a:lnTo>
                    <a:lnTo>
                      <a:pt x="1398" y="820"/>
                    </a:lnTo>
                    <a:lnTo>
                      <a:pt x="1398" y="818"/>
                    </a:lnTo>
                    <a:lnTo>
                      <a:pt x="1398" y="820"/>
                    </a:lnTo>
                    <a:lnTo>
                      <a:pt x="1398" y="824"/>
                    </a:lnTo>
                    <a:lnTo>
                      <a:pt x="1394" y="824"/>
                    </a:lnTo>
                    <a:lnTo>
                      <a:pt x="1390" y="828"/>
                    </a:lnTo>
                    <a:lnTo>
                      <a:pt x="1390" y="832"/>
                    </a:lnTo>
                    <a:lnTo>
                      <a:pt x="1386" y="832"/>
                    </a:lnTo>
                    <a:lnTo>
                      <a:pt x="1384" y="836"/>
                    </a:lnTo>
                    <a:lnTo>
                      <a:pt x="1380" y="832"/>
                    </a:lnTo>
                    <a:lnTo>
                      <a:pt x="1380" y="836"/>
                    </a:lnTo>
                    <a:lnTo>
                      <a:pt x="1384" y="836"/>
                    </a:lnTo>
                    <a:lnTo>
                      <a:pt x="1380" y="840"/>
                    </a:lnTo>
                    <a:lnTo>
                      <a:pt x="1380" y="836"/>
                    </a:lnTo>
                    <a:lnTo>
                      <a:pt x="1376" y="836"/>
                    </a:lnTo>
                    <a:lnTo>
                      <a:pt x="1376" y="832"/>
                    </a:lnTo>
                    <a:lnTo>
                      <a:pt x="1376" y="836"/>
                    </a:lnTo>
                    <a:lnTo>
                      <a:pt x="1380" y="840"/>
                    </a:lnTo>
                    <a:lnTo>
                      <a:pt x="1376" y="840"/>
                    </a:lnTo>
                    <a:lnTo>
                      <a:pt x="1376" y="844"/>
                    </a:lnTo>
                    <a:lnTo>
                      <a:pt x="1376" y="848"/>
                    </a:lnTo>
                    <a:lnTo>
                      <a:pt x="1372" y="848"/>
                    </a:lnTo>
                    <a:lnTo>
                      <a:pt x="1372" y="850"/>
                    </a:lnTo>
                    <a:lnTo>
                      <a:pt x="1368" y="850"/>
                    </a:lnTo>
                    <a:lnTo>
                      <a:pt x="1372" y="854"/>
                    </a:lnTo>
                    <a:lnTo>
                      <a:pt x="1372" y="850"/>
                    </a:lnTo>
                    <a:lnTo>
                      <a:pt x="1372" y="854"/>
                    </a:lnTo>
                    <a:lnTo>
                      <a:pt x="1372" y="858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58"/>
                    </a:lnTo>
                    <a:lnTo>
                      <a:pt x="1368" y="862"/>
                    </a:lnTo>
                    <a:lnTo>
                      <a:pt x="1368" y="866"/>
                    </a:lnTo>
                    <a:lnTo>
                      <a:pt x="1368" y="870"/>
                    </a:lnTo>
                    <a:lnTo>
                      <a:pt x="1368" y="874"/>
                    </a:lnTo>
                    <a:lnTo>
                      <a:pt x="1368" y="876"/>
                    </a:lnTo>
                    <a:lnTo>
                      <a:pt x="1368" y="880"/>
                    </a:lnTo>
                    <a:lnTo>
                      <a:pt x="1372" y="880"/>
                    </a:lnTo>
                    <a:lnTo>
                      <a:pt x="1372" y="884"/>
                    </a:lnTo>
                    <a:lnTo>
                      <a:pt x="1372" y="888"/>
                    </a:lnTo>
                    <a:lnTo>
                      <a:pt x="1376" y="896"/>
                    </a:lnTo>
                    <a:lnTo>
                      <a:pt x="1376" y="900"/>
                    </a:lnTo>
                    <a:lnTo>
                      <a:pt x="1380" y="904"/>
                    </a:ln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0" y="918"/>
                    </a:lnTo>
                    <a:lnTo>
                      <a:pt x="1380" y="914"/>
                    </a:lnTo>
                    <a:lnTo>
                      <a:pt x="1380" y="910"/>
                    </a:lnTo>
                    <a:lnTo>
                      <a:pt x="1380" y="906"/>
                    </a:lnTo>
                    <a:lnTo>
                      <a:pt x="1376" y="906"/>
                    </a:lnTo>
                    <a:lnTo>
                      <a:pt x="1376" y="904"/>
                    </a:lnTo>
                    <a:lnTo>
                      <a:pt x="1380" y="904"/>
                    </a:lnTo>
                    <a:lnTo>
                      <a:pt x="1376" y="904"/>
                    </a:lnTo>
                    <a:lnTo>
                      <a:pt x="1380" y="910"/>
                    </a:lnTo>
                    <a:lnTo>
                      <a:pt x="1380" y="914"/>
                    </a:lnTo>
                    <a:lnTo>
                      <a:pt x="1384" y="918"/>
                    </a:ln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2"/>
                    </a:lnTo>
                    <a:lnTo>
                      <a:pt x="1386" y="936"/>
                    </a:lnTo>
                    <a:lnTo>
                      <a:pt x="1386" y="940"/>
                    </a:lnTo>
                    <a:lnTo>
                      <a:pt x="1386" y="944"/>
                    </a:lnTo>
                    <a:lnTo>
                      <a:pt x="1386" y="948"/>
                    </a:lnTo>
                    <a:lnTo>
                      <a:pt x="1386" y="956"/>
                    </a:lnTo>
                    <a:lnTo>
                      <a:pt x="1386" y="960"/>
                    </a:lnTo>
                    <a:lnTo>
                      <a:pt x="1384" y="960"/>
                    </a:ln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66"/>
                    </a:lnTo>
                    <a:lnTo>
                      <a:pt x="1376" y="966"/>
                    </a:lnTo>
                    <a:lnTo>
                      <a:pt x="1372" y="970"/>
                    </a:lnTo>
                    <a:lnTo>
                      <a:pt x="1372" y="966"/>
                    </a:lnTo>
                    <a:lnTo>
                      <a:pt x="1376" y="966"/>
                    </a:lnTo>
                    <a:lnTo>
                      <a:pt x="1372" y="966"/>
                    </a:lnTo>
                    <a:lnTo>
                      <a:pt x="1372" y="962"/>
                    </a:lnTo>
                    <a:lnTo>
                      <a:pt x="1368" y="956"/>
                    </a:lnTo>
                    <a:lnTo>
                      <a:pt x="1364" y="956"/>
                    </a:lnTo>
                    <a:lnTo>
                      <a:pt x="1364" y="952"/>
                    </a:lnTo>
                    <a:lnTo>
                      <a:pt x="1360" y="948"/>
                    </a:lnTo>
                    <a:lnTo>
                      <a:pt x="1360" y="944"/>
                    </a:lnTo>
                    <a:lnTo>
                      <a:pt x="1364" y="940"/>
                    </a:lnTo>
                    <a:lnTo>
                      <a:pt x="1360" y="940"/>
                    </a:lnTo>
                    <a:lnTo>
                      <a:pt x="1360" y="944"/>
                    </a:lnTo>
                    <a:lnTo>
                      <a:pt x="1360" y="940"/>
                    </a:lnTo>
                    <a:lnTo>
                      <a:pt x="1360" y="936"/>
                    </a:lnTo>
                    <a:lnTo>
                      <a:pt x="1358" y="936"/>
                    </a:lnTo>
                    <a:lnTo>
                      <a:pt x="1358" y="940"/>
                    </a:lnTo>
                    <a:lnTo>
                      <a:pt x="1358" y="936"/>
                    </a:lnTo>
                    <a:lnTo>
                      <a:pt x="1354" y="936"/>
                    </a:lnTo>
                    <a:lnTo>
                      <a:pt x="1354" y="932"/>
                    </a:lnTo>
                    <a:lnTo>
                      <a:pt x="1354" y="930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6"/>
                    </a:lnTo>
                    <a:lnTo>
                      <a:pt x="1350" y="926"/>
                    </a:lnTo>
                    <a:lnTo>
                      <a:pt x="1354" y="922"/>
                    </a:lnTo>
                    <a:lnTo>
                      <a:pt x="1354" y="918"/>
                    </a:lnTo>
                    <a:lnTo>
                      <a:pt x="1350" y="914"/>
                    </a:lnTo>
                    <a:lnTo>
                      <a:pt x="1350" y="918"/>
                    </a:lnTo>
                    <a:lnTo>
                      <a:pt x="1354" y="918"/>
                    </a:lnTo>
                    <a:lnTo>
                      <a:pt x="1350" y="922"/>
                    </a:lnTo>
                    <a:lnTo>
                      <a:pt x="1350" y="918"/>
                    </a:lnTo>
                    <a:lnTo>
                      <a:pt x="1350" y="914"/>
                    </a:lnTo>
                    <a:lnTo>
                      <a:pt x="1350" y="910"/>
                    </a:lnTo>
                    <a:lnTo>
                      <a:pt x="1350" y="906"/>
                    </a:lnTo>
                    <a:lnTo>
                      <a:pt x="1350" y="904"/>
                    </a:lnTo>
                    <a:lnTo>
                      <a:pt x="1350" y="900"/>
                    </a:lnTo>
                    <a:lnTo>
                      <a:pt x="1350" y="896"/>
                    </a:lnTo>
                    <a:lnTo>
                      <a:pt x="1346" y="896"/>
                    </a:lnTo>
                    <a:lnTo>
                      <a:pt x="1346" y="892"/>
                    </a:lnTo>
                    <a:lnTo>
                      <a:pt x="1342" y="892"/>
                    </a:lnTo>
                    <a:lnTo>
                      <a:pt x="1342" y="888"/>
                    </a:lnTo>
                    <a:lnTo>
                      <a:pt x="1338" y="888"/>
                    </a:lnTo>
                    <a:lnTo>
                      <a:pt x="1338" y="884"/>
                    </a:lnTo>
                    <a:lnTo>
                      <a:pt x="1338" y="880"/>
                    </a:lnTo>
                    <a:lnTo>
                      <a:pt x="1334" y="880"/>
                    </a:lnTo>
                    <a:lnTo>
                      <a:pt x="1330" y="880"/>
                    </a:lnTo>
                    <a:lnTo>
                      <a:pt x="1330" y="876"/>
                    </a:lnTo>
                    <a:lnTo>
                      <a:pt x="1328" y="876"/>
                    </a:lnTo>
                    <a:lnTo>
                      <a:pt x="1324" y="880"/>
                    </a:lnTo>
                    <a:lnTo>
                      <a:pt x="1328" y="880"/>
                    </a:lnTo>
                    <a:lnTo>
                      <a:pt x="1324" y="880"/>
                    </a:lnTo>
                    <a:lnTo>
                      <a:pt x="1324" y="884"/>
                    </a:lnTo>
                    <a:lnTo>
                      <a:pt x="1320" y="884"/>
                    </a:lnTo>
                    <a:lnTo>
                      <a:pt x="1316" y="884"/>
                    </a:lnTo>
                    <a:lnTo>
                      <a:pt x="1312" y="884"/>
                    </a:lnTo>
                    <a:lnTo>
                      <a:pt x="1312" y="880"/>
                    </a:lnTo>
                    <a:lnTo>
                      <a:pt x="1308" y="880"/>
                    </a:lnTo>
                    <a:lnTo>
                      <a:pt x="1308" y="876"/>
                    </a:lnTo>
                    <a:lnTo>
                      <a:pt x="1308" y="880"/>
                    </a:lnTo>
                    <a:lnTo>
                      <a:pt x="1312" y="880"/>
                    </a:lnTo>
                    <a:lnTo>
                      <a:pt x="1308" y="876"/>
                    </a:lnTo>
                    <a:lnTo>
                      <a:pt x="1308" y="874"/>
                    </a:lnTo>
                    <a:lnTo>
                      <a:pt x="1304" y="874"/>
                    </a:lnTo>
                    <a:lnTo>
                      <a:pt x="1304" y="876"/>
                    </a:lnTo>
                    <a:lnTo>
                      <a:pt x="1308" y="876"/>
                    </a:lnTo>
                    <a:lnTo>
                      <a:pt x="1304" y="876"/>
                    </a:lnTo>
                    <a:lnTo>
                      <a:pt x="1304" y="874"/>
                    </a:lnTo>
                    <a:lnTo>
                      <a:pt x="1300" y="874"/>
                    </a:lnTo>
                    <a:lnTo>
                      <a:pt x="1298" y="874"/>
                    </a:lnTo>
                    <a:lnTo>
                      <a:pt x="1300" y="874"/>
                    </a:lnTo>
                    <a:lnTo>
                      <a:pt x="1300" y="870"/>
                    </a:lnTo>
                    <a:lnTo>
                      <a:pt x="1298" y="870"/>
                    </a:lnTo>
                    <a:lnTo>
                      <a:pt x="1298" y="874"/>
                    </a:ln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0" y="870"/>
                    </a:lnTo>
                    <a:lnTo>
                      <a:pt x="1286" y="870"/>
                    </a:lnTo>
                    <a:lnTo>
                      <a:pt x="1286" y="874"/>
                    </a:lnTo>
                    <a:lnTo>
                      <a:pt x="1282" y="874"/>
                    </a:lnTo>
                    <a:lnTo>
                      <a:pt x="1286" y="874"/>
                    </a:lnTo>
                    <a:lnTo>
                      <a:pt x="1282" y="870"/>
                    </a:lnTo>
                    <a:lnTo>
                      <a:pt x="1282" y="874"/>
                    </a:lnTo>
                    <a:lnTo>
                      <a:pt x="1278" y="876"/>
                    </a:lnTo>
                    <a:lnTo>
                      <a:pt x="1274" y="876"/>
                    </a:lnTo>
                    <a:lnTo>
                      <a:pt x="1278" y="876"/>
                    </a:lnTo>
                    <a:lnTo>
                      <a:pt x="1278" y="874"/>
                    </a:lnTo>
                    <a:lnTo>
                      <a:pt x="1274" y="874"/>
                    </a:lnTo>
                    <a:lnTo>
                      <a:pt x="1274" y="870"/>
                    </a:lnTo>
                    <a:lnTo>
                      <a:pt x="1274" y="866"/>
                    </a:lnTo>
                    <a:lnTo>
                      <a:pt x="1274" y="870"/>
                    </a:lnTo>
                    <a:lnTo>
                      <a:pt x="1274" y="874"/>
                    </a:lnTo>
                    <a:lnTo>
                      <a:pt x="1272" y="874"/>
                    </a:lnTo>
                    <a:lnTo>
                      <a:pt x="1268" y="874"/>
                    </a:lnTo>
                    <a:lnTo>
                      <a:pt x="1264" y="874"/>
                    </a:lnTo>
                    <a:lnTo>
                      <a:pt x="1260" y="874"/>
                    </a:lnTo>
                    <a:lnTo>
                      <a:pt x="1258" y="874"/>
                    </a:lnTo>
                    <a:lnTo>
                      <a:pt x="1258" y="876"/>
                    </a:lnTo>
                    <a:lnTo>
                      <a:pt x="1254" y="876"/>
                    </a:lnTo>
                    <a:lnTo>
                      <a:pt x="1250" y="876"/>
                    </a:lnTo>
                    <a:lnTo>
                      <a:pt x="1250" y="874"/>
                    </a:lnTo>
                    <a:lnTo>
                      <a:pt x="1246" y="874"/>
                    </a:lnTo>
                    <a:lnTo>
                      <a:pt x="1242" y="876"/>
                    </a:lnTo>
                    <a:lnTo>
                      <a:pt x="1242" y="880"/>
                    </a:lnTo>
                    <a:lnTo>
                      <a:pt x="1246" y="880"/>
                    </a:lnTo>
                    <a:lnTo>
                      <a:pt x="1250" y="876"/>
                    </a:lnTo>
                    <a:lnTo>
                      <a:pt x="1254" y="876"/>
                    </a:lnTo>
                    <a:lnTo>
                      <a:pt x="1254" y="880"/>
                    </a:lnTo>
                    <a:lnTo>
                      <a:pt x="1250" y="880"/>
                    </a:lnTo>
                    <a:lnTo>
                      <a:pt x="1254" y="880"/>
                    </a:lnTo>
                    <a:lnTo>
                      <a:pt x="1254" y="876"/>
                    </a:lnTo>
                    <a:lnTo>
                      <a:pt x="1258" y="880"/>
                    </a:lnTo>
                    <a:lnTo>
                      <a:pt x="1258" y="884"/>
                    </a:lnTo>
                    <a:lnTo>
                      <a:pt x="1254" y="884"/>
                    </a:lnTo>
                    <a:lnTo>
                      <a:pt x="1250" y="888"/>
                    </a:lnTo>
                    <a:lnTo>
                      <a:pt x="1254" y="888"/>
                    </a:lnTo>
                    <a:lnTo>
                      <a:pt x="1254" y="892"/>
                    </a:lnTo>
                    <a:lnTo>
                      <a:pt x="1258" y="892"/>
                    </a:lnTo>
                    <a:lnTo>
                      <a:pt x="1260" y="892"/>
                    </a:lnTo>
                    <a:lnTo>
                      <a:pt x="1260" y="896"/>
                    </a:lnTo>
                    <a:lnTo>
                      <a:pt x="1260" y="900"/>
                    </a:lnTo>
                    <a:lnTo>
                      <a:pt x="1258" y="896"/>
                    </a:lnTo>
                    <a:lnTo>
                      <a:pt x="1258" y="900"/>
                    </a:lnTo>
                    <a:lnTo>
                      <a:pt x="1258" y="896"/>
                    </a:lnTo>
                    <a:lnTo>
                      <a:pt x="1254" y="896"/>
                    </a:lnTo>
                    <a:lnTo>
                      <a:pt x="1254" y="892"/>
                    </a:lnTo>
                    <a:lnTo>
                      <a:pt x="1250" y="892"/>
                    </a:lnTo>
                    <a:lnTo>
                      <a:pt x="1250" y="888"/>
                    </a:lnTo>
                    <a:lnTo>
                      <a:pt x="1246" y="888"/>
                    </a:lnTo>
                    <a:lnTo>
                      <a:pt x="1246" y="892"/>
                    </a:lnTo>
                    <a:lnTo>
                      <a:pt x="1246" y="896"/>
                    </a:lnTo>
                    <a:lnTo>
                      <a:pt x="1242" y="896"/>
                    </a:lnTo>
                    <a:lnTo>
                      <a:pt x="1242" y="892"/>
                    </a:lnTo>
                    <a:lnTo>
                      <a:pt x="1238" y="892"/>
                    </a:lnTo>
                    <a:lnTo>
                      <a:pt x="1238" y="896"/>
                    </a:lnTo>
                    <a:lnTo>
                      <a:pt x="1234" y="896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28" y="892"/>
                    </a:lnTo>
                    <a:lnTo>
                      <a:pt x="1230" y="892"/>
                    </a:lnTo>
                    <a:lnTo>
                      <a:pt x="1230" y="896"/>
                    </a:lnTo>
                    <a:lnTo>
                      <a:pt x="1230" y="892"/>
                    </a:lnTo>
                    <a:lnTo>
                      <a:pt x="1230" y="888"/>
                    </a:lnTo>
                    <a:lnTo>
                      <a:pt x="1228" y="888"/>
                    </a:lnTo>
                    <a:lnTo>
                      <a:pt x="1224" y="884"/>
                    </a:lnTo>
                    <a:lnTo>
                      <a:pt x="1220" y="884"/>
                    </a:lnTo>
                    <a:lnTo>
                      <a:pt x="1216" y="884"/>
                    </a:lnTo>
                    <a:lnTo>
                      <a:pt x="1216" y="888"/>
                    </a:lnTo>
                    <a:lnTo>
                      <a:pt x="1212" y="888"/>
                    </a:lnTo>
                    <a:lnTo>
                      <a:pt x="1208" y="888"/>
                    </a:lnTo>
                    <a:lnTo>
                      <a:pt x="1204" y="884"/>
                    </a:lnTo>
                    <a:lnTo>
                      <a:pt x="1202" y="884"/>
                    </a:lnTo>
                    <a:lnTo>
                      <a:pt x="1198" y="884"/>
                    </a:lnTo>
                    <a:lnTo>
                      <a:pt x="1194" y="884"/>
                    </a:lnTo>
                    <a:lnTo>
                      <a:pt x="1194" y="880"/>
                    </a:lnTo>
                    <a:lnTo>
                      <a:pt x="1190" y="884"/>
                    </a:lnTo>
                    <a:lnTo>
                      <a:pt x="1194" y="884"/>
                    </a:lnTo>
                    <a:lnTo>
                      <a:pt x="1190" y="884"/>
                    </a:lnTo>
                    <a:lnTo>
                      <a:pt x="1190" y="888"/>
                    </a:lnTo>
                    <a:lnTo>
                      <a:pt x="1186" y="888"/>
                    </a:lnTo>
                    <a:lnTo>
                      <a:pt x="1182" y="888"/>
                    </a:lnTo>
                    <a:lnTo>
                      <a:pt x="1182" y="892"/>
                    </a:lnTo>
                    <a:lnTo>
                      <a:pt x="1178" y="892"/>
                    </a:lnTo>
                    <a:lnTo>
                      <a:pt x="1182" y="888"/>
                    </a:lnTo>
                    <a:lnTo>
                      <a:pt x="1178" y="888"/>
                    </a:lnTo>
                    <a:lnTo>
                      <a:pt x="1182" y="888"/>
                    </a:lnTo>
                    <a:lnTo>
                      <a:pt x="1182" y="884"/>
                    </a:lnTo>
                    <a:lnTo>
                      <a:pt x="1178" y="884"/>
                    </a:lnTo>
                    <a:lnTo>
                      <a:pt x="1174" y="884"/>
                    </a:lnTo>
                    <a:lnTo>
                      <a:pt x="1174" y="888"/>
                    </a:lnTo>
                    <a:lnTo>
                      <a:pt x="1178" y="892"/>
                    </a:lnTo>
                    <a:lnTo>
                      <a:pt x="1174" y="896"/>
                    </a:lnTo>
                    <a:lnTo>
                      <a:pt x="1172" y="900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8" y="904"/>
                    </a:lnTo>
                    <a:lnTo>
                      <a:pt x="1164" y="904"/>
                    </a:lnTo>
                    <a:lnTo>
                      <a:pt x="1164" y="906"/>
                    </a:lnTo>
                    <a:lnTo>
                      <a:pt x="1160" y="906"/>
                    </a:lnTo>
                    <a:lnTo>
                      <a:pt x="1164" y="906"/>
                    </a:lnTo>
                    <a:lnTo>
                      <a:pt x="1164" y="904"/>
                    </a:lnTo>
                    <a:lnTo>
                      <a:pt x="1160" y="906"/>
                    </a:lnTo>
                    <a:lnTo>
                      <a:pt x="1160" y="904"/>
                    </a:lnTo>
                    <a:lnTo>
                      <a:pt x="1156" y="904"/>
                    </a:lnTo>
                    <a:lnTo>
                      <a:pt x="1156" y="906"/>
                    </a:lnTo>
                    <a:lnTo>
                      <a:pt x="1156" y="904"/>
                    </a:lnTo>
                    <a:lnTo>
                      <a:pt x="1152" y="904"/>
                    </a:lnTo>
                    <a:lnTo>
                      <a:pt x="1152" y="906"/>
                    </a:lnTo>
                    <a:lnTo>
                      <a:pt x="1156" y="906"/>
                    </a:lnTo>
                    <a:lnTo>
                      <a:pt x="1152" y="910"/>
                    </a:lnTo>
                    <a:lnTo>
                      <a:pt x="1152" y="906"/>
                    </a:lnTo>
                    <a:lnTo>
                      <a:pt x="1148" y="910"/>
                    </a:lnTo>
                    <a:lnTo>
                      <a:pt x="1152" y="910"/>
                    </a:lnTo>
                    <a:lnTo>
                      <a:pt x="1148" y="914"/>
                    </a:lnTo>
                    <a:lnTo>
                      <a:pt x="1144" y="914"/>
                    </a:lnTo>
                    <a:lnTo>
                      <a:pt x="1148" y="914"/>
                    </a:lnTo>
                    <a:lnTo>
                      <a:pt x="1144" y="918"/>
                    </a:lnTo>
                    <a:lnTo>
                      <a:pt x="1142" y="918"/>
                    </a:lnTo>
                    <a:lnTo>
                      <a:pt x="1142" y="922"/>
                    </a:lnTo>
                    <a:lnTo>
                      <a:pt x="1144" y="922"/>
                    </a:lnTo>
                    <a:lnTo>
                      <a:pt x="1142" y="930"/>
                    </a:lnTo>
                    <a:lnTo>
                      <a:pt x="1138" y="930"/>
                    </a:lnTo>
                    <a:lnTo>
                      <a:pt x="1138" y="926"/>
                    </a:lnTo>
                    <a:lnTo>
                      <a:pt x="1138" y="930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2" y="936"/>
                    </a:lnTo>
                    <a:lnTo>
                      <a:pt x="1142" y="940"/>
                    </a:lnTo>
                    <a:lnTo>
                      <a:pt x="1142" y="944"/>
                    </a:lnTo>
                    <a:lnTo>
                      <a:pt x="1142" y="948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56"/>
                    </a:lnTo>
                    <a:lnTo>
                      <a:pt x="1142" y="956"/>
                    </a:lnTo>
                    <a:lnTo>
                      <a:pt x="1142" y="952"/>
                    </a:lnTo>
                    <a:lnTo>
                      <a:pt x="1138" y="952"/>
                    </a:lnTo>
                    <a:lnTo>
                      <a:pt x="1134" y="952"/>
                    </a:lnTo>
                    <a:lnTo>
                      <a:pt x="1130" y="952"/>
                    </a:lnTo>
                    <a:lnTo>
                      <a:pt x="1130" y="948"/>
                    </a:lnTo>
                    <a:lnTo>
                      <a:pt x="1126" y="948"/>
                    </a:lnTo>
                    <a:lnTo>
                      <a:pt x="1122" y="948"/>
                    </a:lnTo>
                    <a:lnTo>
                      <a:pt x="1122" y="944"/>
                    </a:lnTo>
                    <a:lnTo>
                      <a:pt x="1118" y="944"/>
                    </a:lnTo>
                    <a:lnTo>
                      <a:pt x="1118" y="940"/>
                    </a:lnTo>
                    <a:lnTo>
                      <a:pt x="1116" y="936"/>
                    </a:lnTo>
                    <a:lnTo>
                      <a:pt x="1116" y="932"/>
                    </a:lnTo>
                    <a:lnTo>
                      <a:pt x="1116" y="930"/>
                    </a:lnTo>
                    <a:lnTo>
                      <a:pt x="1116" y="926"/>
                    </a:lnTo>
                    <a:lnTo>
                      <a:pt x="1112" y="926"/>
                    </a:lnTo>
                    <a:lnTo>
                      <a:pt x="1112" y="922"/>
                    </a:lnTo>
                    <a:lnTo>
                      <a:pt x="1108" y="922"/>
                    </a:lnTo>
                    <a:lnTo>
                      <a:pt x="1108" y="918"/>
                    </a:lnTo>
                    <a:lnTo>
                      <a:pt x="1104" y="914"/>
                    </a:lnTo>
                    <a:lnTo>
                      <a:pt x="1104" y="910"/>
                    </a:lnTo>
                    <a:lnTo>
                      <a:pt x="1100" y="910"/>
                    </a:lnTo>
                    <a:lnTo>
                      <a:pt x="1100" y="906"/>
                    </a:lnTo>
                    <a:lnTo>
                      <a:pt x="1100" y="904"/>
                    </a:lnTo>
                    <a:lnTo>
                      <a:pt x="1096" y="900"/>
                    </a:lnTo>
                    <a:lnTo>
                      <a:pt x="1096" y="896"/>
                    </a:lnTo>
                    <a:lnTo>
                      <a:pt x="1092" y="892"/>
                    </a:lnTo>
                    <a:lnTo>
                      <a:pt x="1092" y="888"/>
                    </a:lnTo>
                    <a:lnTo>
                      <a:pt x="1088" y="888"/>
                    </a:lnTo>
                    <a:lnTo>
                      <a:pt x="1086" y="888"/>
                    </a:lnTo>
                    <a:lnTo>
                      <a:pt x="1086" y="884"/>
                    </a:lnTo>
                    <a:lnTo>
                      <a:pt x="1082" y="884"/>
                    </a:lnTo>
                    <a:lnTo>
                      <a:pt x="1078" y="884"/>
                    </a:lnTo>
                    <a:lnTo>
                      <a:pt x="1074" y="884"/>
                    </a:lnTo>
                    <a:lnTo>
                      <a:pt x="1074" y="880"/>
                    </a:lnTo>
                    <a:lnTo>
                      <a:pt x="1074" y="884"/>
                    </a:lnTo>
                    <a:lnTo>
                      <a:pt x="1070" y="884"/>
                    </a:lnTo>
                    <a:lnTo>
                      <a:pt x="1066" y="884"/>
                    </a:lnTo>
                    <a:lnTo>
                      <a:pt x="1066" y="888"/>
                    </a:lnTo>
                    <a:lnTo>
                      <a:pt x="1066" y="892"/>
                    </a:lnTo>
                    <a:lnTo>
                      <a:pt x="1066" y="896"/>
                    </a:lnTo>
                    <a:lnTo>
                      <a:pt x="1062" y="896"/>
                    </a:lnTo>
                    <a:lnTo>
                      <a:pt x="1062" y="900"/>
                    </a:lnTo>
                    <a:lnTo>
                      <a:pt x="1060" y="900"/>
                    </a:lnTo>
                    <a:lnTo>
                      <a:pt x="1056" y="896"/>
                    </a:lnTo>
                    <a:lnTo>
                      <a:pt x="1052" y="896"/>
                    </a:lnTo>
                    <a:lnTo>
                      <a:pt x="1052" y="892"/>
                    </a:lnTo>
                    <a:lnTo>
                      <a:pt x="1048" y="892"/>
                    </a:lnTo>
                    <a:lnTo>
                      <a:pt x="1048" y="888"/>
                    </a:lnTo>
                    <a:lnTo>
                      <a:pt x="1044" y="888"/>
                    </a:lnTo>
                    <a:lnTo>
                      <a:pt x="1040" y="884"/>
                    </a:lnTo>
                    <a:lnTo>
                      <a:pt x="1040" y="880"/>
                    </a:lnTo>
                    <a:lnTo>
                      <a:pt x="1040" y="876"/>
                    </a:lnTo>
                    <a:lnTo>
                      <a:pt x="1036" y="874"/>
                    </a:lnTo>
                    <a:lnTo>
                      <a:pt x="1036" y="870"/>
                    </a:lnTo>
                    <a:lnTo>
                      <a:pt x="1032" y="866"/>
                    </a:lnTo>
                    <a:lnTo>
                      <a:pt x="1030" y="866"/>
                    </a:lnTo>
                    <a:lnTo>
                      <a:pt x="1030" y="862"/>
                    </a:lnTo>
                    <a:lnTo>
                      <a:pt x="1026" y="862"/>
                    </a:lnTo>
                    <a:lnTo>
                      <a:pt x="1026" y="858"/>
                    </a:lnTo>
                    <a:lnTo>
                      <a:pt x="1022" y="858"/>
                    </a:lnTo>
                    <a:lnTo>
                      <a:pt x="1022" y="854"/>
                    </a:lnTo>
                    <a:lnTo>
                      <a:pt x="1018" y="854"/>
                    </a:lnTo>
                    <a:lnTo>
                      <a:pt x="1018" y="850"/>
                    </a:lnTo>
                    <a:lnTo>
                      <a:pt x="1014" y="850"/>
                    </a:lnTo>
                    <a:lnTo>
                      <a:pt x="1014" y="848"/>
                    </a:lnTo>
                    <a:lnTo>
                      <a:pt x="1010" y="848"/>
                    </a:lnTo>
                    <a:lnTo>
                      <a:pt x="1006" y="848"/>
                    </a:lnTo>
                    <a:lnTo>
                      <a:pt x="1002" y="848"/>
                    </a:lnTo>
                    <a:lnTo>
                      <a:pt x="1000" y="848"/>
                    </a:lnTo>
                    <a:lnTo>
                      <a:pt x="996" y="848"/>
                    </a:lnTo>
                    <a:lnTo>
                      <a:pt x="988" y="848"/>
                    </a:lnTo>
                    <a:lnTo>
                      <a:pt x="988" y="850"/>
                    </a:lnTo>
                    <a:lnTo>
                      <a:pt x="988" y="854"/>
                    </a:lnTo>
                    <a:lnTo>
                      <a:pt x="980" y="854"/>
                    </a:lnTo>
                    <a:lnTo>
                      <a:pt x="976" y="854"/>
                    </a:lnTo>
                    <a:lnTo>
                      <a:pt x="970" y="854"/>
                    </a:lnTo>
                    <a:lnTo>
                      <a:pt x="966" y="854"/>
                    </a:lnTo>
                    <a:lnTo>
                      <a:pt x="962" y="854"/>
                    </a:lnTo>
                    <a:lnTo>
                      <a:pt x="958" y="854"/>
                    </a:lnTo>
                    <a:lnTo>
                      <a:pt x="950" y="854"/>
                    </a:lnTo>
                    <a:lnTo>
                      <a:pt x="944" y="854"/>
                    </a:lnTo>
                    <a:lnTo>
                      <a:pt x="936" y="850"/>
                    </a:lnTo>
                    <a:lnTo>
                      <a:pt x="932" y="848"/>
                    </a:lnTo>
                    <a:lnTo>
                      <a:pt x="930" y="848"/>
                    </a:lnTo>
                    <a:lnTo>
                      <a:pt x="926" y="844"/>
                    </a:lnTo>
                    <a:lnTo>
                      <a:pt x="922" y="844"/>
                    </a:lnTo>
                    <a:lnTo>
                      <a:pt x="918" y="844"/>
                    </a:lnTo>
                    <a:lnTo>
                      <a:pt x="914" y="840"/>
                    </a:lnTo>
                    <a:lnTo>
                      <a:pt x="910" y="840"/>
                    </a:lnTo>
                    <a:lnTo>
                      <a:pt x="906" y="840"/>
                    </a:lnTo>
                    <a:lnTo>
                      <a:pt x="904" y="836"/>
                    </a:lnTo>
                    <a:lnTo>
                      <a:pt x="900" y="836"/>
                    </a:lnTo>
                    <a:lnTo>
                      <a:pt x="896" y="832"/>
                    </a:lnTo>
                    <a:lnTo>
                      <a:pt x="900" y="832"/>
                    </a:lnTo>
                    <a:lnTo>
                      <a:pt x="900" y="828"/>
                    </a:lnTo>
                    <a:lnTo>
                      <a:pt x="896" y="828"/>
                    </a:lnTo>
                    <a:lnTo>
                      <a:pt x="892" y="832"/>
                    </a:lnTo>
                    <a:lnTo>
                      <a:pt x="888" y="832"/>
                    </a:lnTo>
                    <a:lnTo>
                      <a:pt x="884" y="832"/>
                    </a:lnTo>
                    <a:lnTo>
                      <a:pt x="880" y="832"/>
                    </a:lnTo>
                    <a:lnTo>
                      <a:pt x="876" y="832"/>
                    </a:lnTo>
                    <a:lnTo>
                      <a:pt x="874" y="832"/>
                    </a:lnTo>
                    <a:lnTo>
                      <a:pt x="870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6" y="832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32"/>
                    </a:lnTo>
                    <a:lnTo>
                      <a:pt x="862" y="828"/>
                    </a:lnTo>
                    <a:lnTo>
                      <a:pt x="862" y="824"/>
                    </a:lnTo>
                    <a:lnTo>
                      <a:pt x="862" y="820"/>
                    </a:lnTo>
                    <a:lnTo>
                      <a:pt x="858" y="820"/>
                    </a:lnTo>
                    <a:lnTo>
                      <a:pt x="858" y="818"/>
                    </a:lnTo>
                    <a:lnTo>
                      <a:pt x="854" y="818"/>
                    </a:lnTo>
                    <a:lnTo>
                      <a:pt x="854" y="814"/>
                    </a:lnTo>
                    <a:lnTo>
                      <a:pt x="850" y="814"/>
                    </a:lnTo>
                    <a:lnTo>
                      <a:pt x="850" y="810"/>
                    </a:lnTo>
                    <a:lnTo>
                      <a:pt x="846" y="810"/>
                    </a:lnTo>
                    <a:lnTo>
                      <a:pt x="846" y="806"/>
                    </a:lnTo>
                    <a:lnTo>
                      <a:pt x="844" y="806"/>
                    </a:lnTo>
                    <a:lnTo>
                      <a:pt x="840" y="806"/>
                    </a:lnTo>
                    <a:lnTo>
                      <a:pt x="836" y="806"/>
                    </a:lnTo>
                    <a:lnTo>
                      <a:pt x="836" y="802"/>
                    </a:lnTo>
                    <a:lnTo>
                      <a:pt x="832" y="802"/>
                    </a:lnTo>
                    <a:lnTo>
                      <a:pt x="832" y="798"/>
                    </a:lnTo>
                    <a:lnTo>
                      <a:pt x="828" y="798"/>
                    </a:lnTo>
                    <a:lnTo>
                      <a:pt x="824" y="798"/>
                    </a:lnTo>
                    <a:lnTo>
                      <a:pt x="820" y="798"/>
                    </a:lnTo>
                    <a:lnTo>
                      <a:pt x="818" y="798"/>
                    </a:lnTo>
                    <a:lnTo>
                      <a:pt x="818" y="794"/>
                    </a:lnTo>
                    <a:lnTo>
                      <a:pt x="814" y="794"/>
                    </a:lnTo>
                    <a:lnTo>
                      <a:pt x="814" y="790"/>
                    </a:lnTo>
                    <a:lnTo>
                      <a:pt x="814" y="788"/>
                    </a:lnTo>
                    <a:lnTo>
                      <a:pt x="814" y="784"/>
                    </a:lnTo>
                    <a:lnTo>
                      <a:pt x="810" y="784"/>
                    </a:lnTo>
                    <a:lnTo>
                      <a:pt x="810" y="780"/>
                    </a:lnTo>
                    <a:lnTo>
                      <a:pt x="810" y="776"/>
                    </a:lnTo>
                    <a:lnTo>
                      <a:pt x="806" y="776"/>
                    </a:lnTo>
                    <a:lnTo>
                      <a:pt x="806" y="772"/>
                    </a:lnTo>
                    <a:lnTo>
                      <a:pt x="802" y="772"/>
                    </a:lnTo>
                    <a:lnTo>
                      <a:pt x="802" y="768"/>
                    </a:lnTo>
                    <a:lnTo>
                      <a:pt x="798" y="764"/>
                    </a:lnTo>
                    <a:lnTo>
                      <a:pt x="798" y="762"/>
                    </a:lnTo>
                    <a:lnTo>
                      <a:pt x="794" y="762"/>
                    </a:lnTo>
                    <a:lnTo>
                      <a:pt x="794" y="758"/>
                    </a:lnTo>
                    <a:lnTo>
                      <a:pt x="798" y="758"/>
                    </a:lnTo>
                    <a:lnTo>
                      <a:pt x="798" y="754"/>
                    </a:lnTo>
                    <a:lnTo>
                      <a:pt x="798" y="750"/>
                    </a:lnTo>
                    <a:lnTo>
                      <a:pt x="794" y="750"/>
                    </a:lnTo>
                    <a:lnTo>
                      <a:pt x="790" y="750"/>
                    </a:lnTo>
                    <a:lnTo>
                      <a:pt x="790" y="746"/>
                    </a:lnTo>
                    <a:lnTo>
                      <a:pt x="790" y="742"/>
                    </a:lnTo>
                    <a:lnTo>
                      <a:pt x="788" y="738"/>
                    </a:lnTo>
                    <a:lnTo>
                      <a:pt x="788" y="734"/>
                    </a:lnTo>
                    <a:lnTo>
                      <a:pt x="790" y="734"/>
                    </a:lnTo>
                    <a:lnTo>
                      <a:pt x="790" y="738"/>
                    </a:lnTo>
                    <a:lnTo>
                      <a:pt x="794" y="742"/>
                    </a:lnTo>
                    <a:lnTo>
                      <a:pt x="794" y="738"/>
                    </a:lnTo>
                    <a:lnTo>
                      <a:pt x="794" y="734"/>
                    </a:lnTo>
                    <a:lnTo>
                      <a:pt x="790" y="734"/>
                    </a:lnTo>
                    <a:lnTo>
                      <a:pt x="790" y="732"/>
                    </a:lnTo>
                    <a:lnTo>
                      <a:pt x="790" y="728"/>
                    </a:lnTo>
                    <a:lnTo>
                      <a:pt x="790" y="732"/>
                    </a:lnTo>
                    <a:lnTo>
                      <a:pt x="794" y="732"/>
                    </a:lnTo>
                    <a:lnTo>
                      <a:pt x="794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802" y="728"/>
                    </a:lnTo>
                    <a:lnTo>
                      <a:pt x="802" y="732"/>
                    </a:lnTo>
                    <a:lnTo>
                      <a:pt x="802" y="728"/>
                    </a:lnTo>
                    <a:lnTo>
                      <a:pt x="798" y="728"/>
                    </a:lnTo>
                    <a:lnTo>
                      <a:pt x="798" y="732"/>
                    </a:lnTo>
                    <a:lnTo>
                      <a:pt x="798" y="728"/>
                    </a:lnTo>
                    <a:lnTo>
                      <a:pt x="794" y="728"/>
                    </a:lnTo>
                    <a:lnTo>
                      <a:pt x="790" y="728"/>
                    </a:lnTo>
                    <a:lnTo>
                      <a:pt x="788" y="728"/>
                    </a:lnTo>
                    <a:lnTo>
                      <a:pt x="788" y="732"/>
                    </a:lnTo>
                    <a:lnTo>
                      <a:pt x="788" y="734"/>
                    </a:lnTo>
                    <a:lnTo>
                      <a:pt x="788" y="732"/>
                    </a:lnTo>
                    <a:lnTo>
                      <a:pt x="784" y="732"/>
                    </a:lnTo>
                    <a:lnTo>
                      <a:pt x="784" y="728"/>
                    </a:lnTo>
                    <a:lnTo>
                      <a:pt x="780" y="728"/>
                    </a:lnTo>
                    <a:lnTo>
                      <a:pt x="784" y="728"/>
                    </a:lnTo>
                    <a:lnTo>
                      <a:pt x="780" y="724"/>
                    </a:lnTo>
                    <a:lnTo>
                      <a:pt x="780" y="720"/>
                    </a:lnTo>
                    <a:lnTo>
                      <a:pt x="776" y="720"/>
                    </a:lnTo>
                    <a:lnTo>
                      <a:pt x="776" y="716"/>
                    </a:lnTo>
                    <a:lnTo>
                      <a:pt x="772" y="716"/>
                    </a:lnTo>
                    <a:lnTo>
                      <a:pt x="772" y="712"/>
                    </a:lnTo>
                    <a:lnTo>
                      <a:pt x="772" y="708"/>
                    </a:lnTo>
                    <a:lnTo>
                      <a:pt x="768" y="706"/>
                    </a:lnTo>
                    <a:lnTo>
                      <a:pt x="768" y="702"/>
                    </a:lnTo>
                    <a:lnTo>
                      <a:pt x="768" y="698"/>
                    </a:lnTo>
                    <a:lnTo>
                      <a:pt x="768" y="694"/>
                    </a:lnTo>
                    <a:lnTo>
                      <a:pt x="764" y="690"/>
                    </a:lnTo>
                    <a:lnTo>
                      <a:pt x="762" y="686"/>
                    </a:lnTo>
                    <a:lnTo>
                      <a:pt x="762" y="682"/>
                    </a:lnTo>
                    <a:lnTo>
                      <a:pt x="762" y="678"/>
                    </a:lnTo>
                    <a:lnTo>
                      <a:pt x="764" y="678"/>
                    </a:lnTo>
                    <a:lnTo>
                      <a:pt x="764" y="676"/>
                    </a:lnTo>
                    <a:lnTo>
                      <a:pt x="764" y="672"/>
                    </a:lnTo>
                    <a:lnTo>
                      <a:pt x="764" y="668"/>
                    </a:lnTo>
                    <a:lnTo>
                      <a:pt x="764" y="664"/>
                    </a:lnTo>
                    <a:lnTo>
                      <a:pt x="764" y="660"/>
                    </a:lnTo>
                    <a:lnTo>
                      <a:pt x="764" y="656"/>
                    </a:lnTo>
                    <a:lnTo>
                      <a:pt x="764" y="652"/>
                    </a:lnTo>
                    <a:lnTo>
                      <a:pt x="762" y="652"/>
                    </a:lnTo>
                    <a:lnTo>
                      <a:pt x="762" y="648"/>
                    </a:lnTo>
                    <a:lnTo>
                      <a:pt x="762" y="646"/>
                    </a:lnTo>
                    <a:lnTo>
                      <a:pt x="762" y="642"/>
                    </a:lnTo>
                    <a:lnTo>
                      <a:pt x="762" y="638"/>
                    </a:lnTo>
                    <a:lnTo>
                      <a:pt x="758" y="638"/>
                    </a:lnTo>
                    <a:lnTo>
                      <a:pt x="758" y="634"/>
                    </a:lnTo>
                    <a:lnTo>
                      <a:pt x="762" y="634"/>
                    </a:lnTo>
                    <a:lnTo>
                      <a:pt x="762" y="632"/>
                    </a:lnTo>
                    <a:lnTo>
                      <a:pt x="762" y="628"/>
                    </a:lnTo>
                    <a:lnTo>
                      <a:pt x="764" y="628"/>
                    </a:lnTo>
                    <a:lnTo>
                      <a:pt x="764" y="624"/>
                    </a:lnTo>
                    <a:lnTo>
                      <a:pt x="762" y="628"/>
                    </a:lnTo>
                    <a:lnTo>
                      <a:pt x="762" y="624"/>
                    </a:lnTo>
                    <a:lnTo>
                      <a:pt x="764" y="624"/>
                    </a:lnTo>
                    <a:lnTo>
                      <a:pt x="764" y="620"/>
                    </a:lnTo>
                    <a:lnTo>
                      <a:pt x="764" y="616"/>
                    </a:lnTo>
                    <a:lnTo>
                      <a:pt x="764" y="612"/>
                    </a:lnTo>
                    <a:lnTo>
                      <a:pt x="764" y="606"/>
                    </a:lnTo>
                    <a:lnTo>
                      <a:pt x="764" y="602"/>
                    </a:lnTo>
                    <a:lnTo>
                      <a:pt x="764" y="598"/>
                    </a:lnTo>
                    <a:lnTo>
                      <a:pt x="764" y="594"/>
                    </a:lnTo>
                    <a:lnTo>
                      <a:pt x="768" y="590"/>
                    </a:lnTo>
                    <a:lnTo>
                      <a:pt x="768" y="586"/>
                    </a:lnTo>
                    <a:lnTo>
                      <a:pt x="768" y="582"/>
                    </a:lnTo>
                    <a:lnTo>
                      <a:pt x="768" y="578"/>
                    </a:lnTo>
                    <a:lnTo>
                      <a:pt x="768" y="576"/>
                    </a:lnTo>
                    <a:lnTo>
                      <a:pt x="768" y="572"/>
                    </a:lnTo>
                    <a:lnTo>
                      <a:pt x="772" y="572"/>
                    </a:lnTo>
                    <a:lnTo>
                      <a:pt x="772" y="568"/>
                    </a:lnTo>
                    <a:lnTo>
                      <a:pt x="776" y="572"/>
                    </a:lnTo>
                    <a:lnTo>
                      <a:pt x="780" y="572"/>
                    </a:lnTo>
                    <a:lnTo>
                      <a:pt x="776" y="572"/>
                    </a:lnTo>
                    <a:lnTo>
                      <a:pt x="776" y="568"/>
                    </a:lnTo>
                    <a:lnTo>
                      <a:pt x="772" y="568"/>
                    </a:lnTo>
                    <a:lnTo>
                      <a:pt x="768" y="568"/>
                    </a:lnTo>
                    <a:lnTo>
                      <a:pt x="764" y="568"/>
                    </a:lnTo>
                    <a:lnTo>
                      <a:pt x="764" y="564"/>
                    </a:lnTo>
                    <a:lnTo>
                      <a:pt x="764" y="560"/>
                    </a:lnTo>
                    <a:lnTo>
                      <a:pt x="764" y="564"/>
                    </a:lnTo>
                    <a:lnTo>
                      <a:pt x="768" y="568"/>
                    </a:lnTo>
                    <a:lnTo>
                      <a:pt x="768" y="564"/>
                    </a:lnTo>
                    <a:lnTo>
                      <a:pt x="768" y="560"/>
                    </a:lnTo>
                    <a:lnTo>
                      <a:pt x="764" y="560"/>
                    </a:lnTo>
                    <a:lnTo>
                      <a:pt x="764" y="556"/>
                    </a:lnTo>
                    <a:lnTo>
                      <a:pt x="768" y="556"/>
                    </a:lnTo>
                    <a:lnTo>
                      <a:pt x="768" y="552"/>
                    </a:lnTo>
                    <a:lnTo>
                      <a:pt x="764" y="552"/>
                    </a:lnTo>
                    <a:lnTo>
                      <a:pt x="764" y="556"/>
                    </a:lnTo>
                    <a:lnTo>
                      <a:pt x="764" y="552"/>
                    </a:lnTo>
                    <a:lnTo>
                      <a:pt x="764" y="550"/>
                    </a:lnTo>
                    <a:lnTo>
                      <a:pt x="762" y="546"/>
                    </a:lnTo>
                    <a:lnTo>
                      <a:pt x="762" y="542"/>
                    </a:lnTo>
                    <a:lnTo>
                      <a:pt x="762" y="538"/>
                    </a:lnTo>
                    <a:lnTo>
                      <a:pt x="758" y="534"/>
                    </a:lnTo>
                    <a:lnTo>
                      <a:pt x="758" y="530"/>
                    </a:lnTo>
                    <a:lnTo>
                      <a:pt x="758" y="526"/>
                    </a:lnTo>
                    <a:lnTo>
                      <a:pt x="762" y="526"/>
                    </a:lnTo>
                    <a:lnTo>
                      <a:pt x="764" y="526"/>
                    </a:lnTo>
                    <a:lnTo>
                      <a:pt x="764" y="530"/>
                    </a:lnTo>
                    <a:lnTo>
                      <a:pt x="768" y="530"/>
                    </a:lnTo>
                    <a:lnTo>
                      <a:pt x="772" y="530"/>
                    </a:lnTo>
                    <a:lnTo>
                      <a:pt x="776" y="530"/>
                    </a:lnTo>
                    <a:lnTo>
                      <a:pt x="780" y="530"/>
                    </a:lnTo>
                    <a:lnTo>
                      <a:pt x="784" y="530"/>
                    </a:lnTo>
                    <a:lnTo>
                      <a:pt x="784" y="534"/>
                    </a:lnTo>
                    <a:lnTo>
                      <a:pt x="788" y="534"/>
                    </a:lnTo>
                    <a:lnTo>
                      <a:pt x="784" y="538"/>
                    </a:lnTo>
                    <a:lnTo>
                      <a:pt x="784" y="542"/>
                    </a:lnTo>
                    <a:lnTo>
                      <a:pt x="780" y="542"/>
                    </a:lnTo>
                    <a:lnTo>
                      <a:pt x="780" y="546"/>
                    </a:lnTo>
                    <a:lnTo>
                      <a:pt x="784" y="546"/>
                    </a:lnTo>
                    <a:lnTo>
                      <a:pt x="780" y="546"/>
                    </a:lnTo>
                    <a:lnTo>
                      <a:pt x="780" y="542"/>
                    </a:lnTo>
                    <a:lnTo>
                      <a:pt x="784" y="542"/>
                    </a:lnTo>
                    <a:lnTo>
                      <a:pt x="784" y="538"/>
                    </a:lnTo>
                    <a:lnTo>
                      <a:pt x="788" y="534"/>
                    </a:lnTo>
                    <a:lnTo>
                      <a:pt x="788" y="538"/>
                    </a:lnTo>
                    <a:lnTo>
                      <a:pt x="788" y="542"/>
                    </a:lnTo>
                    <a:lnTo>
                      <a:pt x="784" y="542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88" y="550"/>
                    </a:lnTo>
                    <a:lnTo>
                      <a:pt x="784" y="550"/>
                    </a:lnTo>
                    <a:lnTo>
                      <a:pt x="788" y="546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4" y="546"/>
                    </a:lnTo>
                    <a:lnTo>
                      <a:pt x="784" y="550"/>
                    </a:lnTo>
                    <a:lnTo>
                      <a:pt x="780" y="550"/>
                    </a:lnTo>
                    <a:lnTo>
                      <a:pt x="780" y="552"/>
                    </a:lnTo>
                    <a:lnTo>
                      <a:pt x="784" y="552"/>
                    </a:lnTo>
                    <a:lnTo>
                      <a:pt x="784" y="550"/>
                    </a:lnTo>
                    <a:lnTo>
                      <a:pt x="784" y="552"/>
                    </a:lnTo>
                    <a:lnTo>
                      <a:pt x="788" y="550"/>
                    </a:lnTo>
                    <a:lnTo>
                      <a:pt x="790" y="546"/>
                    </a:lnTo>
                    <a:lnTo>
                      <a:pt x="790" y="542"/>
                    </a:lnTo>
                    <a:lnTo>
                      <a:pt x="788" y="542"/>
                    </a:lnTo>
                    <a:lnTo>
                      <a:pt x="790" y="538"/>
                    </a:lnTo>
                    <a:lnTo>
                      <a:pt x="790" y="534"/>
                    </a:lnTo>
                    <a:lnTo>
                      <a:pt x="790" y="530"/>
                    </a:lnTo>
                    <a:lnTo>
                      <a:pt x="788" y="530"/>
                    </a:lnTo>
                    <a:lnTo>
                      <a:pt x="788" y="526"/>
                    </a:lnTo>
                    <a:lnTo>
                      <a:pt x="790" y="526"/>
                    </a:lnTo>
                    <a:lnTo>
                      <a:pt x="788" y="522"/>
                    </a:lnTo>
                    <a:lnTo>
                      <a:pt x="788" y="526"/>
                    </a:lnTo>
                    <a:lnTo>
                      <a:pt x="784" y="522"/>
                    </a:lnTo>
                    <a:lnTo>
                      <a:pt x="788" y="522"/>
                    </a:lnTo>
                    <a:lnTo>
                      <a:pt x="788" y="520"/>
                    </a:lnTo>
                    <a:lnTo>
                      <a:pt x="784" y="516"/>
                    </a:lnTo>
                    <a:lnTo>
                      <a:pt x="784" y="512"/>
                    </a:lnTo>
                    <a:lnTo>
                      <a:pt x="788" y="512"/>
                    </a:lnTo>
                    <a:lnTo>
                      <a:pt x="790" y="512"/>
                    </a:lnTo>
                    <a:lnTo>
                      <a:pt x="794" y="512"/>
                    </a:lnTo>
                    <a:lnTo>
                      <a:pt x="810" y="512"/>
                    </a:lnTo>
                    <a:lnTo>
                      <a:pt x="818" y="512"/>
                    </a:lnTo>
                    <a:lnTo>
                      <a:pt x="820" y="512"/>
                    </a:lnTo>
                    <a:lnTo>
                      <a:pt x="824" y="512"/>
                    </a:lnTo>
                    <a:lnTo>
                      <a:pt x="832" y="512"/>
                    </a:lnTo>
                    <a:lnTo>
                      <a:pt x="836" y="512"/>
                    </a:lnTo>
                    <a:lnTo>
                      <a:pt x="840" y="512"/>
                    </a:lnTo>
                    <a:lnTo>
                      <a:pt x="846" y="512"/>
                    </a:lnTo>
                    <a:lnTo>
                      <a:pt x="850" y="512"/>
                    </a:lnTo>
                    <a:lnTo>
                      <a:pt x="854" y="512"/>
                    </a:lnTo>
                    <a:lnTo>
                      <a:pt x="858" y="512"/>
                    </a:lnTo>
                    <a:lnTo>
                      <a:pt x="862" y="512"/>
                    </a:lnTo>
                    <a:lnTo>
                      <a:pt x="866" y="512"/>
                    </a:lnTo>
                    <a:lnTo>
                      <a:pt x="880" y="512"/>
                    </a:lnTo>
                    <a:lnTo>
                      <a:pt x="884" y="512"/>
                    </a:lnTo>
                    <a:lnTo>
                      <a:pt x="888" y="512"/>
                    </a:lnTo>
                    <a:lnTo>
                      <a:pt x="892" y="512"/>
                    </a:lnTo>
                    <a:lnTo>
                      <a:pt x="896" y="512"/>
                    </a:lnTo>
                    <a:lnTo>
                      <a:pt x="900" y="512"/>
                    </a:lnTo>
                    <a:lnTo>
                      <a:pt x="904" y="512"/>
                    </a:lnTo>
                    <a:lnTo>
                      <a:pt x="906" y="512"/>
                    </a:lnTo>
                    <a:lnTo>
                      <a:pt x="914" y="512"/>
                    </a:lnTo>
                    <a:lnTo>
                      <a:pt x="918" y="512"/>
                    </a:lnTo>
                    <a:lnTo>
                      <a:pt x="922" y="512"/>
                    </a:lnTo>
                    <a:lnTo>
                      <a:pt x="930" y="512"/>
                    </a:lnTo>
                    <a:lnTo>
                      <a:pt x="932" y="512"/>
                    </a:lnTo>
                    <a:lnTo>
                      <a:pt x="936" y="512"/>
                    </a:lnTo>
                    <a:lnTo>
                      <a:pt x="940" y="512"/>
                    </a:lnTo>
                    <a:lnTo>
                      <a:pt x="944" y="512"/>
                    </a:lnTo>
                    <a:lnTo>
                      <a:pt x="954" y="512"/>
                    </a:lnTo>
                    <a:lnTo>
                      <a:pt x="958" y="512"/>
                    </a:lnTo>
                    <a:lnTo>
                      <a:pt x="962" y="512"/>
                    </a:lnTo>
                    <a:lnTo>
                      <a:pt x="966" y="512"/>
                    </a:lnTo>
                    <a:lnTo>
                      <a:pt x="970" y="512"/>
                    </a:lnTo>
                    <a:lnTo>
                      <a:pt x="974" y="512"/>
                    </a:lnTo>
                    <a:lnTo>
                      <a:pt x="980" y="512"/>
                    </a:lnTo>
                    <a:lnTo>
                      <a:pt x="984" y="512"/>
                    </a:lnTo>
                    <a:lnTo>
                      <a:pt x="988" y="512"/>
                    </a:lnTo>
                    <a:lnTo>
                      <a:pt x="992" y="512"/>
                    </a:lnTo>
                    <a:lnTo>
                      <a:pt x="996" y="512"/>
                    </a:lnTo>
                    <a:lnTo>
                      <a:pt x="1000" y="512"/>
                    </a:lnTo>
                    <a:lnTo>
                      <a:pt x="1002" y="512"/>
                    </a:lnTo>
                    <a:lnTo>
                      <a:pt x="1010" y="512"/>
                    </a:lnTo>
                    <a:lnTo>
                      <a:pt x="1014" y="512"/>
                    </a:lnTo>
                    <a:lnTo>
                      <a:pt x="1018" y="512"/>
                    </a:lnTo>
                    <a:lnTo>
                      <a:pt x="1022" y="512"/>
                    </a:lnTo>
                    <a:lnTo>
                      <a:pt x="1026" y="512"/>
                    </a:lnTo>
                    <a:lnTo>
                      <a:pt x="1032" y="512"/>
                    </a:lnTo>
                    <a:lnTo>
                      <a:pt x="1036" y="512"/>
                    </a:lnTo>
                    <a:lnTo>
                      <a:pt x="1044" y="512"/>
                    </a:lnTo>
                    <a:lnTo>
                      <a:pt x="1048" y="512"/>
                    </a:lnTo>
                    <a:lnTo>
                      <a:pt x="1052" y="512"/>
                    </a:lnTo>
                    <a:lnTo>
                      <a:pt x="1056" y="512"/>
                    </a:lnTo>
                    <a:lnTo>
                      <a:pt x="1060" y="512"/>
                    </a:lnTo>
                    <a:lnTo>
                      <a:pt x="1062" y="512"/>
                    </a:lnTo>
                    <a:lnTo>
                      <a:pt x="1066" y="512"/>
                    </a:lnTo>
                    <a:lnTo>
                      <a:pt x="1070" y="512"/>
                    </a:lnTo>
                    <a:lnTo>
                      <a:pt x="1074" y="512"/>
                    </a:lnTo>
                    <a:lnTo>
                      <a:pt x="1086" y="512"/>
                    </a:lnTo>
                    <a:lnTo>
                      <a:pt x="1088" y="512"/>
                    </a:lnTo>
                    <a:lnTo>
                      <a:pt x="1100" y="512"/>
                    </a:lnTo>
                    <a:lnTo>
                      <a:pt x="1108" y="512"/>
                    </a:lnTo>
                    <a:lnTo>
                      <a:pt x="1116" y="512"/>
                    </a:lnTo>
                    <a:lnTo>
                      <a:pt x="1122" y="512"/>
                    </a:lnTo>
                    <a:lnTo>
                      <a:pt x="1126" y="512"/>
                    </a:lnTo>
                    <a:lnTo>
                      <a:pt x="1130" y="512"/>
                    </a:lnTo>
                    <a:lnTo>
                      <a:pt x="1134" y="512"/>
                    </a:lnTo>
                    <a:lnTo>
                      <a:pt x="1138" y="512"/>
                    </a:lnTo>
                    <a:lnTo>
                      <a:pt x="1142" y="512"/>
                    </a:lnTo>
                    <a:lnTo>
                      <a:pt x="1144" y="512"/>
                    </a:lnTo>
                    <a:lnTo>
                      <a:pt x="1172" y="512"/>
                    </a:lnTo>
                    <a:lnTo>
                      <a:pt x="1174" y="512"/>
                    </a:lnTo>
                    <a:lnTo>
                      <a:pt x="1174" y="508"/>
                    </a:lnTo>
                    <a:lnTo>
                      <a:pt x="1174" y="504"/>
                    </a:lnTo>
                    <a:lnTo>
                      <a:pt x="1178" y="504"/>
                    </a:lnTo>
                    <a:lnTo>
                      <a:pt x="1178" y="508"/>
                    </a:lnTo>
                    <a:lnTo>
                      <a:pt x="1178" y="512"/>
                    </a:lnTo>
                    <a:lnTo>
                      <a:pt x="1182" y="512"/>
                    </a:lnTo>
                    <a:lnTo>
                      <a:pt x="1182" y="516"/>
                    </a:lnTo>
                    <a:lnTo>
                      <a:pt x="1182" y="520"/>
                    </a:lnTo>
                    <a:lnTo>
                      <a:pt x="1186" y="520"/>
                    </a:lnTo>
                    <a:lnTo>
                      <a:pt x="1190" y="520"/>
                    </a:lnTo>
                    <a:lnTo>
                      <a:pt x="1194" y="520"/>
                    </a:lnTo>
                    <a:lnTo>
                      <a:pt x="1194" y="522"/>
                    </a:lnTo>
                    <a:lnTo>
                      <a:pt x="1198" y="522"/>
                    </a:lnTo>
                    <a:lnTo>
                      <a:pt x="1202" y="520"/>
                    </a:lnTo>
                    <a:lnTo>
                      <a:pt x="1204" y="520"/>
                    </a:lnTo>
                    <a:lnTo>
                      <a:pt x="1208" y="522"/>
                    </a:lnTo>
                    <a:lnTo>
                      <a:pt x="1212" y="522"/>
                    </a:lnTo>
                    <a:lnTo>
                      <a:pt x="1212" y="526"/>
                    </a:lnTo>
                    <a:lnTo>
                      <a:pt x="1216" y="530"/>
                    </a:lnTo>
                    <a:lnTo>
                      <a:pt x="1216" y="526"/>
                    </a:lnTo>
                    <a:lnTo>
                      <a:pt x="1220" y="526"/>
                    </a:lnTo>
                    <a:lnTo>
                      <a:pt x="1220" y="530"/>
                    </a:lnTo>
                    <a:lnTo>
                      <a:pt x="1224" y="530"/>
                    </a:lnTo>
                    <a:lnTo>
                      <a:pt x="1228" y="530"/>
                    </a:lnTo>
                    <a:lnTo>
                      <a:pt x="1228" y="534"/>
                    </a:lnTo>
                    <a:lnTo>
                      <a:pt x="1228" y="530"/>
                    </a:lnTo>
                    <a:lnTo>
                      <a:pt x="1230" y="530"/>
                    </a:lnTo>
                    <a:lnTo>
                      <a:pt x="1234" y="530"/>
                    </a:lnTo>
                    <a:lnTo>
                      <a:pt x="1234" y="526"/>
                    </a:lnTo>
                    <a:lnTo>
                      <a:pt x="1234" y="530"/>
                    </a:lnTo>
                    <a:lnTo>
                      <a:pt x="1238" y="530"/>
                    </a:lnTo>
                    <a:lnTo>
                      <a:pt x="1242" y="530"/>
                    </a:lnTo>
                    <a:lnTo>
                      <a:pt x="1246" y="530"/>
                    </a:lnTo>
                    <a:lnTo>
                      <a:pt x="1246" y="534"/>
                    </a:lnTo>
                    <a:lnTo>
                      <a:pt x="1250" y="534"/>
                    </a:lnTo>
                    <a:lnTo>
                      <a:pt x="1254" y="534"/>
                    </a:lnTo>
                    <a:lnTo>
                      <a:pt x="1258" y="534"/>
                    </a:lnTo>
                    <a:lnTo>
                      <a:pt x="1260" y="530"/>
                    </a:lnTo>
                    <a:lnTo>
                      <a:pt x="1264" y="526"/>
                    </a:lnTo>
                    <a:lnTo>
                      <a:pt x="1268" y="526"/>
                    </a:lnTo>
                    <a:lnTo>
                      <a:pt x="1272" y="526"/>
                    </a:lnTo>
                    <a:lnTo>
                      <a:pt x="1282" y="534"/>
                    </a:lnTo>
                    <a:lnTo>
                      <a:pt x="1286" y="534"/>
                    </a:lnTo>
                    <a:lnTo>
                      <a:pt x="1286" y="538"/>
                    </a:lnTo>
                    <a:lnTo>
                      <a:pt x="1290" y="538"/>
                    </a:lnTo>
                    <a:lnTo>
                      <a:pt x="1294" y="542"/>
                    </a:lnTo>
                    <a:lnTo>
                      <a:pt x="1298" y="542"/>
                    </a:lnTo>
                    <a:lnTo>
                      <a:pt x="1300" y="546"/>
                    </a:lnTo>
                    <a:lnTo>
                      <a:pt x="1304" y="546"/>
                    </a:lnTo>
                    <a:lnTo>
                      <a:pt x="1304" y="550"/>
                    </a:lnTo>
                    <a:lnTo>
                      <a:pt x="1308" y="550"/>
                    </a:lnTo>
                    <a:lnTo>
                      <a:pt x="1312" y="550"/>
                    </a:lnTo>
                    <a:lnTo>
                      <a:pt x="1312" y="552"/>
                    </a:lnTo>
                    <a:lnTo>
                      <a:pt x="1320" y="556"/>
                    </a:lnTo>
                    <a:lnTo>
                      <a:pt x="1320" y="560"/>
                    </a:lnTo>
                    <a:lnTo>
                      <a:pt x="1324" y="564"/>
                    </a:lnTo>
                    <a:lnTo>
                      <a:pt x="1328" y="564"/>
                    </a:lnTo>
                    <a:lnTo>
                      <a:pt x="1330" y="564"/>
                    </a:lnTo>
                    <a:lnTo>
                      <a:pt x="1330" y="568"/>
                    </a:lnTo>
                    <a:lnTo>
                      <a:pt x="1330" y="572"/>
                    </a:lnTo>
                    <a:lnTo>
                      <a:pt x="1334" y="572"/>
                    </a:lnTo>
                    <a:lnTo>
                      <a:pt x="1338" y="572"/>
                    </a:lnTo>
                    <a:lnTo>
                      <a:pt x="1338" y="576"/>
                    </a:lnTo>
                    <a:lnTo>
                      <a:pt x="1338" y="578"/>
                    </a:lnTo>
                    <a:lnTo>
                      <a:pt x="1342" y="578"/>
                    </a:lnTo>
                    <a:lnTo>
                      <a:pt x="1346" y="582"/>
                    </a:lnTo>
                    <a:lnTo>
                      <a:pt x="1350" y="586"/>
                    </a:lnTo>
                    <a:lnTo>
                      <a:pt x="1354" y="586"/>
                    </a:lnTo>
                    <a:lnTo>
                      <a:pt x="1354" y="598"/>
                    </a:lnTo>
                    <a:lnTo>
                      <a:pt x="1358" y="606"/>
                    </a:lnTo>
                    <a:lnTo>
                      <a:pt x="1358" y="616"/>
                    </a:lnTo>
                    <a:lnTo>
                      <a:pt x="1358" y="624"/>
                    </a:lnTo>
                    <a:lnTo>
                      <a:pt x="1358" y="628"/>
                    </a:lnTo>
                    <a:lnTo>
                      <a:pt x="1358" y="632"/>
                    </a:lnTo>
                    <a:lnTo>
                      <a:pt x="1354" y="632"/>
                    </a:lnTo>
                    <a:lnTo>
                      <a:pt x="1354" y="634"/>
                    </a:lnTo>
                    <a:lnTo>
                      <a:pt x="1354" y="638"/>
                    </a:lnTo>
                    <a:lnTo>
                      <a:pt x="1354" y="642"/>
                    </a:lnTo>
                    <a:lnTo>
                      <a:pt x="1350" y="642"/>
                    </a:lnTo>
                    <a:lnTo>
                      <a:pt x="1350" y="646"/>
                    </a:lnTo>
                    <a:lnTo>
                      <a:pt x="1346" y="646"/>
                    </a:lnTo>
                    <a:lnTo>
                      <a:pt x="1346" y="648"/>
                    </a:lnTo>
                    <a:lnTo>
                      <a:pt x="1342" y="652"/>
                    </a:lnTo>
                    <a:lnTo>
                      <a:pt x="1346" y="652"/>
                    </a:lnTo>
                    <a:lnTo>
                      <a:pt x="1346" y="656"/>
                    </a:lnTo>
                    <a:lnTo>
                      <a:pt x="1350" y="660"/>
                    </a:lnTo>
                    <a:lnTo>
                      <a:pt x="1354" y="660"/>
                    </a:lnTo>
                    <a:lnTo>
                      <a:pt x="1358" y="656"/>
                    </a:lnTo>
                    <a:lnTo>
                      <a:pt x="1360" y="652"/>
                    </a:lnTo>
                    <a:lnTo>
                      <a:pt x="1364" y="652"/>
                    </a:lnTo>
                    <a:lnTo>
                      <a:pt x="1368" y="648"/>
                    </a:lnTo>
                    <a:lnTo>
                      <a:pt x="1372" y="648"/>
                    </a:lnTo>
                    <a:lnTo>
                      <a:pt x="1376" y="648"/>
                    </a:lnTo>
                    <a:lnTo>
                      <a:pt x="1380" y="646"/>
                    </a:lnTo>
                    <a:lnTo>
                      <a:pt x="1386" y="646"/>
                    </a:lnTo>
                    <a:lnTo>
                      <a:pt x="1390" y="642"/>
                    </a:lnTo>
                    <a:lnTo>
                      <a:pt x="1394" y="642"/>
                    </a:lnTo>
                    <a:lnTo>
                      <a:pt x="1398" y="638"/>
                    </a:lnTo>
                    <a:lnTo>
                      <a:pt x="1402" y="638"/>
                    </a:lnTo>
                    <a:lnTo>
                      <a:pt x="1402" y="634"/>
                    </a:lnTo>
                    <a:lnTo>
                      <a:pt x="1406" y="634"/>
                    </a:lnTo>
                    <a:lnTo>
                      <a:pt x="1402" y="634"/>
                    </a:lnTo>
                    <a:lnTo>
                      <a:pt x="1402" y="632"/>
                    </a:lnTo>
                    <a:lnTo>
                      <a:pt x="1402" y="628"/>
                    </a:lnTo>
                    <a:lnTo>
                      <a:pt x="1402" y="624"/>
                    </a:lnTo>
                    <a:lnTo>
                      <a:pt x="1406" y="620"/>
                    </a:lnTo>
                    <a:lnTo>
                      <a:pt x="1414" y="620"/>
                    </a:lnTo>
                    <a:lnTo>
                      <a:pt x="1416" y="620"/>
                    </a:lnTo>
                    <a:lnTo>
                      <a:pt x="1420" y="620"/>
                    </a:lnTo>
                    <a:lnTo>
                      <a:pt x="1424" y="620"/>
                    </a:lnTo>
                    <a:lnTo>
                      <a:pt x="1428" y="620"/>
                    </a:lnTo>
                    <a:lnTo>
                      <a:pt x="1432" y="620"/>
                    </a:lnTo>
                    <a:lnTo>
                      <a:pt x="1436" y="620"/>
                    </a:lnTo>
                    <a:lnTo>
                      <a:pt x="1436" y="616"/>
                    </a:lnTo>
                    <a:lnTo>
                      <a:pt x="1440" y="616"/>
                    </a:lnTo>
                    <a:lnTo>
                      <a:pt x="1440" y="612"/>
                    </a:lnTo>
                    <a:lnTo>
                      <a:pt x="1442" y="608"/>
                    </a:lnTo>
                    <a:lnTo>
                      <a:pt x="1446" y="608"/>
                    </a:lnTo>
                    <a:lnTo>
                      <a:pt x="1446" y="606"/>
                    </a:lnTo>
                    <a:lnTo>
                      <a:pt x="1450" y="606"/>
                    </a:lnTo>
                    <a:lnTo>
                      <a:pt x="1450" y="602"/>
                    </a:lnTo>
                    <a:lnTo>
                      <a:pt x="1454" y="598"/>
                    </a:lnTo>
                    <a:lnTo>
                      <a:pt x="1458" y="598"/>
                    </a:lnTo>
                    <a:lnTo>
                      <a:pt x="1458" y="594"/>
                    </a:lnTo>
                    <a:lnTo>
                      <a:pt x="1462" y="594"/>
                    </a:lnTo>
                    <a:lnTo>
                      <a:pt x="1466" y="594"/>
                    </a:lnTo>
                    <a:lnTo>
                      <a:pt x="1470" y="594"/>
                    </a:lnTo>
                    <a:lnTo>
                      <a:pt x="1476" y="594"/>
                    </a:lnTo>
                    <a:lnTo>
                      <a:pt x="1480" y="594"/>
                    </a:lnTo>
                    <a:lnTo>
                      <a:pt x="1484" y="594"/>
                    </a:lnTo>
                    <a:lnTo>
                      <a:pt x="1488" y="594"/>
                    </a:lnTo>
                    <a:lnTo>
                      <a:pt x="1492" y="594"/>
                    </a:lnTo>
                    <a:lnTo>
                      <a:pt x="1496" y="594"/>
                    </a:lnTo>
                    <a:lnTo>
                      <a:pt x="1498" y="594"/>
                    </a:lnTo>
                    <a:lnTo>
                      <a:pt x="1502" y="594"/>
                    </a:lnTo>
                    <a:lnTo>
                      <a:pt x="1506" y="594"/>
                    </a:lnTo>
                    <a:lnTo>
                      <a:pt x="1510" y="594"/>
                    </a:lnTo>
                    <a:lnTo>
                      <a:pt x="1510" y="590"/>
                    </a:lnTo>
                    <a:lnTo>
                      <a:pt x="1510" y="586"/>
                    </a:lnTo>
                    <a:lnTo>
                      <a:pt x="1514" y="586"/>
                    </a:lnTo>
                    <a:lnTo>
                      <a:pt x="1514" y="590"/>
                    </a:lnTo>
                    <a:lnTo>
                      <a:pt x="1514" y="586"/>
                    </a:lnTo>
                    <a:lnTo>
                      <a:pt x="1518" y="590"/>
                    </a:lnTo>
                    <a:lnTo>
                      <a:pt x="1522" y="586"/>
                    </a:lnTo>
                    <a:lnTo>
                      <a:pt x="1522" y="582"/>
                    </a:lnTo>
                    <a:lnTo>
                      <a:pt x="1522" y="578"/>
                    </a:lnTo>
                    <a:lnTo>
                      <a:pt x="1526" y="578"/>
                    </a:lnTo>
                    <a:lnTo>
                      <a:pt x="1526" y="576"/>
                    </a:lnTo>
                    <a:lnTo>
                      <a:pt x="1526" y="572"/>
                    </a:lnTo>
                    <a:lnTo>
                      <a:pt x="1526" y="568"/>
                    </a:lnTo>
                    <a:lnTo>
                      <a:pt x="1528" y="568"/>
                    </a:lnTo>
                    <a:lnTo>
                      <a:pt x="1528" y="564"/>
                    </a:lnTo>
                    <a:lnTo>
                      <a:pt x="1528" y="560"/>
                    </a:lnTo>
                    <a:lnTo>
                      <a:pt x="1532" y="556"/>
                    </a:lnTo>
                    <a:lnTo>
                      <a:pt x="1532" y="552"/>
                    </a:lnTo>
                    <a:lnTo>
                      <a:pt x="1536" y="552"/>
                    </a:lnTo>
                    <a:lnTo>
                      <a:pt x="1540" y="550"/>
                    </a:lnTo>
                    <a:lnTo>
                      <a:pt x="1540" y="546"/>
                    </a:lnTo>
                    <a:lnTo>
                      <a:pt x="1544" y="546"/>
                    </a:lnTo>
                    <a:lnTo>
                      <a:pt x="1544" y="550"/>
                    </a:lnTo>
                    <a:lnTo>
                      <a:pt x="1548" y="550"/>
                    </a:lnTo>
                    <a:lnTo>
                      <a:pt x="1552" y="550"/>
                    </a:lnTo>
                    <a:lnTo>
                      <a:pt x="1556" y="546"/>
                    </a:lnTo>
                    <a:lnTo>
                      <a:pt x="1558" y="550"/>
                    </a:lnTo>
                    <a:lnTo>
                      <a:pt x="1558" y="552"/>
                    </a:lnTo>
                    <a:lnTo>
                      <a:pt x="1562" y="552"/>
                    </a:lnTo>
                    <a:lnTo>
                      <a:pt x="1562" y="556"/>
                    </a:lnTo>
                    <a:lnTo>
                      <a:pt x="1562" y="568"/>
                    </a:lnTo>
                    <a:lnTo>
                      <a:pt x="1562" y="576"/>
                    </a:lnTo>
                    <a:lnTo>
                      <a:pt x="1562" y="578"/>
                    </a:lnTo>
                    <a:lnTo>
                      <a:pt x="1562" y="582"/>
                    </a:lnTo>
                    <a:lnTo>
                      <a:pt x="1566" y="582"/>
                    </a:lnTo>
                    <a:lnTo>
                      <a:pt x="1566" y="586"/>
                    </a:lnTo>
                    <a:lnTo>
                      <a:pt x="1566" y="590"/>
                    </a:lnTo>
                    <a:lnTo>
                      <a:pt x="1570" y="590"/>
                    </a:lnTo>
                    <a:lnTo>
                      <a:pt x="1570" y="594"/>
                    </a:lnTo>
                    <a:lnTo>
                      <a:pt x="1574" y="594"/>
                    </a:lnTo>
                    <a:lnTo>
                      <a:pt x="1570" y="594"/>
                    </a:lnTo>
                    <a:lnTo>
                      <a:pt x="1570" y="598"/>
                    </a:lnTo>
                    <a:lnTo>
                      <a:pt x="1574" y="598"/>
                    </a:lnTo>
                    <a:lnTo>
                      <a:pt x="1570" y="602"/>
                    </a:lnTo>
                    <a:lnTo>
                      <a:pt x="1566" y="602"/>
                    </a:lnTo>
                    <a:lnTo>
                      <a:pt x="1562" y="606"/>
                    </a:lnTo>
                    <a:lnTo>
                      <a:pt x="1562" y="602"/>
                    </a:lnTo>
                    <a:lnTo>
                      <a:pt x="1558" y="606"/>
                    </a:lnTo>
                    <a:lnTo>
                      <a:pt x="1558" y="608"/>
                    </a:lnTo>
                    <a:lnTo>
                      <a:pt x="1558" y="606"/>
                    </a:lnTo>
                    <a:lnTo>
                      <a:pt x="1556" y="606"/>
                    </a:lnTo>
                    <a:lnTo>
                      <a:pt x="1552" y="606"/>
                    </a:lnTo>
                    <a:lnTo>
                      <a:pt x="1552" y="608"/>
                    </a:lnTo>
                    <a:lnTo>
                      <a:pt x="1548" y="608"/>
                    </a:lnTo>
                    <a:lnTo>
                      <a:pt x="1548" y="606"/>
                    </a:lnTo>
                    <a:lnTo>
                      <a:pt x="1548" y="602"/>
                    </a:lnTo>
                    <a:lnTo>
                      <a:pt x="1548" y="606"/>
                    </a:lnTo>
                    <a:lnTo>
                      <a:pt x="1544" y="606"/>
                    </a:lnTo>
                    <a:lnTo>
                      <a:pt x="1544" y="608"/>
                    </a:lnTo>
                    <a:lnTo>
                      <a:pt x="1544" y="612"/>
                    </a:lnTo>
                    <a:lnTo>
                      <a:pt x="1540" y="616"/>
                    </a:lnTo>
                    <a:lnTo>
                      <a:pt x="1540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6" y="612"/>
                    </a:lnTo>
                    <a:lnTo>
                      <a:pt x="1536" y="616"/>
                    </a:lnTo>
                    <a:lnTo>
                      <a:pt x="1532" y="616"/>
                    </a:lnTo>
                    <a:lnTo>
                      <a:pt x="1536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32" y="612"/>
                    </a:lnTo>
                    <a:lnTo>
                      <a:pt x="1532" y="616"/>
                    </a:lnTo>
                    <a:lnTo>
                      <a:pt x="1532" y="620"/>
                    </a:lnTo>
                    <a:lnTo>
                      <a:pt x="1532" y="616"/>
                    </a:lnTo>
                    <a:lnTo>
                      <a:pt x="1528" y="616"/>
                    </a:lnTo>
                    <a:lnTo>
                      <a:pt x="1528" y="620"/>
                    </a:lnTo>
                    <a:lnTo>
                      <a:pt x="1526" y="620"/>
                    </a:lnTo>
                    <a:lnTo>
                      <a:pt x="1528" y="620"/>
                    </a:lnTo>
                    <a:lnTo>
                      <a:pt x="1528" y="624"/>
                    </a:lnTo>
                    <a:lnTo>
                      <a:pt x="1526" y="624"/>
                    </a:lnTo>
                    <a:lnTo>
                      <a:pt x="1526" y="628"/>
                    </a:lnTo>
                    <a:lnTo>
                      <a:pt x="1522" y="628"/>
                    </a:lnTo>
                    <a:lnTo>
                      <a:pt x="1522" y="632"/>
                    </a:lnTo>
                    <a:lnTo>
                      <a:pt x="1522" y="634"/>
                    </a:lnTo>
                    <a:lnTo>
                      <a:pt x="1518" y="634"/>
                    </a:lnTo>
                    <a:lnTo>
                      <a:pt x="1518" y="638"/>
                    </a:lnTo>
                    <a:lnTo>
                      <a:pt x="1522" y="642"/>
                    </a:lnTo>
                    <a:lnTo>
                      <a:pt x="1522" y="638"/>
                    </a:lnTo>
                    <a:lnTo>
                      <a:pt x="1522" y="642"/>
                    </a:lnTo>
                    <a:lnTo>
                      <a:pt x="1518" y="642"/>
                    </a:lnTo>
                    <a:lnTo>
                      <a:pt x="1514" y="646"/>
                    </a:lnTo>
                    <a:lnTo>
                      <a:pt x="1518" y="648"/>
                    </a:lnTo>
                    <a:lnTo>
                      <a:pt x="1522" y="648"/>
                    </a:lnTo>
                    <a:lnTo>
                      <a:pt x="1522" y="652"/>
                    </a:lnTo>
                    <a:lnTo>
                      <a:pt x="1522" y="656"/>
                    </a:lnTo>
                    <a:lnTo>
                      <a:pt x="1526" y="656"/>
                    </a:lnTo>
                    <a:lnTo>
                      <a:pt x="1526" y="660"/>
                    </a:lnTo>
                    <a:lnTo>
                      <a:pt x="1528" y="656"/>
                    </a:lnTo>
                    <a:lnTo>
                      <a:pt x="1528" y="652"/>
                    </a:lnTo>
                    <a:lnTo>
                      <a:pt x="1526" y="652"/>
                    </a:lnTo>
                    <a:lnTo>
                      <a:pt x="1528" y="652"/>
                    </a:lnTo>
                    <a:lnTo>
                      <a:pt x="1532" y="652"/>
                    </a:lnTo>
                    <a:lnTo>
                      <a:pt x="1532" y="656"/>
                    </a:lnTo>
                    <a:lnTo>
                      <a:pt x="1532" y="660"/>
                    </a:lnTo>
                    <a:lnTo>
                      <a:pt x="1528" y="660"/>
                    </a:lnTo>
                    <a:lnTo>
                      <a:pt x="1526" y="660"/>
                    </a:lnTo>
                    <a:lnTo>
                      <a:pt x="1522" y="660"/>
                    </a:lnTo>
                    <a:lnTo>
                      <a:pt x="1522" y="656"/>
                    </a:lnTo>
                    <a:lnTo>
                      <a:pt x="1518" y="660"/>
                    </a:lnTo>
                    <a:lnTo>
                      <a:pt x="1514" y="664"/>
                    </a:lnTo>
                    <a:lnTo>
                      <a:pt x="1514" y="660"/>
                    </a:lnTo>
                    <a:lnTo>
                      <a:pt x="1514" y="656"/>
                    </a:lnTo>
                    <a:lnTo>
                      <a:pt x="1514" y="660"/>
                    </a:lnTo>
                    <a:lnTo>
                      <a:pt x="1510" y="660"/>
                    </a:lnTo>
                    <a:lnTo>
                      <a:pt x="1510" y="656"/>
                    </a:lnTo>
                    <a:lnTo>
                      <a:pt x="1510" y="660"/>
                    </a:lnTo>
                    <a:lnTo>
                      <a:pt x="1510" y="664"/>
                    </a:lnTo>
                    <a:lnTo>
                      <a:pt x="1506" y="664"/>
                    </a:lnTo>
                    <a:lnTo>
                      <a:pt x="1506" y="668"/>
                    </a:lnTo>
                    <a:lnTo>
                      <a:pt x="1502" y="668"/>
                    </a:lnTo>
                    <a:lnTo>
                      <a:pt x="1502" y="664"/>
                    </a:lnTo>
                    <a:lnTo>
                      <a:pt x="1498" y="668"/>
                    </a:lnTo>
                    <a:lnTo>
                      <a:pt x="1496" y="668"/>
                    </a:lnTo>
                    <a:lnTo>
                      <a:pt x="1492" y="668"/>
                    </a:lnTo>
                    <a:lnTo>
                      <a:pt x="1488" y="668"/>
                    </a:lnTo>
                    <a:lnTo>
                      <a:pt x="1484" y="668"/>
                    </a:lnTo>
                    <a:lnTo>
                      <a:pt x="1484" y="672"/>
                    </a:lnTo>
                    <a:lnTo>
                      <a:pt x="1480" y="672"/>
                    </a:lnTo>
                    <a:lnTo>
                      <a:pt x="1476" y="672"/>
                    </a:lnTo>
                    <a:lnTo>
                      <a:pt x="1476" y="676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76" y="672"/>
                    </a:lnTo>
                    <a:lnTo>
                      <a:pt x="1476" y="668"/>
                    </a:lnTo>
                    <a:lnTo>
                      <a:pt x="1472" y="668"/>
                    </a:lnTo>
                    <a:lnTo>
                      <a:pt x="1476" y="668"/>
                    </a:lnTo>
                    <a:lnTo>
                      <a:pt x="1476" y="672"/>
                    </a:lnTo>
                    <a:lnTo>
                      <a:pt x="1472" y="676"/>
                    </a:lnTo>
                    <a:lnTo>
                      <a:pt x="1472" y="678"/>
                    </a:lnTo>
                    <a:lnTo>
                      <a:pt x="1470" y="678"/>
                    </a:lnTo>
                    <a:lnTo>
                      <a:pt x="1470" y="682"/>
                    </a:lnTo>
                    <a:lnTo>
                      <a:pt x="1472" y="682"/>
                    </a:lnTo>
                    <a:lnTo>
                      <a:pt x="1472" y="686"/>
                    </a:lnTo>
                    <a:lnTo>
                      <a:pt x="1472" y="690"/>
                    </a:lnTo>
                    <a:lnTo>
                      <a:pt x="1472" y="698"/>
                    </a:lnTo>
                    <a:lnTo>
                      <a:pt x="1472" y="694"/>
                    </a:lnTo>
                    <a:lnTo>
                      <a:pt x="1472" y="690"/>
                    </a:lnTo>
                    <a:lnTo>
                      <a:pt x="1472" y="694"/>
                    </a:lnTo>
                    <a:lnTo>
                      <a:pt x="1472" y="698"/>
                    </a:lnTo>
                    <a:lnTo>
                      <a:pt x="1470" y="698"/>
                    </a:lnTo>
                    <a:lnTo>
                      <a:pt x="1470" y="702"/>
                    </a:lnTo>
                    <a:lnTo>
                      <a:pt x="1466" y="702"/>
                    </a:lnTo>
                    <a:lnTo>
                      <a:pt x="1466" y="706"/>
                    </a:lnTo>
                    <a:lnTo>
                      <a:pt x="1470" y="706"/>
                    </a:lnTo>
                    <a:lnTo>
                      <a:pt x="1466" y="706"/>
                    </a:lnTo>
                    <a:lnTo>
                      <a:pt x="1466" y="708"/>
                    </a:lnTo>
                    <a:lnTo>
                      <a:pt x="1462" y="708"/>
                    </a:lnTo>
                    <a:lnTo>
                      <a:pt x="1462" y="712"/>
                    </a:lnTo>
                    <a:lnTo>
                      <a:pt x="1462" y="708"/>
                    </a:lnTo>
                    <a:lnTo>
                      <a:pt x="1458" y="708"/>
                    </a:lnTo>
                    <a:lnTo>
                      <a:pt x="1458" y="706"/>
                    </a:lnTo>
                    <a:lnTo>
                      <a:pt x="1454" y="706"/>
                    </a:lnTo>
                    <a:lnTo>
                      <a:pt x="1450" y="702"/>
                    </a:lnTo>
                    <a:lnTo>
                      <a:pt x="1450" y="698"/>
                    </a:lnTo>
                    <a:lnTo>
                      <a:pt x="1454" y="698"/>
                    </a:lnTo>
                    <a:lnTo>
                      <a:pt x="1454" y="694"/>
                    </a:lnTo>
                    <a:lnTo>
                      <a:pt x="1458" y="694"/>
                    </a:lnTo>
                    <a:lnTo>
                      <a:pt x="1458" y="690"/>
                    </a:lnTo>
                    <a:lnTo>
                      <a:pt x="1458" y="694"/>
                    </a:lnTo>
                    <a:lnTo>
                      <a:pt x="1454" y="694"/>
                    </a:lnTo>
                    <a:lnTo>
                      <a:pt x="1454" y="698"/>
                    </a:lnTo>
                    <a:lnTo>
                      <a:pt x="1450" y="698"/>
                    </a:lnTo>
                    <a:lnTo>
                      <a:pt x="1450" y="702"/>
                    </a:lnTo>
                    <a:lnTo>
                      <a:pt x="1454" y="706"/>
                    </a:lnTo>
                    <a:lnTo>
                      <a:pt x="1454" y="708"/>
                    </a:lnTo>
                    <a:lnTo>
                      <a:pt x="1454" y="712"/>
                    </a:lnTo>
                    <a:lnTo>
                      <a:pt x="1458" y="716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0"/>
                    </a:lnTo>
                    <a:lnTo>
                      <a:pt x="1458" y="724"/>
                    </a:lnTo>
                    <a:lnTo>
                      <a:pt x="1458" y="728"/>
                    </a:lnTo>
                    <a:lnTo>
                      <a:pt x="1454" y="728"/>
                    </a:lnTo>
                    <a:lnTo>
                      <a:pt x="1454" y="732"/>
                    </a:lnTo>
                    <a:lnTo>
                      <a:pt x="1454" y="734"/>
                    </a:lnTo>
                    <a:lnTo>
                      <a:pt x="1450" y="734"/>
                    </a:lnTo>
                    <a:lnTo>
                      <a:pt x="1450" y="738"/>
                    </a:lnTo>
                    <a:lnTo>
                      <a:pt x="1446" y="742"/>
                    </a:lnTo>
                    <a:lnTo>
                      <a:pt x="1446" y="746"/>
                    </a:lnTo>
                    <a:lnTo>
                      <a:pt x="1446" y="742"/>
                    </a:lnTo>
                    <a:lnTo>
                      <a:pt x="1446" y="738"/>
                    </a:lnTo>
                    <a:lnTo>
                      <a:pt x="1446" y="734"/>
                    </a:lnTo>
                    <a:lnTo>
                      <a:pt x="1450" y="734"/>
                    </a:lnTo>
                    <a:lnTo>
                      <a:pt x="1450" y="732"/>
                    </a:lnTo>
                    <a:lnTo>
                      <a:pt x="1446" y="732"/>
                    </a:lnTo>
                    <a:lnTo>
                      <a:pt x="1446" y="728"/>
                    </a:lnTo>
                    <a:lnTo>
                      <a:pt x="1446" y="724"/>
                    </a:lnTo>
                    <a:lnTo>
                      <a:pt x="1446" y="728"/>
                    </a:lnTo>
                    <a:lnTo>
                      <a:pt x="1442" y="728"/>
                    </a:lnTo>
                    <a:lnTo>
                      <a:pt x="1442" y="724"/>
                    </a:lnTo>
                    <a:lnTo>
                      <a:pt x="1440" y="720"/>
                    </a:lnTo>
                    <a:lnTo>
                      <a:pt x="1442" y="720"/>
                    </a:lnTo>
                    <a:lnTo>
                      <a:pt x="1446" y="720"/>
                    </a:lnTo>
                    <a:lnTo>
                      <a:pt x="1446" y="716"/>
                    </a:lnTo>
                    <a:lnTo>
                      <a:pt x="1446" y="720"/>
                    </a:lnTo>
                    <a:lnTo>
                      <a:pt x="1442" y="720"/>
                    </a:lnTo>
                    <a:lnTo>
                      <a:pt x="1442" y="716"/>
                    </a:lnTo>
                    <a:lnTo>
                      <a:pt x="1440" y="716"/>
                    </a:lnTo>
                    <a:lnTo>
                      <a:pt x="1442" y="712"/>
                    </a:lnTo>
                    <a:lnTo>
                      <a:pt x="1442" y="716"/>
                    </a:lnTo>
                    <a:lnTo>
                      <a:pt x="1442" y="712"/>
                    </a:lnTo>
                    <a:lnTo>
                      <a:pt x="1440" y="712"/>
                    </a:lnTo>
                    <a:lnTo>
                      <a:pt x="1440" y="708"/>
                    </a:lnTo>
                    <a:lnTo>
                      <a:pt x="1442" y="712"/>
                    </a:lnTo>
                    <a:lnTo>
                      <a:pt x="1442" y="708"/>
                    </a:lnTo>
                    <a:lnTo>
                      <a:pt x="1442" y="706"/>
                    </a:lnTo>
                    <a:lnTo>
                      <a:pt x="1446" y="706"/>
                    </a:lnTo>
                    <a:lnTo>
                      <a:pt x="1446" y="702"/>
                    </a:lnTo>
                    <a:lnTo>
                      <a:pt x="1446" y="698"/>
                    </a:lnTo>
                    <a:lnTo>
                      <a:pt x="1442" y="702"/>
                    </a:lnTo>
                    <a:lnTo>
                      <a:pt x="1442" y="706"/>
                    </a:lnTo>
                    <a:lnTo>
                      <a:pt x="1442" y="702"/>
                    </a:lnTo>
                    <a:lnTo>
                      <a:pt x="1440" y="706"/>
                    </a:lnTo>
                    <a:lnTo>
                      <a:pt x="1440" y="706"/>
                    </a:lnTo>
                    <a:lnTo>
                      <a:pt x="1440" y="706"/>
                    </a:lnTo>
                    <a:close/>
                    <a:moveTo>
                      <a:pt x="780" y="520"/>
                    </a:moveTo>
                    <a:lnTo>
                      <a:pt x="780" y="522"/>
                    </a:lnTo>
                    <a:lnTo>
                      <a:pt x="780" y="520"/>
                    </a:lnTo>
                    <a:lnTo>
                      <a:pt x="780" y="520"/>
                    </a:lnTo>
                    <a:lnTo>
                      <a:pt x="780" y="520"/>
                    </a:lnTo>
                    <a:close/>
                    <a:moveTo>
                      <a:pt x="824" y="806"/>
                    </a:moveTo>
                    <a:lnTo>
                      <a:pt x="828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192" y="120"/>
                    </a:moveTo>
                    <a:lnTo>
                      <a:pt x="188" y="120"/>
                    </a:lnTo>
                    <a:lnTo>
                      <a:pt x="180" y="124"/>
                    </a:lnTo>
                    <a:lnTo>
                      <a:pt x="184" y="120"/>
                    </a:lnTo>
                    <a:lnTo>
                      <a:pt x="188" y="120"/>
                    </a:lnTo>
                    <a:lnTo>
                      <a:pt x="192" y="120"/>
                    </a:lnTo>
                    <a:lnTo>
                      <a:pt x="192" y="120"/>
                    </a:lnTo>
                    <a:lnTo>
                      <a:pt x="192" y="120"/>
                    </a:lnTo>
                    <a:close/>
                    <a:moveTo>
                      <a:pt x="168" y="128"/>
                    </a:moveTo>
                    <a:lnTo>
                      <a:pt x="166" y="132"/>
                    </a:lnTo>
                    <a:lnTo>
                      <a:pt x="166" y="128"/>
                    </a:lnTo>
                    <a:lnTo>
                      <a:pt x="168" y="128"/>
                    </a:lnTo>
                    <a:lnTo>
                      <a:pt x="168" y="128"/>
                    </a:lnTo>
                    <a:lnTo>
                      <a:pt x="168" y="128"/>
                    </a:lnTo>
                    <a:close/>
                    <a:moveTo>
                      <a:pt x="224" y="192"/>
                    </a:moveTo>
                    <a:lnTo>
                      <a:pt x="222" y="192"/>
                    </a:lnTo>
                    <a:lnTo>
                      <a:pt x="224" y="192"/>
                    </a:lnTo>
                    <a:lnTo>
                      <a:pt x="224" y="192"/>
                    </a:lnTo>
                    <a:lnTo>
                      <a:pt x="224" y="192"/>
                    </a:lnTo>
                    <a:close/>
                    <a:moveTo>
                      <a:pt x="426" y="258"/>
                    </a:moveTo>
                    <a:lnTo>
                      <a:pt x="426" y="262"/>
                    </a:lnTo>
                    <a:lnTo>
                      <a:pt x="426" y="258"/>
                    </a:lnTo>
                    <a:lnTo>
                      <a:pt x="422" y="258"/>
                    </a:lnTo>
                    <a:lnTo>
                      <a:pt x="426" y="258"/>
                    </a:lnTo>
                    <a:lnTo>
                      <a:pt x="426" y="258"/>
                    </a:lnTo>
                    <a:lnTo>
                      <a:pt x="426" y="258"/>
                    </a:lnTo>
                    <a:close/>
                    <a:moveTo>
                      <a:pt x="82" y="268"/>
                    </a:moveTo>
                    <a:lnTo>
                      <a:pt x="82" y="266"/>
                    </a:lnTo>
                    <a:lnTo>
                      <a:pt x="80" y="266"/>
                    </a:lnTo>
                    <a:lnTo>
                      <a:pt x="76" y="266"/>
                    </a:lnTo>
                    <a:lnTo>
                      <a:pt x="72" y="262"/>
                    </a:lnTo>
                    <a:lnTo>
                      <a:pt x="76" y="262"/>
                    </a:lnTo>
                    <a:lnTo>
                      <a:pt x="76" y="266"/>
                    </a:lnTo>
                    <a:lnTo>
                      <a:pt x="80" y="266"/>
                    </a:lnTo>
                    <a:lnTo>
                      <a:pt x="82" y="266"/>
                    </a:lnTo>
                    <a:lnTo>
                      <a:pt x="82" y="268"/>
                    </a:lnTo>
                    <a:lnTo>
                      <a:pt x="82" y="268"/>
                    </a:lnTo>
                    <a:lnTo>
                      <a:pt x="82" y="268"/>
                    </a:lnTo>
                    <a:close/>
                    <a:moveTo>
                      <a:pt x="466" y="266"/>
                    </a:moveTo>
                    <a:lnTo>
                      <a:pt x="466" y="268"/>
                    </a:lnTo>
                    <a:lnTo>
                      <a:pt x="466" y="266"/>
                    </a:lnTo>
                    <a:lnTo>
                      <a:pt x="466" y="266"/>
                    </a:lnTo>
                    <a:lnTo>
                      <a:pt x="466" y="266"/>
                    </a:lnTo>
                    <a:close/>
                    <a:moveTo>
                      <a:pt x="426" y="266"/>
                    </a:moveTo>
                    <a:lnTo>
                      <a:pt x="426" y="268"/>
                    </a:lnTo>
                    <a:lnTo>
                      <a:pt x="426" y="266"/>
                    </a:lnTo>
                    <a:lnTo>
                      <a:pt x="426" y="266"/>
                    </a:lnTo>
                    <a:lnTo>
                      <a:pt x="426" y="266"/>
                    </a:lnTo>
                    <a:close/>
                    <a:moveTo>
                      <a:pt x="426" y="268"/>
                    </a:moveTo>
                    <a:lnTo>
                      <a:pt x="426" y="272"/>
                    </a:lnTo>
                    <a:lnTo>
                      <a:pt x="422" y="272"/>
                    </a:lnTo>
                    <a:lnTo>
                      <a:pt x="426" y="272"/>
                    </a:lnTo>
                    <a:lnTo>
                      <a:pt x="426" y="268"/>
                    </a:lnTo>
                    <a:lnTo>
                      <a:pt x="426" y="268"/>
                    </a:lnTo>
                    <a:lnTo>
                      <a:pt x="426" y="268"/>
                    </a:lnTo>
                    <a:close/>
                    <a:moveTo>
                      <a:pt x="482" y="276"/>
                    </a:moveTo>
                    <a:lnTo>
                      <a:pt x="478" y="276"/>
                    </a:lnTo>
                    <a:lnTo>
                      <a:pt x="474" y="276"/>
                    </a:lnTo>
                    <a:lnTo>
                      <a:pt x="474" y="280"/>
                    </a:lnTo>
                    <a:lnTo>
                      <a:pt x="474" y="276"/>
                    </a:lnTo>
                    <a:lnTo>
                      <a:pt x="478" y="276"/>
                    </a:lnTo>
                    <a:lnTo>
                      <a:pt x="478" y="272"/>
                    </a:lnTo>
                    <a:lnTo>
                      <a:pt x="482" y="272"/>
                    </a:lnTo>
                    <a:lnTo>
                      <a:pt x="482" y="276"/>
                    </a:lnTo>
                    <a:lnTo>
                      <a:pt x="482" y="276"/>
                    </a:lnTo>
                    <a:lnTo>
                      <a:pt x="482" y="276"/>
                    </a:lnTo>
                    <a:close/>
                    <a:moveTo>
                      <a:pt x="244" y="306"/>
                    </a:moveTo>
                    <a:lnTo>
                      <a:pt x="244" y="302"/>
                    </a:lnTo>
                    <a:lnTo>
                      <a:pt x="248" y="302"/>
                    </a:lnTo>
                    <a:lnTo>
                      <a:pt x="244" y="306"/>
                    </a:lnTo>
                    <a:lnTo>
                      <a:pt x="244" y="306"/>
                    </a:lnTo>
                    <a:lnTo>
                      <a:pt x="244" y="306"/>
                    </a:lnTo>
                    <a:close/>
                    <a:moveTo>
                      <a:pt x="620" y="314"/>
                    </a:moveTo>
                    <a:lnTo>
                      <a:pt x="616" y="314"/>
                    </a:lnTo>
                    <a:lnTo>
                      <a:pt x="616" y="310"/>
                    </a:lnTo>
                    <a:lnTo>
                      <a:pt x="620" y="314"/>
                    </a:lnTo>
                    <a:lnTo>
                      <a:pt x="620" y="314"/>
                    </a:lnTo>
                    <a:lnTo>
                      <a:pt x="620" y="314"/>
                    </a:lnTo>
                    <a:close/>
                    <a:moveTo>
                      <a:pt x="112" y="340"/>
                    </a:moveTo>
                    <a:lnTo>
                      <a:pt x="110" y="340"/>
                    </a:lnTo>
                    <a:lnTo>
                      <a:pt x="110" y="336"/>
                    </a:lnTo>
                    <a:lnTo>
                      <a:pt x="112" y="336"/>
                    </a:lnTo>
                    <a:lnTo>
                      <a:pt x="112" y="340"/>
                    </a:lnTo>
                    <a:lnTo>
                      <a:pt x="112" y="340"/>
                    </a:lnTo>
                    <a:lnTo>
                      <a:pt x="112" y="340"/>
                    </a:lnTo>
                    <a:close/>
                    <a:moveTo>
                      <a:pt x="120" y="350"/>
                    </a:moveTo>
                    <a:lnTo>
                      <a:pt x="124" y="350"/>
                    </a:lnTo>
                    <a:lnTo>
                      <a:pt x="120" y="350"/>
                    </a:lnTo>
                    <a:lnTo>
                      <a:pt x="120" y="350"/>
                    </a:lnTo>
                    <a:lnTo>
                      <a:pt x="120" y="350"/>
                    </a:lnTo>
                    <a:close/>
                    <a:moveTo>
                      <a:pt x="340" y="350"/>
                    </a:moveTo>
                    <a:lnTo>
                      <a:pt x="336" y="350"/>
                    </a:lnTo>
                    <a:lnTo>
                      <a:pt x="340" y="350"/>
                    </a:lnTo>
                    <a:lnTo>
                      <a:pt x="340" y="350"/>
                    </a:lnTo>
                    <a:lnTo>
                      <a:pt x="340" y="350"/>
                    </a:lnTo>
                    <a:close/>
                    <a:moveTo>
                      <a:pt x="344" y="350"/>
                    </a:moveTo>
                    <a:lnTo>
                      <a:pt x="340" y="350"/>
                    </a:lnTo>
                    <a:lnTo>
                      <a:pt x="344" y="350"/>
                    </a:lnTo>
                    <a:lnTo>
                      <a:pt x="344" y="350"/>
                    </a:lnTo>
                    <a:lnTo>
                      <a:pt x="344" y="350"/>
                    </a:lnTo>
                    <a:close/>
                    <a:moveTo>
                      <a:pt x="322" y="366"/>
                    </a:moveTo>
                    <a:lnTo>
                      <a:pt x="322" y="370"/>
                    </a:lnTo>
                    <a:lnTo>
                      <a:pt x="318" y="370"/>
                    </a:lnTo>
                    <a:lnTo>
                      <a:pt x="318" y="366"/>
                    </a:lnTo>
                    <a:lnTo>
                      <a:pt x="322" y="366"/>
                    </a:lnTo>
                    <a:lnTo>
                      <a:pt x="322" y="366"/>
                    </a:lnTo>
                    <a:lnTo>
                      <a:pt x="322" y="366"/>
                    </a:lnTo>
                    <a:close/>
                    <a:moveTo>
                      <a:pt x="634" y="366"/>
                    </a:moveTo>
                    <a:lnTo>
                      <a:pt x="634" y="370"/>
                    </a:lnTo>
                    <a:lnTo>
                      <a:pt x="634" y="366"/>
                    </a:lnTo>
                    <a:lnTo>
                      <a:pt x="634" y="366"/>
                    </a:lnTo>
                    <a:lnTo>
                      <a:pt x="634" y="366"/>
                    </a:lnTo>
                    <a:close/>
                    <a:moveTo>
                      <a:pt x="1472" y="678"/>
                    </a:moveTo>
                    <a:lnTo>
                      <a:pt x="1472" y="682"/>
                    </a:lnTo>
                    <a:lnTo>
                      <a:pt x="1470" y="682"/>
                    </a:lnTo>
                    <a:lnTo>
                      <a:pt x="1470" y="678"/>
                    </a:lnTo>
                    <a:lnTo>
                      <a:pt x="1472" y="678"/>
                    </a:lnTo>
                    <a:lnTo>
                      <a:pt x="1472" y="678"/>
                    </a:lnTo>
                    <a:lnTo>
                      <a:pt x="1472" y="678"/>
                    </a:lnTo>
                    <a:close/>
                    <a:moveTo>
                      <a:pt x="1450" y="784"/>
                    </a:moveTo>
                    <a:lnTo>
                      <a:pt x="1450" y="780"/>
                    </a:lnTo>
                    <a:lnTo>
                      <a:pt x="1454" y="780"/>
                    </a:lnTo>
                    <a:lnTo>
                      <a:pt x="1454" y="776"/>
                    </a:lnTo>
                    <a:lnTo>
                      <a:pt x="1450" y="772"/>
                    </a:lnTo>
                    <a:lnTo>
                      <a:pt x="1454" y="772"/>
                    </a:lnTo>
                    <a:lnTo>
                      <a:pt x="1454" y="776"/>
                    </a:lnTo>
                    <a:lnTo>
                      <a:pt x="1454" y="780"/>
                    </a:lnTo>
                    <a:lnTo>
                      <a:pt x="1450" y="784"/>
                    </a:lnTo>
                    <a:lnTo>
                      <a:pt x="1450" y="784"/>
                    </a:lnTo>
                    <a:lnTo>
                      <a:pt x="1450" y="784"/>
                    </a:lnTo>
                    <a:close/>
                    <a:moveTo>
                      <a:pt x="1380" y="910"/>
                    </a:moveTo>
                    <a:lnTo>
                      <a:pt x="1380" y="906"/>
                    </a:lnTo>
                    <a:lnTo>
                      <a:pt x="1380" y="910"/>
                    </a:lnTo>
                    <a:lnTo>
                      <a:pt x="1380" y="910"/>
                    </a:lnTo>
                    <a:lnTo>
                      <a:pt x="1380" y="910"/>
                    </a:lnTo>
                    <a:close/>
                    <a:moveTo>
                      <a:pt x="1384" y="918"/>
                    </a:moveTo>
                    <a:lnTo>
                      <a:pt x="1384" y="922"/>
                    </a:lnTo>
                    <a:lnTo>
                      <a:pt x="1384" y="926"/>
                    </a:lnTo>
                    <a:lnTo>
                      <a:pt x="1386" y="930"/>
                    </a:lnTo>
                    <a:lnTo>
                      <a:pt x="1386" y="932"/>
                    </a:lnTo>
                    <a:lnTo>
                      <a:pt x="1386" y="930"/>
                    </a:lnTo>
                    <a:lnTo>
                      <a:pt x="1384" y="926"/>
                    </a:lnTo>
                    <a:lnTo>
                      <a:pt x="1384" y="922"/>
                    </a:lnTo>
                    <a:lnTo>
                      <a:pt x="1384" y="918"/>
                    </a:lnTo>
                    <a:lnTo>
                      <a:pt x="1384" y="918"/>
                    </a:lnTo>
                    <a:lnTo>
                      <a:pt x="1384" y="918"/>
                    </a:lnTo>
                    <a:close/>
                    <a:moveTo>
                      <a:pt x="1144" y="926"/>
                    </a:moveTo>
                    <a:lnTo>
                      <a:pt x="1144" y="930"/>
                    </a:lnTo>
                    <a:lnTo>
                      <a:pt x="1142" y="930"/>
                    </a:lnTo>
                    <a:lnTo>
                      <a:pt x="1144" y="926"/>
                    </a:lnTo>
                    <a:lnTo>
                      <a:pt x="1144" y="922"/>
                    </a:lnTo>
                    <a:lnTo>
                      <a:pt x="1148" y="918"/>
                    </a:lnTo>
                    <a:lnTo>
                      <a:pt x="1148" y="922"/>
                    </a:lnTo>
                    <a:lnTo>
                      <a:pt x="1144" y="922"/>
                    </a:lnTo>
                    <a:lnTo>
                      <a:pt x="1144" y="926"/>
                    </a:lnTo>
                    <a:lnTo>
                      <a:pt x="1144" y="926"/>
                    </a:lnTo>
                    <a:lnTo>
                      <a:pt x="1144" y="926"/>
                    </a:lnTo>
                    <a:close/>
                    <a:moveTo>
                      <a:pt x="1144" y="940"/>
                    </a:moveTo>
                    <a:lnTo>
                      <a:pt x="1144" y="936"/>
                    </a:lnTo>
                    <a:lnTo>
                      <a:pt x="1142" y="936"/>
                    </a:lnTo>
                    <a:lnTo>
                      <a:pt x="1142" y="932"/>
                    </a:lnTo>
                    <a:lnTo>
                      <a:pt x="1142" y="930"/>
                    </a:lnTo>
                    <a:lnTo>
                      <a:pt x="1142" y="932"/>
                    </a:lnTo>
                    <a:lnTo>
                      <a:pt x="1144" y="936"/>
                    </a:lnTo>
                    <a:lnTo>
                      <a:pt x="1144" y="940"/>
                    </a:lnTo>
                    <a:lnTo>
                      <a:pt x="1144" y="944"/>
                    </a:lnTo>
                    <a:lnTo>
                      <a:pt x="1144" y="948"/>
                    </a:lnTo>
                    <a:lnTo>
                      <a:pt x="1144" y="952"/>
                    </a:lnTo>
                    <a:lnTo>
                      <a:pt x="1144" y="948"/>
                    </a:lnTo>
                    <a:lnTo>
                      <a:pt x="1144" y="944"/>
                    </a:lnTo>
                    <a:lnTo>
                      <a:pt x="1144" y="940"/>
                    </a:lnTo>
                    <a:lnTo>
                      <a:pt x="1144" y="940"/>
                    </a:lnTo>
                    <a:lnTo>
                      <a:pt x="1144" y="940"/>
                    </a:lnTo>
                    <a:close/>
                    <a:moveTo>
                      <a:pt x="132" y="202"/>
                    </a:moveTo>
                    <a:lnTo>
                      <a:pt x="128" y="202"/>
                    </a:lnTo>
                    <a:lnTo>
                      <a:pt x="124" y="202"/>
                    </a:lnTo>
                    <a:lnTo>
                      <a:pt x="120" y="206"/>
                    </a:lnTo>
                    <a:lnTo>
                      <a:pt x="120" y="202"/>
                    </a:lnTo>
                    <a:lnTo>
                      <a:pt x="116" y="202"/>
                    </a:lnTo>
                    <a:lnTo>
                      <a:pt x="112" y="202"/>
                    </a:lnTo>
                    <a:lnTo>
                      <a:pt x="112" y="198"/>
                    </a:lnTo>
                    <a:lnTo>
                      <a:pt x="110" y="194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106" y="194"/>
                    </a:lnTo>
                    <a:lnTo>
                      <a:pt x="110" y="194"/>
                    </a:lnTo>
                    <a:lnTo>
                      <a:pt x="110" y="198"/>
                    </a:lnTo>
                    <a:lnTo>
                      <a:pt x="112" y="198"/>
                    </a:lnTo>
                    <a:lnTo>
                      <a:pt x="110" y="198"/>
                    </a:lnTo>
                    <a:lnTo>
                      <a:pt x="106" y="194"/>
                    </a:lnTo>
                    <a:lnTo>
                      <a:pt x="102" y="194"/>
                    </a:lnTo>
                    <a:lnTo>
                      <a:pt x="98" y="194"/>
                    </a:lnTo>
                    <a:lnTo>
                      <a:pt x="98" y="198"/>
                    </a:lnTo>
                    <a:lnTo>
                      <a:pt x="94" y="198"/>
                    </a:lnTo>
                    <a:lnTo>
                      <a:pt x="90" y="198"/>
                    </a:lnTo>
                    <a:lnTo>
                      <a:pt x="90" y="194"/>
                    </a:lnTo>
                    <a:lnTo>
                      <a:pt x="90" y="192"/>
                    </a:lnTo>
                    <a:lnTo>
                      <a:pt x="90" y="188"/>
                    </a:lnTo>
                    <a:lnTo>
                      <a:pt x="94" y="188"/>
                    </a:lnTo>
                    <a:lnTo>
                      <a:pt x="94" y="192"/>
                    </a:lnTo>
                    <a:lnTo>
                      <a:pt x="98" y="192"/>
                    </a:lnTo>
                    <a:lnTo>
                      <a:pt x="102" y="192"/>
                    </a:lnTo>
                    <a:lnTo>
                      <a:pt x="106" y="192"/>
                    </a:lnTo>
                    <a:lnTo>
                      <a:pt x="110" y="188"/>
                    </a:lnTo>
                    <a:lnTo>
                      <a:pt x="112" y="188"/>
                    </a:lnTo>
                    <a:lnTo>
                      <a:pt x="112" y="192"/>
                    </a:lnTo>
                    <a:lnTo>
                      <a:pt x="116" y="192"/>
                    </a:lnTo>
                    <a:lnTo>
                      <a:pt x="116" y="194"/>
                    </a:lnTo>
                    <a:lnTo>
                      <a:pt x="120" y="194"/>
                    </a:lnTo>
                    <a:lnTo>
                      <a:pt x="124" y="194"/>
                    </a:lnTo>
                    <a:lnTo>
                      <a:pt x="124" y="198"/>
                    </a:lnTo>
                    <a:lnTo>
                      <a:pt x="128" y="198"/>
                    </a:lnTo>
                    <a:lnTo>
                      <a:pt x="132" y="198"/>
                    </a:lnTo>
                    <a:lnTo>
                      <a:pt x="136" y="198"/>
                    </a:lnTo>
                    <a:lnTo>
                      <a:pt x="132" y="202"/>
                    </a:lnTo>
                    <a:lnTo>
                      <a:pt x="132" y="202"/>
                    </a:lnTo>
                    <a:lnTo>
                      <a:pt x="132" y="202"/>
                    </a:lnTo>
                    <a:close/>
                    <a:moveTo>
                      <a:pt x="426" y="254"/>
                    </a:moveTo>
                    <a:lnTo>
                      <a:pt x="430" y="254"/>
                    </a:lnTo>
                    <a:lnTo>
                      <a:pt x="426" y="258"/>
                    </a:lnTo>
                    <a:lnTo>
                      <a:pt x="426" y="254"/>
                    </a:lnTo>
                    <a:lnTo>
                      <a:pt x="426" y="254"/>
                    </a:lnTo>
                    <a:lnTo>
                      <a:pt x="426" y="254"/>
                    </a:lnTo>
                    <a:close/>
                    <a:moveTo>
                      <a:pt x="460" y="262"/>
                    </a:moveTo>
                    <a:lnTo>
                      <a:pt x="456" y="262"/>
                    </a:lnTo>
                    <a:lnTo>
                      <a:pt x="452" y="266"/>
                    </a:lnTo>
                    <a:lnTo>
                      <a:pt x="452" y="262"/>
                    </a:lnTo>
                    <a:lnTo>
                      <a:pt x="456" y="262"/>
                    </a:lnTo>
                    <a:lnTo>
                      <a:pt x="460" y="262"/>
                    </a:lnTo>
                    <a:lnTo>
                      <a:pt x="460" y="262"/>
                    </a:lnTo>
                    <a:lnTo>
                      <a:pt x="460" y="262"/>
                    </a:lnTo>
                    <a:close/>
                    <a:moveTo>
                      <a:pt x="456" y="266"/>
                    </a:moveTo>
                    <a:lnTo>
                      <a:pt x="452" y="266"/>
                    </a:lnTo>
                    <a:lnTo>
                      <a:pt x="448" y="266"/>
                    </a:lnTo>
                    <a:lnTo>
                      <a:pt x="448" y="268"/>
                    </a:lnTo>
                    <a:lnTo>
                      <a:pt x="444" y="268"/>
                    </a:lnTo>
                    <a:lnTo>
                      <a:pt x="448" y="268"/>
                    </a:lnTo>
                    <a:lnTo>
                      <a:pt x="448" y="266"/>
                    </a:lnTo>
                    <a:lnTo>
                      <a:pt x="444" y="266"/>
                    </a:lnTo>
                    <a:lnTo>
                      <a:pt x="448" y="266"/>
                    </a:lnTo>
                    <a:lnTo>
                      <a:pt x="448" y="262"/>
                    </a:lnTo>
                    <a:lnTo>
                      <a:pt x="448" y="266"/>
                    </a:lnTo>
                    <a:lnTo>
                      <a:pt x="452" y="266"/>
                    </a:lnTo>
                    <a:lnTo>
                      <a:pt x="456" y="266"/>
                    </a:lnTo>
                    <a:lnTo>
                      <a:pt x="456" y="266"/>
                    </a:lnTo>
                    <a:lnTo>
                      <a:pt x="456" y="266"/>
                    </a:lnTo>
                    <a:close/>
                    <a:moveTo>
                      <a:pt x="172" y="266"/>
                    </a:moveTo>
                    <a:lnTo>
                      <a:pt x="176" y="266"/>
                    </a:lnTo>
                    <a:lnTo>
                      <a:pt x="176" y="268"/>
                    </a:lnTo>
                    <a:lnTo>
                      <a:pt x="176" y="272"/>
                    </a:lnTo>
                    <a:lnTo>
                      <a:pt x="180" y="276"/>
                    </a:lnTo>
                    <a:lnTo>
                      <a:pt x="176" y="276"/>
                    </a:lnTo>
                    <a:lnTo>
                      <a:pt x="172" y="276"/>
                    </a:lnTo>
                    <a:lnTo>
                      <a:pt x="168" y="276"/>
                    </a:lnTo>
                    <a:lnTo>
                      <a:pt x="168" y="280"/>
                    </a:lnTo>
                    <a:lnTo>
                      <a:pt x="172" y="280"/>
                    </a:lnTo>
                    <a:lnTo>
                      <a:pt x="168" y="280"/>
                    </a:lnTo>
                    <a:lnTo>
                      <a:pt x="166" y="276"/>
                    </a:lnTo>
                    <a:lnTo>
                      <a:pt x="158" y="276"/>
                    </a:lnTo>
                    <a:lnTo>
                      <a:pt x="158" y="272"/>
                    </a:lnTo>
                    <a:lnTo>
                      <a:pt x="154" y="272"/>
                    </a:lnTo>
                    <a:lnTo>
                      <a:pt x="154" y="268"/>
                    </a:lnTo>
                    <a:lnTo>
                      <a:pt x="158" y="268"/>
                    </a:lnTo>
                    <a:lnTo>
                      <a:pt x="162" y="268"/>
                    </a:lnTo>
                    <a:lnTo>
                      <a:pt x="162" y="266"/>
                    </a:lnTo>
                    <a:lnTo>
                      <a:pt x="166" y="266"/>
                    </a:lnTo>
                    <a:lnTo>
                      <a:pt x="168" y="266"/>
                    </a:lnTo>
                    <a:lnTo>
                      <a:pt x="172" y="266"/>
                    </a:lnTo>
                    <a:lnTo>
                      <a:pt x="172" y="266"/>
                    </a:lnTo>
                    <a:lnTo>
                      <a:pt x="172" y="266"/>
                    </a:lnTo>
                    <a:close/>
                    <a:moveTo>
                      <a:pt x="440" y="268"/>
                    </a:moveTo>
                    <a:lnTo>
                      <a:pt x="436" y="268"/>
                    </a:lnTo>
                    <a:lnTo>
                      <a:pt x="436" y="272"/>
                    </a:lnTo>
                    <a:lnTo>
                      <a:pt x="434" y="276"/>
                    </a:lnTo>
                    <a:lnTo>
                      <a:pt x="430" y="280"/>
                    </a:lnTo>
                    <a:lnTo>
                      <a:pt x="430" y="276"/>
                    </a:lnTo>
                    <a:lnTo>
                      <a:pt x="434" y="272"/>
                    </a:lnTo>
                    <a:lnTo>
                      <a:pt x="436" y="272"/>
                    </a:lnTo>
                    <a:lnTo>
                      <a:pt x="436" y="268"/>
                    </a:lnTo>
                    <a:lnTo>
                      <a:pt x="436" y="266"/>
                    </a:lnTo>
                    <a:lnTo>
                      <a:pt x="440" y="266"/>
                    </a:lnTo>
                    <a:lnTo>
                      <a:pt x="440" y="268"/>
                    </a:lnTo>
                    <a:lnTo>
                      <a:pt x="440" y="268"/>
                    </a:lnTo>
                    <a:lnTo>
                      <a:pt x="440" y="268"/>
                    </a:lnTo>
                    <a:close/>
                    <a:moveTo>
                      <a:pt x="430" y="272"/>
                    </a:moveTo>
                    <a:lnTo>
                      <a:pt x="426" y="272"/>
                    </a:lnTo>
                    <a:lnTo>
                      <a:pt x="430" y="268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430" y="272"/>
                    </a:moveTo>
                    <a:lnTo>
                      <a:pt x="430" y="276"/>
                    </a:lnTo>
                    <a:lnTo>
                      <a:pt x="426" y="276"/>
                    </a:lnTo>
                    <a:lnTo>
                      <a:pt x="426" y="272"/>
                    </a:lnTo>
                    <a:lnTo>
                      <a:pt x="430" y="272"/>
                    </a:lnTo>
                    <a:lnTo>
                      <a:pt x="430" y="272"/>
                    </a:lnTo>
                    <a:lnTo>
                      <a:pt x="430" y="272"/>
                    </a:lnTo>
                    <a:close/>
                    <a:moveTo>
                      <a:pt x="350" y="288"/>
                    </a:moveTo>
                    <a:lnTo>
                      <a:pt x="350" y="292"/>
                    </a:lnTo>
                    <a:lnTo>
                      <a:pt x="348" y="292"/>
                    </a:lnTo>
                    <a:lnTo>
                      <a:pt x="348" y="288"/>
                    </a:lnTo>
                    <a:lnTo>
                      <a:pt x="350" y="288"/>
                    </a:lnTo>
                    <a:lnTo>
                      <a:pt x="350" y="288"/>
                    </a:lnTo>
                    <a:lnTo>
                      <a:pt x="350" y="288"/>
                    </a:lnTo>
                    <a:close/>
                    <a:moveTo>
                      <a:pt x="388" y="288"/>
                    </a:moveTo>
                    <a:lnTo>
                      <a:pt x="388" y="292"/>
                    </a:lnTo>
                    <a:lnTo>
                      <a:pt x="388" y="288"/>
                    </a:lnTo>
                    <a:lnTo>
                      <a:pt x="388" y="288"/>
                    </a:lnTo>
                    <a:lnTo>
                      <a:pt x="388" y="288"/>
                    </a:lnTo>
                    <a:close/>
                    <a:moveTo>
                      <a:pt x="366" y="306"/>
                    </a:moveTo>
                    <a:lnTo>
                      <a:pt x="362" y="310"/>
                    </a:lnTo>
                    <a:lnTo>
                      <a:pt x="362" y="306"/>
                    </a:lnTo>
                    <a:lnTo>
                      <a:pt x="366" y="306"/>
                    </a:lnTo>
                    <a:lnTo>
                      <a:pt x="366" y="306"/>
                    </a:lnTo>
                    <a:lnTo>
                      <a:pt x="366" y="306"/>
                    </a:lnTo>
                    <a:close/>
                    <a:moveTo>
                      <a:pt x="362" y="318"/>
                    </a:moveTo>
                    <a:lnTo>
                      <a:pt x="358" y="322"/>
                    </a:lnTo>
                    <a:lnTo>
                      <a:pt x="358" y="318"/>
                    </a:lnTo>
                    <a:lnTo>
                      <a:pt x="354" y="318"/>
                    </a:lnTo>
                    <a:lnTo>
                      <a:pt x="354" y="314"/>
                    </a:lnTo>
                    <a:lnTo>
                      <a:pt x="358" y="318"/>
                    </a:lnTo>
                    <a:lnTo>
                      <a:pt x="358" y="314"/>
                    </a:lnTo>
                    <a:lnTo>
                      <a:pt x="354" y="314"/>
                    </a:lnTo>
                    <a:lnTo>
                      <a:pt x="358" y="314"/>
                    </a:lnTo>
                    <a:lnTo>
                      <a:pt x="358" y="310"/>
                    </a:lnTo>
                    <a:lnTo>
                      <a:pt x="362" y="310"/>
                    </a:lnTo>
                    <a:lnTo>
                      <a:pt x="366" y="310"/>
                    </a:lnTo>
                    <a:lnTo>
                      <a:pt x="370" y="310"/>
                    </a:lnTo>
                    <a:lnTo>
                      <a:pt x="370" y="314"/>
                    </a:lnTo>
                    <a:lnTo>
                      <a:pt x="370" y="318"/>
                    </a:lnTo>
                    <a:lnTo>
                      <a:pt x="366" y="314"/>
                    </a:lnTo>
                    <a:lnTo>
                      <a:pt x="366" y="318"/>
                    </a:lnTo>
                    <a:lnTo>
                      <a:pt x="362" y="318"/>
                    </a:lnTo>
                    <a:lnTo>
                      <a:pt x="362" y="318"/>
                    </a:lnTo>
                    <a:lnTo>
                      <a:pt x="362" y="318"/>
                    </a:lnTo>
                    <a:close/>
                    <a:moveTo>
                      <a:pt x="626" y="332"/>
                    </a:moveTo>
                    <a:lnTo>
                      <a:pt x="622" y="332"/>
                    </a:lnTo>
                    <a:lnTo>
                      <a:pt x="626" y="332"/>
                    </a:lnTo>
                    <a:lnTo>
                      <a:pt x="626" y="336"/>
                    </a:lnTo>
                    <a:lnTo>
                      <a:pt x="622" y="336"/>
                    </a:lnTo>
                    <a:lnTo>
                      <a:pt x="622" y="332"/>
                    </a:lnTo>
                    <a:lnTo>
                      <a:pt x="622" y="336"/>
                    </a:lnTo>
                    <a:lnTo>
                      <a:pt x="620" y="340"/>
                    </a:lnTo>
                    <a:lnTo>
                      <a:pt x="616" y="340"/>
                    </a:lnTo>
                    <a:lnTo>
                      <a:pt x="616" y="336"/>
                    </a:lnTo>
                    <a:lnTo>
                      <a:pt x="620" y="332"/>
                    </a:lnTo>
                    <a:lnTo>
                      <a:pt x="620" y="336"/>
                    </a:lnTo>
                    <a:lnTo>
                      <a:pt x="620" y="332"/>
                    </a:lnTo>
                    <a:lnTo>
                      <a:pt x="616" y="332"/>
                    </a:lnTo>
                    <a:lnTo>
                      <a:pt x="620" y="332"/>
                    </a:lnTo>
                    <a:lnTo>
                      <a:pt x="620" y="328"/>
                    </a:lnTo>
                    <a:lnTo>
                      <a:pt x="616" y="328"/>
                    </a:lnTo>
                    <a:lnTo>
                      <a:pt x="616" y="324"/>
                    </a:lnTo>
                    <a:lnTo>
                      <a:pt x="616" y="318"/>
                    </a:lnTo>
                    <a:lnTo>
                      <a:pt x="612" y="314"/>
                    </a:lnTo>
                    <a:lnTo>
                      <a:pt x="612" y="310"/>
                    </a:lnTo>
                    <a:lnTo>
                      <a:pt x="612" y="314"/>
                    </a:lnTo>
                    <a:lnTo>
                      <a:pt x="616" y="314"/>
                    </a:lnTo>
                    <a:lnTo>
                      <a:pt x="616" y="318"/>
                    </a:lnTo>
                    <a:lnTo>
                      <a:pt x="616" y="314"/>
                    </a:lnTo>
                    <a:lnTo>
                      <a:pt x="620" y="314"/>
                    </a:lnTo>
                    <a:lnTo>
                      <a:pt x="620" y="318"/>
                    </a:lnTo>
                    <a:lnTo>
                      <a:pt x="622" y="318"/>
                    </a:lnTo>
                    <a:lnTo>
                      <a:pt x="622" y="322"/>
                    </a:lnTo>
                    <a:lnTo>
                      <a:pt x="626" y="324"/>
                    </a:lnTo>
                    <a:lnTo>
                      <a:pt x="626" y="328"/>
                    </a:lnTo>
                    <a:lnTo>
                      <a:pt x="626" y="324"/>
                    </a:lnTo>
                    <a:lnTo>
                      <a:pt x="622" y="324"/>
                    </a:lnTo>
                    <a:lnTo>
                      <a:pt x="622" y="322"/>
                    </a:lnTo>
                    <a:lnTo>
                      <a:pt x="622" y="318"/>
                    </a:lnTo>
                    <a:lnTo>
                      <a:pt x="620" y="318"/>
                    </a:lnTo>
                    <a:lnTo>
                      <a:pt x="620" y="322"/>
                    </a:lnTo>
                    <a:lnTo>
                      <a:pt x="622" y="322"/>
                    </a:lnTo>
                    <a:lnTo>
                      <a:pt x="622" y="324"/>
                    </a:lnTo>
                    <a:lnTo>
                      <a:pt x="622" y="328"/>
                    </a:lnTo>
                    <a:lnTo>
                      <a:pt x="626" y="328"/>
                    </a:lnTo>
                    <a:lnTo>
                      <a:pt x="626" y="332"/>
                    </a:lnTo>
                    <a:lnTo>
                      <a:pt x="626" y="332"/>
                    </a:lnTo>
                    <a:lnTo>
                      <a:pt x="626" y="332"/>
                    </a:lnTo>
                    <a:close/>
                    <a:moveTo>
                      <a:pt x="594" y="324"/>
                    </a:moveTo>
                    <a:lnTo>
                      <a:pt x="590" y="324"/>
                    </a:lnTo>
                    <a:lnTo>
                      <a:pt x="594" y="322"/>
                    </a:lnTo>
                    <a:lnTo>
                      <a:pt x="598" y="322"/>
                    </a:lnTo>
                    <a:lnTo>
                      <a:pt x="594" y="322"/>
                    </a:lnTo>
                    <a:lnTo>
                      <a:pt x="590" y="318"/>
                    </a:lnTo>
                    <a:lnTo>
                      <a:pt x="594" y="314"/>
                    </a:lnTo>
                    <a:lnTo>
                      <a:pt x="594" y="318"/>
                    </a:lnTo>
                    <a:lnTo>
                      <a:pt x="594" y="314"/>
                    </a:lnTo>
                    <a:lnTo>
                      <a:pt x="598" y="314"/>
                    </a:lnTo>
                    <a:lnTo>
                      <a:pt x="602" y="314"/>
                    </a:lnTo>
                    <a:lnTo>
                      <a:pt x="606" y="314"/>
                    </a:lnTo>
                    <a:lnTo>
                      <a:pt x="606" y="318"/>
                    </a:lnTo>
                    <a:lnTo>
                      <a:pt x="602" y="318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18"/>
                    </a:lnTo>
                    <a:lnTo>
                      <a:pt x="608" y="318"/>
                    </a:lnTo>
                    <a:lnTo>
                      <a:pt x="612" y="318"/>
                    </a:lnTo>
                    <a:lnTo>
                      <a:pt x="612" y="322"/>
                    </a:lnTo>
                    <a:lnTo>
                      <a:pt x="608" y="322"/>
                    </a:lnTo>
                    <a:lnTo>
                      <a:pt x="612" y="322"/>
                    </a:lnTo>
                    <a:lnTo>
                      <a:pt x="612" y="324"/>
                    </a:lnTo>
                    <a:lnTo>
                      <a:pt x="608" y="324"/>
                    </a:lnTo>
                    <a:lnTo>
                      <a:pt x="606" y="324"/>
                    </a:lnTo>
                    <a:lnTo>
                      <a:pt x="606" y="322"/>
                    </a:lnTo>
                    <a:lnTo>
                      <a:pt x="602" y="322"/>
                    </a:lnTo>
                    <a:lnTo>
                      <a:pt x="598" y="322"/>
                    </a:lnTo>
                    <a:lnTo>
                      <a:pt x="602" y="322"/>
                    </a:lnTo>
                    <a:lnTo>
                      <a:pt x="606" y="322"/>
                    </a:lnTo>
                    <a:lnTo>
                      <a:pt x="606" y="324"/>
                    </a:lnTo>
                    <a:lnTo>
                      <a:pt x="608" y="324"/>
                    </a:lnTo>
                    <a:lnTo>
                      <a:pt x="612" y="324"/>
                    </a:lnTo>
                    <a:lnTo>
                      <a:pt x="612" y="328"/>
                    </a:lnTo>
                    <a:lnTo>
                      <a:pt x="612" y="332"/>
                    </a:lnTo>
                    <a:lnTo>
                      <a:pt x="608" y="332"/>
                    </a:lnTo>
                    <a:lnTo>
                      <a:pt x="608" y="328"/>
                    </a:lnTo>
                    <a:lnTo>
                      <a:pt x="606" y="328"/>
                    </a:lnTo>
                    <a:lnTo>
                      <a:pt x="606" y="324"/>
                    </a:lnTo>
                    <a:lnTo>
                      <a:pt x="602" y="324"/>
                    </a:lnTo>
                    <a:lnTo>
                      <a:pt x="602" y="328"/>
                    </a:lnTo>
                    <a:lnTo>
                      <a:pt x="606" y="328"/>
                    </a:lnTo>
                    <a:lnTo>
                      <a:pt x="606" y="332"/>
                    </a:lnTo>
                    <a:lnTo>
                      <a:pt x="602" y="332"/>
                    </a:lnTo>
                    <a:lnTo>
                      <a:pt x="598" y="332"/>
                    </a:lnTo>
                    <a:lnTo>
                      <a:pt x="598" y="328"/>
                    </a:lnTo>
                    <a:lnTo>
                      <a:pt x="598" y="332"/>
                    </a:lnTo>
                    <a:lnTo>
                      <a:pt x="602" y="332"/>
                    </a:lnTo>
                    <a:lnTo>
                      <a:pt x="598" y="328"/>
                    </a:lnTo>
                    <a:lnTo>
                      <a:pt x="594" y="324"/>
                    </a:lnTo>
                    <a:lnTo>
                      <a:pt x="594" y="324"/>
                    </a:lnTo>
                    <a:lnTo>
                      <a:pt x="594" y="324"/>
                    </a:lnTo>
                    <a:close/>
                    <a:moveTo>
                      <a:pt x="350" y="318"/>
                    </a:moveTo>
                    <a:lnTo>
                      <a:pt x="354" y="318"/>
                    </a:lnTo>
                    <a:lnTo>
                      <a:pt x="358" y="318"/>
                    </a:lnTo>
                    <a:lnTo>
                      <a:pt x="358" y="322"/>
                    </a:lnTo>
                    <a:lnTo>
                      <a:pt x="354" y="322"/>
                    </a:lnTo>
                    <a:lnTo>
                      <a:pt x="354" y="318"/>
                    </a:lnTo>
                    <a:lnTo>
                      <a:pt x="350" y="318"/>
                    </a:lnTo>
                    <a:lnTo>
                      <a:pt x="350" y="318"/>
                    </a:lnTo>
                    <a:lnTo>
                      <a:pt x="350" y="318"/>
                    </a:lnTo>
                    <a:close/>
                    <a:moveTo>
                      <a:pt x="590" y="318"/>
                    </a:moveTo>
                    <a:lnTo>
                      <a:pt x="594" y="318"/>
                    </a:lnTo>
                    <a:lnTo>
                      <a:pt x="594" y="322"/>
                    </a:lnTo>
                    <a:lnTo>
                      <a:pt x="590" y="322"/>
                    </a:lnTo>
                    <a:lnTo>
                      <a:pt x="590" y="318"/>
                    </a:lnTo>
                    <a:lnTo>
                      <a:pt x="590" y="318"/>
                    </a:lnTo>
                    <a:lnTo>
                      <a:pt x="590" y="318"/>
                    </a:lnTo>
                    <a:close/>
                    <a:moveTo>
                      <a:pt x="348" y="328"/>
                    </a:moveTo>
                    <a:lnTo>
                      <a:pt x="348" y="324"/>
                    </a:lnTo>
                    <a:lnTo>
                      <a:pt x="344" y="324"/>
                    </a:lnTo>
                    <a:lnTo>
                      <a:pt x="348" y="322"/>
                    </a:lnTo>
                    <a:lnTo>
                      <a:pt x="348" y="324"/>
                    </a:lnTo>
                    <a:lnTo>
                      <a:pt x="348" y="328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4" y="324"/>
                    </a:lnTo>
                    <a:lnTo>
                      <a:pt x="354" y="322"/>
                    </a:lnTo>
                    <a:lnTo>
                      <a:pt x="350" y="322"/>
                    </a:lnTo>
                    <a:lnTo>
                      <a:pt x="354" y="322"/>
                    </a:lnTo>
                    <a:lnTo>
                      <a:pt x="358" y="322"/>
                    </a:lnTo>
                    <a:lnTo>
                      <a:pt x="358" y="324"/>
                    </a:lnTo>
                    <a:lnTo>
                      <a:pt x="358" y="322"/>
                    </a:lnTo>
                    <a:lnTo>
                      <a:pt x="362" y="322"/>
                    </a:lnTo>
                    <a:lnTo>
                      <a:pt x="366" y="322"/>
                    </a:lnTo>
                    <a:lnTo>
                      <a:pt x="366" y="324"/>
                    </a:lnTo>
                    <a:lnTo>
                      <a:pt x="362" y="324"/>
                    </a:lnTo>
                    <a:lnTo>
                      <a:pt x="366" y="328"/>
                    </a:lnTo>
                    <a:lnTo>
                      <a:pt x="370" y="328"/>
                    </a:lnTo>
                    <a:lnTo>
                      <a:pt x="366" y="328"/>
                    </a:lnTo>
                    <a:lnTo>
                      <a:pt x="366" y="332"/>
                    </a:lnTo>
                    <a:lnTo>
                      <a:pt x="362" y="332"/>
                    </a:lnTo>
                    <a:lnTo>
                      <a:pt x="358" y="328"/>
                    </a:lnTo>
                    <a:lnTo>
                      <a:pt x="354" y="332"/>
                    </a:lnTo>
                    <a:lnTo>
                      <a:pt x="358" y="332"/>
                    </a:lnTo>
                    <a:lnTo>
                      <a:pt x="362" y="332"/>
                    </a:lnTo>
                    <a:lnTo>
                      <a:pt x="362" y="336"/>
                    </a:lnTo>
                    <a:lnTo>
                      <a:pt x="358" y="336"/>
                    </a:lnTo>
                    <a:lnTo>
                      <a:pt x="354" y="332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4" y="336"/>
                    </a:lnTo>
                    <a:lnTo>
                      <a:pt x="350" y="336"/>
                    </a:lnTo>
                    <a:lnTo>
                      <a:pt x="350" y="340"/>
                    </a:lnTo>
                    <a:lnTo>
                      <a:pt x="348" y="340"/>
                    </a:lnTo>
                    <a:lnTo>
                      <a:pt x="348" y="344"/>
                    </a:lnTo>
                    <a:lnTo>
                      <a:pt x="344" y="344"/>
                    </a:lnTo>
                    <a:lnTo>
                      <a:pt x="344" y="348"/>
                    </a:lnTo>
                    <a:lnTo>
                      <a:pt x="340" y="348"/>
                    </a:lnTo>
                    <a:lnTo>
                      <a:pt x="340" y="344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4" y="344"/>
                    </a:lnTo>
                    <a:lnTo>
                      <a:pt x="344" y="340"/>
                    </a:lnTo>
                    <a:lnTo>
                      <a:pt x="348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40" y="340"/>
                    </a:lnTo>
                    <a:lnTo>
                      <a:pt x="344" y="340"/>
                    </a:lnTo>
                    <a:lnTo>
                      <a:pt x="340" y="340"/>
                    </a:lnTo>
                    <a:lnTo>
                      <a:pt x="336" y="340"/>
                    </a:lnTo>
                    <a:lnTo>
                      <a:pt x="340" y="340"/>
                    </a:lnTo>
                    <a:lnTo>
                      <a:pt x="340" y="344"/>
                    </a:lnTo>
                    <a:lnTo>
                      <a:pt x="336" y="344"/>
                    </a:lnTo>
                    <a:lnTo>
                      <a:pt x="336" y="340"/>
                    </a:lnTo>
                    <a:lnTo>
                      <a:pt x="336" y="336"/>
                    </a:lnTo>
                    <a:lnTo>
                      <a:pt x="332" y="336"/>
                    </a:lnTo>
                    <a:lnTo>
                      <a:pt x="332" y="332"/>
                    </a:lnTo>
                    <a:lnTo>
                      <a:pt x="332" y="328"/>
                    </a:lnTo>
                    <a:lnTo>
                      <a:pt x="336" y="328"/>
                    </a:lnTo>
                    <a:lnTo>
                      <a:pt x="340" y="328"/>
                    </a:lnTo>
                    <a:lnTo>
                      <a:pt x="344" y="328"/>
                    </a:lnTo>
                    <a:lnTo>
                      <a:pt x="344" y="332"/>
                    </a:lnTo>
                    <a:lnTo>
                      <a:pt x="344" y="336"/>
                    </a:lnTo>
                    <a:lnTo>
                      <a:pt x="348" y="336"/>
                    </a:lnTo>
                    <a:lnTo>
                      <a:pt x="344" y="332"/>
                    </a:lnTo>
                    <a:lnTo>
                      <a:pt x="344" y="328"/>
                    </a:lnTo>
                    <a:lnTo>
                      <a:pt x="348" y="328"/>
                    </a:lnTo>
                    <a:lnTo>
                      <a:pt x="348" y="328"/>
                    </a:lnTo>
                    <a:lnTo>
                      <a:pt x="348" y="328"/>
                    </a:lnTo>
                    <a:close/>
                    <a:moveTo>
                      <a:pt x="350" y="322"/>
                    </a:moveTo>
                    <a:lnTo>
                      <a:pt x="354" y="322"/>
                    </a:lnTo>
                    <a:lnTo>
                      <a:pt x="354" y="324"/>
                    </a:lnTo>
                    <a:lnTo>
                      <a:pt x="350" y="324"/>
                    </a:lnTo>
                    <a:lnTo>
                      <a:pt x="350" y="322"/>
                    </a:lnTo>
                    <a:lnTo>
                      <a:pt x="348" y="322"/>
                    </a:lnTo>
                    <a:lnTo>
                      <a:pt x="350" y="322"/>
                    </a:lnTo>
                    <a:lnTo>
                      <a:pt x="350" y="322"/>
                    </a:lnTo>
                    <a:lnTo>
                      <a:pt x="350" y="322"/>
                    </a:lnTo>
                    <a:close/>
                    <a:moveTo>
                      <a:pt x="616" y="350"/>
                    </a:moveTo>
                    <a:lnTo>
                      <a:pt x="616" y="354"/>
                    </a:lnTo>
                    <a:lnTo>
                      <a:pt x="616" y="358"/>
                    </a:lnTo>
                    <a:lnTo>
                      <a:pt x="612" y="354"/>
                    </a:lnTo>
                    <a:lnTo>
                      <a:pt x="612" y="350"/>
                    </a:lnTo>
                    <a:lnTo>
                      <a:pt x="612" y="348"/>
                    </a:lnTo>
                    <a:lnTo>
                      <a:pt x="608" y="350"/>
                    </a:lnTo>
                    <a:lnTo>
                      <a:pt x="608" y="348"/>
                    </a:lnTo>
                    <a:lnTo>
                      <a:pt x="606" y="344"/>
                    </a:lnTo>
                    <a:lnTo>
                      <a:pt x="606" y="340"/>
                    </a:lnTo>
                    <a:lnTo>
                      <a:pt x="606" y="336"/>
                    </a:lnTo>
                    <a:lnTo>
                      <a:pt x="602" y="336"/>
                    </a:lnTo>
                    <a:lnTo>
                      <a:pt x="602" y="332"/>
                    </a:lnTo>
                    <a:lnTo>
                      <a:pt x="606" y="332"/>
                    </a:lnTo>
                    <a:lnTo>
                      <a:pt x="606" y="328"/>
                    </a:lnTo>
                    <a:lnTo>
                      <a:pt x="608" y="332"/>
                    </a:lnTo>
                    <a:lnTo>
                      <a:pt x="612" y="332"/>
                    </a:lnTo>
                    <a:lnTo>
                      <a:pt x="612" y="336"/>
                    </a:lnTo>
                    <a:lnTo>
                      <a:pt x="616" y="340"/>
                    </a:lnTo>
                    <a:lnTo>
                      <a:pt x="616" y="344"/>
                    </a:lnTo>
                    <a:lnTo>
                      <a:pt x="616" y="348"/>
                    </a:lnTo>
                    <a:lnTo>
                      <a:pt x="616" y="350"/>
                    </a:lnTo>
                    <a:lnTo>
                      <a:pt x="616" y="350"/>
                    </a:lnTo>
                    <a:lnTo>
                      <a:pt x="616" y="350"/>
                    </a:lnTo>
                    <a:close/>
                    <a:moveTo>
                      <a:pt x="612" y="332"/>
                    </a:moveTo>
                    <a:lnTo>
                      <a:pt x="616" y="332"/>
                    </a:lnTo>
                    <a:lnTo>
                      <a:pt x="612" y="336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12" y="332"/>
                    </a:lnTo>
                    <a:close/>
                    <a:moveTo>
                      <a:pt x="602" y="336"/>
                    </a:moveTo>
                    <a:lnTo>
                      <a:pt x="606" y="336"/>
                    </a:lnTo>
                    <a:lnTo>
                      <a:pt x="606" y="340"/>
                    </a:lnTo>
                    <a:lnTo>
                      <a:pt x="602" y="340"/>
                    </a:lnTo>
                    <a:lnTo>
                      <a:pt x="602" y="344"/>
                    </a:lnTo>
                    <a:lnTo>
                      <a:pt x="602" y="340"/>
                    </a:lnTo>
                    <a:lnTo>
                      <a:pt x="602" y="336"/>
                    </a:lnTo>
                    <a:lnTo>
                      <a:pt x="598" y="336"/>
                    </a:lnTo>
                    <a:lnTo>
                      <a:pt x="602" y="336"/>
                    </a:lnTo>
                    <a:lnTo>
                      <a:pt x="602" y="336"/>
                    </a:lnTo>
                    <a:lnTo>
                      <a:pt x="602" y="336"/>
                    </a:lnTo>
                    <a:close/>
                    <a:moveTo>
                      <a:pt x="358" y="340"/>
                    </a:moveTo>
                    <a:lnTo>
                      <a:pt x="354" y="340"/>
                    </a:lnTo>
                    <a:lnTo>
                      <a:pt x="350" y="340"/>
                    </a:lnTo>
                    <a:lnTo>
                      <a:pt x="350" y="344"/>
                    </a:lnTo>
                    <a:lnTo>
                      <a:pt x="350" y="340"/>
                    </a:lnTo>
                    <a:lnTo>
                      <a:pt x="350" y="336"/>
                    </a:lnTo>
                    <a:lnTo>
                      <a:pt x="354" y="336"/>
                    </a:lnTo>
                    <a:lnTo>
                      <a:pt x="358" y="336"/>
                    </a:lnTo>
                    <a:lnTo>
                      <a:pt x="358" y="340"/>
                    </a:lnTo>
                    <a:lnTo>
                      <a:pt x="358" y="340"/>
                    </a:lnTo>
                    <a:lnTo>
                      <a:pt x="358" y="340"/>
                    </a:lnTo>
                    <a:close/>
                    <a:moveTo>
                      <a:pt x="638" y="344"/>
                    </a:moveTo>
                    <a:lnTo>
                      <a:pt x="642" y="344"/>
                    </a:lnTo>
                    <a:lnTo>
                      <a:pt x="638" y="348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38" y="348"/>
                    </a:lnTo>
                    <a:lnTo>
                      <a:pt x="634" y="348"/>
                    </a:lnTo>
                    <a:lnTo>
                      <a:pt x="634" y="344"/>
                    </a:lnTo>
                    <a:lnTo>
                      <a:pt x="634" y="348"/>
                    </a:lnTo>
                    <a:lnTo>
                      <a:pt x="638" y="350"/>
                    </a:lnTo>
                    <a:lnTo>
                      <a:pt x="638" y="354"/>
                    </a:lnTo>
                    <a:lnTo>
                      <a:pt x="634" y="354"/>
                    </a:lnTo>
                    <a:lnTo>
                      <a:pt x="630" y="354"/>
                    </a:lnTo>
                    <a:lnTo>
                      <a:pt x="630" y="350"/>
                    </a:lnTo>
                    <a:lnTo>
                      <a:pt x="630" y="348"/>
                    </a:lnTo>
                    <a:lnTo>
                      <a:pt x="626" y="348"/>
                    </a:lnTo>
                    <a:lnTo>
                      <a:pt x="626" y="344"/>
                    </a:lnTo>
                    <a:lnTo>
                      <a:pt x="622" y="340"/>
                    </a:lnTo>
                    <a:lnTo>
                      <a:pt x="626" y="340"/>
                    </a:lnTo>
                    <a:lnTo>
                      <a:pt x="630" y="340"/>
                    </a:lnTo>
                    <a:lnTo>
                      <a:pt x="634" y="340"/>
                    </a:lnTo>
                    <a:lnTo>
                      <a:pt x="634" y="344"/>
                    </a:lnTo>
                    <a:lnTo>
                      <a:pt x="638" y="340"/>
                    </a:lnTo>
                    <a:lnTo>
                      <a:pt x="638" y="344"/>
                    </a:lnTo>
                    <a:lnTo>
                      <a:pt x="638" y="344"/>
                    </a:lnTo>
                    <a:lnTo>
                      <a:pt x="638" y="344"/>
                    </a:lnTo>
                    <a:close/>
                    <a:moveTo>
                      <a:pt x="626" y="358"/>
                    </a:move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2"/>
                    </a:lnTo>
                    <a:lnTo>
                      <a:pt x="622" y="362"/>
                    </a:lnTo>
                    <a:lnTo>
                      <a:pt x="622" y="358"/>
                    </a:lnTo>
                    <a:lnTo>
                      <a:pt x="622" y="362"/>
                    </a:lnTo>
                    <a:lnTo>
                      <a:pt x="620" y="358"/>
                    </a:lnTo>
                    <a:lnTo>
                      <a:pt x="622" y="358"/>
                    </a:lnTo>
                    <a:lnTo>
                      <a:pt x="620" y="354"/>
                    </a:lnTo>
                    <a:lnTo>
                      <a:pt x="622" y="354"/>
                    </a:lnTo>
                    <a:lnTo>
                      <a:pt x="622" y="350"/>
                    </a:lnTo>
                    <a:lnTo>
                      <a:pt x="620" y="350"/>
                    </a:lnTo>
                    <a:lnTo>
                      <a:pt x="620" y="348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0" y="344"/>
                    </a:lnTo>
                    <a:lnTo>
                      <a:pt x="622" y="344"/>
                    </a:lnTo>
                    <a:lnTo>
                      <a:pt x="626" y="344"/>
                    </a:lnTo>
                    <a:lnTo>
                      <a:pt x="626" y="348"/>
                    </a:lnTo>
                    <a:lnTo>
                      <a:pt x="626" y="350"/>
                    </a:lnTo>
                    <a:lnTo>
                      <a:pt x="622" y="350"/>
                    </a:lnTo>
                    <a:lnTo>
                      <a:pt x="626" y="350"/>
                    </a:lnTo>
                    <a:lnTo>
                      <a:pt x="626" y="348"/>
                    </a:lnTo>
                    <a:lnTo>
                      <a:pt x="630" y="348"/>
                    </a:lnTo>
                    <a:lnTo>
                      <a:pt x="630" y="350"/>
                    </a:lnTo>
                    <a:lnTo>
                      <a:pt x="626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58"/>
                    </a:lnTo>
                    <a:lnTo>
                      <a:pt x="626" y="358"/>
                    </a:lnTo>
                    <a:close/>
                    <a:moveTo>
                      <a:pt x="642" y="348"/>
                    </a:moveTo>
                    <a:lnTo>
                      <a:pt x="646" y="348"/>
                    </a:lnTo>
                    <a:lnTo>
                      <a:pt x="646" y="350"/>
                    </a:lnTo>
                    <a:lnTo>
                      <a:pt x="642" y="350"/>
                    </a:lnTo>
                    <a:lnTo>
                      <a:pt x="638" y="350"/>
                    </a:lnTo>
                    <a:lnTo>
                      <a:pt x="642" y="350"/>
                    </a:lnTo>
                    <a:lnTo>
                      <a:pt x="642" y="348"/>
                    </a:lnTo>
                    <a:lnTo>
                      <a:pt x="642" y="348"/>
                    </a:lnTo>
                    <a:lnTo>
                      <a:pt x="642" y="348"/>
                    </a:lnTo>
                    <a:close/>
                    <a:moveTo>
                      <a:pt x="336" y="350"/>
                    </a:moveTo>
                    <a:lnTo>
                      <a:pt x="332" y="354"/>
                    </a:lnTo>
                    <a:lnTo>
                      <a:pt x="332" y="350"/>
                    </a:lnTo>
                    <a:lnTo>
                      <a:pt x="336" y="350"/>
                    </a:lnTo>
                    <a:lnTo>
                      <a:pt x="336" y="350"/>
                    </a:lnTo>
                    <a:lnTo>
                      <a:pt x="336" y="350"/>
                    </a:lnTo>
                    <a:close/>
                    <a:moveTo>
                      <a:pt x="294" y="350"/>
                    </a:moveTo>
                    <a:lnTo>
                      <a:pt x="298" y="350"/>
                    </a:lnTo>
                    <a:lnTo>
                      <a:pt x="294" y="350"/>
                    </a:lnTo>
                    <a:lnTo>
                      <a:pt x="294" y="350"/>
                    </a:lnTo>
                    <a:lnTo>
                      <a:pt x="294" y="350"/>
                    </a:lnTo>
                    <a:close/>
                    <a:moveTo>
                      <a:pt x="652" y="362"/>
                    </a:moveTo>
                    <a:lnTo>
                      <a:pt x="652" y="358"/>
                    </a:lnTo>
                    <a:lnTo>
                      <a:pt x="648" y="358"/>
                    </a:lnTo>
                    <a:lnTo>
                      <a:pt x="648" y="354"/>
                    </a:lnTo>
                    <a:lnTo>
                      <a:pt x="652" y="354"/>
                    </a:lnTo>
                    <a:lnTo>
                      <a:pt x="652" y="358"/>
                    </a:lnTo>
                    <a:lnTo>
                      <a:pt x="652" y="362"/>
                    </a:lnTo>
                    <a:lnTo>
                      <a:pt x="652" y="362"/>
                    </a:lnTo>
                    <a:lnTo>
                      <a:pt x="652" y="362"/>
                    </a:lnTo>
                    <a:close/>
                    <a:moveTo>
                      <a:pt x="642" y="358"/>
                    </a:moveTo>
                    <a:lnTo>
                      <a:pt x="638" y="354"/>
                    </a:lnTo>
                    <a:lnTo>
                      <a:pt x="642" y="354"/>
                    </a:lnTo>
                    <a:lnTo>
                      <a:pt x="646" y="354"/>
                    </a:lnTo>
                    <a:lnTo>
                      <a:pt x="646" y="358"/>
                    </a:lnTo>
                    <a:lnTo>
                      <a:pt x="642" y="358"/>
                    </a:lnTo>
                    <a:lnTo>
                      <a:pt x="642" y="358"/>
                    </a:lnTo>
                    <a:lnTo>
                      <a:pt x="642" y="358"/>
                    </a:lnTo>
                    <a:close/>
                    <a:moveTo>
                      <a:pt x="648" y="366"/>
                    </a:moveTo>
                    <a:lnTo>
                      <a:pt x="646" y="366"/>
                    </a:lnTo>
                    <a:lnTo>
                      <a:pt x="648" y="362"/>
                    </a:lnTo>
                    <a:lnTo>
                      <a:pt x="646" y="362"/>
                    </a:lnTo>
                    <a:lnTo>
                      <a:pt x="642" y="362"/>
                    </a:lnTo>
                    <a:lnTo>
                      <a:pt x="642" y="358"/>
                    </a:lnTo>
                    <a:lnTo>
                      <a:pt x="646" y="358"/>
                    </a:lnTo>
                    <a:lnTo>
                      <a:pt x="646" y="354"/>
                    </a:lnTo>
                    <a:lnTo>
                      <a:pt x="648" y="354"/>
                    </a:lnTo>
                    <a:lnTo>
                      <a:pt x="648" y="358"/>
                    </a:lnTo>
                    <a:lnTo>
                      <a:pt x="652" y="362"/>
                    </a:lnTo>
                    <a:lnTo>
                      <a:pt x="652" y="366"/>
                    </a:lnTo>
                    <a:lnTo>
                      <a:pt x="648" y="366"/>
                    </a:lnTo>
                    <a:lnTo>
                      <a:pt x="648" y="366"/>
                    </a:lnTo>
                    <a:lnTo>
                      <a:pt x="648" y="366"/>
                    </a:lnTo>
                    <a:close/>
                    <a:moveTo>
                      <a:pt x="648" y="378"/>
                    </a:moveTo>
                    <a:lnTo>
                      <a:pt x="648" y="374"/>
                    </a:lnTo>
                    <a:lnTo>
                      <a:pt x="646" y="374"/>
                    </a:lnTo>
                    <a:lnTo>
                      <a:pt x="648" y="378"/>
                    </a:lnTo>
                    <a:lnTo>
                      <a:pt x="652" y="380"/>
                    </a:lnTo>
                    <a:lnTo>
                      <a:pt x="648" y="380"/>
                    </a:lnTo>
                    <a:lnTo>
                      <a:pt x="652" y="380"/>
                    </a:lnTo>
                    <a:lnTo>
                      <a:pt x="652" y="384"/>
                    </a:lnTo>
                    <a:lnTo>
                      <a:pt x="648" y="384"/>
                    </a:lnTo>
                    <a:lnTo>
                      <a:pt x="652" y="384"/>
                    </a:lnTo>
                    <a:lnTo>
                      <a:pt x="652" y="388"/>
                    </a:lnTo>
                    <a:lnTo>
                      <a:pt x="652" y="392"/>
                    </a:lnTo>
                    <a:lnTo>
                      <a:pt x="648" y="392"/>
                    </a:lnTo>
                    <a:lnTo>
                      <a:pt x="648" y="388"/>
                    </a:lnTo>
                    <a:lnTo>
                      <a:pt x="646" y="384"/>
                    </a:lnTo>
                    <a:lnTo>
                      <a:pt x="646" y="388"/>
                    </a:lnTo>
                    <a:lnTo>
                      <a:pt x="646" y="384"/>
                    </a:lnTo>
                    <a:lnTo>
                      <a:pt x="646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42" y="380"/>
                    </a:lnTo>
                    <a:lnTo>
                      <a:pt x="638" y="380"/>
                    </a:lnTo>
                    <a:lnTo>
                      <a:pt x="634" y="380"/>
                    </a:lnTo>
                    <a:lnTo>
                      <a:pt x="634" y="378"/>
                    </a:lnTo>
                    <a:lnTo>
                      <a:pt x="638" y="378"/>
                    </a:lnTo>
                    <a:lnTo>
                      <a:pt x="642" y="378"/>
                    </a:lnTo>
                    <a:lnTo>
                      <a:pt x="638" y="378"/>
                    </a:lnTo>
                    <a:lnTo>
                      <a:pt x="638" y="374"/>
                    </a:lnTo>
                    <a:lnTo>
                      <a:pt x="642" y="374"/>
                    </a:lnTo>
                    <a:lnTo>
                      <a:pt x="638" y="374"/>
                    </a:lnTo>
                    <a:lnTo>
                      <a:pt x="634" y="374"/>
                    </a:lnTo>
                    <a:lnTo>
                      <a:pt x="634" y="370"/>
                    </a:lnTo>
                    <a:lnTo>
                      <a:pt x="638" y="366"/>
                    </a:lnTo>
                    <a:lnTo>
                      <a:pt x="634" y="366"/>
                    </a:lnTo>
                    <a:lnTo>
                      <a:pt x="634" y="358"/>
                    </a:lnTo>
                    <a:lnTo>
                      <a:pt x="630" y="358"/>
                    </a:lnTo>
                    <a:lnTo>
                      <a:pt x="630" y="354"/>
                    </a:lnTo>
                    <a:lnTo>
                      <a:pt x="634" y="354"/>
                    </a:lnTo>
                    <a:lnTo>
                      <a:pt x="638" y="354"/>
                    </a:lnTo>
                    <a:lnTo>
                      <a:pt x="638" y="358"/>
                    </a:lnTo>
                    <a:lnTo>
                      <a:pt x="638" y="362"/>
                    </a:lnTo>
                    <a:lnTo>
                      <a:pt x="642" y="362"/>
                    </a:lnTo>
                    <a:lnTo>
                      <a:pt x="646" y="366"/>
                    </a:lnTo>
                    <a:lnTo>
                      <a:pt x="646" y="370"/>
                    </a:lnTo>
                    <a:lnTo>
                      <a:pt x="648" y="370"/>
                    </a:lnTo>
                    <a:lnTo>
                      <a:pt x="648" y="374"/>
                    </a:lnTo>
                    <a:lnTo>
                      <a:pt x="652" y="374"/>
                    </a:lnTo>
                    <a:lnTo>
                      <a:pt x="652" y="378"/>
                    </a:lnTo>
                    <a:lnTo>
                      <a:pt x="648" y="378"/>
                    </a:lnTo>
                    <a:lnTo>
                      <a:pt x="648" y="378"/>
                    </a:lnTo>
                    <a:lnTo>
                      <a:pt x="648" y="378"/>
                    </a:lnTo>
                    <a:close/>
                    <a:moveTo>
                      <a:pt x="634" y="362"/>
                    </a:moveTo>
                    <a:lnTo>
                      <a:pt x="630" y="366"/>
                    </a:lnTo>
                    <a:lnTo>
                      <a:pt x="626" y="366"/>
                    </a:lnTo>
                    <a:lnTo>
                      <a:pt x="630" y="362"/>
                    </a:lnTo>
                    <a:lnTo>
                      <a:pt x="634" y="358"/>
                    </a:lnTo>
                    <a:lnTo>
                      <a:pt x="634" y="362"/>
                    </a:lnTo>
                    <a:lnTo>
                      <a:pt x="634" y="362"/>
                    </a:lnTo>
                    <a:lnTo>
                      <a:pt x="634" y="362"/>
                    </a:lnTo>
                    <a:close/>
                    <a:moveTo>
                      <a:pt x="660" y="380"/>
                    </a:moveTo>
                    <a:lnTo>
                      <a:pt x="660" y="378"/>
                    </a:lnTo>
                    <a:lnTo>
                      <a:pt x="664" y="378"/>
                    </a:lnTo>
                    <a:lnTo>
                      <a:pt x="664" y="374"/>
                    </a:lnTo>
                    <a:lnTo>
                      <a:pt x="664" y="370"/>
                    </a:lnTo>
                    <a:lnTo>
                      <a:pt x="660" y="374"/>
                    </a:lnTo>
                    <a:lnTo>
                      <a:pt x="664" y="374"/>
                    </a:lnTo>
                    <a:lnTo>
                      <a:pt x="664" y="378"/>
                    </a:lnTo>
                    <a:lnTo>
                      <a:pt x="660" y="378"/>
                    </a:lnTo>
                    <a:lnTo>
                      <a:pt x="660" y="374"/>
                    </a:lnTo>
                    <a:lnTo>
                      <a:pt x="660" y="378"/>
                    </a:lnTo>
                    <a:lnTo>
                      <a:pt x="660" y="380"/>
                    </a:lnTo>
                    <a:lnTo>
                      <a:pt x="656" y="378"/>
                    </a:lnTo>
                    <a:lnTo>
                      <a:pt x="656" y="374"/>
                    </a:lnTo>
                    <a:lnTo>
                      <a:pt x="656" y="370"/>
                    </a:lnTo>
                    <a:lnTo>
                      <a:pt x="660" y="370"/>
                    </a:lnTo>
                    <a:lnTo>
                      <a:pt x="656" y="370"/>
                    </a:lnTo>
                    <a:lnTo>
                      <a:pt x="656" y="366"/>
                    </a:lnTo>
                    <a:lnTo>
                      <a:pt x="660" y="366"/>
                    </a:lnTo>
                    <a:lnTo>
                      <a:pt x="664" y="366"/>
                    </a:lnTo>
                    <a:lnTo>
                      <a:pt x="668" y="366"/>
                    </a:lnTo>
                    <a:lnTo>
                      <a:pt x="668" y="370"/>
                    </a:lnTo>
                    <a:lnTo>
                      <a:pt x="668" y="374"/>
                    </a:lnTo>
                    <a:lnTo>
                      <a:pt x="668" y="378"/>
                    </a:lnTo>
                    <a:lnTo>
                      <a:pt x="668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4" y="380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22" y="366"/>
                    </a:moveTo>
                    <a:lnTo>
                      <a:pt x="620" y="366"/>
                    </a:lnTo>
                    <a:lnTo>
                      <a:pt x="622" y="366"/>
                    </a:lnTo>
                    <a:lnTo>
                      <a:pt x="622" y="366"/>
                    </a:lnTo>
                    <a:lnTo>
                      <a:pt x="622" y="366"/>
                    </a:lnTo>
                    <a:close/>
                    <a:moveTo>
                      <a:pt x="274" y="366"/>
                    </a:moveTo>
                    <a:lnTo>
                      <a:pt x="278" y="366"/>
                    </a:lnTo>
                    <a:lnTo>
                      <a:pt x="274" y="370"/>
                    </a:lnTo>
                    <a:lnTo>
                      <a:pt x="274" y="366"/>
                    </a:lnTo>
                    <a:lnTo>
                      <a:pt x="274" y="366"/>
                    </a:lnTo>
                    <a:lnTo>
                      <a:pt x="274" y="366"/>
                    </a:lnTo>
                    <a:close/>
                    <a:moveTo>
                      <a:pt x="634" y="370"/>
                    </a:moveTo>
                    <a:lnTo>
                      <a:pt x="630" y="370"/>
                    </a:lnTo>
                    <a:lnTo>
                      <a:pt x="630" y="366"/>
                    </a:lnTo>
                    <a:lnTo>
                      <a:pt x="634" y="370"/>
                    </a:lnTo>
                    <a:lnTo>
                      <a:pt x="634" y="370"/>
                    </a:lnTo>
                    <a:lnTo>
                      <a:pt x="634" y="370"/>
                    </a:lnTo>
                    <a:close/>
                    <a:moveTo>
                      <a:pt x="634" y="374"/>
                    </a:moveTo>
                    <a:lnTo>
                      <a:pt x="634" y="378"/>
                    </a:lnTo>
                    <a:lnTo>
                      <a:pt x="634" y="374"/>
                    </a:lnTo>
                    <a:lnTo>
                      <a:pt x="634" y="374"/>
                    </a:lnTo>
                    <a:lnTo>
                      <a:pt x="634" y="374"/>
                    </a:lnTo>
                    <a:close/>
                    <a:moveTo>
                      <a:pt x="630" y="378"/>
                    </a:moveTo>
                    <a:lnTo>
                      <a:pt x="626" y="378"/>
                    </a:lnTo>
                    <a:lnTo>
                      <a:pt x="626" y="374"/>
                    </a:lnTo>
                    <a:lnTo>
                      <a:pt x="630" y="374"/>
                    </a:lnTo>
                    <a:lnTo>
                      <a:pt x="630" y="378"/>
                    </a:lnTo>
                    <a:lnTo>
                      <a:pt x="630" y="378"/>
                    </a:lnTo>
                    <a:lnTo>
                      <a:pt x="630" y="378"/>
                    </a:lnTo>
                    <a:close/>
                    <a:moveTo>
                      <a:pt x="630" y="374"/>
                    </a:moveTo>
                    <a:lnTo>
                      <a:pt x="634" y="374"/>
                    </a:lnTo>
                    <a:lnTo>
                      <a:pt x="634" y="378"/>
                    </a:lnTo>
                    <a:lnTo>
                      <a:pt x="630" y="378"/>
                    </a:lnTo>
                    <a:lnTo>
                      <a:pt x="630" y="374"/>
                    </a:lnTo>
                    <a:lnTo>
                      <a:pt x="630" y="374"/>
                    </a:lnTo>
                    <a:lnTo>
                      <a:pt x="630" y="374"/>
                    </a:lnTo>
                    <a:close/>
                    <a:moveTo>
                      <a:pt x="634" y="378"/>
                    </a:moveTo>
                    <a:lnTo>
                      <a:pt x="630" y="378"/>
                    </a:lnTo>
                    <a:lnTo>
                      <a:pt x="630" y="380"/>
                    </a:lnTo>
                    <a:lnTo>
                      <a:pt x="630" y="378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656" y="378"/>
                    </a:moveTo>
                    <a:lnTo>
                      <a:pt x="660" y="380"/>
                    </a:lnTo>
                    <a:lnTo>
                      <a:pt x="656" y="380"/>
                    </a:lnTo>
                    <a:lnTo>
                      <a:pt x="656" y="378"/>
                    </a:lnTo>
                    <a:lnTo>
                      <a:pt x="656" y="378"/>
                    </a:lnTo>
                    <a:lnTo>
                      <a:pt x="656" y="378"/>
                    </a:lnTo>
                    <a:close/>
                    <a:moveTo>
                      <a:pt x="248" y="378"/>
                    </a:moveTo>
                    <a:lnTo>
                      <a:pt x="250" y="378"/>
                    </a:lnTo>
                    <a:lnTo>
                      <a:pt x="250" y="380"/>
                    </a:lnTo>
                    <a:lnTo>
                      <a:pt x="248" y="380"/>
                    </a:lnTo>
                    <a:lnTo>
                      <a:pt x="248" y="384"/>
                    </a:lnTo>
                    <a:lnTo>
                      <a:pt x="248" y="380"/>
                    </a:lnTo>
                    <a:lnTo>
                      <a:pt x="248" y="378"/>
                    </a:lnTo>
                    <a:lnTo>
                      <a:pt x="248" y="378"/>
                    </a:lnTo>
                    <a:lnTo>
                      <a:pt x="248" y="378"/>
                    </a:lnTo>
                    <a:close/>
                    <a:moveTo>
                      <a:pt x="254" y="378"/>
                    </a:moveTo>
                    <a:lnTo>
                      <a:pt x="254" y="380"/>
                    </a:lnTo>
                    <a:lnTo>
                      <a:pt x="250" y="380"/>
                    </a:lnTo>
                    <a:lnTo>
                      <a:pt x="250" y="378"/>
                    </a:lnTo>
                    <a:lnTo>
                      <a:pt x="254" y="378"/>
                    </a:lnTo>
                    <a:lnTo>
                      <a:pt x="254" y="378"/>
                    </a:lnTo>
                    <a:lnTo>
                      <a:pt x="254" y="378"/>
                    </a:lnTo>
                    <a:close/>
                    <a:moveTo>
                      <a:pt x="634" y="378"/>
                    </a:moveTo>
                    <a:lnTo>
                      <a:pt x="634" y="380"/>
                    </a:lnTo>
                    <a:lnTo>
                      <a:pt x="634" y="378"/>
                    </a:lnTo>
                    <a:lnTo>
                      <a:pt x="634" y="378"/>
                    </a:lnTo>
                    <a:lnTo>
                      <a:pt x="634" y="378"/>
                    </a:lnTo>
                    <a:close/>
                    <a:moveTo>
                      <a:pt x="258" y="380"/>
                    </a:moveTo>
                    <a:lnTo>
                      <a:pt x="258" y="384"/>
                    </a:lnTo>
                    <a:lnTo>
                      <a:pt x="254" y="384"/>
                    </a:lnTo>
                    <a:lnTo>
                      <a:pt x="254" y="388"/>
                    </a:lnTo>
                    <a:lnTo>
                      <a:pt x="254" y="384"/>
                    </a:lnTo>
                    <a:lnTo>
                      <a:pt x="254" y="380"/>
                    </a:lnTo>
                    <a:lnTo>
                      <a:pt x="258" y="380"/>
                    </a:lnTo>
                    <a:lnTo>
                      <a:pt x="258" y="384"/>
                    </a:lnTo>
                    <a:lnTo>
                      <a:pt x="258" y="380"/>
                    </a:lnTo>
                    <a:lnTo>
                      <a:pt x="258" y="380"/>
                    </a:lnTo>
                    <a:lnTo>
                      <a:pt x="258" y="380"/>
                    </a:lnTo>
                    <a:close/>
                    <a:moveTo>
                      <a:pt x="660" y="380"/>
                    </a:moveTo>
                    <a:lnTo>
                      <a:pt x="664" y="384"/>
                    </a:lnTo>
                    <a:lnTo>
                      <a:pt x="660" y="384"/>
                    </a:lnTo>
                    <a:lnTo>
                      <a:pt x="660" y="380"/>
                    </a:lnTo>
                    <a:lnTo>
                      <a:pt x="660" y="380"/>
                    </a:lnTo>
                    <a:lnTo>
                      <a:pt x="660" y="380"/>
                    </a:lnTo>
                    <a:close/>
                    <a:moveTo>
                      <a:pt x="638" y="380"/>
                    </a:moveTo>
                    <a:lnTo>
                      <a:pt x="638" y="384"/>
                    </a:lnTo>
                    <a:lnTo>
                      <a:pt x="642" y="388"/>
                    </a:lnTo>
                    <a:lnTo>
                      <a:pt x="642" y="392"/>
                    </a:lnTo>
                    <a:lnTo>
                      <a:pt x="646" y="392"/>
                    </a:lnTo>
                    <a:lnTo>
                      <a:pt x="642" y="392"/>
                    </a:lnTo>
                    <a:lnTo>
                      <a:pt x="642" y="388"/>
                    </a:lnTo>
                    <a:lnTo>
                      <a:pt x="638" y="388"/>
                    </a:lnTo>
                    <a:lnTo>
                      <a:pt x="638" y="384"/>
                    </a:lnTo>
                    <a:lnTo>
                      <a:pt x="634" y="384"/>
                    </a:lnTo>
                    <a:lnTo>
                      <a:pt x="638" y="380"/>
                    </a:lnTo>
                    <a:lnTo>
                      <a:pt x="638" y="380"/>
                    </a:lnTo>
                    <a:lnTo>
                      <a:pt x="638" y="380"/>
                    </a:lnTo>
                    <a:close/>
                    <a:moveTo>
                      <a:pt x="266" y="380"/>
                    </a:moveTo>
                    <a:lnTo>
                      <a:pt x="266" y="384"/>
                    </a:lnTo>
                    <a:lnTo>
                      <a:pt x="262" y="384"/>
                    </a:lnTo>
                    <a:lnTo>
                      <a:pt x="266" y="380"/>
                    </a:lnTo>
                    <a:lnTo>
                      <a:pt x="266" y="380"/>
                    </a:lnTo>
                    <a:lnTo>
                      <a:pt x="266" y="380"/>
                    </a:lnTo>
                    <a:close/>
                    <a:moveTo>
                      <a:pt x="642" y="380"/>
                    </a:moveTo>
                    <a:lnTo>
                      <a:pt x="642" y="384"/>
                    </a:lnTo>
                    <a:lnTo>
                      <a:pt x="646" y="384"/>
                    </a:lnTo>
                    <a:lnTo>
                      <a:pt x="642" y="384"/>
                    </a:lnTo>
                    <a:lnTo>
                      <a:pt x="642" y="380"/>
                    </a:lnTo>
                    <a:lnTo>
                      <a:pt x="642" y="380"/>
                    </a:lnTo>
                    <a:lnTo>
                      <a:pt x="642" y="380"/>
                    </a:lnTo>
                    <a:close/>
                    <a:moveTo>
                      <a:pt x="232" y="380"/>
                    </a:moveTo>
                    <a:lnTo>
                      <a:pt x="236" y="380"/>
                    </a:lnTo>
                    <a:lnTo>
                      <a:pt x="236" y="384"/>
                    </a:lnTo>
                    <a:lnTo>
                      <a:pt x="232" y="384"/>
                    </a:lnTo>
                    <a:lnTo>
                      <a:pt x="232" y="380"/>
                    </a:lnTo>
                    <a:lnTo>
                      <a:pt x="232" y="380"/>
                    </a:lnTo>
                    <a:lnTo>
                      <a:pt x="232" y="380"/>
                    </a:lnTo>
                    <a:close/>
                    <a:moveTo>
                      <a:pt x="266" y="384"/>
                    </a:moveTo>
                    <a:lnTo>
                      <a:pt x="266" y="388"/>
                    </a:lnTo>
                    <a:lnTo>
                      <a:pt x="266" y="384"/>
                    </a:lnTo>
                    <a:lnTo>
                      <a:pt x="266" y="384"/>
                    </a:lnTo>
                    <a:lnTo>
                      <a:pt x="266" y="384"/>
                    </a:lnTo>
                    <a:close/>
                    <a:moveTo>
                      <a:pt x="198" y="396"/>
                    </a:moveTo>
                    <a:lnTo>
                      <a:pt x="194" y="396"/>
                    </a:lnTo>
                    <a:lnTo>
                      <a:pt x="194" y="400"/>
                    </a:lnTo>
                    <a:lnTo>
                      <a:pt x="192" y="400"/>
                    </a:lnTo>
                    <a:lnTo>
                      <a:pt x="188" y="400"/>
                    </a:lnTo>
                    <a:lnTo>
                      <a:pt x="188" y="396"/>
                    </a:lnTo>
                    <a:lnTo>
                      <a:pt x="188" y="392"/>
                    </a:lnTo>
                    <a:lnTo>
                      <a:pt x="192" y="392"/>
                    </a:lnTo>
                    <a:lnTo>
                      <a:pt x="194" y="388"/>
                    </a:lnTo>
                    <a:lnTo>
                      <a:pt x="198" y="388"/>
                    </a:lnTo>
                    <a:lnTo>
                      <a:pt x="202" y="384"/>
                    </a:lnTo>
                    <a:lnTo>
                      <a:pt x="206" y="384"/>
                    </a:lnTo>
                    <a:lnTo>
                      <a:pt x="210" y="388"/>
                    </a:lnTo>
                    <a:lnTo>
                      <a:pt x="210" y="392"/>
                    </a:lnTo>
                    <a:lnTo>
                      <a:pt x="214" y="392"/>
                    </a:lnTo>
                    <a:lnTo>
                      <a:pt x="210" y="392"/>
                    </a:lnTo>
                    <a:lnTo>
                      <a:pt x="206" y="392"/>
                    </a:lnTo>
                    <a:lnTo>
                      <a:pt x="206" y="396"/>
                    </a:lnTo>
                    <a:lnTo>
                      <a:pt x="206" y="392"/>
                    </a:lnTo>
                    <a:lnTo>
                      <a:pt x="202" y="392"/>
                    </a:lnTo>
                    <a:lnTo>
                      <a:pt x="198" y="392"/>
                    </a:lnTo>
                    <a:lnTo>
                      <a:pt x="198" y="396"/>
                    </a:lnTo>
                    <a:lnTo>
                      <a:pt x="198" y="396"/>
                    </a:lnTo>
                    <a:lnTo>
                      <a:pt x="198" y="396"/>
                    </a:lnTo>
                    <a:close/>
                    <a:moveTo>
                      <a:pt x="664" y="384"/>
                    </a:moveTo>
                    <a:lnTo>
                      <a:pt x="664" y="388"/>
                    </a:lnTo>
                    <a:lnTo>
                      <a:pt x="660" y="388"/>
                    </a:lnTo>
                    <a:lnTo>
                      <a:pt x="664" y="384"/>
                    </a:lnTo>
                    <a:lnTo>
                      <a:pt x="664" y="384"/>
                    </a:lnTo>
                    <a:lnTo>
                      <a:pt x="664" y="384"/>
                    </a:lnTo>
                    <a:close/>
                    <a:moveTo>
                      <a:pt x="646" y="388"/>
                    </a:moveTo>
                    <a:lnTo>
                      <a:pt x="646" y="392"/>
                    </a:lnTo>
                    <a:lnTo>
                      <a:pt x="642" y="388"/>
                    </a:lnTo>
                    <a:lnTo>
                      <a:pt x="646" y="388"/>
                    </a:lnTo>
                    <a:lnTo>
                      <a:pt x="646" y="388"/>
                    </a:lnTo>
                    <a:lnTo>
                      <a:pt x="646" y="388"/>
                    </a:lnTo>
                    <a:close/>
                    <a:moveTo>
                      <a:pt x="218" y="396"/>
                    </a:moveTo>
                    <a:lnTo>
                      <a:pt x="222" y="396"/>
                    </a:lnTo>
                    <a:lnTo>
                      <a:pt x="222" y="400"/>
                    </a:lnTo>
                    <a:lnTo>
                      <a:pt x="218" y="400"/>
                    </a:lnTo>
                    <a:lnTo>
                      <a:pt x="218" y="396"/>
                    </a:lnTo>
                    <a:lnTo>
                      <a:pt x="218" y="396"/>
                    </a:lnTo>
                    <a:lnTo>
                      <a:pt x="218" y="396"/>
                    </a:lnTo>
                    <a:close/>
                    <a:moveTo>
                      <a:pt x="180" y="404"/>
                    </a:moveTo>
                    <a:lnTo>
                      <a:pt x="176" y="404"/>
                    </a:lnTo>
                    <a:lnTo>
                      <a:pt x="176" y="400"/>
                    </a:lnTo>
                    <a:lnTo>
                      <a:pt x="180" y="400"/>
                    </a:lnTo>
                    <a:lnTo>
                      <a:pt x="180" y="404"/>
                    </a:lnTo>
                    <a:lnTo>
                      <a:pt x="180" y="404"/>
                    </a:lnTo>
                    <a:lnTo>
                      <a:pt x="180" y="404"/>
                    </a:lnTo>
                    <a:close/>
                    <a:moveTo>
                      <a:pt x="172" y="408"/>
                    </a:moveTo>
                    <a:lnTo>
                      <a:pt x="172" y="404"/>
                    </a:lnTo>
                    <a:lnTo>
                      <a:pt x="176" y="404"/>
                    </a:lnTo>
                    <a:lnTo>
                      <a:pt x="176" y="408"/>
                    </a:lnTo>
                    <a:lnTo>
                      <a:pt x="172" y="408"/>
                    </a:lnTo>
                    <a:lnTo>
                      <a:pt x="172" y="408"/>
                    </a:lnTo>
                    <a:lnTo>
                      <a:pt x="172" y="408"/>
                    </a:lnTo>
                    <a:close/>
                    <a:moveTo>
                      <a:pt x="188" y="404"/>
                    </a:moveTo>
                    <a:lnTo>
                      <a:pt x="188" y="408"/>
                    </a:lnTo>
                    <a:lnTo>
                      <a:pt x="184" y="408"/>
                    </a:lnTo>
                    <a:lnTo>
                      <a:pt x="184" y="404"/>
                    </a:lnTo>
                    <a:lnTo>
                      <a:pt x="188" y="404"/>
                    </a:lnTo>
                    <a:lnTo>
                      <a:pt x="188" y="404"/>
                    </a:lnTo>
                    <a:lnTo>
                      <a:pt x="188" y="404"/>
                    </a:lnTo>
                    <a:close/>
                    <a:moveTo>
                      <a:pt x="158" y="414"/>
                    </a:moveTo>
                    <a:lnTo>
                      <a:pt x="162" y="414"/>
                    </a:lnTo>
                    <a:lnTo>
                      <a:pt x="158" y="410"/>
                    </a:lnTo>
                    <a:lnTo>
                      <a:pt x="158" y="408"/>
                    </a:lnTo>
                    <a:lnTo>
                      <a:pt x="162" y="408"/>
                    </a:lnTo>
                    <a:lnTo>
                      <a:pt x="166" y="408"/>
                    </a:lnTo>
                    <a:lnTo>
                      <a:pt x="166" y="410"/>
                    </a:lnTo>
                    <a:lnTo>
                      <a:pt x="166" y="408"/>
                    </a:lnTo>
                    <a:lnTo>
                      <a:pt x="168" y="408"/>
                    </a:lnTo>
                    <a:lnTo>
                      <a:pt x="168" y="410"/>
                    </a:lnTo>
                    <a:lnTo>
                      <a:pt x="166" y="410"/>
                    </a:lnTo>
                    <a:lnTo>
                      <a:pt x="166" y="414"/>
                    </a:lnTo>
                    <a:lnTo>
                      <a:pt x="166" y="410"/>
                    </a:lnTo>
                    <a:lnTo>
                      <a:pt x="168" y="410"/>
                    </a:lnTo>
                    <a:lnTo>
                      <a:pt x="168" y="414"/>
                    </a:lnTo>
                    <a:lnTo>
                      <a:pt x="166" y="414"/>
                    </a:lnTo>
                    <a:lnTo>
                      <a:pt x="166" y="418"/>
                    </a:lnTo>
                    <a:lnTo>
                      <a:pt x="162" y="418"/>
                    </a:lnTo>
                    <a:lnTo>
                      <a:pt x="158" y="418"/>
                    </a:lnTo>
                    <a:lnTo>
                      <a:pt x="154" y="422"/>
                    </a:lnTo>
                    <a:lnTo>
                      <a:pt x="150" y="422"/>
                    </a:lnTo>
                    <a:lnTo>
                      <a:pt x="146" y="422"/>
                    </a:lnTo>
                    <a:lnTo>
                      <a:pt x="150" y="422"/>
                    </a:lnTo>
                    <a:lnTo>
                      <a:pt x="150" y="418"/>
                    </a:lnTo>
                    <a:lnTo>
                      <a:pt x="154" y="418"/>
                    </a:lnTo>
                    <a:lnTo>
                      <a:pt x="158" y="418"/>
                    </a:lnTo>
                    <a:lnTo>
                      <a:pt x="158" y="414"/>
                    </a:lnTo>
                    <a:lnTo>
                      <a:pt x="158" y="414"/>
                    </a:lnTo>
                    <a:lnTo>
                      <a:pt x="158" y="414"/>
                    </a:lnTo>
                    <a:close/>
                    <a:moveTo>
                      <a:pt x="168" y="414"/>
                    </a:moveTo>
                    <a:lnTo>
                      <a:pt x="168" y="410"/>
                    </a:lnTo>
                    <a:lnTo>
                      <a:pt x="172" y="410"/>
                    </a:lnTo>
                    <a:lnTo>
                      <a:pt x="168" y="414"/>
                    </a:lnTo>
                    <a:lnTo>
                      <a:pt x="168" y="414"/>
                    </a:lnTo>
                    <a:lnTo>
                      <a:pt x="168" y="414"/>
                    </a:lnTo>
                    <a:close/>
                    <a:moveTo>
                      <a:pt x="146" y="418"/>
                    </a:moveTo>
                    <a:lnTo>
                      <a:pt x="146" y="422"/>
                    </a:lnTo>
                    <a:lnTo>
                      <a:pt x="142" y="422"/>
                    </a:lnTo>
                    <a:lnTo>
                      <a:pt x="138" y="422"/>
                    </a:lnTo>
                    <a:lnTo>
                      <a:pt x="138" y="426"/>
                    </a:lnTo>
                    <a:lnTo>
                      <a:pt x="138" y="430"/>
                    </a:lnTo>
                    <a:lnTo>
                      <a:pt x="136" y="430"/>
                    </a:lnTo>
                    <a:lnTo>
                      <a:pt x="132" y="430"/>
                    </a:lnTo>
                    <a:lnTo>
                      <a:pt x="132" y="434"/>
                    </a:lnTo>
                    <a:lnTo>
                      <a:pt x="128" y="434"/>
                    </a:lnTo>
                    <a:lnTo>
                      <a:pt x="132" y="430"/>
                    </a:lnTo>
                    <a:lnTo>
                      <a:pt x="136" y="426"/>
                    </a:lnTo>
                    <a:lnTo>
                      <a:pt x="132" y="426"/>
                    </a:lnTo>
                    <a:lnTo>
                      <a:pt x="136" y="426"/>
                    </a:lnTo>
                    <a:lnTo>
                      <a:pt x="136" y="422"/>
                    </a:lnTo>
                    <a:lnTo>
                      <a:pt x="138" y="422"/>
                    </a:lnTo>
                    <a:lnTo>
                      <a:pt x="138" y="418"/>
                    </a:lnTo>
                    <a:lnTo>
                      <a:pt x="142" y="418"/>
                    </a:lnTo>
                    <a:lnTo>
                      <a:pt x="146" y="418"/>
                    </a:lnTo>
                    <a:lnTo>
                      <a:pt x="146" y="418"/>
                    </a:lnTo>
                    <a:lnTo>
                      <a:pt x="146" y="418"/>
                    </a:lnTo>
                    <a:close/>
                    <a:moveTo>
                      <a:pt x="4964" y="434"/>
                    </a:moveTo>
                    <a:lnTo>
                      <a:pt x="4964" y="430"/>
                    </a:lnTo>
                    <a:lnTo>
                      <a:pt x="4960" y="434"/>
                    </a:lnTo>
                    <a:lnTo>
                      <a:pt x="4960" y="430"/>
                    </a:lnTo>
                    <a:lnTo>
                      <a:pt x="4964" y="430"/>
                    </a:lnTo>
                    <a:lnTo>
                      <a:pt x="4968" y="430"/>
                    </a:lnTo>
                    <a:lnTo>
                      <a:pt x="4972" y="430"/>
                    </a:lnTo>
                    <a:lnTo>
                      <a:pt x="4972" y="434"/>
                    </a:lnTo>
                    <a:lnTo>
                      <a:pt x="4968" y="434"/>
                    </a:lnTo>
                    <a:lnTo>
                      <a:pt x="4964" y="434"/>
                    </a:lnTo>
                    <a:lnTo>
                      <a:pt x="4964" y="434"/>
                    </a:lnTo>
                    <a:lnTo>
                      <a:pt x="4964" y="434"/>
                    </a:lnTo>
                    <a:close/>
                    <a:moveTo>
                      <a:pt x="116" y="434"/>
                    </a:moveTo>
                    <a:lnTo>
                      <a:pt x="120" y="430"/>
                    </a:lnTo>
                    <a:lnTo>
                      <a:pt x="120" y="434"/>
                    </a:lnTo>
                    <a:lnTo>
                      <a:pt x="116" y="434"/>
                    </a:lnTo>
                    <a:lnTo>
                      <a:pt x="116" y="434"/>
                    </a:lnTo>
                    <a:lnTo>
                      <a:pt x="116" y="434"/>
                    </a:lnTo>
                    <a:close/>
                    <a:moveTo>
                      <a:pt x="106" y="436"/>
                    </a:moveTo>
                    <a:lnTo>
                      <a:pt x="110" y="436"/>
                    </a:lnTo>
                    <a:lnTo>
                      <a:pt x="106" y="436"/>
                    </a:lnTo>
                    <a:lnTo>
                      <a:pt x="106" y="436"/>
                    </a:lnTo>
                    <a:lnTo>
                      <a:pt x="106" y="436"/>
                    </a:lnTo>
                    <a:close/>
                    <a:moveTo>
                      <a:pt x="4974" y="440"/>
                    </a:moveTo>
                    <a:lnTo>
                      <a:pt x="4972" y="440"/>
                    </a:lnTo>
                    <a:lnTo>
                      <a:pt x="4974" y="440"/>
                    </a:lnTo>
                    <a:lnTo>
                      <a:pt x="4974" y="440"/>
                    </a:lnTo>
                    <a:lnTo>
                      <a:pt x="4974" y="440"/>
                    </a:lnTo>
                    <a:close/>
                    <a:moveTo>
                      <a:pt x="46" y="448"/>
                    </a:moveTo>
                    <a:lnTo>
                      <a:pt x="50" y="448"/>
                    </a:lnTo>
                    <a:lnTo>
                      <a:pt x="52" y="448"/>
                    </a:lnTo>
                    <a:lnTo>
                      <a:pt x="52" y="444"/>
                    </a:lnTo>
                    <a:lnTo>
                      <a:pt x="56" y="444"/>
                    </a:lnTo>
                    <a:lnTo>
                      <a:pt x="52" y="444"/>
                    </a:lnTo>
                    <a:lnTo>
                      <a:pt x="52" y="440"/>
                    </a:lnTo>
                    <a:lnTo>
                      <a:pt x="56" y="440"/>
                    </a:lnTo>
                    <a:lnTo>
                      <a:pt x="60" y="440"/>
                    </a:lnTo>
                    <a:lnTo>
                      <a:pt x="60" y="444"/>
                    </a:lnTo>
                    <a:lnTo>
                      <a:pt x="56" y="448"/>
                    </a:lnTo>
                    <a:lnTo>
                      <a:pt x="52" y="448"/>
                    </a:lnTo>
                    <a:lnTo>
                      <a:pt x="50" y="448"/>
                    </a:lnTo>
                    <a:lnTo>
                      <a:pt x="46" y="448"/>
                    </a:lnTo>
                    <a:lnTo>
                      <a:pt x="42" y="448"/>
                    </a:lnTo>
                    <a:lnTo>
                      <a:pt x="46" y="448"/>
                    </a:lnTo>
                    <a:lnTo>
                      <a:pt x="46" y="448"/>
                    </a:lnTo>
                    <a:lnTo>
                      <a:pt x="46" y="448"/>
                    </a:lnTo>
                    <a:close/>
                    <a:moveTo>
                      <a:pt x="80" y="444"/>
                    </a:moveTo>
                    <a:lnTo>
                      <a:pt x="80" y="440"/>
                    </a:lnTo>
                    <a:lnTo>
                      <a:pt x="82" y="440"/>
                    </a:lnTo>
                    <a:lnTo>
                      <a:pt x="82" y="444"/>
                    </a:lnTo>
                    <a:lnTo>
                      <a:pt x="80" y="444"/>
                    </a:lnTo>
                    <a:lnTo>
                      <a:pt x="80" y="444"/>
                    </a:lnTo>
                    <a:lnTo>
                      <a:pt x="80" y="444"/>
                    </a:lnTo>
                    <a:close/>
                    <a:moveTo>
                      <a:pt x="68" y="448"/>
                    </a:moveTo>
                    <a:lnTo>
                      <a:pt x="64" y="448"/>
                    </a:lnTo>
                    <a:lnTo>
                      <a:pt x="60" y="448"/>
                    </a:lnTo>
                    <a:lnTo>
                      <a:pt x="56" y="448"/>
                    </a:lnTo>
                    <a:lnTo>
                      <a:pt x="60" y="448"/>
                    </a:lnTo>
                    <a:lnTo>
                      <a:pt x="64" y="448"/>
                    </a:lnTo>
                    <a:lnTo>
                      <a:pt x="68" y="448"/>
                    </a:lnTo>
                    <a:lnTo>
                      <a:pt x="72" y="448"/>
                    </a:lnTo>
                    <a:lnTo>
                      <a:pt x="76" y="448"/>
                    </a:lnTo>
                    <a:lnTo>
                      <a:pt x="72" y="448"/>
                    </a:lnTo>
                    <a:lnTo>
                      <a:pt x="68" y="448"/>
                    </a:lnTo>
                    <a:lnTo>
                      <a:pt x="68" y="448"/>
                    </a:lnTo>
                    <a:lnTo>
                      <a:pt x="68" y="448"/>
                    </a:lnTo>
                    <a:close/>
                    <a:moveTo>
                      <a:pt x="5028" y="452"/>
                    </a:moveTo>
                    <a:lnTo>
                      <a:pt x="5030" y="448"/>
                    </a:lnTo>
                    <a:lnTo>
                      <a:pt x="5030" y="452"/>
                    </a:lnTo>
                    <a:lnTo>
                      <a:pt x="5028" y="452"/>
                    </a:lnTo>
                    <a:lnTo>
                      <a:pt x="5028" y="452"/>
                    </a:lnTo>
                    <a:lnTo>
                      <a:pt x="5028" y="452"/>
                    </a:lnTo>
                    <a:close/>
                    <a:moveTo>
                      <a:pt x="30" y="452"/>
                    </a:moveTo>
                    <a:lnTo>
                      <a:pt x="26" y="452"/>
                    </a:lnTo>
                    <a:lnTo>
                      <a:pt x="26" y="448"/>
                    </a:lnTo>
                    <a:lnTo>
                      <a:pt x="30" y="448"/>
                    </a:lnTo>
                    <a:lnTo>
                      <a:pt x="30" y="452"/>
                    </a:lnTo>
                    <a:lnTo>
                      <a:pt x="30" y="452"/>
                    </a:lnTo>
                    <a:lnTo>
                      <a:pt x="30" y="452"/>
                    </a:lnTo>
                    <a:close/>
                    <a:moveTo>
                      <a:pt x="5060" y="452"/>
                    </a:moveTo>
                    <a:lnTo>
                      <a:pt x="5058" y="452"/>
                    </a:lnTo>
                    <a:lnTo>
                      <a:pt x="5060" y="448"/>
                    </a:lnTo>
                    <a:lnTo>
                      <a:pt x="5060" y="452"/>
                    </a:lnTo>
                    <a:lnTo>
                      <a:pt x="5060" y="452"/>
                    </a:lnTo>
                    <a:lnTo>
                      <a:pt x="5060" y="452"/>
                    </a:lnTo>
                    <a:close/>
                    <a:moveTo>
                      <a:pt x="5042" y="452"/>
                    </a:moveTo>
                    <a:lnTo>
                      <a:pt x="5046" y="452"/>
                    </a:lnTo>
                    <a:lnTo>
                      <a:pt x="5042" y="452"/>
                    </a:lnTo>
                    <a:lnTo>
                      <a:pt x="5042" y="452"/>
                    </a:lnTo>
                    <a:lnTo>
                      <a:pt x="5042" y="452"/>
                    </a:lnTo>
                    <a:close/>
                    <a:moveTo>
                      <a:pt x="20" y="460"/>
                    </a:moveTo>
                    <a:lnTo>
                      <a:pt x="16" y="460"/>
                    </a:lnTo>
                    <a:lnTo>
                      <a:pt x="16" y="456"/>
                    </a:lnTo>
                    <a:lnTo>
                      <a:pt x="20" y="456"/>
                    </a:lnTo>
                    <a:lnTo>
                      <a:pt x="20" y="452"/>
                    </a:lnTo>
                    <a:lnTo>
                      <a:pt x="24" y="452"/>
                    </a:lnTo>
                    <a:lnTo>
                      <a:pt x="26" y="456"/>
                    </a:lnTo>
                    <a:lnTo>
                      <a:pt x="24" y="456"/>
                    </a:lnTo>
                    <a:lnTo>
                      <a:pt x="20" y="456"/>
                    </a:lnTo>
                    <a:lnTo>
                      <a:pt x="20" y="460"/>
                    </a:lnTo>
                    <a:lnTo>
                      <a:pt x="20" y="460"/>
                    </a:lnTo>
                    <a:lnTo>
                      <a:pt x="20" y="460"/>
                    </a:lnTo>
                    <a:close/>
                    <a:moveTo>
                      <a:pt x="8" y="456"/>
                    </a:moveTo>
                    <a:lnTo>
                      <a:pt x="12" y="456"/>
                    </a:lnTo>
                    <a:lnTo>
                      <a:pt x="16" y="456"/>
                    </a:lnTo>
                    <a:lnTo>
                      <a:pt x="16" y="452"/>
                    </a:lnTo>
                    <a:lnTo>
                      <a:pt x="16" y="456"/>
                    </a:lnTo>
                    <a:lnTo>
                      <a:pt x="12" y="456"/>
                    </a:lnTo>
                    <a:lnTo>
                      <a:pt x="8" y="456"/>
                    </a:lnTo>
                    <a:lnTo>
                      <a:pt x="8" y="456"/>
                    </a:lnTo>
                    <a:lnTo>
                      <a:pt x="8" y="456"/>
                    </a:lnTo>
                    <a:close/>
                    <a:moveTo>
                      <a:pt x="4" y="460"/>
                    </a:moveTo>
                    <a:lnTo>
                      <a:pt x="0" y="456"/>
                    </a:lnTo>
                    <a:lnTo>
                      <a:pt x="4" y="456"/>
                    </a:lnTo>
                    <a:lnTo>
                      <a:pt x="0" y="456"/>
                    </a:lnTo>
                    <a:lnTo>
                      <a:pt x="0" y="452"/>
                    </a:lnTo>
                    <a:lnTo>
                      <a:pt x="4" y="452"/>
                    </a:lnTo>
                    <a:lnTo>
                      <a:pt x="4" y="456"/>
                    </a:lnTo>
                    <a:lnTo>
                      <a:pt x="4" y="460"/>
                    </a:lnTo>
                    <a:lnTo>
                      <a:pt x="4" y="460"/>
                    </a:lnTo>
                    <a:lnTo>
                      <a:pt x="4" y="460"/>
                    </a:lnTo>
                    <a:close/>
                    <a:moveTo>
                      <a:pt x="30" y="456"/>
                    </a:moveTo>
                    <a:lnTo>
                      <a:pt x="26" y="456"/>
                    </a:lnTo>
                    <a:lnTo>
                      <a:pt x="26" y="452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2"/>
                    </a:lnTo>
                    <a:lnTo>
                      <a:pt x="30" y="456"/>
                    </a:lnTo>
                    <a:lnTo>
                      <a:pt x="30" y="456"/>
                    </a:lnTo>
                    <a:lnTo>
                      <a:pt x="30" y="456"/>
                    </a:lnTo>
                    <a:close/>
                    <a:moveTo>
                      <a:pt x="26" y="456"/>
                    </a:moveTo>
                    <a:lnTo>
                      <a:pt x="26" y="452"/>
                    </a:lnTo>
                    <a:lnTo>
                      <a:pt x="26" y="456"/>
                    </a:lnTo>
                    <a:lnTo>
                      <a:pt x="26" y="456"/>
                    </a:lnTo>
                    <a:lnTo>
                      <a:pt x="26" y="456"/>
                    </a:lnTo>
                    <a:close/>
                    <a:moveTo>
                      <a:pt x="5054" y="464"/>
                    </a:moveTo>
                    <a:lnTo>
                      <a:pt x="5050" y="460"/>
                    </a:lnTo>
                    <a:lnTo>
                      <a:pt x="5046" y="460"/>
                    </a:lnTo>
                    <a:lnTo>
                      <a:pt x="5046" y="456"/>
                    </a:lnTo>
                    <a:lnTo>
                      <a:pt x="5046" y="460"/>
                    </a:lnTo>
                    <a:lnTo>
                      <a:pt x="5050" y="460"/>
                    </a:lnTo>
                    <a:lnTo>
                      <a:pt x="5054" y="460"/>
                    </a:lnTo>
                    <a:lnTo>
                      <a:pt x="5054" y="464"/>
                    </a:lnTo>
                    <a:lnTo>
                      <a:pt x="5058" y="464"/>
                    </a:lnTo>
                    <a:lnTo>
                      <a:pt x="5054" y="464"/>
                    </a:lnTo>
                    <a:lnTo>
                      <a:pt x="5054" y="464"/>
                    </a:lnTo>
                    <a:lnTo>
                      <a:pt x="5054" y="464"/>
                    </a:lnTo>
                    <a:close/>
                    <a:moveTo>
                      <a:pt x="784" y="520"/>
                    </a:moveTo>
                    <a:lnTo>
                      <a:pt x="784" y="522"/>
                    </a:lnTo>
                    <a:lnTo>
                      <a:pt x="780" y="520"/>
                    </a:lnTo>
                    <a:lnTo>
                      <a:pt x="784" y="520"/>
                    </a:lnTo>
                    <a:lnTo>
                      <a:pt x="784" y="520"/>
                    </a:lnTo>
                    <a:lnTo>
                      <a:pt x="784" y="520"/>
                    </a:lnTo>
                    <a:close/>
                    <a:moveTo>
                      <a:pt x="784" y="522"/>
                    </a:moveTo>
                    <a:lnTo>
                      <a:pt x="784" y="526"/>
                    </a:lnTo>
                    <a:lnTo>
                      <a:pt x="784" y="522"/>
                    </a:lnTo>
                    <a:lnTo>
                      <a:pt x="780" y="522"/>
                    </a:lnTo>
                    <a:lnTo>
                      <a:pt x="784" y="522"/>
                    </a:lnTo>
                    <a:lnTo>
                      <a:pt x="784" y="522"/>
                    </a:lnTo>
                    <a:lnTo>
                      <a:pt x="784" y="522"/>
                    </a:lnTo>
                    <a:close/>
                    <a:moveTo>
                      <a:pt x="788" y="526"/>
                    </a:moveTo>
                    <a:lnTo>
                      <a:pt x="788" y="530"/>
                    </a:lnTo>
                    <a:lnTo>
                      <a:pt x="790" y="534"/>
                    </a:lnTo>
                    <a:lnTo>
                      <a:pt x="788" y="534"/>
                    </a:lnTo>
                    <a:lnTo>
                      <a:pt x="788" y="530"/>
                    </a:lnTo>
                    <a:lnTo>
                      <a:pt x="784" y="530"/>
                    </a:lnTo>
                    <a:lnTo>
                      <a:pt x="784" y="526"/>
                    </a:lnTo>
                    <a:lnTo>
                      <a:pt x="788" y="526"/>
                    </a:lnTo>
                    <a:lnTo>
                      <a:pt x="788" y="526"/>
                    </a:lnTo>
                    <a:lnTo>
                      <a:pt x="788" y="526"/>
                    </a:lnTo>
                    <a:close/>
                    <a:moveTo>
                      <a:pt x="790" y="546"/>
                    </a:moveTo>
                    <a:lnTo>
                      <a:pt x="788" y="546"/>
                    </a:lnTo>
                    <a:lnTo>
                      <a:pt x="788" y="542"/>
                    </a:lnTo>
                    <a:lnTo>
                      <a:pt x="788" y="546"/>
                    </a:lnTo>
                    <a:lnTo>
                      <a:pt x="790" y="546"/>
                    </a:lnTo>
                    <a:lnTo>
                      <a:pt x="790" y="546"/>
                    </a:lnTo>
                    <a:lnTo>
                      <a:pt x="790" y="546"/>
                    </a:lnTo>
                    <a:close/>
                    <a:moveTo>
                      <a:pt x="1556" y="606"/>
                    </a:moveTo>
                    <a:lnTo>
                      <a:pt x="1556" y="608"/>
                    </a:lnTo>
                    <a:lnTo>
                      <a:pt x="1552" y="608"/>
                    </a:lnTo>
                    <a:lnTo>
                      <a:pt x="1552" y="606"/>
                    </a:lnTo>
                    <a:lnTo>
                      <a:pt x="1556" y="606"/>
                    </a:lnTo>
                    <a:lnTo>
                      <a:pt x="1556" y="606"/>
                    </a:lnTo>
                    <a:lnTo>
                      <a:pt x="1556" y="606"/>
                    </a:lnTo>
                    <a:close/>
                    <a:moveTo>
                      <a:pt x="1552" y="608"/>
                    </a:moveTo>
                    <a:lnTo>
                      <a:pt x="1548" y="612"/>
                    </a:lnTo>
                    <a:lnTo>
                      <a:pt x="1548" y="608"/>
                    </a:lnTo>
                    <a:lnTo>
                      <a:pt x="1552" y="608"/>
                    </a:lnTo>
                    <a:lnTo>
                      <a:pt x="1552" y="608"/>
                    </a:lnTo>
                    <a:lnTo>
                      <a:pt x="1552" y="608"/>
                    </a:lnTo>
                    <a:close/>
                    <a:moveTo>
                      <a:pt x="1514" y="660"/>
                    </a:moveTo>
                    <a:lnTo>
                      <a:pt x="1514" y="664"/>
                    </a:lnTo>
                    <a:lnTo>
                      <a:pt x="1510" y="664"/>
                    </a:lnTo>
                    <a:lnTo>
                      <a:pt x="1510" y="660"/>
                    </a:lnTo>
                    <a:lnTo>
                      <a:pt x="1514" y="660"/>
                    </a:lnTo>
                    <a:lnTo>
                      <a:pt x="1514" y="660"/>
                    </a:lnTo>
                    <a:lnTo>
                      <a:pt x="1514" y="660"/>
                    </a:lnTo>
                    <a:close/>
                    <a:moveTo>
                      <a:pt x="1522" y="664"/>
                    </a:moveTo>
                    <a:lnTo>
                      <a:pt x="1522" y="668"/>
                    </a:lnTo>
                    <a:lnTo>
                      <a:pt x="1518" y="668"/>
                    </a:lnTo>
                    <a:lnTo>
                      <a:pt x="1518" y="664"/>
                    </a:lnTo>
                    <a:lnTo>
                      <a:pt x="1522" y="664"/>
                    </a:lnTo>
                    <a:lnTo>
                      <a:pt x="1522" y="664"/>
                    </a:lnTo>
                    <a:lnTo>
                      <a:pt x="1522" y="664"/>
                    </a:lnTo>
                    <a:close/>
                    <a:moveTo>
                      <a:pt x="1528" y="664"/>
                    </a:moveTo>
                    <a:lnTo>
                      <a:pt x="1528" y="668"/>
                    </a:lnTo>
                    <a:lnTo>
                      <a:pt x="1532" y="668"/>
                    </a:lnTo>
                    <a:lnTo>
                      <a:pt x="1528" y="668"/>
                    </a:lnTo>
                    <a:lnTo>
                      <a:pt x="1526" y="668"/>
                    </a:lnTo>
                    <a:lnTo>
                      <a:pt x="1528" y="668"/>
                    </a:lnTo>
                    <a:lnTo>
                      <a:pt x="1528" y="664"/>
                    </a:lnTo>
                    <a:lnTo>
                      <a:pt x="1528" y="664"/>
                    </a:lnTo>
                    <a:lnTo>
                      <a:pt x="1528" y="664"/>
                    </a:lnTo>
                    <a:close/>
                    <a:moveTo>
                      <a:pt x="1488" y="678"/>
                    </a:moveTo>
                    <a:lnTo>
                      <a:pt x="1488" y="676"/>
                    </a:lnTo>
                    <a:lnTo>
                      <a:pt x="1488" y="678"/>
                    </a:lnTo>
                    <a:lnTo>
                      <a:pt x="1484" y="678"/>
                    </a:lnTo>
                    <a:lnTo>
                      <a:pt x="1480" y="678"/>
                    </a:lnTo>
                    <a:lnTo>
                      <a:pt x="1476" y="678"/>
                    </a:lnTo>
                    <a:lnTo>
                      <a:pt x="1472" y="678"/>
                    </a:lnTo>
                    <a:lnTo>
                      <a:pt x="1472" y="676"/>
                    </a:lnTo>
                    <a:lnTo>
                      <a:pt x="1476" y="676"/>
                    </a:lnTo>
                    <a:lnTo>
                      <a:pt x="1480" y="676"/>
                    </a:lnTo>
                    <a:lnTo>
                      <a:pt x="1484" y="676"/>
                    </a:lnTo>
                    <a:lnTo>
                      <a:pt x="1488" y="672"/>
                    </a:lnTo>
                    <a:lnTo>
                      <a:pt x="1492" y="672"/>
                    </a:lnTo>
                    <a:lnTo>
                      <a:pt x="1496" y="672"/>
                    </a:lnTo>
                    <a:lnTo>
                      <a:pt x="1498" y="668"/>
                    </a:lnTo>
                    <a:lnTo>
                      <a:pt x="1498" y="672"/>
                    </a:lnTo>
                    <a:lnTo>
                      <a:pt x="1496" y="672"/>
                    </a:lnTo>
                    <a:lnTo>
                      <a:pt x="1492" y="676"/>
                    </a:lnTo>
                    <a:lnTo>
                      <a:pt x="1496" y="676"/>
                    </a:lnTo>
                    <a:lnTo>
                      <a:pt x="1496" y="672"/>
                    </a:lnTo>
                    <a:lnTo>
                      <a:pt x="1498" y="672"/>
                    </a:lnTo>
                    <a:lnTo>
                      <a:pt x="1502" y="672"/>
                    </a:lnTo>
                    <a:lnTo>
                      <a:pt x="1498" y="672"/>
                    </a:lnTo>
                    <a:lnTo>
                      <a:pt x="1496" y="676"/>
                    </a:lnTo>
                    <a:lnTo>
                      <a:pt x="1492" y="676"/>
                    </a:lnTo>
                    <a:lnTo>
                      <a:pt x="1488" y="678"/>
                    </a:lnTo>
                    <a:lnTo>
                      <a:pt x="1488" y="678"/>
                    </a:lnTo>
                    <a:lnTo>
                      <a:pt x="1488" y="678"/>
                    </a:lnTo>
                    <a:close/>
                    <a:moveTo>
                      <a:pt x="824" y="806"/>
                    </a:moveTo>
                    <a:lnTo>
                      <a:pt x="820" y="806"/>
                    </a:lnTo>
                    <a:lnTo>
                      <a:pt x="824" y="806"/>
                    </a:lnTo>
                    <a:lnTo>
                      <a:pt x="824" y="806"/>
                    </a:lnTo>
                    <a:lnTo>
                      <a:pt x="824" y="806"/>
                    </a:lnTo>
                    <a:close/>
                    <a:moveTo>
                      <a:pt x="844" y="818"/>
                    </a:moveTo>
                    <a:lnTo>
                      <a:pt x="846" y="818"/>
                    </a:lnTo>
                    <a:lnTo>
                      <a:pt x="844" y="818"/>
                    </a:lnTo>
                    <a:lnTo>
                      <a:pt x="844" y="818"/>
                    </a:lnTo>
                    <a:lnTo>
                      <a:pt x="844" y="818"/>
                    </a:lnTo>
                    <a:close/>
                    <a:moveTo>
                      <a:pt x="844" y="824"/>
                    </a:moveTo>
                    <a:lnTo>
                      <a:pt x="846" y="828"/>
                    </a:lnTo>
                    <a:lnTo>
                      <a:pt x="844" y="828"/>
                    </a:lnTo>
                    <a:lnTo>
                      <a:pt x="844" y="824"/>
                    </a:lnTo>
                    <a:lnTo>
                      <a:pt x="844" y="824"/>
                    </a:lnTo>
                    <a:lnTo>
                      <a:pt x="844" y="824"/>
                    </a:lnTo>
                    <a:close/>
                    <a:moveTo>
                      <a:pt x="1298" y="874"/>
                    </a:moveTo>
                    <a:lnTo>
                      <a:pt x="1294" y="874"/>
                    </a:lnTo>
                    <a:lnTo>
                      <a:pt x="1290" y="874"/>
                    </a:lnTo>
                    <a:lnTo>
                      <a:pt x="1286" y="874"/>
                    </a:lnTo>
                    <a:lnTo>
                      <a:pt x="1290" y="874"/>
                    </a:lnTo>
                    <a:lnTo>
                      <a:pt x="1294" y="874"/>
                    </a:lnTo>
                    <a:lnTo>
                      <a:pt x="1298" y="874"/>
                    </a:lnTo>
                    <a:lnTo>
                      <a:pt x="1298" y="874"/>
                    </a:lnTo>
                    <a:lnTo>
                      <a:pt x="1298" y="874"/>
                    </a:lnTo>
                    <a:close/>
                    <a:moveTo>
                      <a:pt x="1224" y="888"/>
                    </a:moveTo>
                    <a:lnTo>
                      <a:pt x="1220" y="888"/>
                    </a:lnTo>
                    <a:lnTo>
                      <a:pt x="1224" y="888"/>
                    </a:lnTo>
                    <a:lnTo>
                      <a:pt x="1224" y="888"/>
                    </a:lnTo>
                    <a:lnTo>
                      <a:pt x="1224" y="888"/>
                    </a:lnTo>
                    <a:close/>
                    <a:moveTo>
                      <a:pt x="1178" y="892"/>
                    </a:moveTo>
                    <a:lnTo>
                      <a:pt x="1178" y="896"/>
                    </a:lnTo>
                    <a:lnTo>
                      <a:pt x="1174" y="896"/>
                    </a:lnTo>
                    <a:lnTo>
                      <a:pt x="1178" y="896"/>
                    </a:lnTo>
                    <a:lnTo>
                      <a:pt x="1178" y="892"/>
                    </a:lnTo>
                    <a:lnTo>
                      <a:pt x="1178" y="892"/>
                    </a:lnTo>
                    <a:lnTo>
                      <a:pt x="1178" y="892"/>
                    </a:lnTo>
                    <a:close/>
                    <a:moveTo>
                      <a:pt x="1152" y="914"/>
                    </a:moveTo>
                    <a:lnTo>
                      <a:pt x="1152" y="910"/>
                    </a:lnTo>
                    <a:lnTo>
                      <a:pt x="1156" y="910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152" y="914"/>
                    </a:moveTo>
                    <a:lnTo>
                      <a:pt x="1148" y="914"/>
                    </a:lnTo>
                    <a:lnTo>
                      <a:pt x="1148" y="918"/>
                    </a:lnTo>
                    <a:lnTo>
                      <a:pt x="1148" y="914"/>
                    </a:lnTo>
                    <a:lnTo>
                      <a:pt x="1152" y="914"/>
                    </a:lnTo>
                    <a:lnTo>
                      <a:pt x="1152" y="914"/>
                    </a:lnTo>
                    <a:lnTo>
                      <a:pt x="1152" y="914"/>
                    </a:lnTo>
                    <a:close/>
                    <a:moveTo>
                      <a:pt x="1384" y="966"/>
                    </a:moveTo>
                    <a:lnTo>
                      <a:pt x="1384" y="962"/>
                    </a:lnTo>
                    <a:lnTo>
                      <a:pt x="1384" y="966"/>
                    </a:lnTo>
                    <a:lnTo>
                      <a:pt x="1380" y="970"/>
                    </a:lnTo>
                    <a:lnTo>
                      <a:pt x="1384" y="970"/>
                    </a:lnTo>
                    <a:lnTo>
                      <a:pt x="1384" y="966"/>
                    </a:lnTo>
                    <a:lnTo>
                      <a:pt x="1384" y="966"/>
                    </a:lnTo>
                    <a:lnTo>
                      <a:pt x="1384" y="966"/>
                    </a:lnTo>
                    <a:close/>
                    <a:moveTo>
                      <a:pt x="266" y="1026"/>
                    </a:moveTo>
                    <a:lnTo>
                      <a:pt x="262" y="1026"/>
                    </a:lnTo>
                    <a:lnTo>
                      <a:pt x="262" y="1022"/>
                    </a:lnTo>
                    <a:lnTo>
                      <a:pt x="262" y="1018"/>
                    </a:lnTo>
                    <a:lnTo>
                      <a:pt x="266" y="1018"/>
                    </a:lnTo>
                    <a:lnTo>
                      <a:pt x="266" y="1022"/>
                    </a:lnTo>
                    <a:lnTo>
                      <a:pt x="270" y="1022"/>
                    </a:lnTo>
                    <a:lnTo>
                      <a:pt x="266" y="1026"/>
                    </a:lnTo>
                    <a:lnTo>
                      <a:pt x="266" y="1026"/>
                    </a:lnTo>
                    <a:lnTo>
                      <a:pt x="266" y="1026"/>
                    </a:lnTo>
                    <a:close/>
                    <a:moveTo>
                      <a:pt x="254" y="1026"/>
                    </a:moveTo>
                    <a:lnTo>
                      <a:pt x="254" y="1022"/>
                    </a:lnTo>
                    <a:lnTo>
                      <a:pt x="258" y="1022"/>
                    </a:lnTo>
                    <a:lnTo>
                      <a:pt x="258" y="1026"/>
                    </a:lnTo>
                    <a:lnTo>
                      <a:pt x="254" y="1026"/>
                    </a:lnTo>
                    <a:lnTo>
                      <a:pt x="254" y="1026"/>
                    </a:lnTo>
                    <a:lnTo>
                      <a:pt x="254" y="1026"/>
                    </a:lnTo>
                    <a:close/>
                    <a:moveTo>
                      <a:pt x="288" y="1038"/>
                    </a:moveTo>
                    <a:lnTo>
                      <a:pt x="284" y="1038"/>
                    </a:lnTo>
                    <a:lnTo>
                      <a:pt x="284" y="1034"/>
                    </a:lnTo>
                    <a:lnTo>
                      <a:pt x="280" y="1030"/>
                    </a:lnTo>
                    <a:lnTo>
                      <a:pt x="284" y="1030"/>
                    </a:lnTo>
                    <a:lnTo>
                      <a:pt x="288" y="1030"/>
                    </a:lnTo>
                    <a:lnTo>
                      <a:pt x="288" y="1034"/>
                    </a:lnTo>
                    <a:lnTo>
                      <a:pt x="292" y="1038"/>
                    </a:lnTo>
                    <a:lnTo>
                      <a:pt x="288" y="1038"/>
                    </a:lnTo>
                    <a:lnTo>
                      <a:pt x="288" y="1038"/>
                    </a:lnTo>
                    <a:lnTo>
                      <a:pt x="288" y="1038"/>
                    </a:lnTo>
                    <a:close/>
                    <a:moveTo>
                      <a:pt x="302" y="1042"/>
                    </a:moveTo>
                    <a:lnTo>
                      <a:pt x="298" y="1042"/>
                    </a:lnTo>
                    <a:lnTo>
                      <a:pt x="294" y="1042"/>
                    </a:lnTo>
                    <a:lnTo>
                      <a:pt x="294" y="1038"/>
                    </a:lnTo>
                    <a:lnTo>
                      <a:pt x="298" y="1038"/>
                    </a:lnTo>
                    <a:lnTo>
                      <a:pt x="302" y="1038"/>
                    </a:lnTo>
                    <a:lnTo>
                      <a:pt x="302" y="1042"/>
                    </a:lnTo>
                    <a:lnTo>
                      <a:pt x="302" y="1042"/>
                    </a:lnTo>
                    <a:lnTo>
                      <a:pt x="302" y="1042"/>
                    </a:lnTo>
                    <a:close/>
                    <a:moveTo>
                      <a:pt x="310" y="1048"/>
                    </a:moveTo>
                    <a:lnTo>
                      <a:pt x="306" y="1048"/>
                    </a:lnTo>
                    <a:lnTo>
                      <a:pt x="306" y="1046"/>
                    </a:lnTo>
                    <a:lnTo>
                      <a:pt x="302" y="1046"/>
                    </a:lnTo>
                    <a:lnTo>
                      <a:pt x="302" y="1042"/>
                    </a:lnTo>
                    <a:lnTo>
                      <a:pt x="306" y="1042"/>
                    </a:lnTo>
                    <a:lnTo>
                      <a:pt x="306" y="1046"/>
                    </a:lnTo>
                    <a:lnTo>
                      <a:pt x="310" y="1046"/>
                    </a:lnTo>
                    <a:lnTo>
                      <a:pt x="310" y="1042"/>
                    </a:lnTo>
                    <a:lnTo>
                      <a:pt x="310" y="1046"/>
                    </a:lnTo>
                    <a:lnTo>
                      <a:pt x="314" y="1046"/>
                    </a:lnTo>
                    <a:lnTo>
                      <a:pt x="314" y="1048"/>
                    </a:lnTo>
                    <a:lnTo>
                      <a:pt x="310" y="1048"/>
                    </a:lnTo>
                    <a:lnTo>
                      <a:pt x="310" y="1048"/>
                    </a:lnTo>
                    <a:lnTo>
                      <a:pt x="310" y="1048"/>
                    </a:lnTo>
                    <a:close/>
                    <a:moveTo>
                      <a:pt x="302" y="1046"/>
                    </a:moveTo>
                    <a:lnTo>
                      <a:pt x="298" y="1046"/>
                    </a:lnTo>
                    <a:lnTo>
                      <a:pt x="302" y="1046"/>
                    </a:lnTo>
                    <a:lnTo>
                      <a:pt x="302" y="1046"/>
                    </a:lnTo>
                    <a:lnTo>
                      <a:pt x="302" y="1046"/>
                    </a:lnTo>
                    <a:close/>
                    <a:moveTo>
                      <a:pt x="318" y="1056"/>
                    </a:moveTo>
                    <a:lnTo>
                      <a:pt x="322" y="1056"/>
                    </a:lnTo>
                    <a:lnTo>
                      <a:pt x="324" y="1060"/>
                    </a:lnTo>
                    <a:lnTo>
                      <a:pt x="324" y="1062"/>
                    </a:lnTo>
                    <a:lnTo>
                      <a:pt x="328" y="1062"/>
                    </a:lnTo>
                    <a:lnTo>
                      <a:pt x="328" y="1066"/>
                    </a:lnTo>
                    <a:lnTo>
                      <a:pt x="332" y="1066"/>
                    </a:lnTo>
                    <a:lnTo>
                      <a:pt x="328" y="1070"/>
                    </a:lnTo>
                    <a:lnTo>
                      <a:pt x="324" y="1070"/>
                    </a:lnTo>
                    <a:lnTo>
                      <a:pt x="322" y="1074"/>
                    </a:lnTo>
                    <a:lnTo>
                      <a:pt x="322" y="1078"/>
                    </a:lnTo>
                    <a:lnTo>
                      <a:pt x="318" y="1078"/>
                    </a:lnTo>
                    <a:lnTo>
                      <a:pt x="314" y="1074"/>
                    </a:lnTo>
                    <a:lnTo>
                      <a:pt x="314" y="1070"/>
                    </a:lnTo>
                    <a:lnTo>
                      <a:pt x="314" y="1066"/>
                    </a:lnTo>
                    <a:lnTo>
                      <a:pt x="314" y="1062"/>
                    </a:lnTo>
                    <a:lnTo>
                      <a:pt x="318" y="1060"/>
                    </a:lnTo>
                    <a:lnTo>
                      <a:pt x="314" y="1056"/>
                    </a:lnTo>
                    <a:lnTo>
                      <a:pt x="318" y="1056"/>
                    </a:lnTo>
                    <a:lnTo>
                      <a:pt x="318" y="1056"/>
                    </a:lnTo>
                    <a:lnTo>
                      <a:pt x="318" y="10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8" name="Freeform 197">
                <a:extLst>
                  <a:ext uri="{FF2B5EF4-FFF2-40B4-BE49-F238E27FC236}">
                    <a16:creationId xmlns:a16="http://schemas.microsoft.com/office/drawing/2014/main" id="{5CC65A56-D6F4-4CF8-A55F-CC66E46015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0825" y="2505143"/>
                <a:ext cx="53975" cy="41275"/>
              </a:xfrm>
              <a:custGeom>
                <a:avLst/>
                <a:gdLst>
                  <a:gd name="T0" fmla="*/ 0 w 34"/>
                  <a:gd name="T1" fmla="*/ 6 h 26"/>
                  <a:gd name="T2" fmla="*/ 4 w 34"/>
                  <a:gd name="T3" fmla="*/ 2 h 26"/>
                  <a:gd name="T4" fmla="*/ 4 w 34"/>
                  <a:gd name="T5" fmla="*/ 0 h 26"/>
                  <a:gd name="T6" fmla="*/ 4 w 34"/>
                  <a:gd name="T7" fmla="*/ 0 h 26"/>
                  <a:gd name="T8" fmla="*/ 4 w 34"/>
                  <a:gd name="T9" fmla="*/ 0 h 26"/>
                  <a:gd name="T10" fmla="*/ 8 w 34"/>
                  <a:gd name="T11" fmla="*/ 0 h 26"/>
                  <a:gd name="T12" fmla="*/ 8 w 34"/>
                  <a:gd name="T13" fmla="*/ 0 h 26"/>
                  <a:gd name="T14" fmla="*/ 8 w 34"/>
                  <a:gd name="T15" fmla="*/ 0 h 26"/>
                  <a:gd name="T16" fmla="*/ 8 w 34"/>
                  <a:gd name="T17" fmla="*/ 0 h 26"/>
                  <a:gd name="T18" fmla="*/ 12 w 34"/>
                  <a:gd name="T19" fmla="*/ 2 h 26"/>
                  <a:gd name="T20" fmla="*/ 12 w 34"/>
                  <a:gd name="T21" fmla="*/ 2 h 26"/>
                  <a:gd name="T22" fmla="*/ 20 w 34"/>
                  <a:gd name="T23" fmla="*/ 6 h 26"/>
                  <a:gd name="T24" fmla="*/ 26 w 34"/>
                  <a:gd name="T25" fmla="*/ 10 h 26"/>
                  <a:gd name="T26" fmla="*/ 26 w 34"/>
                  <a:gd name="T27" fmla="*/ 10 h 26"/>
                  <a:gd name="T28" fmla="*/ 26 w 34"/>
                  <a:gd name="T29" fmla="*/ 10 h 26"/>
                  <a:gd name="T30" fmla="*/ 26 w 34"/>
                  <a:gd name="T31" fmla="*/ 10 h 26"/>
                  <a:gd name="T32" fmla="*/ 30 w 34"/>
                  <a:gd name="T33" fmla="*/ 10 h 26"/>
                  <a:gd name="T34" fmla="*/ 30 w 34"/>
                  <a:gd name="T35" fmla="*/ 10 h 26"/>
                  <a:gd name="T36" fmla="*/ 30 w 34"/>
                  <a:gd name="T37" fmla="*/ 10 h 26"/>
                  <a:gd name="T38" fmla="*/ 26 w 34"/>
                  <a:gd name="T39" fmla="*/ 10 h 26"/>
                  <a:gd name="T40" fmla="*/ 24 w 34"/>
                  <a:gd name="T41" fmla="*/ 14 h 26"/>
                  <a:gd name="T42" fmla="*/ 26 w 34"/>
                  <a:gd name="T43" fmla="*/ 14 h 26"/>
                  <a:gd name="T44" fmla="*/ 30 w 34"/>
                  <a:gd name="T45" fmla="*/ 14 h 26"/>
                  <a:gd name="T46" fmla="*/ 30 w 34"/>
                  <a:gd name="T47" fmla="*/ 14 h 26"/>
                  <a:gd name="T48" fmla="*/ 34 w 34"/>
                  <a:gd name="T49" fmla="*/ 14 h 26"/>
                  <a:gd name="T50" fmla="*/ 34 w 34"/>
                  <a:gd name="T51" fmla="*/ 14 h 26"/>
                  <a:gd name="T52" fmla="*/ 30 w 34"/>
                  <a:gd name="T53" fmla="*/ 14 h 26"/>
                  <a:gd name="T54" fmla="*/ 26 w 34"/>
                  <a:gd name="T55" fmla="*/ 18 h 26"/>
                  <a:gd name="T56" fmla="*/ 26 w 34"/>
                  <a:gd name="T57" fmla="*/ 18 h 26"/>
                  <a:gd name="T58" fmla="*/ 26 w 34"/>
                  <a:gd name="T59" fmla="*/ 18 h 26"/>
                  <a:gd name="T60" fmla="*/ 24 w 34"/>
                  <a:gd name="T61" fmla="*/ 18 h 26"/>
                  <a:gd name="T62" fmla="*/ 24 w 34"/>
                  <a:gd name="T63" fmla="*/ 18 h 26"/>
                  <a:gd name="T64" fmla="*/ 20 w 34"/>
                  <a:gd name="T65" fmla="*/ 18 h 26"/>
                  <a:gd name="T66" fmla="*/ 16 w 34"/>
                  <a:gd name="T67" fmla="*/ 18 h 26"/>
                  <a:gd name="T68" fmla="*/ 16 w 34"/>
                  <a:gd name="T69" fmla="*/ 18 h 26"/>
                  <a:gd name="T70" fmla="*/ 16 w 34"/>
                  <a:gd name="T71" fmla="*/ 18 h 26"/>
                  <a:gd name="T72" fmla="*/ 12 w 34"/>
                  <a:gd name="T73" fmla="*/ 14 h 26"/>
                  <a:gd name="T74" fmla="*/ 12 w 34"/>
                  <a:gd name="T75" fmla="*/ 18 h 26"/>
                  <a:gd name="T76" fmla="*/ 8 w 34"/>
                  <a:gd name="T77" fmla="*/ 22 h 26"/>
                  <a:gd name="T78" fmla="*/ 4 w 34"/>
                  <a:gd name="T79" fmla="*/ 26 h 26"/>
                  <a:gd name="T80" fmla="*/ 0 w 34"/>
                  <a:gd name="T81" fmla="*/ 26 h 26"/>
                  <a:gd name="T82" fmla="*/ 4 w 34"/>
                  <a:gd name="T83" fmla="*/ 22 h 26"/>
                  <a:gd name="T84" fmla="*/ 4 w 34"/>
                  <a:gd name="T85" fmla="*/ 22 h 26"/>
                  <a:gd name="T86" fmla="*/ 4 w 34"/>
                  <a:gd name="T87" fmla="*/ 22 h 26"/>
                  <a:gd name="T88" fmla="*/ 4 w 34"/>
                  <a:gd name="T89" fmla="*/ 22 h 26"/>
                  <a:gd name="T90" fmla="*/ 0 w 34"/>
                  <a:gd name="T91" fmla="*/ 22 h 26"/>
                  <a:gd name="T92" fmla="*/ 4 w 34"/>
                  <a:gd name="T93" fmla="*/ 22 h 26"/>
                  <a:gd name="T94" fmla="*/ 4 w 34"/>
                  <a:gd name="T95" fmla="*/ 18 h 26"/>
                  <a:gd name="T96" fmla="*/ 4 w 34"/>
                  <a:gd name="T97" fmla="*/ 14 h 26"/>
                  <a:gd name="T98" fmla="*/ 0 w 34"/>
                  <a:gd name="T99" fmla="*/ 10 h 26"/>
                  <a:gd name="T100" fmla="*/ 0 w 34"/>
                  <a:gd name="T101" fmla="*/ 10 h 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34" h="26">
                    <a:moveTo>
                      <a:pt x="0" y="10"/>
                    </a:moveTo>
                    <a:lnTo>
                      <a:pt x="0" y="10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2"/>
                    </a:lnTo>
                    <a:lnTo>
                      <a:pt x="4" y="2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2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0" y="6"/>
                    </a:lnTo>
                    <a:lnTo>
                      <a:pt x="24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4"/>
                    </a:lnTo>
                    <a:lnTo>
                      <a:pt x="24" y="14"/>
                    </a:lnTo>
                    <a:lnTo>
                      <a:pt x="24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26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30" y="14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6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4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20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22"/>
                    </a:lnTo>
                    <a:lnTo>
                      <a:pt x="16" y="22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6" y="18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4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12" y="18"/>
                    </a:lnTo>
                    <a:lnTo>
                      <a:pt x="8" y="22"/>
                    </a:lnTo>
                    <a:lnTo>
                      <a:pt x="8" y="22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4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0" y="26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0" y="22"/>
                    </a:lnTo>
                    <a:lnTo>
                      <a:pt x="0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22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0" y="1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59" name="Freeform 198">
                <a:extLst>
                  <a:ext uri="{FF2B5EF4-FFF2-40B4-BE49-F238E27FC236}">
                    <a16:creationId xmlns:a16="http://schemas.microsoft.com/office/drawing/2014/main" id="{3A3D2F0D-8719-4339-9E3E-FB5185DD90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66975" y="4229168"/>
                <a:ext cx="22225" cy="31750"/>
              </a:xfrm>
              <a:custGeom>
                <a:avLst/>
                <a:gdLst>
                  <a:gd name="T0" fmla="*/ 14 w 14"/>
                  <a:gd name="T1" fmla="*/ 16 h 20"/>
                  <a:gd name="T2" fmla="*/ 14 w 14"/>
                  <a:gd name="T3" fmla="*/ 20 h 20"/>
                  <a:gd name="T4" fmla="*/ 14 w 14"/>
                  <a:gd name="T5" fmla="*/ 20 h 20"/>
                  <a:gd name="T6" fmla="*/ 14 w 14"/>
                  <a:gd name="T7" fmla="*/ 20 h 20"/>
                  <a:gd name="T8" fmla="*/ 14 w 14"/>
                  <a:gd name="T9" fmla="*/ 20 h 20"/>
                  <a:gd name="T10" fmla="*/ 14 w 14"/>
                  <a:gd name="T11" fmla="*/ 20 h 20"/>
                  <a:gd name="T12" fmla="*/ 10 w 14"/>
                  <a:gd name="T13" fmla="*/ 20 h 20"/>
                  <a:gd name="T14" fmla="*/ 6 w 14"/>
                  <a:gd name="T15" fmla="*/ 16 h 20"/>
                  <a:gd name="T16" fmla="*/ 2 w 14"/>
                  <a:gd name="T17" fmla="*/ 16 h 20"/>
                  <a:gd name="T18" fmla="*/ 2 w 14"/>
                  <a:gd name="T19" fmla="*/ 12 h 20"/>
                  <a:gd name="T20" fmla="*/ 2 w 14"/>
                  <a:gd name="T21" fmla="*/ 12 h 20"/>
                  <a:gd name="T22" fmla="*/ 0 w 14"/>
                  <a:gd name="T23" fmla="*/ 12 h 20"/>
                  <a:gd name="T24" fmla="*/ 0 w 14"/>
                  <a:gd name="T25" fmla="*/ 12 h 20"/>
                  <a:gd name="T26" fmla="*/ 0 w 14"/>
                  <a:gd name="T27" fmla="*/ 12 h 20"/>
                  <a:gd name="T28" fmla="*/ 0 w 14"/>
                  <a:gd name="T29" fmla="*/ 8 h 20"/>
                  <a:gd name="T30" fmla="*/ 0 w 14"/>
                  <a:gd name="T31" fmla="*/ 8 h 20"/>
                  <a:gd name="T32" fmla="*/ 0 w 14"/>
                  <a:gd name="T33" fmla="*/ 4 h 20"/>
                  <a:gd name="T34" fmla="*/ 0 w 14"/>
                  <a:gd name="T35" fmla="*/ 4 h 20"/>
                  <a:gd name="T36" fmla="*/ 0 w 14"/>
                  <a:gd name="T37" fmla="*/ 4 h 20"/>
                  <a:gd name="T38" fmla="*/ 0 w 14"/>
                  <a:gd name="T39" fmla="*/ 4 h 20"/>
                  <a:gd name="T40" fmla="*/ 0 w 14"/>
                  <a:gd name="T41" fmla="*/ 4 h 20"/>
                  <a:gd name="T42" fmla="*/ 0 w 14"/>
                  <a:gd name="T43" fmla="*/ 0 h 20"/>
                  <a:gd name="T44" fmla="*/ 0 w 14"/>
                  <a:gd name="T45" fmla="*/ 0 h 20"/>
                  <a:gd name="T46" fmla="*/ 0 w 14"/>
                  <a:gd name="T47" fmla="*/ 0 h 20"/>
                  <a:gd name="T48" fmla="*/ 0 w 14"/>
                  <a:gd name="T49" fmla="*/ 0 h 20"/>
                  <a:gd name="T50" fmla="*/ 0 w 14"/>
                  <a:gd name="T51" fmla="*/ 0 h 20"/>
                  <a:gd name="T52" fmla="*/ 2 w 14"/>
                  <a:gd name="T53" fmla="*/ 0 h 20"/>
                  <a:gd name="T54" fmla="*/ 2 w 14"/>
                  <a:gd name="T55" fmla="*/ 0 h 20"/>
                  <a:gd name="T56" fmla="*/ 2 w 14"/>
                  <a:gd name="T57" fmla="*/ 0 h 20"/>
                  <a:gd name="T58" fmla="*/ 6 w 14"/>
                  <a:gd name="T59" fmla="*/ 4 h 20"/>
                  <a:gd name="T60" fmla="*/ 6 w 14"/>
                  <a:gd name="T61" fmla="*/ 4 h 20"/>
                  <a:gd name="T62" fmla="*/ 6 w 14"/>
                  <a:gd name="T63" fmla="*/ 4 h 20"/>
                  <a:gd name="T64" fmla="*/ 10 w 14"/>
                  <a:gd name="T65" fmla="*/ 8 h 20"/>
                  <a:gd name="T66" fmla="*/ 10 w 14"/>
                  <a:gd name="T67" fmla="*/ 8 h 20"/>
                  <a:gd name="T68" fmla="*/ 10 w 14"/>
                  <a:gd name="T69" fmla="*/ 8 h 20"/>
                  <a:gd name="T70" fmla="*/ 14 w 14"/>
                  <a:gd name="T71" fmla="*/ 12 h 20"/>
                  <a:gd name="T72" fmla="*/ 14 w 14"/>
                  <a:gd name="T73" fmla="*/ 16 h 20"/>
                  <a:gd name="T74" fmla="*/ 14 w 14"/>
                  <a:gd name="T75" fmla="*/ 16 h 20"/>
                  <a:gd name="T76" fmla="*/ 14 w 14"/>
                  <a:gd name="T77" fmla="*/ 16 h 20"/>
                  <a:gd name="T78" fmla="*/ 14 w 14"/>
                  <a:gd name="T79" fmla="*/ 16 h 20"/>
                  <a:gd name="T80" fmla="*/ 14 w 14"/>
                  <a:gd name="T81" fmla="*/ 16 h 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4" h="20">
                    <a:moveTo>
                      <a:pt x="14" y="16"/>
                    </a:moveTo>
                    <a:lnTo>
                      <a:pt x="14" y="16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4" y="20"/>
                    </a:lnTo>
                    <a:lnTo>
                      <a:pt x="10" y="20"/>
                    </a:lnTo>
                    <a:lnTo>
                      <a:pt x="10" y="16"/>
                    </a:lnTo>
                    <a:lnTo>
                      <a:pt x="6" y="16"/>
                    </a:lnTo>
                    <a:lnTo>
                      <a:pt x="6" y="16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6" y="4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lnTo>
                      <a:pt x="14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0" name="Freeform 199">
                <a:extLst>
                  <a:ext uri="{FF2B5EF4-FFF2-40B4-BE49-F238E27FC236}">
                    <a16:creationId xmlns:a16="http://schemas.microsoft.com/office/drawing/2014/main" id="{CDA862F0-3469-4C76-BFB0-AA71C0E9B89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30475" y="3343343"/>
                <a:ext cx="12700" cy="9525"/>
              </a:xfrm>
              <a:custGeom>
                <a:avLst/>
                <a:gdLst>
                  <a:gd name="T0" fmla="*/ 4 w 8"/>
                  <a:gd name="T1" fmla="*/ 4 h 6"/>
                  <a:gd name="T2" fmla="*/ 4 w 8"/>
                  <a:gd name="T3" fmla="*/ 4 h 6"/>
                  <a:gd name="T4" fmla="*/ 8 w 8"/>
                  <a:gd name="T5" fmla="*/ 4 h 6"/>
                  <a:gd name="T6" fmla="*/ 8 w 8"/>
                  <a:gd name="T7" fmla="*/ 4 h 6"/>
                  <a:gd name="T8" fmla="*/ 8 w 8"/>
                  <a:gd name="T9" fmla="*/ 4 h 6"/>
                  <a:gd name="T10" fmla="*/ 8 w 8"/>
                  <a:gd name="T11" fmla="*/ 4 h 6"/>
                  <a:gd name="T12" fmla="*/ 8 w 8"/>
                  <a:gd name="T13" fmla="*/ 4 h 6"/>
                  <a:gd name="T14" fmla="*/ 8 w 8"/>
                  <a:gd name="T15" fmla="*/ 4 h 6"/>
                  <a:gd name="T16" fmla="*/ 8 w 8"/>
                  <a:gd name="T17" fmla="*/ 6 h 6"/>
                  <a:gd name="T18" fmla="*/ 8 w 8"/>
                  <a:gd name="T19" fmla="*/ 6 h 6"/>
                  <a:gd name="T20" fmla="*/ 8 w 8"/>
                  <a:gd name="T21" fmla="*/ 6 h 6"/>
                  <a:gd name="T22" fmla="*/ 8 w 8"/>
                  <a:gd name="T23" fmla="*/ 6 h 6"/>
                  <a:gd name="T24" fmla="*/ 8 w 8"/>
                  <a:gd name="T25" fmla="*/ 6 h 6"/>
                  <a:gd name="T26" fmla="*/ 8 w 8"/>
                  <a:gd name="T27" fmla="*/ 6 h 6"/>
                  <a:gd name="T28" fmla="*/ 4 w 8"/>
                  <a:gd name="T29" fmla="*/ 6 h 6"/>
                  <a:gd name="T30" fmla="*/ 4 w 8"/>
                  <a:gd name="T31" fmla="*/ 6 h 6"/>
                  <a:gd name="T32" fmla="*/ 4 w 8"/>
                  <a:gd name="T33" fmla="*/ 6 h 6"/>
                  <a:gd name="T34" fmla="*/ 4 w 8"/>
                  <a:gd name="T35" fmla="*/ 6 h 6"/>
                  <a:gd name="T36" fmla="*/ 0 w 8"/>
                  <a:gd name="T37" fmla="*/ 6 h 6"/>
                  <a:gd name="T38" fmla="*/ 0 w 8"/>
                  <a:gd name="T39" fmla="*/ 6 h 6"/>
                  <a:gd name="T40" fmla="*/ 0 w 8"/>
                  <a:gd name="T41" fmla="*/ 6 h 6"/>
                  <a:gd name="T42" fmla="*/ 0 w 8"/>
                  <a:gd name="T43" fmla="*/ 6 h 6"/>
                  <a:gd name="T44" fmla="*/ 0 w 8"/>
                  <a:gd name="T45" fmla="*/ 6 h 6"/>
                  <a:gd name="T46" fmla="*/ 0 w 8"/>
                  <a:gd name="T47" fmla="*/ 6 h 6"/>
                  <a:gd name="T48" fmla="*/ 0 w 8"/>
                  <a:gd name="T49" fmla="*/ 6 h 6"/>
                  <a:gd name="T50" fmla="*/ 0 w 8"/>
                  <a:gd name="T51" fmla="*/ 6 h 6"/>
                  <a:gd name="T52" fmla="*/ 0 w 8"/>
                  <a:gd name="T53" fmla="*/ 6 h 6"/>
                  <a:gd name="T54" fmla="*/ 0 w 8"/>
                  <a:gd name="T55" fmla="*/ 6 h 6"/>
                  <a:gd name="T56" fmla="*/ 0 w 8"/>
                  <a:gd name="T57" fmla="*/ 6 h 6"/>
                  <a:gd name="T58" fmla="*/ 0 w 8"/>
                  <a:gd name="T59" fmla="*/ 6 h 6"/>
                  <a:gd name="T60" fmla="*/ 4 w 8"/>
                  <a:gd name="T61" fmla="*/ 6 h 6"/>
                  <a:gd name="T62" fmla="*/ 4 w 8"/>
                  <a:gd name="T63" fmla="*/ 6 h 6"/>
                  <a:gd name="T64" fmla="*/ 4 w 8"/>
                  <a:gd name="T65" fmla="*/ 6 h 6"/>
                  <a:gd name="T66" fmla="*/ 0 w 8"/>
                  <a:gd name="T67" fmla="*/ 4 h 6"/>
                  <a:gd name="T68" fmla="*/ 0 w 8"/>
                  <a:gd name="T69" fmla="*/ 4 h 6"/>
                  <a:gd name="T70" fmla="*/ 0 w 8"/>
                  <a:gd name="T71" fmla="*/ 4 h 6"/>
                  <a:gd name="T72" fmla="*/ 4 w 8"/>
                  <a:gd name="T73" fmla="*/ 4 h 6"/>
                  <a:gd name="T74" fmla="*/ 4 w 8"/>
                  <a:gd name="T75" fmla="*/ 4 h 6"/>
                  <a:gd name="T76" fmla="*/ 4 w 8"/>
                  <a:gd name="T77" fmla="*/ 4 h 6"/>
                  <a:gd name="T78" fmla="*/ 4 w 8"/>
                  <a:gd name="T79" fmla="*/ 0 h 6"/>
                  <a:gd name="T80" fmla="*/ 4 w 8"/>
                  <a:gd name="T81" fmla="*/ 0 h 6"/>
                  <a:gd name="T82" fmla="*/ 4 w 8"/>
                  <a:gd name="T83" fmla="*/ 0 h 6"/>
                  <a:gd name="T84" fmla="*/ 4 w 8"/>
                  <a:gd name="T85" fmla="*/ 0 h 6"/>
                  <a:gd name="T86" fmla="*/ 4 w 8"/>
                  <a:gd name="T87" fmla="*/ 0 h 6"/>
                  <a:gd name="T88" fmla="*/ 4 w 8"/>
                  <a:gd name="T89" fmla="*/ 4 h 6"/>
                  <a:gd name="T90" fmla="*/ 4 w 8"/>
                  <a:gd name="T91" fmla="*/ 4 h 6"/>
                  <a:gd name="T92" fmla="*/ 4 w 8"/>
                  <a:gd name="T93" fmla="*/ 4 h 6"/>
                  <a:gd name="T94" fmla="*/ 4 w 8"/>
                  <a:gd name="T95" fmla="*/ 4 h 6"/>
                  <a:gd name="T96" fmla="*/ 4 w 8"/>
                  <a:gd name="T97" fmla="*/ 4 h 6"/>
                  <a:gd name="T98" fmla="*/ 4 w 8"/>
                  <a:gd name="T99" fmla="*/ 4 h 6"/>
                  <a:gd name="T100" fmla="*/ 4 w 8"/>
                  <a:gd name="T101" fmla="*/ 4 h 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8" h="6">
                    <a:moveTo>
                      <a:pt x="4" y="4"/>
                    </a:move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0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4" y="6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1" name="Freeform 200">
                <a:extLst>
                  <a:ext uri="{FF2B5EF4-FFF2-40B4-BE49-F238E27FC236}">
                    <a16:creationId xmlns:a16="http://schemas.microsoft.com/office/drawing/2014/main" id="{4E47FF8A-7AA2-479F-9CB7-BFEB77CBC60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2" name="Freeform 201">
                <a:extLst>
                  <a:ext uri="{FF2B5EF4-FFF2-40B4-BE49-F238E27FC236}">
                    <a16:creationId xmlns:a16="http://schemas.microsoft.com/office/drawing/2014/main" id="{3626519C-30CE-4D49-A17D-B3AA7C042C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70875" y="5524568"/>
                <a:ext cx="136525" cy="222250"/>
              </a:xfrm>
              <a:custGeom>
                <a:avLst/>
                <a:gdLst>
                  <a:gd name="T0" fmla="*/ 52 w 86"/>
                  <a:gd name="T1" fmla="*/ 124 h 140"/>
                  <a:gd name="T2" fmla="*/ 44 w 86"/>
                  <a:gd name="T3" fmla="*/ 136 h 140"/>
                  <a:gd name="T4" fmla="*/ 38 w 86"/>
                  <a:gd name="T5" fmla="*/ 136 h 140"/>
                  <a:gd name="T6" fmla="*/ 30 w 86"/>
                  <a:gd name="T7" fmla="*/ 136 h 140"/>
                  <a:gd name="T8" fmla="*/ 34 w 86"/>
                  <a:gd name="T9" fmla="*/ 124 h 140"/>
                  <a:gd name="T10" fmla="*/ 38 w 86"/>
                  <a:gd name="T11" fmla="*/ 112 h 140"/>
                  <a:gd name="T12" fmla="*/ 30 w 86"/>
                  <a:gd name="T13" fmla="*/ 106 h 140"/>
                  <a:gd name="T14" fmla="*/ 22 w 86"/>
                  <a:gd name="T15" fmla="*/ 98 h 140"/>
                  <a:gd name="T16" fmla="*/ 18 w 86"/>
                  <a:gd name="T17" fmla="*/ 90 h 140"/>
                  <a:gd name="T18" fmla="*/ 30 w 86"/>
                  <a:gd name="T19" fmla="*/ 86 h 140"/>
                  <a:gd name="T20" fmla="*/ 30 w 86"/>
                  <a:gd name="T21" fmla="*/ 72 h 140"/>
                  <a:gd name="T22" fmla="*/ 30 w 86"/>
                  <a:gd name="T23" fmla="*/ 64 h 140"/>
                  <a:gd name="T24" fmla="*/ 30 w 86"/>
                  <a:gd name="T25" fmla="*/ 56 h 140"/>
                  <a:gd name="T26" fmla="*/ 26 w 86"/>
                  <a:gd name="T27" fmla="*/ 54 h 140"/>
                  <a:gd name="T28" fmla="*/ 34 w 86"/>
                  <a:gd name="T29" fmla="*/ 54 h 140"/>
                  <a:gd name="T30" fmla="*/ 26 w 86"/>
                  <a:gd name="T31" fmla="*/ 46 h 140"/>
                  <a:gd name="T32" fmla="*/ 26 w 86"/>
                  <a:gd name="T33" fmla="*/ 42 h 140"/>
                  <a:gd name="T34" fmla="*/ 26 w 86"/>
                  <a:gd name="T35" fmla="*/ 34 h 140"/>
                  <a:gd name="T36" fmla="*/ 22 w 86"/>
                  <a:gd name="T37" fmla="*/ 34 h 140"/>
                  <a:gd name="T38" fmla="*/ 18 w 86"/>
                  <a:gd name="T39" fmla="*/ 30 h 140"/>
                  <a:gd name="T40" fmla="*/ 18 w 86"/>
                  <a:gd name="T41" fmla="*/ 38 h 140"/>
                  <a:gd name="T42" fmla="*/ 14 w 86"/>
                  <a:gd name="T43" fmla="*/ 26 h 140"/>
                  <a:gd name="T44" fmla="*/ 14 w 86"/>
                  <a:gd name="T45" fmla="*/ 16 h 140"/>
                  <a:gd name="T46" fmla="*/ 12 w 86"/>
                  <a:gd name="T47" fmla="*/ 20 h 140"/>
                  <a:gd name="T48" fmla="*/ 4 w 86"/>
                  <a:gd name="T49" fmla="*/ 8 h 140"/>
                  <a:gd name="T50" fmla="*/ 8 w 86"/>
                  <a:gd name="T51" fmla="*/ 0 h 140"/>
                  <a:gd name="T52" fmla="*/ 4 w 86"/>
                  <a:gd name="T53" fmla="*/ 4 h 140"/>
                  <a:gd name="T54" fmla="*/ 8 w 86"/>
                  <a:gd name="T55" fmla="*/ 12 h 140"/>
                  <a:gd name="T56" fmla="*/ 14 w 86"/>
                  <a:gd name="T57" fmla="*/ 12 h 140"/>
                  <a:gd name="T58" fmla="*/ 22 w 86"/>
                  <a:gd name="T59" fmla="*/ 16 h 140"/>
                  <a:gd name="T60" fmla="*/ 26 w 86"/>
                  <a:gd name="T61" fmla="*/ 20 h 140"/>
                  <a:gd name="T62" fmla="*/ 26 w 86"/>
                  <a:gd name="T63" fmla="*/ 26 h 140"/>
                  <a:gd name="T64" fmla="*/ 30 w 86"/>
                  <a:gd name="T65" fmla="*/ 30 h 140"/>
                  <a:gd name="T66" fmla="*/ 30 w 86"/>
                  <a:gd name="T67" fmla="*/ 46 h 140"/>
                  <a:gd name="T68" fmla="*/ 34 w 86"/>
                  <a:gd name="T69" fmla="*/ 50 h 140"/>
                  <a:gd name="T70" fmla="*/ 40 w 86"/>
                  <a:gd name="T71" fmla="*/ 50 h 140"/>
                  <a:gd name="T72" fmla="*/ 38 w 86"/>
                  <a:gd name="T73" fmla="*/ 38 h 140"/>
                  <a:gd name="T74" fmla="*/ 44 w 86"/>
                  <a:gd name="T75" fmla="*/ 50 h 140"/>
                  <a:gd name="T76" fmla="*/ 48 w 86"/>
                  <a:gd name="T77" fmla="*/ 54 h 140"/>
                  <a:gd name="T78" fmla="*/ 48 w 86"/>
                  <a:gd name="T79" fmla="*/ 60 h 140"/>
                  <a:gd name="T80" fmla="*/ 52 w 86"/>
                  <a:gd name="T81" fmla="*/ 64 h 140"/>
                  <a:gd name="T82" fmla="*/ 64 w 86"/>
                  <a:gd name="T83" fmla="*/ 68 h 140"/>
                  <a:gd name="T84" fmla="*/ 74 w 86"/>
                  <a:gd name="T85" fmla="*/ 64 h 140"/>
                  <a:gd name="T86" fmla="*/ 86 w 86"/>
                  <a:gd name="T87" fmla="*/ 64 h 140"/>
                  <a:gd name="T88" fmla="*/ 82 w 86"/>
                  <a:gd name="T89" fmla="*/ 76 h 140"/>
                  <a:gd name="T90" fmla="*/ 74 w 86"/>
                  <a:gd name="T91" fmla="*/ 86 h 140"/>
                  <a:gd name="T92" fmla="*/ 70 w 86"/>
                  <a:gd name="T93" fmla="*/ 90 h 140"/>
                  <a:gd name="T94" fmla="*/ 60 w 86"/>
                  <a:gd name="T95" fmla="*/ 98 h 140"/>
                  <a:gd name="T96" fmla="*/ 60 w 86"/>
                  <a:gd name="T97" fmla="*/ 112 h 1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86" h="140">
                    <a:moveTo>
                      <a:pt x="56" y="116"/>
                    </a:moveTo>
                    <a:lnTo>
                      <a:pt x="56" y="120"/>
                    </a:lnTo>
                    <a:lnTo>
                      <a:pt x="52" y="120"/>
                    </a:lnTo>
                    <a:lnTo>
                      <a:pt x="52" y="124"/>
                    </a:lnTo>
                    <a:lnTo>
                      <a:pt x="52" y="128"/>
                    </a:lnTo>
                    <a:lnTo>
                      <a:pt x="48" y="128"/>
                    </a:lnTo>
                    <a:lnTo>
                      <a:pt x="48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38" y="140"/>
                    </a:lnTo>
                    <a:lnTo>
                      <a:pt x="38" y="136"/>
                    </a:lnTo>
                    <a:lnTo>
                      <a:pt x="34" y="136"/>
                    </a:lnTo>
                    <a:lnTo>
                      <a:pt x="34" y="132"/>
                    </a:lnTo>
                    <a:lnTo>
                      <a:pt x="30" y="132"/>
                    </a:lnTo>
                    <a:lnTo>
                      <a:pt x="30" y="136"/>
                    </a:lnTo>
                    <a:lnTo>
                      <a:pt x="30" y="132"/>
                    </a:lnTo>
                    <a:lnTo>
                      <a:pt x="30" y="128"/>
                    </a:lnTo>
                    <a:lnTo>
                      <a:pt x="34" y="128"/>
                    </a:lnTo>
                    <a:lnTo>
                      <a:pt x="34" y="124"/>
                    </a:lnTo>
                    <a:lnTo>
                      <a:pt x="34" y="120"/>
                    </a:lnTo>
                    <a:lnTo>
                      <a:pt x="38" y="120"/>
                    </a:lnTo>
                    <a:lnTo>
                      <a:pt x="38" y="116"/>
                    </a:lnTo>
                    <a:lnTo>
                      <a:pt x="38" y="112"/>
                    </a:lnTo>
                    <a:lnTo>
                      <a:pt x="38" y="110"/>
                    </a:lnTo>
                    <a:lnTo>
                      <a:pt x="34" y="110"/>
                    </a:lnTo>
                    <a:lnTo>
                      <a:pt x="34" y="106"/>
                    </a:lnTo>
                    <a:lnTo>
                      <a:pt x="30" y="106"/>
                    </a:lnTo>
                    <a:lnTo>
                      <a:pt x="26" y="106"/>
                    </a:lnTo>
                    <a:lnTo>
                      <a:pt x="26" y="102"/>
                    </a:lnTo>
                    <a:lnTo>
                      <a:pt x="22" y="102"/>
                    </a:lnTo>
                    <a:lnTo>
                      <a:pt x="22" y="98"/>
                    </a:lnTo>
                    <a:lnTo>
                      <a:pt x="18" y="98"/>
                    </a:lnTo>
                    <a:lnTo>
                      <a:pt x="14" y="94"/>
                    </a:lnTo>
                    <a:lnTo>
                      <a:pt x="14" y="90"/>
                    </a:lnTo>
                    <a:lnTo>
                      <a:pt x="18" y="90"/>
                    </a:lnTo>
                    <a:lnTo>
                      <a:pt x="22" y="90"/>
                    </a:lnTo>
                    <a:lnTo>
                      <a:pt x="22" y="86"/>
                    </a:lnTo>
                    <a:lnTo>
                      <a:pt x="26" y="86"/>
                    </a:lnTo>
                    <a:lnTo>
                      <a:pt x="30" y="86"/>
                    </a:lnTo>
                    <a:lnTo>
                      <a:pt x="30" y="82"/>
                    </a:lnTo>
                    <a:lnTo>
                      <a:pt x="30" y="80"/>
                    </a:lnTo>
                    <a:lnTo>
                      <a:pt x="30" y="76"/>
                    </a:lnTo>
                    <a:lnTo>
                      <a:pt x="30" y="72"/>
                    </a:lnTo>
                    <a:lnTo>
                      <a:pt x="34" y="72"/>
                    </a:lnTo>
                    <a:lnTo>
                      <a:pt x="34" y="68"/>
                    </a:lnTo>
                    <a:lnTo>
                      <a:pt x="30" y="68"/>
                    </a:lnTo>
                    <a:lnTo>
                      <a:pt x="30" y="64"/>
                    </a:lnTo>
                    <a:lnTo>
                      <a:pt x="34" y="64"/>
                    </a:lnTo>
                    <a:lnTo>
                      <a:pt x="30" y="64"/>
                    </a:lnTo>
                    <a:lnTo>
                      <a:pt x="30" y="60"/>
                    </a:lnTo>
                    <a:lnTo>
                      <a:pt x="30" y="56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4"/>
                    </a:lnTo>
                    <a:lnTo>
                      <a:pt x="26" y="54"/>
                    </a:lnTo>
                    <a:lnTo>
                      <a:pt x="26" y="50"/>
                    </a:lnTo>
                    <a:lnTo>
                      <a:pt x="30" y="50"/>
                    </a:lnTo>
                    <a:lnTo>
                      <a:pt x="30" y="54"/>
                    </a:lnTo>
                    <a:lnTo>
                      <a:pt x="34" y="54"/>
                    </a:lnTo>
                    <a:lnTo>
                      <a:pt x="34" y="50"/>
                    </a:lnTo>
                    <a:lnTo>
                      <a:pt x="30" y="50"/>
                    </a:lnTo>
                    <a:lnTo>
                      <a:pt x="26" y="50"/>
                    </a:lnTo>
                    <a:lnTo>
                      <a:pt x="26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42"/>
                    </a:lnTo>
                    <a:lnTo>
                      <a:pt x="26" y="42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8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2" y="38"/>
                    </a:lnTo>
                    <a:lnTo>
                      <a:pt x="26" y="34"/>
                    </a:lnTo>
                    <a:lnTo>
                      <a:pt x="22" y="34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22" y="34"/>
                    </a:lnTo>
                    <a:lnTo>
                      <a:pt x="22" y="38"/>
                    </a:lnTo>
                    <a:lnTo>
                      <a:pt x="18" y="38"/>
                    </a:lnTo>
                    <a:lnTo>
                      <a:pt x="18" y="34"/>
                    </a:lnTo>
                    <a:lnTo>
                      <a:pt x="18" y="30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4" y="12"/>
                    </a:lnTo>
                    <a:lnTo>
                      <a:pt x="18" y="12"/>
                    </a:lnTo>
                    <a:lnTo>
                      <a:pt x="22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20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20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30"/>
                    </a:lnTo>
                    <a:lnTo>
                      <a:pt x="30" y="30"/>
                    </a:lnTo>
                    <a:lnTo>
                      <a:pt x="30" y="34"/>
                    </a:lnTo>
                    <a:lnTo>
                      <a:pt x="30" y="38"/>
                    </a:lnTo>
                    <a:lnTo>
                      <a:pt x="30" y="42"/>
                    </a:lnTo>
                    <a:lnTo>
                      <a:pt x="30" y="46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4" y="46"/>
                    </a:lnTo>
                    <a:lnTo>
                      <a:pt x="34" y="50"/>
                    </a:lnTo>
                    <a:lnTo>
                      <a:pt x="38" y="50"/>
                    </a:lnTo>
                    <a:lnTo>
                      <a:pt x="38" y="54"/>
                    </a:lnTo>
                    <a:lnTo>
                      <a:pt x="40" y="54"/>
                    </a:lnTo>
                    <a:lnTo>
                      <a:pt x="40" y="50"/>
                    </a:lnTo>
                    <a:lnTo>
                      <a:pt x="40" y="46"/>
                    </a:lnTo>
                    <a:lnTo>
                      <a:pt x="40" y="42"/>
                    </a:lnTo>
                    <a:lnTo>
                      <a:pt x="38" y="42"/>
                    </a:lnTo>
                    <a:lnTo>
                      <a:pt x="38" y="38"/>
                    </a:lnTo>
                    <a:lnTo>
                      <a:pt x="40" y="42"/>
                    </a:lnTo>
                    <a:lnTo>
                      <a:pt x="40" y="46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4" y="46"/>
                    </a:lnTo>
                    <a:lnTo>
                      <a:pt x="44" y="50"/>
                    </a:lnTo>
                    <a:lnTo>
                      <a:pt x="48" y="50"/>
                    </a:lnTo>
                    <a:lnTo>
                      <a:pt x="48" y="54"/>
                    </a:lnTo>
                    <a:lnTo>
                      <a:pt x="44" y="54"/>
                    </a:lnTo>
                    <a:lnTo>
                      <a:pt x="48" y="54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6" y="68"/>
                    </a:lnTo>
                    <a:lnTo>
                      <a:pt x="70" y="68"/>
                    </a:lnTo>
                    <a:lnTo>
                      <a:pt x="70" y="64"/>
                    </a:lnTo>
                    <a:lnTo>
                      <a:pt x="74" y="64"/>
                    </a:lnTo>
                    <a:lnTo>
                      <a:pt x="74" y="60"/>
                    </a:lnTo>
                    <a:lnTo>
                      <a:pt x="78" y="60"/>
                    </a:lnTo>
                    <a:lnTo>
                      <a:pt x="82" y="60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82" y="72"/>
                    </a:lnTo>
                    <a:lnTo>
                      <a:pt x="82" y="76"/>
                    </a:lnTo>
                    <a:lnTo>
                      <a:pt x="82" y="80"/>
                    </a:lnTo>
                    <a:lnTo>
                      <a:pt x="78" y="82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90"/>
                    </a:lnTo>
                    <a:lnTo>
                      <a:pt x="74" y="94"/>
                    </a:lnTo>
                    <a:lnTo>
                      <a:pt x="74" y="90"/>
                    </a:lnTo>
                    <a:lnTo>
                      <a:pt x="70" y="90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0" y="94"/>
                    </a:lnTo>
                    <a:lnTo>
                      <a:pt x="60" y="98"/>
                    </a:lnTo>
                    <a:lnTo>
                      <a:pt x="60" y="102"/>
                    </a:lnTo>
                    <a:lnTo>
                      <a:pt x="64" y="102"/>
                    </a:lnTo>
                    <a:lnTo>
                      <a:pt x="60" y="110"/>
                    </a:lnTo>
                    <a:lnTo>
                      <a:pt x="60" y="112"/>
                    </a:lnTo>
                    <a:lnTo>
                      <a:pt x="56" y="116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3" name="Freeform 202">
                <a:extLst>
                  <a:ext uri="{FF2B5EF4-FFF2-40B4-BE49-F238E27FC236}">
                    <a16:creationId xmlns:a16="http://schemas.microsoft.com/office/drawing/2014/main" id="{2A737D49-4C5D-4C71-8960-CF47D298F1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4" name="Freeform 203">
                <a:extLst>
                  <a:ext uri="{FF2B5EF4-FFF2-40B4-BE49-F238E27FC236}">
                    <a16:creationId xmlns:a16="http://schemas.microsoft.com/office/drawing/2014/main" id="{EC17ADE8-40DB-4012-9926-60962BE3C0A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34350" y="5708718"/>
                <a:ext cx="177800" cy="193675"/>
              </a:xfrm>
              <a:custGeom>
                <a:avLst/>
                <a:gdLst>
                  <a:gd name="T0" fmla="*/ 12 w 112"/>
                  <a:gd name="T1" fmla="*/ 96 h 122"/>
                  <a:gd name="T2" fmla="*/ 12 w 112"/>
                  <a:gd name="T3" fmla="*/ 90 h 122"/>
                  <a:gd name="T4" fmla="*/ 16 w 112"/>
                  <a:gd name="T5" fmla="*/ 90 h 122"/>
                  <a:gd name="T6" fmla="*/ 16 w 112"/>
                  <a:gd name="T7" fmla="*/ 82 h 122"/>
                  <a:gd name="T8" fmla="*/ 22 w 112"/>
                  <a:gd name="T9" fmla="*/ 74 h 122"/>
                  <a:gd name="T10" fmla="*/ 34 w 112"/>
                  <a:gd name="T11" fmla="*/ 70 h 122"/>
                  <a:gd name="T12" fmla="*/ 36 w 112"/>
                  <a:gd name="T13" fmla="*/ 64 h 122"/>
                  <a:gd name="T14" fmla="*/ 44 w 112"/>
                  <a:gd name="T15" fmla="*/ 60 h 122"/>
                  <a:gd name="T16" fmla="*/ 52 w 112"/>
                  <a:gd name="T17" fmla="*/ 52 h 122"/>
                  <a:gd name="T18" fmla="*/ 60 w 112"/>
                  <a:gd name="T19" fmla="*/ 50 h 122"/>
                  <a:gd name="T20" fmla="*/ 66 w 112"/>
                  <a:gd name="T21" fmla="*/ 38 h 122"/>
                  <a:gd name="T22" fmla="*/ 70 w 112"/>
                  <a:gd name="T23" fmla="*/ 28 h 122"/>
                  <a:gd name="T24" fmla="*/ 78 w 112"/>
                  <a:gd name="T25" fmla="*/ 24 h 122"/>
                  <a:gd name="T26" fmla="*/ 78 w 112"/>
                  <a:gd name="T27" fmla="*/ 8 h 122"/>
                  <a:gd name="T28" fmla="*/ 86 w 112"/>
                  <a:gd name="T29" fmla="*/ 4 h 122"/>
                  <a:gd name="T30" fmla="*/ 86 w 112"/>
                  <a:gd name="T31" fmla="*/ 4 h 122"/>
                  <a:gd name="T32" fmla="*/ 94 w 112"/>
                  <a:gd name="T33" fmla="*/ 12 h 122"/>
                  <a:gd name="T34" fmla="*/ 100 w 112"/>
                  <a:gd name="T35" fmla="*/ 12 h 122"/>
                  <a:gd name="T36" fmla="*/ 104 w 112"/>
                  <a:gd name="T37" fmla="*/ 12 h 122"/>
                  <a:gd name="T38" fmla="*/ 104 w 112"/>
                  <a:gd name="T39" fmla="*/ 16 h 122"/>
                  <a:gd name="T40" fmla="*/ 108 w 112"/>
                  <a:gd name="T41" fmla="*/ 16 h 122"/>
                  <a:gd name="T42" fmla="*/ 108 w 112"/>
                  <a:gd name="T43" fmla="*/ 12 h 122"/>
                  <a:gd name="T44" fmla="*/ 104 w 112"/>
                  <a:gd name="T45" fmla="*/ 16 h 122"/>
                  <a:gd name="T46" fmla="*/ 108 w 112"/>
                  <a:gd name="T47" fmla="*/ 16 h 122"/>
                  <a:gd name="T48" fmla="*/ 108 w 112"/>
                  <a:gd name="T49" fmla="*/ 20 h 122"/>
                  <a:gd name="T50" fmla="*/ 108 w 112"/>
                  <a:gd name="T51" fmla="*/ 24 h 122"/>
                  <a:gd name="T52" fmla="*/ 104 w 112"/>
                  <a:gd name="T53" fmla="*/ 30 h 122"/>
                  <a:gd name="T54" fmla="*/ 100 w 112"/>
                  <a:gd name="T55" fmla="*/ 40 h 122"/>
                  <a:gd name="T56" fmla="*/ 96 w 112"/>
                  <a:gd name="T57" fmla="*/ 50 h 122"/>
                  <a:gd name="T58" fmla="*/ 90 w 112"/>
                  <a:gd name="T59" fmla="*/ 56 h 122"/>
                  <a:gd name="T60" fmla="*/ 94 w 112"/>
                  <a:gd name="T61" fmla="*/ 64 h 122"/>
                  <a:gd name="T62" fmla="*/ 90 w 112"/>
                  <a:gd name="T63" fmla="*/ 64 h 122"/>
                  <a:gd name="T64" fmla="*/ 86 w 112"/>
                  <a:gd name="T65" fmla="*/ 64 h 122"/>
                  <a:gd name="T66" fmla="*/ 78 w 112"/>
                  <a:gd name="T67" fmla="*/ 68 h 122"/>
                  <a:gd name="T68" fmla="*/ 70 w 112"/>
                  <a:gd name="T69" fmla="*/ 70 h 122"/>
                  <a:gd name="T70" fmla="*/ 66 w 112"/>
                  <a:gd name="T71" fmla="*/ 78 h 122"/>
                  <a:gd name="T72" fmla="*/ 66 w 112"/>
                  <a:gd name="T73" fmla="*/ 90 h 122"/>
                  <a:gd name="T74" fmla="*/ 60 w 112"/>
                  <a:gd name="T75" fmla="*/ 96 h 122"/>
                  <a:gd name="T76" fmla="*/ 56 w 112"/>
                  <a:gd name="T77" fmla="*/ 104 h 122"/>
                  <a:gd name="T78" fmla="*/ 60 w 112"/>
                  <a:gd name="T79" fmla="*/ 104 h 122"/>
                  <a:gd name="T80" fmla="*/ 52 w 112"/>
                  <a:gd name="T81" fmla="*/ 108 h 122"/>
                  <a:gd name="T82" fmla="*/ 48 w 112"/>
                  <a:gd name="T83" fmla="*/ 120 h 122"/>
                  <a:gd name="T84" fmla="*/ 36 w 112"/>
                  <a:gd name="T85" fmla="*/ 122 h 122"/>
                  <a:gd name="T86" fmla="*/ 30 w 112"/>
                  <a:gd name="T87" fmla="*/ 120 h 122"/>
                  <a:gd name="T88" fmla="*/ 26 w 112"/>
                  <a:gd name="T89" fmla="*/ 120 h 122"/>
                  <a:gd name="T90" fmla="*/ 26 w 112"/>
                  <a:gd name="T91" fmla="*/ 120 h 122"/>
                  <a:gd name="T92" fmla="*/ 22 w 112"/>
                  <a:gd name="T93" fmla="*/ 116 h 122"/>
                  <a:gd name="T94" fmla="*/ 12 w 112"/>
                  <a:gd name="T95" fmla="*/ 112 h 122"/>
                  <a:gd name="T96" fmla="*/ 4 w 112"/>
                  <a:gd name="T97" fmla="*/ 116 h 122"/>
                  <a:gd name="T98" fmla="*/ 4 w 112"/>
                  <a:gd name="T99" fmla="*/ 112 h 122"/>
                  <a:gd name="T100" fmla="*/ 4 w 112"/>
                  <a:gd name="T101" fmla="*/ 108 h 122"/>
                  <a:gd name="T102" fmla="*/ 0 w 112"/>
                  <a:gd name="T103" fmla="*/ 108 h 122"/>
                  <a:gd name="T104" fmla="*/ 8 w 112"/>
                  <a:gd name="T105" fmla="*/ 104 h 122"/>
                  <a:gd name="T106" fmla="*/ 8 w 112"/>
                  <a:gd name="T107" fmla="*/ 100 h 122"/>
                  <a:gd name="T108" fmla="*/ 4 w 112"/>
                  <a:gd name="T109" fmla="*/ 94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2" h="122">
                    <a:moveTo>
                      <a:pt x="12" y="96"/>
                    </a:moveTo>
                    <a:lnTo>
                      <a:pt x="8" y="96"/>
                    </a:lnTo>
                    <a:lnTo>
                      <a:pt x="12" y="96"/>
                    </a:lnTo>
                    <a:lnTo>
                      <a:pt x="8" y="94"/>
                    </a:lnTo>
                    <a:lnTo>
                      <a:pt x="8" y="90"/>
                    </a:lnTo>
                    <a:lnTo>
                      <a:pt x="12" y="90"/>
                    </a:lnTo>
                    <a:lnTo>
                      <a:pt x="12" y="86"/>
                    </a:lnTo>
                    <a:lnTo>
                      <a:pt x="12" y="90"/>
                    </a:lnTo>
                    <a:lnTo>
                      <a:pt x="16" y="90"/>
                    </a:lnTo>
                    <a:lnTo>
                      <a:pt x="16" y="86"/>
                    </a:lnTo>
                    <a:lnTo>
                      <a:pt x="12" y="86"/>
                    </a:lnTo>
                    <a:lnTo>
                      <a:pt x="16" y="82"/>
                    </a:lnTo>
                    <a:lnTo>
                      <a:pt x="20" y="82"/>
                    </a:lnTo>
                    <a:lnTo>
                      <a:pt x="20" y="78"/>
                    </a:lnTo>
                    <a:lnTo>
                      <a:pt x="22" y="74"/>
                    </a:lnTo>
                    <a:lnTo>
                      <a:pt x="26" y="70"/>
                    </a:lnTo>
                    <a:lnTo>
                      <a:pt x="30" y="70"/>
                    </a:lnTo>
                    <a:lnTo>
                      <a:pt x="34" y="70"/>
                    </a:lnTo>
                    <a:lnTo>
                      <a:pt x="34" y="68"/>
                    </a:lnTo>
                    <a:lnTo>
                      <a:pt x="36" y="68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0"/>
                    </a:lnTo>
                    <a:lnTo>
                      <a:pt x="60" y="50"/>
                    </a:lnTo>
                    <a:lnTo>
                      <a:pt x="64" y="40"/>
                    </a:lnTo>
                    <a:lnTo>
                      <a:pt x="66" y="40"/>
                    </a:lnTo>
                    <a:lnTo>
                      <a:pt x="66" y="38"/>
                    </a:lnTo>
                    <a:lnTo>
                      <a:pt x="66" y="34"/>
                    </a:lnTo>
                    <a:lnTo>
                      <a:pt x="66" y="30"/>
                    </a:lnTo>
                    <a:lnTo>
                      <a:pt x="70" y="28"/>
                    </a:lnTo>
                    <a:lnTo>
                      <a:pt x="74" y="28"/>
                    </a:lnTo>
                    <a:lnTo>
                      <a:pt x="74" y="24"/>
                    </a:lnTo>
                    <a:lnTo>
                      <a:pt x="78" y="24"/>
                    </a:lnTo>
                    <a:lnTo>
                      <a:pt x="78" y="20"/>
                    </a:lnTo>
                    <a:lnTo>
                      <a:pt x="78" y="16"/>
                    </a:lnTo>
                    <a:lnTo>
                      <a:pt x="78" y="8"/>
                    </a:lnTo>
                    <a:lnTo>
                      <a:pt x="82" y="8"/>
                    </a:lnTo>
                    <a:lnTo>
                      <a:pt x="82" y="4"/>
                    </a:lnTo>
                    <a:lnTo>
                      <a:pt x="86" y="4"/>
                    </a:lnTo>
                    <a:lnTo>
                      <a:pt x="86" y="0"/>
                    </a:lnTo>
                    <a:lnTo>
                      <a:pt x="90" y="0"/>
                    </a:lnTo>
                    <a:lnTo>
                      <a:pt x="86" y="4"/>
                    </a:lnTo>
                    <a:lnTo>
                      <a:pt x="90" y="8"/>
                    </a:lnTo>
                    <a:lnTo>
                      <a:pt x="94" y="8"/>
                    </a:lnTo>
                    <a:lnTo>
                      <a:pt x="94" y="12"/>
                    </a:lnTo>
                    <a:lnTo>
                      <a:pt x="94" y="16"/>
                    </a:lnTo>
                    <a:lnTo>
                      <a:pt x="96" y="16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4" y="12"/>
                    </a:lnTo>
                    <a:lnTo>
                      <a:pt x="104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4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08" y="16"/>
                    </a:lnTo>
                    <a:lnTo>
                      <a:pt x="108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0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6" y="40"/>
                    </a:lnTo>
                    <a:lnTo>
                      <a:pt x="96" y="46"/>
                    </a:lnTo>
                    <a:lnTo>
                      <a:pt x="96" y="50"/>
                    </a:lnTo>
                    <a:lnTo>
                      <a:pt x="94" y="52"/>
                    </a:lnTo>
                    <a:lnTo>
                      <a:pt x="90" y="52"/>
                    </a:lnTo>
                    <a:lnTo>
                      <a:pt x="90" y="56"/>
                    </a:lnTo>
                    <a:lnTo>
                      <a:pt x="86" y="56"/>
                    </a:lnTo>
                    <a:lnTo>
                      <a:pt x="90" y="64"/>
                    </a:lnTo>
                    <a:lnTo>
                      <a:pt x="94" y="64"/>
                    </a:lnTo>
                    <a:lnTo>
                      <a:pt x="94" y="68"/>
                    </a:lnTo>
                    <a:lnTo>
                      <a:pt x="90" y="68"/>
                    </a:lnTo>
                    <a:lnTo>
                      <a:pt x="90" y="64"/>
                    </a:lnTo>
                    <a:lnTo>
                      <a:pt x="90" y="68"/>
                    </a:lnTo>
                    <a:lnTo>
                      <a:pt x="86" y="68"/>
                    </a:lnTo>
                    <a:lnTo>
                      <a:pt x="86" y="64"/>
                    </a:lnTo>
                    <a:lnTo>
                      <a:pt x="82" y="64"/>
                    </a:lnTo>
                    <a:lnTo>
                      <a:pt x="82" y="68"/>
                    </a:lnTo>
                    <a:lnTo>
                      <a:pt x="78" y="68"/>
                    </a:lnTo>
                    <a:lnTo>
                      <a:pt x="78" y="70"/>
                    </a:lnTo>
                    <a:lnTo>
                      <a:pt x="74" y="70"/>
                    </a:lnTo>
                    <a:lnTo>
                      <a:pt x="70" y="70"/>
                    </a:lnTo>
                    <a:lnTo>
                      <a:pt x="70" y="74"/>
                    </a:lnTo>
                    <a:lnTo>
                      <a:pt x="66" y="74"/>
                    </a:lnTo>
                    <a:lnTo>
                      <a:pt x="66" y="78"/>
                    </a:lnTo>
                    <a:lnTo>
                      <a:pt x="66" y="82"/>
                    </a:lnTo>
                    <a:lnTo>
                      <a:pt x="66" y="86"/>
                    </a:lnTo>
                    <a:lnTo>
                      <a:pt x="66" y="90"/>
                    </a:lnTo>
                    <a:lnTo>
                      <a:pt x="64" y="90"/>
                    </a:lnTo>
                    <a:lnTo>
                      <a:pt x="64" y="94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56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16"/>
                    </a:lnTo>
                    <a:lnTo>
                      <a:pt x="48" y="120"/>
                    </a:lnTo>
                    <a:lnTo>
                      <a:pt x="44" y="120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4" y="122"/>
                    </a:lnTo>
                    <a:lnTo>
                      <a:pt x="34" y="120"/>
                    </a:lnTo>
                    <a:lnTo>
                      <a:pt x="30" y="120"/>
                    </a:lnTo>
                    <a:lnTo>
                      <a:pt x="30" y="122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30" y="122"/>
                    </a:lnTo>
                    <a:lnTo>
                      <a:pt x="30" y="120"/>
                    </a:lnTo>
                    <a:lnTo>
                      <a:pt x="26" y="120"/>
                    </a:lnTo>
                    <a:lnTo>
                      <a:pt x="26" y="122"/>
                    </a:lnTo>
                    <a:lnTo>
                      <a:pt x="26" y="120"/>
                    </a:lnTo>
                    <a:lnTo>
                      <a:pt x="22" y="116"/>
                    </a:lnTo>
                    <a:lnTo>
                      <a:pt x="20" y="116"/>
                    </a:lnTo>
                    <a:lnTo>
                      <a:pt x="16" y="112"/>
                    </a:lnTo>
                    <a:lnTo>
                      <a:pt x="12" y="112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4" y="108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4"/>
                    </a:lnTo>
                    <a:lnTo>
                      <a:pt x="8" y="96"/>
                    </a:lnTo>
                    <a:lnTo>
                      <a:pt x="12" y="96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5" name="Freeform 204">
                <a:extLst>
                  <a:ext uri="{FF2B5EF4-FFF2-40B4-BE49-F238E27FC236}">
                    <a16:creationId xmlns:a16="http://schemas.microsoft.com/office/drawing/2014/main" id="{612C230F-871B-470B-AA3E-BF318EE4D13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908925" y="4749868"/>
                <a:ext cx="215900" cy="117475"/>
              </a:xfrm>
              <a:custGeom>
                <a:avLst/>
                <a:gdLst>
                  <a:gd name="T0" fmla="*/ 6 w 136"/>
                  <a:gd name="T1" fmla="*/ 8 h 74"/>
                  <a:gd name="T2" fmla="*/ 8 w 136"/>
                  <a:gd name="T3" fmla="*/ 4 h 74"/>
                  <a:gd name="T4" fmla="*/ 14 w 136"/>
                  <a:gd name="T5" fmla="*/ 10 h 74"/>
                  <a:gd name="T6" fmla="*/ 14 w 136"/>
                  <a:gd name="T7" fmla="*/ 12 h 74"/>
                  <a:gd name="T8" fmla="*/ 48 w 136"/>
                  <a:gd name="T9" fmla="*/ 26 h 74"/>
                  <a:gd name="T10" fmla="*/ 30 w 136"/>
                  <a:gd name="T11" fmla="*/ 12 h 74"/>
                  <a:gd name="T12" fmla="*/ 48 w 136"/>
                  <a:gd name="T13" fmla="*/ 26 h 74"/>
                  <a:gd name="T14" fmla="*/ 48 w 136"/>
                  <a:gd name="T15" fmla="*/ 26 h 74"/>
                  <a:gd name="T16" fmla="*/ 0 w 136"/>
                  <a:gd name="T17" fmla="*/ 14 h 74"/>
                  <a:gd name="T18" fmla="*/ 2 w 136"/>
                  <a:gd name="T19" fmla="*/ 18 h 74"/>
                  <a:gd name="T20" fmla="*/ 2 w 136"/>
                  <a:gd name="T21" fmla="*/ 18 h 74"/>
                  <a:gd name="T22" fmla="*/ 6 w 136"/>
                  <a:gd name="T23" fmla="*/ 20 h 74"/>
                  <a:gd name="T24" fmla="*/ 10 w 136"/>
                  <a:gd name="T25" fmla="*/ 16 h 74"/>
                  <a:gd name="T26" fmla="*/ 10 w 136"/>
                  <a:gd name="T27" fmla="*/ 22 h 74"/>
                  <a:gd name="T28" fmla="*/ 18 w 136"/>
                  <a:gd name="T29" fmla="*/ 28 h 74"/>
                  <a:gd name="T30" fmla="*/ 12 w 136"/>
                  <a:gd name="T31" fmla="*/ 22 h 74"/>
                  <a:gd name="T32" fmla="*/ 18 w 136"/>
                  <a:gd name="T33" fmla="*/ 22 h 74"/>
                  <a:gd name="T34" fmla="*/ 18 w 136"/>
                  <a:gd name="T35" fmla="*/ 28 h 74"/>
                  <a:gd name="T36" fmla="*/ 18 w 136"/>
                  <a:gd name="T37" fmla="*/ 28 h 74"/>
                  <a:gd name="T38" fmla="*/ 12 w 136"/>
                  <a:gd name="T39" fmla="*/ 28 h 74"/>
                  <a:gd name="T40" fmla="*/ 12 w 136"/>
                  <a:gd name="T41" fmla="*/ 28 h 74"/>
                  <a:gd name="T42" fmla="*/ 12 w 136"/>
                  <a:gd name="T43" fmla="*/ 28 h 74"/>
                  <a:gd name="T44" fmla="*/ 20 w 136"/>
                  <a:gd name="T45" fmla="*/ 28 h 74"/>
                  <a:gd name="T46" fmla="*/ 22 w 136"/>
                  <a:gd name="T47" fmla="*/ 28 h 74"/>
                  <a:gd name="T48" fmla="*/ 22 w 136"/>
                  <a:gd name="T49" fmla="*/ 28 h 74"/>
                  <a:gd name="T50" fmla="*/ 132 w 136"/>
                  <a:gd name="T51" fmla="*/ 56 h 74"/>
                  <a:gd name="T52" fmla="*/ 134 w 136"/>
                  <a:gd name="T53" fmla="*/ 60 h 74"/>
                  <a:gd name="T54" fmla="*/ 134 w 136"/>
                  <a:gd name="T55" fmla="*/ 60 h 74"/>
                  <a:gd name="T56" fmla="*/ 48 w 136"/>
                  <a:gd name="T57" fmla="*/ 68 h 74"/>
                  <a:gd name="T58" fmla="*/ 58 w 136"/>
                  <a:gd name="T59" fmla="*/ 74 h 74"/>
                  <a:gd name="T60" fmla="*/ 58 w 136"/>
                  <a:gd name="T61" fmla="*/ 74 h 74"/>
                  <a:gd name="T62" fmla="*/ 70 w 136"/>
                  <a:gd name="T63" fmla="*/ 42 h 74"/>
                  <a:gd name="T64" fmla="*/ 58 w 136"/>
                  <a:gd name="T65" fmla="*/ 22 h 74"/>
                  <a:gd name="T66" fmla="*/ 64 w 136"/>
                  <a:gd name="T67" fmla="*/ 28 h 74"/>
                  <a:gd name="T68" fmla="*/ 68 w 136"/>
                  <a:gd name="T69" fmla="*/ 34 h 74"/>
                  <a:gd name="T70" fmla="*/ 68 w 136"/>
                  <a:gd name="T71" fmla="*/ 34 h 74"/>
                  <a:gd name="T72" fmla="*/ 60 w 136"/>
                  <a:gd name="T73" fmla="*/ 46 h 74"/>
                  <a:gd name="T74" fmla="*/ 44 w 136"/>
                  <a:gd name="T75" fmla="*/ 38 h 74"/>
                  <a:gd name="T76" fmla="*/ 62 w 136"/>
                  <a:gd name="T77" fmla="*/ 46 h 74"/>
                  <a:gd name="T78" fmla="*/ 62 w 136"/>
                  <a:gd name="T79" fmla="*/ 46 h 74"/>
                  <a:gd name="T80" fmla="*/ 84 w 136"/>
                  <a:gd name="T81" fmla="*/ 60 h 74"/>
                  <a:gd name="T82" fmla="*/ 68 w 136"/>
                  <a:gd name="T83" fmla="*/ 50 h 74"/>
                  <a:gd name="T84" fmla="*/ 84 w 136"/>
                  <a:gd name="T85" fmla="*/ 56 h 74"/>
                  <a:gd name="T86" fmla="*/ 84 w 136"/>
                  <a:gd name="T87" fmla="*/ 56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36" h="74">
                    <a:moveTo>
                      <a:pt x="14" y="12"/>
                    </a:moveTo>
                    <a:lnTo>
                      <a:pt x="6" y="8"/>
                    </a:lnTo>
                    <a:lnTo>
                      <a:pt x="0" y="0"/>
                    </a:lnTo>
                    <a:lnTo>
                      <a:pt x="8" y="4"/>
                    </a:lnTo>
                    <a:lnTo>
                      <a:pt x="10" y="6"/>
                    </a:lnTo>
                    <a:lnTo>
                      <a:pt x="14" y="10"/>
                    </a:lnTo>
                    <a:lnTo>
                      <a:pt x="14" y="12"/>
                    </a:lnTo>
                    <a:lnTo>
                      <a:pt x="14" y="12"/>
                    </a:lnTo>
                    <a:lnTo>
                      <a:pt x="14" y="12"/>
                    </a:lnTo>
                    <a:close/>
                    <a:moveTo>
                      <a:pt x="48" y="26"/>
                    </a:moveTo>
                    <a:lnTo>
                      <a:pt x="34" y="18"/>
                    </a:lnTo>
                    <a:lnTo>
                      <a:pt x="30" y="12"/>
                    </a:lnTo>
                    <a:lnTo>
                      <a:pt x="48" y="22"/>
                    </a:lnTo>
                    <a:lnTo>
                      <a:pt x="48" y="26"/>
                    </a:lnTo>
                    <a:lnTo>
                      <a:pt x="48" y="26"/>
                    </a:lnTo>
                    <a:lnTo>
                      <a:pt x="48" y="26"/>
                    </a:lnTo>
                    <a:close/>
                    <a:moveTo>
                      <a:pt x="2" y="18"/>
                    </a:moveTo>
                    <a:lnTo>
                      <a:pt x="0" y="14"/>
                    </a:lnTo>
                    <a:lnTo>
                      <a:pt x="6" y="16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  <a:moveTo>
                      <a:pt x="10" y="22"/>
                    </a:moveTo>
                    <a:lnTo>
                      <a:pt x="6" y="20"/>
                    </a:lnTo>
                    <a:lnTo>
                      <a:pt x="8" y="16"/>
                    </a:lnTo>
                    <a:lnTo>
                      <a:pt x="10" y="16"/>
                    </a:lnTo>
                    <a:lnTo>
                      <a:pt x="10" y="22"/>
                    </a:lnTo>
                    <a:lnTo>
                      <a:pt x="10" y="22"/>
                    </a:lnTo>
                    <a:lnTo>
                      <a:pt x="10" y="22"/>
                    </a:lnTo>
                    <a:close/>
                    <a:moveTo>
                      <a:pt x="18" y="28"/>
                    </a:moveTo>
                    <a:lnTo>
                      <a:pt x="14" y="22"/>
                    </a:lnTo>
                    <a:lnTo>
                      <a:pt x="12" y="22"/>
                    </a:lnTo>
                    <a:lnTo>
                      <a:pt x="12" y="18"/>
                    </a:lnTo>
                    <a:lnTo>
                      <a:pt x="18" y="22"/>
                    </a:lnTo>
                    <a:lnTo>
                      <a:pt x="20" y="26"/>
                    </a:lnTo>
                    <a:lnTo>
                      <a:pt x="18" y="28"/>
                    </a:lnTo>
                    <a:lnTo>
                      <a:pt x="18" y="28"/>
                    </a:lnTo>
                    <a:lnTo>
                      <a:pt x="18" y="28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22" y="28"/>
                    </a:moveTo>
                    <a:lnTo>
                      <a:pt x="20" y="28"/>
                    </a:lnTo>
                    <a:lnTo>
                      <a:pt x="24" y="26"/>
                    </a:lnTo>
                    <a:lnTo>
                      <a:pt x="22" y="28"/>
                    </a:lnTo>
                    <a:lnTo>
                      <a:pt x="22" y="28"/>
                    </a:lnTo>
                    <a:lnTo>
                      <a:pt x="22" y="28"/>
                    </a:lnTo>
                    <a:close/>
                    <a:moveTo>
                      <a:pt x="134" y="60"/>
                    </a:moveTo>
                    <a:lnTo>
                      <a:pt x="132" y="56"/>
                    </a:lnTo>
                    <a:lnTo>
                      <a:pt x="136" y="56"/>
                    </a:lnTo>
                    <a:lnTo>
                      <a:pt x="134" y="60"/>
                    </a:lnTo>
                    <a:lnTo>
                      <a:pt x="134" y="60"/>
                    </a:lnTo>
                    <a:lnTo>
                      <a:pt x="134" y="60"/>
                    </a:lnTo>
                    <a:close/>
                    <a:moveTo>
                      <a:pt x="58" y="74"/>
                    </a:moveTo>
                    <a:lnTo>
                      <a:pt x="48" y="68"/>
                    </a:lnTo>
                    <a:lnTo>
                      <a:pt x="56" y="72"/>
                    </a:lnTo>
                    <a:lnTo>
                      <a:pt x="58" y="74"/>
                    </a:lnTo>
                    <a:lnTo>
                      <a:pt x="58" y="74"/>
                    </a:lnTo>
                    <a:lnTo>
                      <a:pt x="58" y="74"/>
                    </a:lnTo>
                    <a:close/>
                    <a:moveTo>
                      <a:pt x="68" y="34"/>
                    </a:moveTo>
                    <a:lnTo>
                      <a:pt x="70" y="42"/>
                    </a:lnTo>
                    <a:lnTo>
                      <a:pt x="62" y="34"/>
                    </a:lnTo>
                    <a:lnTo>
                      <a:pt x="58" y="22"/>
                    </a:lnTo>
                    <a:lnTo>
                      <a:pt x="62" y="24"/>
                    </a:lnTo>
                    <a:lnTo>
                      <a:pt x="64" y="28"/>
                    </a:lnTo>
                    <a:lnTo>
                      <a:pt x="64" y="30"/>
                    </a:lnTo>
                    <a:lnTo>
                      <a:pt x="68" y="34"/>
                    </a:lnTo>
                    <a:lnTo>
                      <a:pt x="68" y="34"/>
                    </a:lnTo>
                    <a:lnTo>
                      <a:pt x="68" y="34"/>
                    </a:lnTo>
                    <a:close/>
                    <a:moveTo>
                      <a:pt x="62" y="46"/>
                    </a:moveTo>
                    <a:lnTo>
                      <a:pt x="60" y="46"/>
                    </a:lnTo>
                    <a:lnTo>
                      <a:pt x="48" y="44"/>
                    </a:lnTo>
                    <a:lnTo>
                      <a:pt x="44" y="38"/>
                    </a:lnTo>
                    <a:lnTo>
                      <a:pt x="56" y="40"/>
                    </a:lnTo>
                    <a:lnTo>
                      <a:pt x="62" y="46"/>
                    </a:lnTo>
                    <a:lnTo>
                      <a:pt x="62" y="46"/>
                    </a:lnTo>
                    <a:lnTo>
                      <a:pt x="62" y="46"/>
                    </a:lnTo>
                    <a:close/>
                    <a:moveTo>
                      <a:pt x="84" y="56"/>
                    </a:moveTo>
                    <a:lnTo>
                      <a:pt x="84" y="60"/>
                    </a:lnTo>
                    <a:lnTo>
                      <a:pt x="76" y="56"/>
                    </a:lnTo>
                    <a:lnTo>
                      <a:pt x="68" y="50"/>
                    </a:lnTo>
                    <a:lnTo>
                      <a:pt x="80" y="54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6" name="Freeform 205">
                <a:extLst>
                  <a:ext uri="{FF2B5EF4-FFF2-40B4-BE49-F238E27FC236}">
                    <a16:creationId xmlns:a16="http://schemas.microsoft.com/office/drawing/2014/main" id="{F98CBDCD-E42E-4CB1-A9C7-AE3E80C2B43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378825" y="4965768"/>
                <a:ext cx="60325" cy="69850"/>
              </a:xfrm>
              <a:custGeom>
                <a:avLst/>
                <a:gdLst>
                  <a:gd name="T0" fmla="*/ 38 w 38"/>
                  <a:gd name="T1" fmla="*/ 0 h 44"/>
                  <a:gd name="T2" fmla="*/ 30 w 38"/>
                  <a:gd name="T3" fmla="*/ 8 h 44"/>
                  <a:gd name="T4" fmla="*/ 36 w 38"/>
                  <a:gd name="T5" fmla="*/ 4 h 44"/>
                  <a:gd name="T6" fmla="*/ 36 w 38"/>
                  <a:gd name="T7" fmla="*/ 8 h 44"/>
                  <a:gd name="T8" fmla="*/ 28 w 38"/>
                  <a:gd name="T9" fmla="*/ 8 h 44"/>
                  <a:gd name="T10" fmla="*/ 28 w 38"/>
                  <a:gd name="T11" fmla="*/ 8 h 44"/>
                  <a:gd name="T12" fmla="*/ 20 w 38"/>
                  <a:gd name="T13" fmla="*/ 14 h 44"/>
                  <a:gd name="T14" fmla="*/ 16 w 38"/>
                  <a:gd name="T15" fmla="*/ 8 h 44"/>
                  <a:gd name="T16" fmla="*/ 22 w 38"/>
                  <a:gd name="T17" fmla="*/ 4 h 44"/>
                  <a:gd name="T18" fmla="*/ 38 w 38"/>
                  <a:gd name="T19" fmla="*/ 0 h 44"/>
                  <a:gd name="T20" fmla="*/ 38 w 38"/>
                  <a:gd name="T21" fmla="*/ 0 h 44"/>
                  <a:gd name="T22" fmla="*/ 38 w 38"/>
                  <a:gd name="T23" fmla="*/ 0 h 44"/>
                  <a:gd name="T24" fmla="*/ 38 w 38"/>
                  <a:gd name="T25" fmla="*/ 0 h 44"/>
                  <a:gd name="T26" fmla="*/ 2 w 38"/>
                  <a:gd name="T27" fmla="*/ 30 h 44"/>
                  <a:gd name="T28" fmla="*/ 0 w 38"/>
                  <a:gd name="T29" fmla="*/ 26 h 44"/>
                  <a:gd name="T30" fmla="*/ 4 w 38"/>
                  <a:gd name="T31" fmla="*/ 20 h 44"/>
                  <a:gd name="T32" fmla="*/ 12 w 38"/>
                  <a:gd name="T33" fmla="*/ 16 h 44"/>
                  <a:gd name="T34" fmla="*/ 16 w 38"/>
                  <a:gd name="T35" fmla="*/ 22 h 44"/>
                  <a:gd name="T36" fmla="*/ 18 w 38"/>
                  <a:gd name="T37" fmla="*/ 28 h 44"/>
                  <a:gd name="T38" fmla="*/ 16 w 38"/>
                  <a:gd name="T39" fmla="*/ 28 h 44"/>
                  <a:gd name="T40" fmla="*/ 10 w 38"/>
                  <a:gd name="T41" fmla="*/ 32 h 44"/>
                  <a:gd name="T42" fmla="*/ 2 w 38"/>
                  <a:gd name="T43" fmla="*/ 30 h 44"/>
                  <a:gd name="T44" fmla="*/ 2 w 38"/>
                  <a:gd name="T45" fmla="*/ 30 h 44"/>
                  <a:gd name="T46" fmla="*/ 2 w 38"/>
                  <a:gd name="T47" fmla="*/ 30 h 44"/>
                  <a:gd name="T48" fmla="*/ 10 w 38"/>
                  <a:gd name="T49" fmla="*/ 44 h 44"/>
                  <a:gd name="T50" fmla="*/ 10 w 38"/>
                  <a:gd name="T51" fmla="*/ 44 h 44"/>
                  <a:gd name="T52" fmla="*/ 10 w 38"/>
                  <a:gd name="T53" fmla="*/ 42 h 44"/>
                  <a:gd name="T54" fmla="*/ 16 w 38"/>
                  <a:gd name="T55" fmla="*/ 42 h 44"/>
                  <a:gd name="T56" fmla="*/ 10 w 38"/>
                  <a:gd name="T57" fmla="*/ 44 h 44"/>
                  <a:gd name="T58" fmla="*/ 10 w 38"/>
                  <a:gd name="T59" fmla="*/ 44 h 44"/>
                  <a:gd name="T60" fmla="*/ 10 w 38"/>
                  <a:gd name="T61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38" h="44">
                    <a:moveTo>
                      <a:pt x="38" y="0"/>
                    </a:moveTo>
                    <a:lnTo>
                      <a:pt x="30" y="8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0" y="14"/>
                    </a:lnTo>
                    <a:lnTo>
                      <a:pt x="16" y="8"/>
                    </a:lnTo>
                    <a:lnTo>
                      <a:pt x="22" y="4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38" y="0"/>
                    </a:lnTo>
                    <a:close/>
                    <a:moveTo>
                      <a:pt x="2" y="30"/>
                    </a:moveTo>
                    <a:lnTo>
                      <a:pt x="0" y="26"/>
                    </a:lnTo>
                    <a:lnTo>
                      <a:pt x="4" y="20"/>
                    </a:lnTo>
                    <a:lnTo>
                      <a:pt x="12" y="16"/>
                    </a:lnTo>
                    <a:lnTo>
                      <a:pt x="16" y="22"/>
                    </a:lnTo>
                    <a:lnTo>
                      <a:pt x="18" y="28"/>
                    </a:lnTo>
                    <a:lnTo>
                      <a:pt x="16" y="28"/>
                    </a:lnTo>
                    <a:lnTo>
                      <a:pt x="10" y="32"/>
                    </a:lnTo>
                    <a:lnTo>
                      <a:pt x="2" y="30"/>
                    </a:lnTo>
                    <a:lnTo>
                      <a:pt x="2" y="30"/>
                    </a:lnTo>
                    <a:lnTo>
                      <a:pt x="2" y="30"/>
                    </a:lnTo>
                    <a:close/>
                    <a:moveTo>
                      <a:pt x="10" y="44"/>
                    </a:moveTo>
                    <a:lnTo>
                      <a:pt x="10" y="44"/>
                    </a:lnTo>
                    <a:lnTo>
                      <a:pt x="10" y="42"/>
                    </a:lnTo>
                    <a:lnTo>
                      <a:pt x="16" y="42"/>
                    </a:lnTo>
                    <a:lnTo>
                      <a:pt x="10" y="44"/>
                    </a:lnTo>
                    <a:lnTo>
                      <a:pt x="10" y="44"/>
                    </a:lnTo>
                    <a:lnTo>
                      <a:pt x="10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7" name="Freeform 206">
                <a:extLst>
                  <a:ext uri="{FF2B5EF4-FFF2-40B4-BE49-F238E27FC236}">
                    <a16:creationId xmlns:a16="http://schemas.microsoft.com/office/drawing/2014/main" id="{FA4720BD-EB55-4A71-809D-0669F02A1EF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34350" y="4930843"/>
                <a:ext cx="66675" cy="117475"/>
              </a:xfrm>
              <a:custGeom>
                <a:avLst/>
                <a:gdLst>
                  <a:gd name="T0" fmla="*/ 8 w 42"/>
                  <a:gd name="T1" fmla="*/ 6 h 74"/>
                  <a:gd name="T2" fmla="*/ 12 w 42"/>
                  <a:gd name="T3" fmla="*/ 12 h 74"/>
                  <a:gd name="T4" fmla="*/ 4 w 42"/>
                  <a:gd name="T5" fmla="*/ 14 h 74"/>
                  <a:gd name="T6" fmla="*/ 0 w 42"/>
                  <a:gd name="T7" fmla="*/ 0 h 74"/>
                  <a:gd name="T8" fmla="*/ 6 w 42"/>
                  <a:gd name="T9" fmla="*/ 6 h 74"/>
                  <a:gd name="T10" fmla="*/ 6 w 42"/>
                  <a:gd name="T11" fmla="*/ 4 h 74"/>
                  <a:gd name="T12" fmla="*/ 8 w 42"/>
                  <a:gd name="T13" fmla="*/ 6 h 74"/>
                  <a:gd name="T14" fmla="*/ 8 w 42"/>
                  <a:gd name="T15" fmla="*/ 6 h 74"/>
                  <a:gd name="T16" fmla="*/ 8 w 42"/>
                  <a:gd name="T17" fmla="*/ 6 h 74"/>
                  <a:gd name="T18" fmla="*/ 28 w 42"/>
                  <a:gd name="T19" fmla="*/ 48 h 74"/>
                  <a:gd name="T20" fmla="*/ 24 w 42"/>
                  <a:gd name="T21" fmla="*/ 44 h 74"/>
                  <a:gd name="T22" fmla="*/ 26 w 42"/>
                  <a:gd name="T23" fmla="*/ 42 h 74"/>
                  <a:gd name="T24" fmla="*/ 30 w 42"/>
                  <a:gd name="T25" fmla="*/ 44 h 74"/>
                  <a:gd name="T26" fmla="*/ 28 w 42"/>
                  <a:gd name="T27" fmla="*/ 48 h 74"/>
                  <a:gd name="T28" fmla="*/ 28 w 42"/>
                  <a:gd name="T29" fmla="*/ 48 h 74"/>
                  <a:gd name="T30" fmla="*/ 28 w 42"/>
                  <a:gd name="T31" fmla="*/ 48 h 74"/>
                  <a:gd name="T32" fmla="*/ 40 w 42"/>
                  <a:gd name="T33" fmla="*/ 64 h 74"/>
                  <a:gd name="T34" fmla="*/ 36 w 42"/>
                  <a:gd name="T35" fmla="*/ 62 h 74"/>
                  <a:gd name="T36" fmla="*/ 36 w 42"/>
                  <a:gd name="T37" fmla="*/ 60 h 74"/>
                  <a:gd name="T38" fmla="*/ 40 w 42"/>
                  <a:gd name="T39" fmla="*/ 62 h 74"/>
                  <a:gd name="T40" fmla="*/ 40 w 42"/>
                  <a:gd name="T41" fmla="*/ 64 h 74"/>
                  <a:gd name="T42" fmla="*/ 40 w 42"/>
                  <a:gd name="T43" fmla="*/ 64 h 74"/>
                  <a:gd name="T44" fmla="*/ 40 w 42"/>
                  <a:gd name="T45" fmla="*/ 64 h 74"/>
                  <a:gd name="T46" fmla="*/ 42 w 42"/>
                  <a:gd name="T47" fmla="*/ 74 h 74"/>
                  <a:gd name="T48" fmla="*/ 40 w 42"/>
                  <a:gd name="T49" fmla="*/ 72 h 74"/>
                  <a:gd name="T50" fmla="*/ 40 w 42"/>
                  <a:gd name="T51" fmla="*/ 70 h 74"/>
                  <a:gd name="T52" fmla="*/ 42 w 42"/>
                  <a:gd name="T53" fmla="*/ 72 h 74"/>
                  <a:gd name="T54" fmla="*/ 42 w 42"/>
                  <a:gd name="T55" fmla="*/ 74 h 74"/>
                  <a:gd name="T56" fmla="*/ 42 w 42"/>
                  <a:gd name="T57" fmla="*/ 74 h 74"/>
                  <a:gd name="T58" fmla="*/ 42 w 42"/>
                  <a:gd name="T59" fmla="*/ 74 h 74"/>
                  <a:gd name="T60" fmla="*/ 18 w 42"/>
                  <a:gd name="T61" fmla="*/ 12 h 74"/>
                  <a:gd name="T62" fmla="*/ 18 w 42"/>
                  <a:gd name="T63" fmla="*/ 12 h 74"/>
                  <a:gd name="T64" fmla="*/ 22 w 42"/>
                  <a:gd name="T65" fmla="*/ 10 h 74"/>
                  <a:gd name="T66" fmla="*/ 18 w 42"/>
                  <a:gd name="T67" fmla="*/ 12 h 74"/>
                  <a:gd name="T68" fmla="*/ 18 w 42"/>
                  <a:gd name="T69" fmla="*/ 12 h 74"/>
                  <a:gd name="T70" fmla="*/ 18 w 42"/>
                  <a:gd name="T71" fmla="*/ 12 h 74"/>
                  <a:gd name="T72" fmla="*/ 14 w 42"/>
                  <a:gd name="T73" fmla="*/ 28 h 74"/>
                  <a:gd name="T74" fmla="*/ 12 w 42"/>
                  <a:gd name="T75" fmla="*/ 22 h 74"/>
                  <a:gd name="T76" fmla="*/ 10 w 42"/>
                  <a:gd name="T77" fmla="*/ 20 h 74"/>
                  <a:gd name="T78" fmla="*/ 12 w 42"/>
                  <a:gd name="T79" fmla="*/ 18 h 74"/>
                  <a:gd name="T80" fmla="*/ 18 w 42"/>
                  <a:gd name="T81" fmla="*/ 26 h 74"/>
                  <a:gd name="T82" fmla="*/ 14 w 42"/>
                  <a:gd name="T83" fmla="*/ 28 h 74"/>
                  <a:gd name="T84" fmla="*/ 14 w 42"/>
                  <a:gd name="T85" fmla="*/ 28 h 74"/>
                  <a:gd name="T86" fmla="*/ 14 w 42"/>
                  <a:gd name="T87" fmla="*/ 28 h 74"/>
                  <a:gd name="T88" fmla="*/ 24 w 42"/>
                  <a:gd name="T89" fmla="*/ 24 h 74"/>
                  <a:gd name="T90" fmla="*/ 20 w 42"/>
                  <a:gd name="T91" fmla="*/ 24 h 74"/>
                  <a:gd name="T92" fmla="*/ 24 w 42"/>
                  <a:gd name="T93" fmla="*/ 20 h 74"/>
                  <a:gd name="T94" fmla="*/ 26 w 42"/>
                  <a:gd name="T95" fmla="*/ 24 h 74"/>
                  <a:gd name="T96" fmla="*/ 24 w 42"/>
                  <a:gd name="T97" fmla="*/ 24 h 74"/>
                  <a:gd name="T98" fmla="*/ 24 w 42"/>
                  <a:gd name="T99" fmla="*/ 24 h 74"/>
                  <a:gd name="T100" fmla="*/ 24 w 42"/>
                  <a:gd name="T101" fmla="*/ 24 h 74"/>
                  <a:gd name="T102" fmla="*/ 28 w 42"/>
                  <a:gd name="T103" fmla="*/ 32 h 74"/>
                  <a:gd name="T104" fmla="*/ 24 w 42"/>
                  <a:gd name="T105" fmla="*/ 30 h 74"/>
                  <a:gd name="T106" fmla="*/ 24 w 42"/>
                  <a:gd name="T107" fmla="*/ 28 h 74"/>
                  <a:gd name="T108" fmla="*/ 28 w 42"/>
                  <a:gd name="T109" fmla="*/ 32 h 74"/>
                  <a:gd name="T110" fmla="*/ 28 w 42"/>
                  <a:gd name="T111" fmla="*/ 32 h 74"/>
                  <a:gd name="T112" fmla="*/ 28 w 42"/>
                  <a:gd name="T113" fmla="*/ 32 h 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2" h="74">
                    <a:moveTo>
                      <a:pt x="8" y="6"/>
                    </a:moveTo>
                    <a:lnTo>
                      <a:pt x="12" y="12"/>
                    </a:lnTo>
                    <a:lnTo>
                      <a:pt x="4" y="14"/>
                    </a:lnTo>
                    <a:lnTo>
                      <a:pt x="0" y="0"/>
                    </a:lnTo>
                    <a:lnTo>
                      <a:pt x="6" y="6"/>
                    </a:lnTo>
                    <a:lnTo>
                      <a:pt x="6" y="4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close/>
                    <a:moveTo>
                      <a:pt x="28" y="48"/>
                    </a:moveTo>
                    <a:lnTo>
                      <a:pt x="24" y="44"/>
                    </a:lnTo>
                    <a:lnTo>
                      <a:pt x="26" y="42"/>
                    </a:lnTo>
                    <a:lnTo>
                      <a:pt x="30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40" y="64"/>
                    </a:moveTo>
                    <a:lnTo>
                      <a:pt x="36" y="62"/>
                    </a:lnTo>
                    <a:lnTo>
                      <a:pt x="36" y="60"/>
                    </a:lnTo>
                    <a:lnTo>
                      <a:pt x="40" y="62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close/>
                    <a:moveTo>
                      <a:pt x="42" y="74"/>
                    </a:moveTo>
                    <a:lnTo>
                      <a:pt x="40" y="72"/>
                    </a:lnTo>
                    <a:lnTo>
                      <a:pt x="40" y="70"/>
                    </a:lnTo>
                    <a:lnTo>
                      <a:pt x="42" y="72"/>
                    </a:lnTo>
                    <a:lnTo>
                      <a:pt x="42" y="74"/>
                    </a:lnTo>
                    <a:lnTo>
                      <a:pt x="42" y="74"/>
                    </a:lnTo>
                    <a:lnTo>
                      <a:pt x="42" y="74"/>
                    </a:lnTo>
                    <a:close/>
                    <a:moveTo>
                      <a:pt x="18" y="12"/>
                    </a:moveTo>
                    <a:lnTo>
                      <a:pt x="18" y="12"/>
                    </a:lnTo>
                    <a:lnTo>
                      <a:pt x="22" y="10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close/>
                    <a:moveTo>
                      <a:pt x="14" y="28"/>
                    </a:moveTo>
                    <a:lnTo>
                      <a:pt x="12" y="22"/>
                    </a:lnTo>
                    <a:lnTo>
                      <a:pt x="10" y="20"/>
                    </a:lnTo>
                    <a:lnTo>
                      <a:pt x="12" y="18"/>
                    </a:lnTo>
                    <a:lnTo>
                      <a:pt x="18" y="26"/>
                    </a:lnTo>
                    <a:lnTo>
                      <a:pt x="14" y="28"/>
                    </a:lnTo>
                    <a:lnTo>
                      <a:pt x="14" y="28"/>
                    </a:lnTo>
                    <a:lnTo>
                      <a:pt x="14" y="28"/>
                    </a:lnTo>
                    <a:close/>
                    <a:moveTo>
                      <a:pt x="24" y="24"/>
                    </a:moveTo>
                    <a:lnTo>
                      <a:pt x="20" y="24"/>
                    </a:lnTo>
                    <a:lnTo>
                      <a:pt x="24" y="20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close/>
                    <a:moveTo>
                      <a:pt x="28" y="32"/>
                    </a:moveTo>
                    <a:lnTo>
                      <a:pt x="24" y="30"/>
                    </a:lnTo>
                    <a:lnTo>
                      <a:pt x="24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8" name="Freeform 207">
                <a:extLst>
                  <a:ext uri="{FF2B5EF4-FFF2-40B4-BE49-F238E27FC236}">
                    <a16:creationId xmlns:a16="http://schemas.microsoft.com/office/drawing/2014/main" id="{3C6FA00F-76F6-45F3-B208-428D65408EA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077200" y="5057843"/>
                <a:ext cx="95250" cy="53975"/>
              </a:xfrm>
              <a:custGeom>
                <a:avLst/>
                <a:gdLst>
                  <a:gd name="T0" fmla="*/ 22 w 60"/>
                  <a:gd name="T1" fmla="*/ 14 h 34"/>
                  <a:gd name="T2" fmla="*/ 42 w 60"/>
                  <a:gd name="T3" fmla="*/ 30 h 34"/>
                  <a:gd name="T4" fmla="*/ 42 w 60"/>
                  <a:gd name="T5" fmla="*/ 34 h 34"/>
                  <a:gd name="T6" fmla="*/ 36 w 60"/>
                  <a:gd name="T7" fmla="*/ 34 h 34"/>
                  <a:gd name="T8" fmla="*/ 30 w 60"/>
                  <a:gd name="T9" fmla="*/ 28 h 34"/>
                  <a:gd name="T10" fmla="*/ 18 w 60"/>
                  <a:gd name="T11" fmla="*/ 22 h 34"/>
                  <a:gd name="T12" fmla="*/ 6 w 60"/>
                  <a:gd name="T13" fmla="*/ 10 h 34"/>
                  <a:gd name="T14" fmla="*/ 0 w 60"/>
                  <a:gd name="T15" fmla="*/ 0 h 34"/>
                  <a:gd name="T16" fmla="*/ 18 w 60"/>
                  <a:gd name="T17" fmla="*/ 10 h 34"/>
                  <a:gd name="T18" fmla="*/ 22 w 60"/>
                  <a:gd name="T19" fmla="*/ 14 h 34"/>
                  <a:gd name="T20" fmla="*/ 22 w 60"/>
                  <a:gd name="T21" fmla="*/ 14 h 34"/>
                  <a:gd name="T22" fmla="*/ 22 w 60"/>
                  <a:gd name="T23" fmla="*/ 14 h 34"/>
                  <a:gd name="T24" fmla="*/ 48 w 60"/>
                  <a:gd name="T25" fmla="*/ 16 h 34"/>
                  <a:gd name="T26" fmla="*/ 44 w 60"/>
                  <a:gd name="T27" fmla="*/ 12 h 34"/>
                  <a:gd name="T28" fmla="*/ 46 w 60"/>
                  <a:gd name="T29" fmla="*/ 12 h 34"/>
                  <a:gd name="T30" fmla="*/ 44 w 60"/>
                  <a:gd name="T31" fmla="*/ 8 h 34"/>
                  <a:gd name="T32" fmla="*/ 48 w 60"/>
                  <a:gd name="T33" fmla="*/ 8 h 34"/>
                  <a:gd name="T34" fmla="*/ 48 w 60"/>
                  <a:gd name="T35" fmla="*/ 12 h 34"/>
                  <a:gd name="T36" fmla="*/ 50 w 60"/>
                  <a:gd name="T37" fmla="*/ 14 h 34"/>
                  <a:gd name="T38" fmla="*/ 48 w 60"/>
                  <a:gd name="T39" fmla="*/ 16 h 34"/>
                  <a:gd name="T40" fmla="*/ 48 w 60"/>
                  <a:gd name="T41" fmla="*/ 16 h 34"/>
                  <a:gd name="T42" fmla="*/ 48 w 60"/>
                  <a:gd name="T43" fmla="*/ 16 h 34"/>
                  <a:gd name="T44" fmla="*/ 58 w 60"/>
                  <a:gd name="T45" fmla="*/ 24 h 34"/>
                  <a:gd name="T46" fmla="*/ 54 w 60"/>
                  <a:gd name="T47" fmla="*/ 18 h 34"/>
                  <a:gd name="T48" fmla="*/ 60 w 60"/>
                  <a:gd name="T49" fmla="*/ 20 h 34"/>
                  <a:gd name="T50" fmla="*/ 60 w 60"/>
                  <a:gd name="T51" fmla="*/ 24 h 34"/>
                  <a:gd name="T52" fmla="*/ 58 w 60"/>
                  <a:gd name="T53" fmla="*/ 24 h 34"/>
                  <a:gd name="T54" fmla="*/ 58 w 60"/>
                  <a:gd name="T55" fmla="*/ 24 h 34"/>
                  <a:gd name="T56" fmla="*/ 58 w 60"/>
                  <a:gd name="T57" fmla="*/ 24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60" h="34">
                    <a:moveTo>
                      <a:pt x="22" y="14"/>
                    </a:moveTo>
                    <a:lnTo>
                      <a:pt x="42" y="30"/>
                    </a:lnTo>
                    <a:lnTo>
                      <a:pt x="42" y="34"/>
                    </a:lnTo>
                    <a:lnTo>
                      <a:pt x="36" y="34"/>
                    </a:lnTo>
                    <a:lnTo>
                      <a:pt x="30" y="28"/>
                    </a:lnTo>
                    <a:lnTo>
                      <a:pt x="18" y="22"/>
                    </a:lnTo>
                    <a:lnTo>
                      <a:pt x="6" y="10"/>
                    </a:lnTo>
                    <a:lnTo>
                      <a:pt x="0" y="0"/>
                    </a:lnTo>
                    <a:lnTo>
                      <a:pt x="18" y="10"/>
                    </a:lnTo>
                    <a:lnTo>
                      <a:pt x="22" y="14"/>
                    </a:lnTo>
                    <a:lnTo>
                      <a:pt x="22" y="14"/>
                    </a:lnTo>
                    <a:lnTo>
                      <a:pt x="22" y="14"/>
                    </a:lnTo>
                    <a:close/>
                    <a:moveTo>
                      <a:pt x="48" y="16"/>
                    </a:moveTo>
                    <a:lnTo>
                      <a:pt x="44" y="12"/>
                    </a:lnTo>
                    <a:lnTo>
                      <a:pt x="46" y="12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50" y="14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close/>
                    <a:moveTo>
                      <a:pt x="58" y="24"/>
                    </a:moveTo>
                    <a:lnTo>
                      <a:pt x="54" y="18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58" y="24"/>
                    </a:lnTo>
                    <a:lnTo>
                      <a:pt x="58" y="24"/>
                    </a:lnTo>
                    <a:lnTo>
                      <a:pt x="58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69" name="Freeform 208">
                <a:extLst>
                  <a:ext uri="{FF2B5EF4-FFF2-40B4-BE49-F238E27FC236}">
                    <a16:creationId xmlns:a16="http://schemas.microsoft.com/office/drawing/2014/main" id="{BB5E846C-F412-4312-94F5-DB96003532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44500" y="3794193"/>
                <a:ext cx="3175" cy="3175"/>
              </a:xfrm>
              <a:custGeom>
                <a:avLst/>
                <a:gdLst>
                  <a:gd name="T0" fmla="*/ 0 w 2"/>
                  <a:gd name="T1" fmla="*/ 0 h 2"/>
                  <a:gd name="T2" fmla="*/ 2 w 2"/>
                  <a:gd name="T3" fmla="*/ 0 h 2"/>
                  <a:gd name="T4" fmla="*/ 2 w 2"/>
                  <a:gd name="T5" fmla="*/ 2 h 2"/>
                  <a:gd name="T6" fmla="*/ 0 w 2"/>
                  <a:gd name="T7" fmla="*/ 2 h 2"/>
                  <a:gd name="T8" fmla="*/ 0 w 2"/>
                  <a:gd name="T9" fmla="*/ 0 h 2"/>
                  <a:gd name="T10" fmla="*/ 0 w 2"/>
                  <a:gd name="T11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0"/>
                    </a:moveTo>
                    <a:lnTo>
                      <a:pt x="2" y="0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0" name="Freeform 209">
                <a:extLst>
                  <a:ext uri="{FF2B5EF4-FFF2-40B4-BE49-F238E27FC236}">
                    <a16:creationId xmlns:a16="http://schemas.microsoft.com/office/drawing/2014/main" id="{71234CF4-4614-4F25-908B-C72B49E7E3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797675" y="4841943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2 w 2"/>
                  <a:gd name="T3" fmla="*/ 2 h 2"/>
                  <a:gd name="T4" fmla="*/ 2 w 2"/>
                  <a:gd name="T5" fmla="*/ 2 h 2"/>
                  <a:gd name="T6" fmla="*/ 0 w 2"/>
                  <a:gd name="T7" fmla="*/ 2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2" y="2"/>
                    </a:lnTo>
                    <a:lnTo>
                      <a:pt x="2" y="2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1" name="Freeform 210">
                <a:extLst>
                  <a:ext uri="{FF2B5EF4-FFF2-40B4-BE49-F238E27FC236}">
                    <a16:creationId xmlns:a16="http://schemas.microsoft.com/office/drawing/2014/main" id="{62911049-7E36-4ACC-B2FF-882E1E35608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3025" y="4149793"/>
                <a:ext cx="6350" cy="12700"/>
              </a:xfrm>
              <a:custGeom>
                <a:avLst/>
                <a:gdLst>
                  <a:gd name="T0" fmla="*/ 0 w 4"/>
                  <a:gd name="T1" fmla="*/ 8 h 8"/>
                  <a:gd name="T2" fmla="*/ 0 w 4"/>
                  <a:gd name="T3" fmla="*/ 6 h 8"/>
                  <a:gd name="T4" fmla="*/ 4 w 4"/>
                  <a:gd name="T5" fmla="*/ 0 h 8"/>
                  <a:gd name="T6" fmla="*/ 0 w 4"/>
                  <a:gd name="T7" fmla="*/ 8 h 8"/>
                  <a:gd name="T8" fmla="*/ 0 w 4"/>
                  <a:gd name="T9" fmla="*/ 8 h 8"/>
                  <a:gd name="T10" fmla="*/ 0 w 4"/>
                  <a:gd name="T11" fmla="*/ 8 h 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" h="8">
                    <a:moveTo>
                      <a:pt x="0" y="8"/>
                    </a:moveTo>
                    <a:lnTo>
                      <a:pt x="0" y="6"/>
                    </a:lnTo>
                    <a:lnTo>
                      <a:pt x="4" y="0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2" name="Freeform 211">
                <a:extLst>
                  <a:ext uri="{FF2B5EF4-FFF2-40B4-BE49-F238E27FC236}">
                    <a16:creationId xmlns:a16="http://schemas.microsoft.com/office/drawing/2014/main" id="{FBA44B3C-6844-47D7-A0FF-6282D98CE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715250" y="4114868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4 h 4"/>
                  <a:gd name="T4" fmla="*/ 0 w 2"/>
                  <a:gd name="T5" fmla="*/ 2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4"/>
                    </a:lnTo>
                    <a:lnTo>
                      <a:pt x="0" y="2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3" name="Freeform 212">
                <a:extLst>
                  <a:ext uri="{FF2B5EF4-FFF2-40B4-BE49-F238E27FC236}">
                    <a16:creationId xmlns:a16="http://schemas.microsoft.com/office/drawing/2014/main" id="{EB33F24A-C01D-4001-92CC-0F7DD803D6D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448550" y="4343468"/>
                <a:ext cx="3175" cy="3175"/>
              </a:xfrm>
              <a:custGeom>
                <a:avLst/>
                <a:gdLst>
                  <a:gd name="T0" fmla="*/ 2 w 2"/>
                  <a:gd name="T1" fmla="*/ 0 h 2"/>
                  <a:gd name="T2" fmla="*/ 0 w 2"/>
                  <a:gd name="T3" fmla="*/ 2 h 2"/>
                  <a:gd name="T4" fmla="*/ 0 w 2"/>
                  <a:gd name="T5" fmla="*/ 2 h 2"/>
                  <a:gd name="T6" fmla="*/ 0 w 2"/>
                  <a:gd name="T7" fmla="*/ 0 h 2"/>
                  <a:gd name="T8" fmla="*/ 2 w 2"/>
                  <a:gd name="T9" fmla="*/ 0 h 2"/>
                  <a:gd name="T10" fmla="*/ 2 w 2"/>
                  <a:gd name="T11" fmla="*/ 0 h 2"/>
                  <a:gd name="T12" fmla="*/ 2 w 2"/>
                  <a:gd name="T13" fmla="*/ 0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2">
                    <a:moveTo>
                      <a:pt x="2" y="0"/>
                    </a:moveTo>
                    <a:lnTo>
                      <a:pt x="0" y="2"/>
                    </a:lnTo>
                    <a:lnTo>
                      <a:pt x="0" y="2"/>
                    </a:lnTo>
                    <a:lnTo>
                      <a:pt x="0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4" name="Freeform 214">
                <a:extLst>
                  <a:ext uri="{FF2B5EF4-FFF2-40B4-BE49-F238E27FC236}">
                    <a16:creationId xmlns:a16="http://schemas.microsoft.com/office/drawing/2014/main" id="{25FA03FB-D7F0-4FC7-9986-F807A3DCDE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53375" y="4324418"/>
                <a:ext cx="3175" cy="3175"/>
              </a:xfrm>
              <a:custGeom>
                <a:avLst/>
                <a:gdLst>
                  <a:gd name="T0" fmla="*/ 0 w 2"/>
                  <a:gd name="T1" fmla="*/ 2 h 2"/>
                  <a:gd name="T2" fmla="*/ 0 w 2"/>
                  <a:gd name="T3" fmla="*/ 0 h 2"/>
                  <a:gd name="T4" fmla="*/ 2 w 2"/>
                  <a:gd name="T5" fmla="*/ 0 h 2"/>
                  <a:gd name="T6" fmla="*/ 0 w 2"/>
                  <a:gd name="T7" fmla="*/ 2 h 2"/>
                  <a:gd name="T8" fmla="*/ 0 w 2"/>
                  <a:gd name="T9" fmla="*/ 2 h 2"/>
                  <a:gd name="T10" fmla="*/ 0 w 2"/>
                  <a:gd name="T11" fmla="*/ 2 h 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" h="2">
                    <a:moveTo>
                      <a:pt x="0" y="2"/>
                    </a:moveTo>
                    <a:lnTo>
                      <a:pt x="0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2"/>
                    </a:lnTo>
                    <a:lnTo>
                      <a:pt x="0" y="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5" name="Freeform 215">
                <a:extLst>
                  <a:ext uri="{FF2B5EF4-FFF2-40B4-BE49-F238E27FC236}">
                    <a16:creationId xmlns:a16="http://schemas.microsoft.com/office/drawing/2014/main" id="{F552FF49-8B87-4B8A-9C28-47B4A0B86B1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06725" y="6064318"/>
                <a:ext cx="76200" cy="38100"/>
              </a:xfrm>
              <a:custGeom>
                <a:avLst/>
                <a:gdLst>
                  <a:gd name="T0" fmla="*/ 30 w 48"/>
                  <a:gd name="T1" fmla="*/ 12 h 24"/>
                  <a:gd name="T2" fmla="*/ 26 w 48"/>
                  <a:gd name="T3" fmla="*/ 6 h 24"/>
                  <a:gd name="T4" fmla="*/ 30 w 48"/>
                  <a:gd name="T5" fmla="*/ 0 h 24"/>
                  <a:gd name="T6" fmla="*/ 38 w 48"/>
                  <a:gd name="T7" fmla="*/ 0 h 24"/>
                  <a:gd name="T8" fmla="*/ 38 w 48"/>
                  <a:gd name="T9" fmla="*/ 2 h 24"/>
                  <a:gd name="T10" fmla="*/ 36 w 48"/>
                  <a:gd name="T11" fmla="*/ 2 h 24"/>
                  <a:gd name="T12" fmla="*/ 40 w 48"/>
                  <a:gd name="T13" fmla="*/ 8 h 24"/>
                  <a:gd name="T14" fmla="*/ 40 w 48"/>
                  <a:gd name="T15" fmla="*/ 2 h 24"/>
                  <a:gd name="T16" fmla="*/ 44 w 48"/>
                  <a:gd name="T17" fmla="*/ 2 h 24"/>
                  <a:gd name="T18" fmla="*/ 46 w 48"/>
                  <a:gd name="T19" fmla="*/ 6 h 24"/>
                  <a:gd name="T20" fmla="*/ 42 w 48"/>
                  <a:gd name="T21" fmla="*/ 6 h 24"/>
                  <a:gd name="T22" fmla="*/ 48 w 48"/>
                  <a:gd name="T23" fmla="*/ 8 h 24"/>
                  <a:gd name="T24" fmla="*/ 38 w 48"/>
                  <a:gd name="T25" fmla="*/ 14 h 24"/>
                  <a:gd name="T26" fmla="*/ 30 w 48"/>
                  <a:gd name="T27" fmla="*/ 12 h 24"/>
                  <a:gd name="T28" fmla="*/ 34 w 48"/>
                  <a:gd name="T29" fmla="*/ 18 h 24"/>
                  <a:gd name="T30" fmla="*/ 26 w 48"/>
                  <a:gd name="T31" fmla="*/ 16 h 24"/>
                  <a:gd name="T32" fmla="*/ 28 w 48"/>
                  <a:gd name="T33" fmla="*/ 20 h 24"/>
                  <a:gd name="T34" fmla="*/ 24 w 48"/>
                  <a:gd name="T35" fmla="*/ 20 h 24"/>
                  <a:gd name="T36" fmla="*/ 24 w 48"/>
                  <a:gd name="T37" fmla="*/ 24 h 24"/>
                  <a:gd name="T38" fmla="*/ 20 w 48"/>
                  <a:gd name="T39" fmla="*/ 18 h 24"/>
                  <a:gd name="T40" fmla="*/ 26 w 48"/>
                  <a:gd name="T41" fmla="*/ 8 h 24"/>
                  <a:gd name="T42" fmla="*/ 30 w 48"/>
                  <a:gd name="T43" fmla="*/ 12 h 24"/>
                  <a:gd name="T44" fmla="*/ 30 w 48"/>
                  <a:gd name="T45" fmla="*/ 12 h 24"/>
                  <a:gd name="T46" fmla="*/ 30 w 48"/>
                  <a:gd name="T47" fmla="*/ 12 h 24"/>
                  <a:gd name="T48" fmla="*/ 10 w 48"/>
                  <a:gd name="T49" fmla="*/ 12 h 24"/>
                  <a:gd name="T50" fmla="*/ 14 w 48"/>
                  <a:gd name="T51" fmla="*/ 8 h 24"/>
                  <a:gd name="T52" fmla="*/ 6 w 48"/>
                  <a:gd name="T53" fmla="*/ 8 h 24"/>
                  <a:gd name="T54" fmla="*/ 14 w 48"/>
                  <a:gd name="T55" fmla="*/ 8 h 24"/>
                  <a:gd name="T56" fmla="*/ 6 w 48"/>
                  <a:gd name="T57" fmla="*/ 2 h 24"/>
                  <a:gd name="T58" fmla="*/ 14 w 48"/>
                  <a:gd name="T59" fmla="*/ 4 h 24"/>
                  <a:gd name="T60" fmla="*/ 14 w 48"/>
                  <a:gd name="T61" fmla="*/ 2 h 24"/>
                  <a:gd name="T62" fmla="*/ 26 w 48"/>
                  <a:gd name="T63" fmla="*/ 2 h 24"/>
                  <a:gd name="T64" fmla="*/ 10 w 48"/>
                  <a:gd name="T65" fmla="*/ 20 h 24"/>
                  <a:gd name="T66" fmla="*/ 6 w 48"/>
                  <a:gd name="T67" fmla="*/ 22 h 24"/>
                  <a:gd name="T68" fmla="*/ 2 w 48"/>
                  <a:gd name="T69" fmla="*/ 18 h 24"/>
                  <a:gd name="T70" fmla="*/ 8 w 48"/>
                  <a:gd name="T71" fmla="*/ 14 h 24"/>
                  <a:gd name="T72" fmla="*/ 8 w 48"/>
                  <a:gd name="T73" fmla="*/ 10 h 24"/>
                  <a:gd name="T74" fmla="*/ 10 w 48"/>
                  <a:gd name="T75" fmla="*/ 12 h 24"/>
                  <a:gd name="T76" fmla="*/ 10 w 48"/>
                  <a:gd name="T77" fmla="*/ 12 h 24"/>
                  <a:gd name="T78" fmla="*/ 10 w 48"/>
                  <a:gd name="T79" fmla="*/ 12 h 24"/>
                  <a:gd name="T80" fmla="*/ 2 w 48"/>
                  <a:gd name="T81" fmla="*/ 14 h 24"/>
                  <a:gd name="T82" fmla="*/ 0 w 48"/>
                  <a:gd name="T83" fmla="*/ 12 h 24"/>
                  <a:gd name="T84" fmla="*/ 4 w 48"/>
                  <a:gd name="T85" fmla="*/ 12 h 24"/>
                  <a:gd name="T86" fmla="*/ 2 w 48"/>
                  <a:gd name="T87" fmla="*/ 14 h 24"/>
                  <a:gd name="T88" fmla="*/ 2 w 48"/>
                  <a:gd name="T89" fmla="*/ 14 h 24"/>
                  <a:gd name="T90" fmla="*/ 2 w 48"/>
                  <a:gd name="T91" fmla="*/ 14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48" h="24">
                    <a:moveTo>
                      <a:pt x="30" y="12"/>
                    </a:moveTo>
                    <a:lnTo>
                      <a:pt x="26" y="6"/>
                    </a:lnTo>
                    <a:lnTo>
                      <a:pt x="30" y="0"/>
                    </a:lnTo>
                    <a:lnTo>
                      <a:pt x="38" y="0"/>
                    </a:lnTo>
                    <a:lnTo>
                      <a:pt x="38" y="2"/>
                    </a:lnTo>
                    <a:lnTo>
                      <a:pt x="36" y="2"/>
                    </a:lnTo>
                    <a:lnTo>
                      <a:pt x="40" y="8"/>
                    </a:lnTo>
                    <a:lnTo>
                      <a:pt x="40" y="2"/>
                    </a:lnTo>
                    <a:lnTo>
                      <a:pt x="44" y="2"/>
                    </a:lnTo>
                    <a:lnTo>
                      <a:pt x="46" y="6"/>
                    </a:lnTo>
                    <a:lnTo>
                      <a:pt x="42" y="6"/>
                    </a:lnTo>
                    <a:lnTo>
                      <a:pt x="48" y="8"/>
                    </a:lnTo>
                    <a:lnTo>
                      <a:pt x="38" y="14"/>
                    </a:lnTo>
                    <a:lnTo>
                      <a:pt x="30" y="12"/>
                    </a:lnTo>
                    <a:lnTo>
                      <a:pt x="34" y="18"/>
                    </a:lnTo>
                    <a:lnTo>
                      <a:pt x="26" y="16"/>
                    </a:lnTo>
                    <a:lnTo>
                      <a:pt x="28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0" y="18"/>
                    </a:lnTo>
                    <a:lnTo>
                      <a:pt x="26" y="8"/>
                    </a:lnTo>
                    <a:lnTo>
                      <a:pt x="30" y="12"/>
                    </a:lnTo>
                    <a:lnTo>
                      <a:pt x="30" y="12"/>
                    </a:lnTo>
                    <a:lnTo>
                      <a:pt x="30" y="12"/>
                    </a:lnTo>
                    <a:close/>
                    <a:moveTo>
                      <a:pt x="10" y="12"/>
                    </a:moveTo>
                    <a:lnTo>
                      <a:pt x="14" y="8"/>
                    </a:lnTo>
                    <a:lnTo>
                      <a:pt x="6" y="8"/>
                    </a:lnTo>
                    <a:lnTo>
                      <a:pt x="14" y="8"/>
                    </a:lnTo>
                    <a:lnTo>
                      <a:pt x="6" y="2"/>
                    </a:lnTo>
                    <a:lnTo>
                      <a:pt x="14" y="4"/>
                    </a:lnTo>
                    <a:lnTo>
                      <a:pt x="14" y="2"/>
                    </a:lnTo>
                    <a:lnTo>
                      <a:pt x="26" y="2"/>
                    </a:lnTo>
                    <a:lnTo>
                      <a:pt x="10" y="20"/>
                    </a:lnTo>
                    <a:lnTo>
                      <a:pt x="6" y="22"/>
                    </a:lnTo>
                    <a:lnTo>
                      <a:pt x="2" y="18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10" y="12"/>
                    </a:lnTo>
                    <a:lnTo>
                      <a:pt x="10" y="12"/>
                    </a:lnTo>
                    <a:lnTo>
                      <a:pt x="10" y="12"/>
                    </a:lnTo>
                    <a:close/>
                    <a:moveTo>
                      <a:pt x="2" y="14"/>
                    </a:moveTo>
                    <a:lnTo>
                      <a:pt x="0" y="12"/>
                    </a:lnTo>
                    <a:lnTo>
                      <a:pt x="4" y="12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6" name="Freeform 216">
                <a:extLst>
                  <a:ext uri="{FF2B5EF4-FFF2-40B4-BE49-F238E27FC236}">
                    <a16:creationId xmlns:a16="http://schemas.microsoft.com/office/drawing/2014/main" id="{5C27F723-93CA-42DD-9155-D9563278EBC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5925" y="3641793"/>
                <a:ext cx="3175" cy="6350"/>
              </a:xfrm>
              <a:custGeom>
                <a:avLst/>
                <a:gdLst>
                  <a:gd name="T0" fmla="*/ 2 w 2"/>
                  <a:gd name="T1" fmla="*/ 0 h 4"/>
                  <a:gd name="T2" fmla="*/ 2 w 2"/>
                  <a:gd name="T3" fmla="*/ 2 h 4"/>
                  <a:gd name="T4" fmla="*/ 0 w 2"/>
                  <a:gd name="T5" fmla="*/ 4 h 4"/>
                  <a:gd name="T6" fmla="*/ 2 w 2"/>
                  <a:gd name="T7" fmla="*/ 0 h 4"/>
                  <a:gd name="T8" fmla="*/ 2 w 2"/>
                  <a:gd name="T9" fmla="*/ 0 h 4"/>
                  <a:gd name="T10" fmla="*/ 2 w 2"/>
                  <a:gd name="T11" fmla="*/ 0 h 4"/>
                  <a:gd name="T12" fmla="*/ 2 w 2"/>
                  <a:gd name="T13" fmla="*/ 0 h 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" h="4">
                    <a:moveTo>
                      <a:pt x="2" y="0"/>
                    </a:moveTo>
                    <a:lnTo>
                      <a:pt x="2" y="2"/>
                    </a:lnTo>
                    <a:lnTo>
                      <a:pt x="0" y="4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lnTo>
                      <a:pt x="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7" name="Freeform 217">
                <a:extLst>
                  <a:ext uri="{FF2B5EF4-FFF2-40B4-BE49-F238E27FC236}">
                    <a16:creationId xmlns:a16="http://schemas.microsoft.com/office/drawing/2014/main" id="{B8269438-BE0D-42C2-BB35-2D5AC8B89F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683125" y="4165668"/>
                <a:ext cx="53975" cy="53975"/>
              </a:xfrm>
              <a:custGeom>
                <a:avLst/>
                <a:gdLst>
                  <a:gd name="T0" fmla="*/ 4 w 34"/>
                  <a:gd name="T1" fmla="*/ 8 h 34"/>
                  <a:gd name="T2" fmla="*/ 4 w 34"/>
                  <a:gd name="T3" fmla="*/ 8 h 34"/>
                  <a:gd name="T4" fmla="*/ 0 w 34"/>
                  <a:gd name="T5" fmla="*/ 8 h 34"/>
                  <a:gd name="T6" fmla="*/ 4 w 34"/>
                  <a:gd name="T7" fmla="*/ 4 h 34"/>
                  <a:gd name="T8" fmla="*/ 8 w 34"/>
                  <a:gd name="T9" fmla="*/ 0 h 34"/>
                  <a:gd name="T10" fmla="*/ 12 w 34"/>
                  <a:gd name="T11" fmla="*/ 0 h 34"/>
                  <a:gd name="T12" fmla="*/ 12 w 34"/>
                  <a:gd name="T13" fmla="*/ 4 h 34"/>
                  <a:gd name="T14" fmla="*/ 16 w 34"/>
                  <a:gd name="T15" fmla="*/ 4 h 34"/>
                  <a:gd name="T16" fmla="*/ 18 w 34"/>
                  <a:gd name="T17" fmla="*/ 8 h 34"/>
                  <a:gd name="T18" fmla="*/ 18 w 34"/>
                  <a:gd name="T19" fmla="*/ 8 h 34"/>
                  <a:gd name="T20" fmla="*/ 18 w 34"/>
                  <a:gd name="T21" fmla="*/ 8 h 34"/>
                  <a:gd name="T22" fmla="*/ 18 w 34"/>
                  <a:gd name="T23" fmla="*/ 12 h 34"/>
                  <a:gd name="T24" fmla="*/ 18 w 34"/>
                  <a:gd name="T25" fmla="*/ 16 h 34"/>
                  <a:gd name="T26" fmla="*/ 18 w 34"/>
                  <a:gd name="T27" fmla="*/ 16 h 34"/>
                  <a:gd name="T28" fmla="*/ 22 w 34"/>
                  <a:gd name="T29" fmla="*/ 16 h 34"/>
                  <a:gd name="T30" fmla="*/ 22 w 34"/>
                  <a:gd name="T31" fmla="*/ 16 h 34"/>
                  <a:gd name="T32" fmla="*/ 26 w 34"/>
                  <a:gd name="T33" fmla="*/ 16 h 34"/>
                  <a:gd name="T34" fmla="*/ 30 w 34"/>
                  <a:gd name="T35" fmla="*/ 20 h 34"/>
                  <a:gd name="T36" fmla="*/ 34 w 34"/>
                  <a:gd name="T37" fmla="*/ 20 h 34"/>
                  <a:gd name="T38" fmla="*/ 34 w 34"/>
                  <a:gd name="T39" fmla="*/ 20 h 34"/>
                  <a:gd name="T40" fmla="*/ 34 w 34"/>
                  <a:gd name="T41" fmla="*/ 20 h 34"/>
                  <a:gd name="T42" fmla="*/ 34 w 34"/>
                  <a:gd name="T43" fmla="*/ 22 h 34"/>
                  <a:gd name="T44" fmla="*/ 34 w 34"/>
                  <a:gd name="T45" fmla="*/ 22 h 34"/>
                  <a:gd name="T46" fmla="*/ 34 w 34"/>
                  <a:gd name="T47" fmla="*/ 22 h 34"/>
                  <a:gd name="T48" fmla="*/ 34 w 34"/>
                  <a:gd name="T49" fmla="*/ 22 h 34"/>
                  <a:gd name="T50" fmla="*/ 30 w 34"/>
                  <a:gd name="T51" fmla="*/ 26 h 34"/>
                  <a:gd name="T52" fmla="*/ 30 w 34"/>
                  <a:gd name="T53" fmla="*/ 26 h 34"/>
                  <a:gd name="T54" fmla="*/ 26 w 34"/>
                  <a:gd name="T55" fmla="*/ 26 h 34"/>
                  <a:gd name="T56" fmla="*/ 22 w 34"/>
                  <a:gd name="T57" fmla="*/ 26 h 34"/>
                  <a:gd name="T58" fmla="*/ 22 w 34"/>
                  <a:gd name="T59" fmla="*/ 26 h 34"/>
                  <a:gd name="T60" fmla="*/ 22 w 34"/>
                  <a:gd name="T61" fmla="*/ 26 h 34"/>
                  <a:gd name="T62" fmla="*/ 22 w 34"/>
                  <a:gd name="T63" fmla="*/ 26 h 34"/>
                  <a:gd name="T64" fmla="*/ 22 w 34"/>
                  <a:gd name="T65" fmla="*/ 30 h 34"/>
                  <a:gd name="T66" fmla="*/ 22 w 34"/>
                  <a:gd name="T67" fmla="*/ 30 h 34"/>
                  <a:gd name="T68" fmla="*/ 18 w 34"/>
                  <a:gd name="T69" fmla="*/ 30 h 34"/>
                  <a:gd name="T70" fmla="*/ 18 w 34"/>
                  <a:gd name="T71" fmla="*/ 30 h 34"/>
                  <a:gd name="T72" fmla="*/ 18 w 34"/>
                  <a:gd name="T73" fmla="*/ 30 h 34"/>
                  <a:gd name="T74" fmla="*/ 18 w 34"/>
                  <a:gd name="T75" fmla="*/ 34 h 34"/>
                  <a:gd name="T76" fmla="*/ 18 w 34"/>
                  <a:gd name="T77" fmla="*/ 34 h 34"/>
                  <a:gd name="T78" fmla="*/ 18 w 34"/>
                  <a:gd name="T79" fmla="*/ 34 h 34"/>
                  <a:gd name="T80" fmla="*/ 18 w 34"/>
                  <a:gd name="T81" fmla="*/ 34 h 34"/>
                  <a:gd name="T82" fmla="*/ 18 w 34"/>
                  <a:gd name="T83" fmla="*/ 34 h 34"/>
                  <a:gd name="T84" fmla="*/ 16 w 34"/>
                  <a:gd name="T85" fmla="*/ 34 h 34"/>
                  <a:gd name="T86" fmla="*/ 16 w 34"/>
                  <a:gd name="T87" fmla="*/ 34 h 34"/>
                  <a:gd name="T88" fmla="*/ 16 w 34"/>
                  <a:gd name="T89" fmla="*/ 30 h 34"/>
                  <a:gd name="T90" fmla="*/ 12 w 34"/>
                  <a:gd name="T91" fmla="*/ 22 h 34"/>
                  <a:gd name="T92" fmla="*/ 8 w 34"/>
                  <a:gd name="T93" fmla="*/ 20 h 34"/>
                  <a:gd name="T94" fmla="*/ 8 w 34"/>
                  <a:gd name="T95" fmla="*/ 20 h 34"/>
                  <a:gd name="T96" fmla="*/ 8 w 34"/>
                  <a:gd name="T97" fmla="*/ 20 h 34"/>
                  <a:gd name="T98" fmla="*/ 8 w 34"/>
                  <a:gd name="T99" fmla="*/ 12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34" h="34">
                    <a:moveTo>
                      <a:pt x="8" y="12"/>
                    </a:moveTo>
                    <a:lnTo>
                      <a:pt x="8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8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2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18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0" y="16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0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2"/>
                    </a:lnTo>
                    <a:lnTo>
                      <a:pt x="34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30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6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26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0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8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4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30"/>
                    </a:lnTo>
                    <a:lnTo>
                      <a:pt x="16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8" name="Freeform 218">
                <a:extLst>
                  <a:ext uri="{FF2B5EF4-FFF2-40B4-BE49-F238E27FC236}">
                    <a16:creationId xmlns:a16="http://schemas.microsoft.com/office/drawing/2014/main" id="{AB956676-CB95-4A05-9D59-CA08563CE20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105400" y="4553018"/>
                <a:ext cx="69850" cy="88900"/>
              </a:xfrm>
              <a:custGeom>
                <a:avLst/>
                <a:gdLst>
                  <a:gd name="T0" fmla="*/ 24 w 44"/>
                  <a:gd name="T1" fmla="*/ 0 h 56"/>
                  <a:gd name="T2" fmla="*/ 28 w 44"/>
                  <a:gd name="T3" fmla="*/ 0 h 56"/>
                  <a:gd name="T4" fmla="*/ 32 w 44"/>
                  <a:gd name="T5" fmla="*/ 4 h 56"/>
                  <a:gd name="T6" fmla="*/ 32 w 44"/>
                  <a:gd name="T7" fmla="*/ 4 h 56"/>
                  <a:gd name="T8" fmla="*/ 36 w 44"/>
                  <a:gd name="T9" fmla="*/ 6 h 56"/>
                  <a:gd name="T10" fmla="*/ 36 w 44"/>
                  <a:gd name="T11" fmla="*/ 6 h 56"/>
                  <a:gd name="T12" fmla="*/ 40 w 44"/>
                  <a:gd name="T13" fmla="*/ 10 h 56"/>
                  <a:gd name="T14" fmla="*/ 36 w 44"/>
                  <a:gd name="T15" fmla="*/ 6 h 56"/>
                  <a:gd name="T16" fmla="*/ 44 w 44"/>
                  <a:gd name="T17" fmla="*/ 6 h 56"/>
                  <a:gd name="T18" fmla="*/ 40 w 44"/>
                  <a:gd name="T19" fmla="*/ 10 h 56"/>
                  <a:gd name="T20" fmla="*/ 36 w 44"/>
                  <a:gd name="T21" fmla="*/ 14 h 56"/>
                  <a:gd name="T22" fmla="*/ 32 w 44"/>
                  <a:gd name="T23" fmla="*/ 14 h 56"/>
                  <a:gd name="T24" fmla="*/ 36 w 44"/>
                  <a:gd name="T25" fmla="*/ 22 h 56"/>
                  <a:gd name="T26" fmla="*/ 32 w 44"/>
                  <a:gd name="T27" fmla="*/ 26 h 56"/>
                  <a:gd name="T28" fmla="*/ 32 w 44"/>
                  <a:gd name="T29" fmla="*/ 30 h 56"/>
                  <a:gd name="T30" fmla="*/ 28 w 44"/>
                  <a:gd name="T31" fmla="*/ 30 h 56"/>
                  <a:gd name="T32" fmla="*/ 28 w 44"/>
                  <a:gd name="T33" fmla="*/ 36 h 56"/>
                  <a:gd name="T34" fmla="*/ 22 w 44"/>
                  <a:gd name="T35" fmla="*/ 36 h 56"/>
                  <a:gd name="T36" fmla="*/ 24 w 44"/>
                  <a:gd name="T37" fmla="*/ 40 h 56"/>
                  <a:gd name="T38" fmla="*/ 24 w 44"/>
                  <a:gd name="T39" fmla="*/ 40 h 56"/>
                  <a:gd name="T40" fmla="*/ 28 w 44"/>
                  <a:gd name="T41" fmla="*/ 40 h 56"/>
                  <a:gd name="T42" fmla="*/ 24 w 44"/>
                  <a:gd name="T43" fmla="*/ 44 h 56"/>
                  <a:gd name="T44" fmla="*/ 22 w 44"/>
                  <a:gd name="T45" fmla="*/ 48 h 56"/>
                  <a:gd name="T46" fmla="*/ 18 w 44"/>
                  <a:gd name="T47" fmla="*/ 44 h 56"/>
                  <a:gd name="T48" fmla="*/ 18 w 44"/>
                  <a:gd name="T49" fmla="*/ 52 h 56"/>
                  <a:gd name="T50" fmla="*/ 14 w 44"/>
                  <a:gd name="T51" fmla="*/ 56 h 56"/>
                  <a:gd name="T52" fmla="*/ 18 w 44"/>
                  <a:gd name="T53" fmla="*/ 52 h 56"/>
                  <a:gd name="T54" fmla="*/ 14 w 44"/>
                  <a:gd name="T55" fmla="*/ 48 h 56"/>
                  <a:gd name="T56" fmla="*/ 14 w 44"/>
                  <a:gd name="T57" fmla="*/ 48 h 56"/>
                  <a:gd name="T58" fmla="*/ 10 w 44"/>
                  <a:gd name="T59" fmla="*/ 44 h 56"/>
                  <a:gd name="T60" fmla="*/ 6 w 44"/>
                  <a:gd name="T61" fmla="*/ 48 h 56"/>
                  <a:gd name="T62" fmla="*/ 2 w 44"/>
                  <a:gd name="T63" fmla="*/ 52 h 56"/>
                  <a:gd name="T64" fmla="*/ 2 w 44"/>
                  <a:gd name="T65" fmla="*/ 48 h 56"/>
                  <a:gd name="T66" fmla="*/ 0 w 44"/>
                  <a:gd name="T67" fmla="*/ 44 h 56"/>
                  <a:gd name="T68" fmla="*/ 0 w 44"/>
                  <a:gd name="T69" fmla="*/ 36 h 56"/>
                  <a:gd name="T70" fmla="*/ 0 w 44"/>
                  <a:gd name="T71" fmla="*/ 30 h 56"/>
                  <a:gd name="T72" fmla="*/ 2 w 44"/>
                  <a:gd name="T73" fmla="*/ 26 h 56"/>
                  <a:gd name="T74" fmla="*/ 0 w 44"/>
                  <a:gd name="T75" fmla="*/ 18 h 56"/>
                  <a:gd name="T76" fmla="*/ 2 w 44"/>
                  <a:gd name="T77" fmla="*/ 10 h 56"/>
                  <a:gd name="T78" fmla="*/ 6 w 44"/>
                  <a:gd name="T79" fmla="*/ 6 h 56"/>
                  <a:gd name="T80" fmla="*/ 10 w 44"/>
                  <a:gd name="T81" fmla="*/ 4 h 56"/>
                  <a:gd name="T82" fmla="*/ 14 w 44"/>
                  <a:gd name="T83" fmla="*/ 0 h 56"/>
                  <a:gd name="T84" fmla="*/ 18 w 44"/>
                  <a:gd name="T85" fmla="*/ 4 h 56"/>
                  <a:gd name="T86" fmla="*/ 22 w 44"/>
                  <a:gd name="T87" fmla="*/ 0 h 56"/>
                  <a:gd name="T88" fmla="*/ 22 w 44"/>
                  <a:gd name="T89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44" h="56">
                    <a:moveTo>
                      <a:pt x="22" y="0"/>
                    </a:moveTo>
                    <a:lnTo>
                      <a:pt x="24" y="0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2" y="6"/>
                    </a:lnTo>
                    <a:lnTo>
                      <a:pt x="36" y="6"/>
                    </a:lnTo>
                    <a:lnTo>
                      <a:pt x="36" y="10"/>
                    </a:lnTo>
                    <a:lnTo>
                      <a:pt x="40" y="10"/>
                    </a:lnTo>
                    <a:lnTo>
                      <a:pt x="36" y="10"/>
                    </a:lnTo>
                    <a:lnTo>
                      <a:pt x="36" y="6"/>
                    </a:lnTo>
                    <a:lnTo>
                      <a:pt x="40" y="6"/>
                    </a:lnTo>
                    <a:lnTo>
                      <a:pt x="44" y="6"/>
                    </a:lnTo>
                    <a:lnTo>
                      <a:pt x="44" y="10"/>
                    </a:lnTo>
                    <a:lnTo>
                      <a:pt x="40" y="10"/>
                    </a:lnTo>
                    <a:lnTo>
                      <a:pt x="40" y="14"/>
                    </a:lnTo>
                    <a:lnTo>
                      <a:pt x="36" y="14"/>
                    </a:lnTo>
                    <a:lnTo>
                      <a:pt x="36" y="10"/>
                    </a:lnTo>
                    <a:lnTo>
                      <a:pt x="32" y="14"/>
                    </a:lnTo>
                    <a:lnTo>
                      <a:pt x="32" y="18"/>
                    </a:lnTo>
                    <a:lnTo>
                      <a:pt x="36" y="22"/>
                    </a:lnTo>
                    <a:lnTo>
                      <a:pt x="32" y="22"/>
                    </a:lnTo>
                    <a:lnTo>
                      <a:pt x="32" y="26"/>
                    </a:lnTo>
                    <a:lnTo>
                      <a:pt x="28" y="30"/>
                    </a:lnTo>
                    <a:lnTo>
                      <a:pt x="32" y="30"/>
                    </a:lnTo>
                    <a:lnTo>
                      <a:pt x="32" y="32"/>
                    </a:lnTo>
                    <a:lnTo>
                      <a:pt x="28" y="30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4" y="36"/>
                    </a:lnTo>
                    <a:lnTo>
                      <a:pt x="22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2" y="40"/>
                    </a:lnTo>
                    <a:lnTo>
                      <a:pt x="24" y="40"/>
                    </a:lnTo>
                    <a:lnTo>
                      <a:pt x="28" y="44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4" y="44"/>
                    </a:lnTo>
                    <a:lnTo>
                      <a:pt x="24" y="48"/>
                    </a:lnTo>
                    <a:lnTo>
                      <a:pt x="22" y="48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8"/>
                    </a:lnTo>
                    <a:lnTo>
                      <a:pt x="18" y="52"/>
                    </a:lnTo>
                    <a:lnTo>
                      <a:pt x="18" y="56"/>
                    </a:lnTo>
                    <a:lnTo>
                      <a:pt x="14" y="56"/>
                    </a:lnTo>
                    <a:lnTo>
                      <a:pt x="18" y="56"/>
                    </a:lnTo>
                    <a:lnTo>
                      <a:pt x="18" y="52"/>
                    </a:lnTo>
                    <a:lnTo>
                      <a:pt x="18" y="48"/>
                    </a:lnTo>
                    <a:lnTo>
                      <a:pt x="14" y="48"/>
                    </a:lnTo>
                    <a:lnTo>
                      <a:pt x="14" y="44"/>
                    </a:lnTo>
                    <a:lnTo>
                      <a:pt x="14" y="48"/>
                    </a:lnTo>
                    <a:lnTo>
                      <a:pt x="10" y="48"/>
                    </a:lnTo>
                    <a:lnTo>
                      <a:pt x="10" y="44"/>
                    </a:lnTo>
                    <a:lnTo>
                      <a:pt x="6" y="44"/>
                    </a:lnTo>
                    <a:lnTo>
                      <a:pt x="6" y="48"/>
                    </a:lnTo>
                    <a:lnTo>
                      <a:pt x="2" y="48"/>
                    </a:lnTo>
                    <a:lnTo>
                      <a:pt x="2" y="52"/>
                    </a:lnTo>
                    <a:lnTo>
                      <a:pt x="0" y="48"/>
                    </a:lnTo>
                    <a:lnTo>
                      <a:pt x="2" y="48"/>
                    </a:lnTo>
                    <a:lnTo>
                      <a:pt x="2" y="44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0"/>
                    </a:lnTo>
                    <a:lnTo>
                      <a:pt x="2" y="30"/>
                    </a:lnTo>
                    <a:lnTo>
                      <a:pt x="2" y="26"/>
                    </a:lnTo>
                    <a:lnTo>
                      <a:pt x="2" y="22"/>
                    </a:lnTo>
                    <a:lnTo>
                      <a:pt x="0" y="18"/>
                    </a:lnTo>
                    <a:lnTo>
                      <a:pt x="2" y="14"/>
                    </a:lnTo>
                    <a:lnTo>
                      <a:pt x="2" y="10"/>
                    </a:lnTo>
                    <a:lnTo>
                      <a:pt x="2" y="6"/>
                    </a:lnTo>
                    <a:lnTo>
                      <a:pt x="6" y="6"/>
                    </a:lnTo>
                    <a:lnTo>
                      <a:pt x="10" y="6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4" y="0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4"/>
                    </a:lnTo>
                    <a:lnTo>
                      <a:pt x="22" y="0"/>
                    </a:lnTo>
                    <a:lnTo>
                      <a:pt x="22" y="0"/>
                    </a:lnTo>
                    <a:lnTo>
                      <a:pt x="22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79" name="Freeform 219">
                <a:extLst>
                  <a:ext uri="{FF2B5EF4-FFF2-40B4-BE49-F238E27FC236}">
                    <a16:creationId xmlns:a16="http://schemas.microsoft.com/office/drawing/2014/main" id="{3414535E-5DBD-4E88-A68A-C0E4FEF43E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60950" y="2698818"/>
                <a:ext cx="73025" cy="69850"/>
              </a:xfrm>
              <a:custGeom>
                <a:avLst/>
                <a:gdLst>
                  <a:gd name="T0" fmla="*/ 18 w 46"/>
                  <a:gd name="T1" fmla="*/ 40 h 44"/>
                  <a:gd name="T2" fmla="*/ 18 w 46"/>
                  <a:gd name="T3" fmla="*/ 40 h 44"/>
                  <a:gd name="T4" fmla="*/ 18 w 46"/>
                  <a:gd name="T5" fmla="*/ 36 h 44"/>
                  <a:gd name="T6" fmla="*/ 16 w 46"/>
                  <a:gd name="T7" fmla="*/ 32 h 44"/>
                  <a:gd name="T8" fmla="*/ 16 w 46"/>
                  <a:gd name="T9" fmla="*/ 32 h 44"/>
                  <a:gd name="T10" fmla="*/ 12 w 46"/>
                  <a:gd name="T11" fmla="*/ 30 h 44"/>
                  <a:gd name="T12" fmla="*/ 12 w 46"/>
                  <a:gd name="T13" fmla="*/ 26 h 44"/>
                  <a:gd name="T14" fmla="*/ 12 w 46"/>
                  <a:gd name="T15" fmla="*/ 26 h 44"/>
                  <a:gd name="T16" fmla="*/ 8 w 46"/>
                  <a:gd name="T17" fmla="*/ 18 h 44"/>
                  <a:gd name="T18" fmla="*/ 4 w 46"/>
                  <a:gd name="T19" fmla="*/ 14 h 44"/>
                  <a:gd name="T20" fmla="*/ 0 w 46"/>
                  <a:gd name="T21" fmla="*/ 14 h 44"/>
                  <a:gd name="T22" fmla="*/ 4 w 46"/>
                  <a:gd name="T23" fmla="*/ 14 h 44"/>
                  <a:gd name="T24" fmla="*/ 4 w 46"/>
                  <a:gd name="T25" fmla="*/ 14 h 44"/>
                  <a:gd name="T26" fmla="*/ 0 w 46"/>
                  <a:gd name="T27" fmla="*/ 14 h 44"/>
                  <a:gd name="T28" fmla="*/ 4 w 46"/>
                  <a:gd name="T29" fmla="*/ 10 h 44"/>
                  <a:gd name="T30" fmla="*/ 8 w 46"/>
                  <a:gd name="T31" fmla="*/ 10 h 44"/>
                  <a:gd name="T32" fmla="*/ 8 w 46"/>
                  <a:gd name="T33" fmla="*/ 10 h 44"/>
                  <a:gd name="T34" fmla="*/ 8 w 46"/>
                  <a:gd name="T35" fmla="*/ 6 h 44"/>
                  <a:gd name="T36" fmla="*/ 12 w 46"/>
                  <a:gd name="T37" fmla="*/ 6 h 44"/>
                  <a:gd name="T38" fmla="*/ 16 w 46"/>
                  <a:gd name="T39" fmla="*/ 2 h 44"/>
                  <a:gd name="T40" fmla="*/ 16 w 46"/>
                  <a:gd name="T41" fmla="*/ 2 h 44"/>
                  <a:gd name="T42" fmla="*/ 18 w 46"/>
                  <a:gd name="T43" fmla="*/ 2 h 44"/>
                  <a:gd name="T44" fmla="*/ 18 w 46"/>
                  <a:gd name="T45" fmla="*/ 2 h 44"/>
                  <a:gd name="T46" fmla="*/ 18 w 46"/>
                  <a:gd name="T47" fmla="*/ 2 h 44"/>
                  <a:gd name="T48" fmla="*/ 18 w 46"/>
                  <a:gd name="T49" fmla="*/ 6 h 44"/>
                  <a:gd name="T50" fmla="*/ 18 w 46"/>
                  <a:gd name="T51" fmla="*/ 2 h 44"/>
                  <a:gd name="T52" fmla="*/ 22 w 46"/>
                  <a:gd name="T53" fmla="*/ 2 h 44"/>
                  <a:gd name="T54" fmla="*/ 26 w 46"/>
                  <a:gd name="T55" fmla="*/ 6 h 44"/>
                  <a:gd name="T56" fmla="*/ 26 w 46"/>
                  <a:gd name="T57" fmla="*/ 10 h 44"/>
                  <a:gd name="T58" fmla="*/ 26 w 46"/>
                  <a:gd name="T59" fmla="*/ 10 h 44"/>
                  <a:gd name="T60" fmla="*/ 30 w 46"/>
                  <a:gd name="T61" fmla="*/ 14 h 44"/>
                  <a:gd name="T62" fmla="*/ 38 w 46"/>
                  <a:gd name="T63" fmla="*/ 14 h 44"/>
                  <a:gd name="T64" fmla="*/ 42 w 46"/>
                  <a:gd name="T65" fmla="*/ 18 h 44"/>
                  <a:gd name="T66" fmla="*/ 42 w 46"/>
                  <a:gd name="T67" fmla="*/ 18 h 44"/>
                  <a:gd name="T68" fmla="*/ 42 w 46"/>
                  <a:gd name="T69" fmla="*/ 22 h 44"/>
                  <a:gd name="T70" fmla="*/ 46 w 46"/>
                  <a:gd name="T71" fmla="*/ 22 h 44"/>
                  <a:gd name="T72" fmla="*/ 42 w 46"/>
                  <a:gd name="T73" fmla="*/ 26 h 44"/>
                  <a:gd name="T74" fmla="*/ 46 w 46"/>
                  <a:gd name="T75" fmla="*/ 26 h 44"/>
                  <a:gd name="T76" fmla="*/ 46 w 46"/>
                  <a:gd name="T77" fmla="*/ 30 h 44"/>
                  <a:gd name="T78" fmla="*/ 46 w 46"/>
                  <a:gd name="T79" fmla="*/ 30 h 44"/>
                  <a:gd name="T80" fmla="*/ 42 w 46"/>
                  <a:gd name="T81" fmla="*/ 30 h 44"/>
                  <a:gd name="T82" fmla="*/ 42 w 46"/>
                  <a:gd name="T83" fmla="*/ 30 h 44"/>
                  <a:gd name="T84" fmla="*/ 42 w 46"/>
                  <a:gd name="T85" fmla="*/ 32 h 44"/>
                  <a:gd name="T86" fmla="*/ 42 w 46"/>
                  <a:gd name="T87" fmla="*/ 32 h 44"/>
                  <a:gd name="T88" fmla="*/ 42 w 46"/>
                  <a:gd name="T89" fmla="*/ 36 h 44"/>
                  <a:gd name="T90" fmla="*/ 38 w 46"/>
                  <a:gd name="T91" fmla="*/ 40 h 44"/>
                  <a:gd name="T92" fmla="*/ 34 w 46"/>
                  <a:gd name="T93" fmla="*/ 36 h 44"/>
                  <a:gd name="T94" fmla="*/ 34 w 46"/>
                  <a:gd name="T95" fmla="*/ 36 h 44"/>
                  <a:gd name="T96" fmla="*/ 26 w 46"/>
                  <a:gd name="T97" fmla="*/ 36 h 44"/>
                  <a:gd name="T98" fmla="*/ 26 w 46"/>
                  <a:gd name="T99" fmla="*/ 40 h 44"/>
                  <a:gd name="T100" fmla="*/ 26 w 46"/>
                  <a:gd name="T101" fmla="*/ 40 h 44"/>
                  <a:gd name="T102" fmla="*/ 26 w 46"/>
                  <a:gd name="T103" fmla="*/ 44 h 44"/>
                  <a:gd name="T104" fmla="*/ 22 w 46"/>
                  <a:gd name="T105" fmla="*/ 44 h 44"/>
                  <a:gd name="T106" fmla="*/ 18 w 46"/>
                  <a:gd name="T107" fmla="*/ 44 h 44"/>
                  <a:gd name="T108" fmla="*/ 18 w 46"/>
                  <a:gd name="T109" fmla="*/ 44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46" h="44">
                    <a:moveTo>
                      <a:pt x="18" y="44"/>
                    </a:moveTo>
                    <a:lnTo>
                      <a:pt x="18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40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8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30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6"/>
                    </a:lnTo>
                    <a:lnTo>
                      <a:pt x="12" y="22"/>
                    </a:lnTo>
                    <a:lnTo>
                      <a:pt x="12" y="22"/>
                    </a:lnTo>
                    <a:lnTo>
                      <a:pt x="8" y="22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8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0"/>
                    </a:lnTo>
                    <a:lnTo>
                      <a:pt x="0" y="10"/>
                    </a:lnTo>
                    <a:lnTo>
                      <a:pt x="4" y="10"/>
                    </a:lnTo>
                    <a:lnTo>
                      <a:pt x="4" y="14"/>
                    </a:lnTo>
                    <a:lnTo>
                      <a:pt x="4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2" y="6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6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2"/>
                    </a:lnTo>
                    <a:lnTo>
                      <a:pt x="22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6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26" y="10"/>
                    </a:lnTo>
                    <a:lnTo>
                      <a:pt x="30" y="10"/>
                    </a:lnTo>
                    <a:lnTo>
                      <a:pt x="30" y="10"/>
                    </a:lnTo>
                    <a:lnTo>
                      <a:pt x="30" y="14"/>
                    </a:lnTo>
                    <a:lnTo>
                      <a:pt x="34" y="14"/>
                    </a:lnTo>
                    <a:lnTo>
                      <a:pt x="34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4"/>
                    </a:lnTo>
                    <a:lnTo>
                      <a:pt x="38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18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2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2"/>
                    </a:lnTo>
                    <a:lnTo>
                      <a:pt x="46" y="26"/>
                    </a:lnTo>
                    <a:lnTo>
                      <a:pt x="42" y="26"/>
                    </a:lnTo>
                    <a:lnTo>
                      <a:pt x="42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26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6" y="30"/>
                    </a:lnTo>
                    <a:lnTo>
                      <a:pt x="42" y="32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0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2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42" y="36"/>
                    </a:lnTo>
                    <a:lnTo>
                      <a:pt x="38" y="36"/>
                    </a:lnTo>
                    <a:lnTo>
                      <a:pt x="38" y="36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8" y="40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4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30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36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0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6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lnTo>
                      <a:pt x="18" y="4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0" name="Freeform 220">
                <a:extLst>
                  <a:ext uri="{FF2B5EF4-FFF2-40B4-BE49-F238E27FC236}">
                    <a16:creationId xmlns:a16="http://schemas.microsoft.com/office/drawing/2014/main" id="{D813CBF0-911B-4EEB-9CA9-02CCB297F0E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41950" y="3206818"/>
                <a:ext cx="180975" cy="327025"/>
              </a:xfrm>
              <a:custGeom>
                <a:avLst/>
                <a:gdLst>
                  <a:gd name="T0" fmla="*/ 36 w 114"/>
                  <a:gd name="T1" fmla="*/ 146 h 206"/>
                  <a:gd name="T2" fmla="*/ 48 w 114"/>
                  <a:gd name="T3" fmla="*/ 134 h 206"/>
                  <a:gd name="T4" fmla="*/ 44 w 114"/>
                  <a:gd name="T5" fmla="*/ 130 h 206"/>
                  <a:gd name="T6" fmla="*/ 36 w 114"/>
                  <a:gd name="T7" fmla="*/ 120 h 206"/>
                  <a:gd name="T8" fmla="*/ 30 w 114"/>
                  <a:gd name="T9" fmla="*/ 108 h 206"/>
                  <a:gd name="T10" fmla="*/ 22 w 114"/>
                  <a:gd name="T11" fmla="*/ 94 h 206"/>
                  <a:gd name="T12" fmla="*/ 14 w 114"/>
                  <a:gd name="T13" fmla="*/ 82 h 206"/>
                  <a:gd name="T14" fmla="*/ 10 w 114"/>
                  <a:gd name="T15" fmla="*/ 76 h 206"/>
                  <a:gd name="T16" fmla="*/ 10 w 114"/>
                  <a:gd name="T17" fmla="*/ 64 h 206"/>
                  <a:gd name="T18" fmla="*/ 10 w 114"/>
                  <a:gd name="T19" fmla="*/ 68 h 206"/>
                  <a:gd name="T20" fmla="*/ 2 w 114"/>
                  <a:gd name="T21" fmla="*/ 52 h 206"/>
                  <a:gd name="T22" fmla="*/ 6 w 114"/>
                  <a:gd name="T23" fmla="*/ 46 h 206"/>
                  <a:gd name="T24" fmla="*/ 10 w 114"/>
                  <a:gd name="T25" fmla="*/ 30 h 206"/>
                  <a:gd name="T26" fmla="*/ 14 w 114"/>
                  <a:gd name="T27" fmla="*/ 26 h 206"/>
                  <a:gd name="T28" fmla="*/ 30 w 114"/>
                  <a:gd name="T29" fmla="*/ 24 h 206"/>
                  <a:gd name="T30" fmla="*/ 36 w 114"/>
                  <a:gd name="T31" fmla="*/ 16 h 206"/>
                  <a:gd name="T32" fmla="*/ 44 w 114"/>
                  <a:gd name="T33" fmla="*/ 12 h 206"/>
                  <a:gd name="T34" fmla="*/ 60 w 114"/>
                  <a:gd name="T35" fmla="*/ 4 h 206"/>
                  <a:gd name="T36" fmla="*/ 70 w 114"/>
                  <a:gd name="T37" fmla="*/ 4 h 206"/>
                  <a:gd name="T38" fmla="*/ 84 w 114"/>
                  <a:gd name="T39" fmla="*/ 4 h 206"/>
                  <a:gd name="T40" fmla="*/ 92 w 114"/>
                  <a:gd name="T41" fmla="*/ 16 h 206"/>
                  <a:gd name="T42" fmla="*/ 88 w 114"/>
                  <a:gd name="T43" fmla="*/ 34 h 206"/>
                  <a:gd name="T44" fmla="*/ 76 w 114"/>
                  <a:gd name="T45" fmla="*/ 34 h 206"/>
                  <a:gd name="T46" fmla="*/ 62 w 114"/>
                  <a:gd name="T47" fmla="*/ 38 h 206"/>
                  <a:gd name="T48" fmla="*/ 62 w 114"/>
                  <a:gd name="T49" fmla="*/ 50 h 206"/>
                  <a:gd name="T50" fmla="*/ 62 w 114"/>
                  <a:gd name="T51" fmla="*/ 52 h 206"/>
                  <a:gd name="T52" fmla="*/ 52 w 114"/>
                  <a:gd name="T53" fmla="*/ 56 h 206"/>
                  <a:gd name="T54" fmla="*/ 62 w 114"/>
                  <a:gd name="T55" fmla="*/ 68 h 206"/>
                  <a:gd name="T56" fmla="*/ 74 w 114"/>
                  <a:gd name="T57" fmla="*/ 82 h 206"/>
                  <a:gd name="T58" fmla="*/ 84 w 114"/>
                  <a:gd name="T59" fmla="*/ 86 h 206"/>
                  <a:gd name="T60" fmla="*/ 80 w 114"/>
                  <a:gd name="T61" fmla="*/ 100 h 206"/>
                  <a:gd name="T62" fmla="*/ 80 w 114"/>
                  <a:gd name="T63" fmla="*/ 112 h 206"/>
                  <a:gd name="T64" fmla="*/ 84 w 114"/>
                  <a:gd name="T65" fmla="*/ 112 h 206"/>
                  <a:gd name="T66" fmla="*/ 88 w 114"/>
                  <a:gd name="T67" fmla="*/ 100 h 206"/>
                  <a:gd name="T68" fmla="*/ 104 w 114"/>
                  <a:gd name="T69" fmla="*/ 104 h 206"/>
                  <a:gd name="T70" fmla="*/ 110 w 114"/>
                  <a:gd name="T71" fmla="*/ 116 h 206"/>
                  <a:gd name="T72" fmla="*/ 106 w 114"/>
                  <a:gd name="T73" fmla="*/ 126 h 206"/>
                  <a:gd name="T74" fmla="*/ 100 w 114"/>
                  <a:gd name="T75" fmla="*/ 122 h 206"/>
                  <a:gd name="T76" fmla="*/ 88 w 114"/>
                  <a:gd name="T77" fmla="*/ 122 h 206"/>
                  <a:gd name="T78" fmla="*/ 88 w 114"/>
                  <a:gd name="T79" fmla="*/ 126 h 206"/>
                  <a:gd name="T80" fmla="*/ 84 w 114"/>
                  <a:gd name="T81" fmla="*/ 142 h 206"/>
                  <a:gd name="T82" fmla="*/ 88 w 114"/>
                  <a:gd name="T83" fmla="*/ 142 h 206"/>
                  <a:gd name="T84" fmla="*/ 100 w 114"/>
                  <a:gd name="T85" fmla="*/ 146 h 206"/>
                  <a:gd name="T86" fmla="*/ 92 w 114"/>
                  <a:gd name="T87" fmla="*/ 150 h 206"/>
                  <a:gd name="T88" fmla="*/ 100 w 114"/>
                  <a:gd name="T89" fmla="*/ 156 h 206"/>
                  <a:gd name="T90" fmla="*/ 100 w 114"/>
                  <a:gd name="T91" fmla="*/ 172 h 206"/>
                  <a:gd name="T92" fmla="*/ 104 w 114"/>
                  <a:gd name="T93" fmla="*/ 190 h 206"/>
                  <a:gd name="T94" fmla="*/ 96 w 114"/>
                  <a:gd name="T95" fmla="*/ 202 h 206"/>
                  <a:gd name="T96" fmla="*/ 100 w 114"/>
                  <a:gd name="T97" fmla="*/ 198 h 206"/>
                  <a:gd name="T98" fmla="*/ 80 w 114"/>
                  <a:gd name="T99" fmla="*/ 202 h 206"/>
                  <a:gd name="T100" fmla="*/ 66 w 114"/>
                  <a:gd name="T101" fmla="*/ 202 h 206"/>
                  <a:gd name="T102" fmla="*/ 52 w 114"/>
                  <a:gd name="T103" fmla="*/ 190 h 206"/>
                  <a:gd name="T104" fmla="*/ 32 w 114"/>
                  <a:gd name="T105" fmla="*/ 186 h 206"/>
                  <a:gd name="T106" fmla="*/ 30 w 114"/>
                  <a:gd name="T107" fmla="*/ 164 h 206"/>
                  <a:gd name="T108" fmla="*/ 32 w 114"/>
                  <a:gd name="T109" fmla="*/ 160 h 2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</a:cxnLst>
                <a:rect l="0" t="0" r="r" b="b"/>
                <a:pathLst>
                  <a:path w="114" h="206">
                    <a:moveTo>
                      <a:pt x="36" y="156"/>
                    </a:moveTo>
                    <a:lnTo>
                      <a:pt x="36" y="152"/>
                    </a:lnTo>
                    <a:lnTo>
                      <a:pt x="40" y="152"/>
                    </a:lnTo>
                    <a:lnTo>
                      <a:pt x="36" y="150"/>
                    </a:lnTo>
                    <a:lnTo>
                      <a:pt x="36" y="146"/>
                    </a:lnTo>
                    <a:lnTo>
                      <a:pt x="40" y="142"/>
                    </a:lnTo>
                    <a:lnTo>
                      <a:pt x="40" y="138"/>
                    </a:lnTo>
                    <a:lnTo>
                      <a:pt x="40" y="134"/>
                    </a:lnTo>
                    <a:lnTo>
                      <a:pt x="44" y="134"/>
                    </a:lnTo>
                    <a:lnTo>
                      <a:pt x="48" y="134"/>
                    </a:lnTo>
                    <a:lnTo>
                      <a:pt x="52" y="134"/>
                    </a:lnTo>
                    <a:lnTo>
                      <a:pt x="52" y="130"/>
                    </a:lnTo>
                    <a:lnTo>
                      <a:pt x="48" y="126"/>
                    </a:lnTo>
                    <a:lnTo>
                      <a:pt x="44" y="126"/>
                    </a:lnTo>
                    <a:lnTo>
                      <a:pt x="44" y="130"/>
                    </a:lnTo>
                    <a:lnTo>
                      <a:pt x="44" y="126"/>
                    </a:lnTo>
                    <a:lnTo>
                      <a:pt x="40" y="126"/>
                    </a:lnTo>
                    <a:lnTo>
                      <a:pt x="40" y="122"/>
                    </a:lnTo>
                    <a:lnTo>
                      <a:pt x="36" y="122"/>
                    </a:lnTo>
                    <a:lnTo>
                      <a:pt x="36" y="120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30" y="108"/>
                    </a:lnTo>
                    <a:lnTo>
                      <a:pt x="30" y="104"/>
                    </a:lnTo>
                    <a:lnTo>
                      <a:pt x="26" y="104"/>
                    </a:lnTo>
                    <a:lnTo>
                      <a:pt x="26" y="100"/>
                    </a:lnTo>
                    <a:lnTo>
                      <a:pt x="22" y="100"/>
                    </a:lnTo>
                    <a:lnTo>
                      <a:pt x="22" y="94"/>
                    </a:lnTo>
                    <a:lnTo>
                      <a:pt x="18" y="94"/>
                    </a:lnTo>
                    <a:lnTo>
                      <a:pt x="18" y="90"/>
                    </a:lnTo>
                    <a:lnTo>
                      <a:pt x="14" y="90"/>
                    </a:lnTo>
                    <a:lnTo>
                      <a:pt x="14" y="86"/>
                    </a:lnTo>
                    <a:lnTo>
                      <a:pt x="14" y="82"/>
                    </a:lnTo>
                    <a:lnTo>
                      <a:pt x="10" y="82"/>
                    </a:lnTo>
                    <a:lnTo>
                      <a:pt x="10" y="80"/>
                    </a:lnTo>
                    <a:lnTo>
                      <a:pt x="10" y="76"/>
                    </a:lnTo>
                    <a:lnTo>
                      <a:pt x="14" y="76"/>
                    </a:lnTo>
                    <a:lnTo>
                      <a:pt x="10" y="76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4" y="68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72"/>
                    </a:lnTo>
                    <a:lnTo>
                      <a:pt x="10" y="68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6" y="56"/>
                    </a:lnTo>
                    <a:lnTo>
                      <a:pt x="2" y="52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2" y="50"/>
                    </a:lnTo>
                    <a:lnTo>
                      <a:pt x="2" y="46"/>
                    </a:lnTo>
                    <a:lnTo>
                      <a:pt x="6" y="46"/>
                    </a:lnTo>
                    <a:lnTo>
                      <a:pt x="6" y="42"/>
                    </a:lnTo>
                    <a:lnTo>
                      <a:pt x="10" y="38"/>
                    </a:lnTo>
                    <a:lnTo>
                      <a:pt x="10" y="34"/>
                    </a:lnTo>
                    <a:lnTo>
                      <a:pt x="14" y="30"/>
                    </a:lnTo>
                    <a:lnTo>
                      <a:pt x="10" y="30"/>
                    </a:lnTo>
                    <a:lnTo>
                      <a:pt x="10" y="26"/>
                    </a:lnTo>
                    <a:lnTo>
                      <a:pt x="14" y="30"/>
                    </a:lnTo>
                    <a:lnTo>
                      <a:pt x="14" y="26"/>
                    </a:lnTo>
                    <a:lnTo>
                      <a:pt x="10" y="26"/>
                    </a:lnTo>
                    <a:lnTo>
                      <a:pt x="14" y="26"/>
                    </a:lnTo>
                    <a:lnTo>
                      <a:pt x="18" y="30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26" y="24"/>
                    </a:lnTo>
                    <a:lnTo>
                      <a:pt x="30" y="24"/>
                    </a:lnTo>
                    <a:lnTo>
                      <a:pt x="30" y="26"/>
                    </a:lnTo>
                    <a:lnTo>
                      <a:pt x="30" y="24"/>
                    </a:lnTo>
                    <a:lnTo>
                      <a:pt x="30" y="20"/>
                    </a:lnTo>
                    <a:lnTo>
                      <a:pt x="32" y="20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2" y="0"/>
                    </a:lnTo>
                    <a:lnTo>
                      <a:pt x="66" y="0"/>
                    </a:lnTo>
                    <a:lnTo>
                      <a:pt x="70" y="0"/>
                    </a:lnTo>
                    <a:lnTo>
                      <a:pt x="70" y="4"/>
                    </a:lnTo>
                    <a:lnTo>
                      <a:pt x="74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88" y="12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88" y="24"/>
                    </a:lnTo>
                    <a:lnTo>
                      <a:pt x="88" y="26"/>
                    </a:lnTo>
                    <a:lnTo>
                      <a:pt x="84" y="30"/>
                    </a:lnTo>
                    <a:lnTo>
                      <a:pt x="88" y="34"/>
                    </a:lnTo>
                    <a:lnTo>
                      <a:pt x="92" y="34"/>
                    </a:lnTo>
                    <a:lnTo>
                      <a:pt x="88" y="34"/>
                    </a:lnTo>
                    <a:lnTo>
                      <a:pt x="84" y="34"/>
                    </a:lnTo>
                    <a:lnTo>
                      <a:pt x="80" y="34"/>
                    </a:lnTo>
                    <a:lnTo>
                      <a:pt x="76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6" y="34"/>
                    </a:lnTo>
                    <a:lnTo>
                      <a:pt x="66" y="38"/>
                    </a:lnTo>
                    <a:lnTo>
                      <a:pt x="62" y="38"/>
                    </a:lnTo>
                    <a:lnTo>
                      <a:pt x="62" y="42"/>
                    </a:lnTo>
                    <a:lnTo>
                      <a:pt x="60" y="42"/>
                    </a:lnTo>
                    <a:lnTo>
                      <a:pt x="60" y="46"/>
                    </a:lnTo>
                    <a:lnTo>
                      <a:pt x="62" y="46"/>
                    </a:lnTo>
                    <a:lnTo>
                      <a:pt x="62" y="50"/>
                    </a:lnTo>
                    <a:lnTo>
                      <a:pt x="66" y="50"/>
                    </a:lnTo>
                    <a:lnTo>
                      <a:pt x="70" y="50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2" y="52"/>
                    </a:lnTo>
                    <a:lnTo>
                      <a:pt x="60" y="50"/>
                    </a:lnTo>
                    <a:lnTo>
                      <a:pt x="56" y="50"/>
                    </a:lnTo>
                    <a:lnTo>
                      <a:pt x="52" y="50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2" y="64"/>
                    </a:lnTo>
                    <a:lnTo>
                      <a:pt x="62" y="68"/>
                    </a:lnTo>
                    <a:lnTo>
                      <a:pt x="66" y="72"/>
                    </a:lnTo>
                    <a:lnTo>
                      <a:pt x="66" y="76"/>
                    </a:lnTo>
                    <a:lnTo>
                      <a:pt x="66" y="80"/>
                    </a:lnTo>
                    <a:lnTo>
                      <a:pt x="70" y="80"/>
                    </a:lnTo>
                    <a:lnTo>
                      <a:pt x="74" y="82"/>
                    </a:lnTo>
                    <a:lnTo>
                      <a:pt x="74" y="86"/>
                    </a:lnTo>
                    <a:lnTo>
                      <a:pt x="74" y="82"/>
                    </a:lnTo>
                    <a:lnTo>
                      <a:pt x="76" y="82"/>
                    </a:lnTo>
                    <a:lnTo>
                      <a:pt x="80" y="86"/>
                    </a:lnTo>
                    <a:lnTo>
                      <a:pt x="84" y="86"/>
                    </a:lnTo>
                    <a:lnTo>
                      <a:pt x="84" y="90"/>
                    </a:lnTo>
                    <a:lnTo>
                      <a:pt x="84" y="94"/>
                    </a:lnTo>
                    <a:lnTo>
                      <a:pt x="80" y="94"/>
                    </a:lnTo>
                    <a:lnTo>
                      <a:pt x="80" y="96"/>
                    </a:lnTo>
                    <a:lnTo>
                      <a:pt x="80" y="100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0" y="108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4" y="116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84" y="112"/>
                    </a:lnTo>
                    <a:lnTo>
                      <a:pt x="88" y="112"/>
                    </a:lnTo>
                    <a:lnTo>
                      <a:pt x="88" y="108"/>
                    </a:lnTo>
                    <a:lnTo>
                      <a:pt x="84" y="108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92" y="100"/>
                    </a:lnTo>
                    <a:lnTo>
                      <a:pt x="96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6" y="112"/>
                    </a:lnTo>
                    <a:lnTo>
                      <a:pt x="106" y="116"/>
                    </a:lnTo>
                    <a:lnTo>
                      <a:pt x="110" y="116"/>
                    </a:lnTo>
                    <a:lnTo>
                      <a:pt x="114" y="120"/>
                    </a:lnTo>
                    <a:lnTo>
                      <a:pt x="114" y="122"/>
                    </a:lnTo>
                    <a:lnTo>
                      <a:pt x="110" y="122"/>
                    </a:lnTo>
                    <a:lnTo>
                      <a:pt x="106" y="122"/>
                    </a:lnTo>
                    <a:lnTo>
                      <a:pt x="106" y="126"/>
                    </a:lnTo>
                    <a:lnTo>
                      <a:pt x="110" y="126"/>
                    </a:lnTo>
                    <a:lnTo>
                      <a:pt x="106" y="126"/>
                    </a:lnTo>
                    <a:lnTo>
                      <a:pt x="104" y="126"/>
                    </a:lnTo>
                    <a:lnTo>
                      <a:pt x="100" y="126"/>
                    </a:lnTo>
                    <a:lnTo>
                      <a:pt x="100" y="122"/>
                    </a:lnTo>
                    <a:lnTo>
                      <a:pt x="96" y="122"/>
                    </a:lnTo>
                    <a:lnTo>
                      <a:pt x="96" y="126"/>
                    </a:lnTo>
                    <a:lnTo>
                      <a:pt x="96" y="122"/>
                    </a:lnTo>
                    <a:lnTo>
                      <a:pt x="92" y="122"/>
                    </a:lnTo>
                    <a:lnTo>
                      <a:pt x="88" y="122"/>
                    </a:lnTo>
                    <a:lnTo>
                      <a:pt x="88" y="120"/>
                    </a:lnTo>
                    <a:lnTo>
                      <a:pt x="88" y="122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8" y="126"/>
                    </a:lnTo>
                    <a:lnTo>
                      <a:pt x="84" y="126"/>
                    </a:lnTo>
                    <a:lnTo>
                      <a:pt x="84" y="130"/>
                    </a:lnTo>
                    <a:lnTo>
                      <a:pt x="84" y="134"/>
                    </a:lnTo>
                    <a:lnTo>
                      <a:pt x="84" y="138"/>
                    </a:lnTo>
                    <a:lnTo>
                      <a:pt x="84" y="142"/>
                    </a:lnTo>
                    <a:lnTo>
                      <a:pt x="88" y="142"/>
                    </a:lnTo>
                    <a:lnTo>
                      <a:pt x="88" y="146"/>
                    </a:lnTo>
                    <a:lnTo>
                      <a:pt x="88" y="142"/>
                    </a:lnTo>
                    <a:lnTo>
                      <a:pt x="88" y="138"/>
                    </a:lnTo>
                    <a:lnTo>
                      <a:pt x="88" y="142"/>
                    </a:lnTo>
                    <a:lnTo>
                      <a:pt x="92" y="142"/>
                    </a:lnTo>
                    <a:lnTo>
                      <a:pt x="96" y="138"/>
                    </a:lnTo>
                    <a:lnTo>
                      <a:pt x="96" y="142"/>
                    </a:lnTo>
                    <a:lnTo>
                      <a:pt x="96" y="146"/>
                    </a:lnTo>
                    <a:lnTo>
                      <a:pt x="100" y="146"/>
                    </a:lnTo>
                    <a:lnTo>
                      <a:pt x="100" y="150"/>
                    </a:lnTo>
                    <a:lnTo>
                      <a:pt x="96" y="150"/>
                    </a:lnTo>
                    <a:lnTo>
                      <a:pt x="92" y="150"/>
                    </a:lnTo>
                    <a:lnTo>
                      <a:pt x="92" y="146"/>
                    </a:lnTo>
                    <a:lnTo>
                      <a:pt x="92" y="150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92" y="152"/>
                    </a:lnTo>
                    <a:lnTo>
                      <a:pt x="96" y="152"/>
                    </a:lnTo>
                    <a:lnTo>
                      <a:pt x="100" y="156"/>
                    </a:lnTo>
                    <a:lnTo>
                      <a:pt x="104" y="160"/>
                    </a:lnTo>
                    <a:lnTo>
                      <a:pt x="104" y="164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0" y="176"/>
                    </a:lnTo>
                    <a:lnTo>
                      <a:pt x="100" y="178"/>
                    </a:lnTo>
                    <a:lnTo>
                      <a:pt x="100" y="182"/>
                    </a:lnTo>
                    <a:lnTo>
                      <a:pt x="100" y="186"/>
                    </a:lnTo>
                    <a:lnTo>
                      <a:pt x="104" y="190"/>
                    </a:lnTo>
                    <a:lnTo>
                      <a:pt x="104" y="194"/>
                    </a:lnTo>
                    <a:lnTo>
                      <a:pt x="104" y="198"/>
                    </a:lnTo>
                    <a:lnTo>
                      <a:pt x="104" y="202"/>
                    </a:lnTo>
                    <a:lnTo>
                      <a:pt x="100" y="202"/>
                    </a:lnTo>
                    <a:lnTo>
                      <a:pt x="96" y="202"/>
                    </a:lnTo>
                    <a:lnTo>
                      <a:pt x="100" y="198"/>
                    </a:lnTo>
                    <a:lnTo>
                      <a:pt x="100" y="202"/>
                    </a:lnTo>
                    <a:lnTo>
                      <a:pt x="100" y="198"/>
                    </a:lnTo>
                    <a:lnTo>
                      <a:pt x="104" y="198"/>
                    </a:lnTo>
                    <a:lnTo>
                      <a:pt x="100" y="198"/>
                    </a:lnTo>
                    <a:lnTo>
                      <a:pt x="96" y="198"/>
                    </a:lnTo>
                    <a:lnTo>
                      <a:pt x="92" y="202"/>
                    </a:lnTo>
                    <a:lnTo>
                      <a:pt x="88" y="202"/>
                    </a:lnTo>
                    <a:lnTo>
                      <a:pt x="84" y="202"/>
                    </a:lnTo>
                    <a:lnTo>
                      <a:pt x="80" y="202"/>
                    </a:lnTo>
                    <a:lnTo>
                      <a:pt x="76" y="206"/>
                    </a:lnTo>
                    <a:lnTo>
                      <a:pt x="74" y="206"/>
                    </a:lnTo>
                    <a:lnTo>
                      <a:pt x="70" y="206"/>
                    </a:lnTo>
                    <a:lnTo>
                      <a:pt x="66" y="206"/>
                    </a:lnTo>
                    <a:lnTo>
                      <a:pt x="66" y="202"/>
                    </a:lnTo>
                    <a:lnTo>
                      <a:pt x="62" y="202"/>
                    </a:lnTo>
                    <a:lnTo>
                      <a:pt x="60" y="202"/>
                    </a:lnTo>
                    <a:lnTo>
                      <a:pt x="56" y="198"/>
                    </a:lnTo>
                    <a:lnTo>
                      <a:pt x="52" y="194"/>
                    </a:lnTo>
                    <a:lnTo>
                      <a:pt x="52" y="190"/>
                    </a:lnTo>
                    <a:lnTo>
                      <a:pt x="48" y="190"/>
                    </a:lnTo>
                    <a:lnTo>
                      <a:pt x="44" y="190"/>
                    </a:lnTo>
                    <a:lnTo>
                      <a:pt x="40" y="186"/>
                    </a:lnTo>
                    <a:lnTo>
                      <a:pt x="36" y="186"/>
                    </a:lnTo>
                    <a:lnTo>
                      <a:pt x="32" y="186"/>
                    </a:lnTo>
                    <a:lnTo>
                      <a:pt x="32" y="182"/>
                    </a:lnTo>
                    <a:lnTo>
                      <a:pt x="32" y="178"/>
                    </a:lnTo>
                    <a:lnTo>
                      <a:pt x="30" y="172"/>
                    </a:lnTo>
                    <a:lnTo>
                      <a:pt x="30" y="168"/>
                    </a:lnTo>
                    <a:lnTo>
                      <a:pt x="30" y="164"/>
                    </a:lnTo>
                    <a:lnTo>
                      <a:pt x="32" y="160"/>
                    </a:lnTo>
                    <a:lnTo>
                      <a:pt x="32" y="156"/>
                    </a:lnTo>
                    <a:lnTo>
                      <a:pt x="36" y="156"/>
                    </a:lnTo>
                    <a:lnTo>
                      <a:pt x="32" y="156"/>
                    </a:lnTo>
                    <a:lnTo>
                      <a:pt x="32" y="160"/>
                    </a:lnTo>
                    <a:lnTo>
                      <a:pt x="36" y="160"/>
                    </a:lnTo>
                    <a:lnTo>
                      <a:pt x="36" y="156"/>
                    </a:lnTo>
                    <a:lnTo>
                      <a:pt x="36" y="156"/>
                    </a:lnTo>
                    <a:lnTo>
                      <a:pt x="36" y="15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1" name="Freeform 221">
                <a:extLst>
                  <a:ext uri="{FF2B5EF4-FFF2-40B4-BE49-F238E27FC236}">
                    <a16:creationId xmlns:a16="http://schemas.microsoft.com/office/drawing/2014/main" id="{EF4536A3-AE5A-477C-A7A7-0561EA7A250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02300" y="3213168"/>
                <a:ext cx="82550" cy="114300"/>
              </a:xfrm>
              <a:custGeom>
                <a:avLst/>
                <a:gdLst>
                  <a:gd name="T0" fmla="*/ 40 w 52"/>
                  <a:gd name="T1" fmla="*/ 20 h 72"/>
                  <a:gd name="T2" fmla="*/ 36 w 52"/>
                  <a:gd name="T3" fmla="*/ 22 h 72"/>
                  <a:gd name="T4" fmla="*/ 40 w 52"/>
                  <a:gd name="T5" fmla="*/ 26 h 72"/>
                  <a:gd name="T6" fmla="*/ 44 w 52"/>
                  <a:gd name="T7" fmla="*/ 22 h 72"/>
                  <a:gd name="T8" fmla="*/ 40 w 52"/>
                  <a:gd name="T9" fmla="*/ 26 h 72"/>
                  <a:gd name="T10" fmla="*/ 44 w 52"/>
                  <a:gd name="T11" fmla="*/ 34 h 72"/>
                  <a:gd name="T12" fmla="*/ 52 w 52"/>
                  <a:gd name="T13" fmla="*/ 34 h 72"/>
                  <a:gd name="T14" fmla="*/ 48 w 52"/>
                  <a:gd name="T15" fmla="*/ 38 h 72"/>
                  <a:gd name="T16" fmla="*/ 48 w 52"/>
                  <a:gd name="T17" fmla="*/ 42 h 72"/>
                  <a:gd name="T18" fmla="*/ 44 w 52"/>
                  <a:gd name="T19" fmla="*/ 46 h 72"/>
                  <a:gd name="T20" fmla="*/ 40 w 52"/>
                  <a:gd name="T21" fmla="*/ 50 h 72"/>
                  <a:gd name="T22" fmla="*/ 40 w 52"/>
                  <a:gd name="T23" fmla="*/ 50 h 72"/>
                  <a:gd name="T24" fmla="*/ 40 w 52"/>
                  <a:gd name="T25" fmla="*/ 56 h 72"/>
                  <a:gd name="T26" fmla="*/ 36 w 52"/>
                  <a:gd name="T27" fmla="*/ 52 h 72"/>
                  <a:gd name="T28" fmla="*/ 32 w 52"/>
                  <a:gd name="T29" fmla="*/ 56 h 72"/>
                  <a:gd name="T30" fmla="*/ 36 w 52"/>
                  <a:gd name="T31" fmla="*/ 60 h 72"/>
                  <a:gd name="T32" fmla="*/ 40 w 52"/>
                  <a:gd name="T33" fmla="*/ 64 h 72"/>
                  <a:gd name="T34" fmla="*/ 32 w 52"/>
                  <a:gd name="T35" fmla="*/ 68 h 72"/>
                  <a:gd name="T36" fmla="*/ 28 w 52"/>
                  <a:gd name="T37" fmla="*/ 64 h 72"/>
                  <a:gd name="T38" fmla="*/ 26 w 52"/>
                  <a:gd name="T39" fmla="*/ 68 h 72"/>
                  <a:gd name="T40" fmla="*/ 22 w 52"/>
                  <a:gd name="T41" fmla="*/ 72 h 72"/>
                  <a:gd name="T42" fmla="*/ 18 w 52"/>
                  <a:gd name="T43" fmla="*/ 68 h 72"/>
                  <a:gd name="T44" fmla="*/ 18 w 52"/>
                  <a:gd name="T45" fmla="*/ 64 h 72"/>
                  <a:gd name="T46" fmla="*/ 14 w 52"/>
                  <a:gd name="T47" fmla="*/ 60 h 72"/>
                  <a:gd name="T48" fmla="*/ 10 w 52"/>
                  <a:gd name="T49" fmla="*/ 64 h 72"/>
                  <a:gd name="T50" fmla="*/ 6 w 52"/>
                  <a:gd name="T51" fmla="*/ 60 h 72"/>
                  <a:gd name="T52" fmla="*/ 6 w 52"/>
                  <a:gd name="T53" fmla="*/ 60 h 72"/>
                  <a:gd name="T54" fmla="*/ 10 w 52"/>
                  <a:gd name="T55" fmla="*/ 64 h 72"/>
                  <a:gd name="T56" fmla="*/ 4 w 52"/>
                  <a:gd name="T57" fmla="*/ 64 h 72"/>
                  <a:gd name="T58" fmla="*/ 0 w 52"/>
                  <a:gd name="T59" fmla="*/ 60 h 72"/>
                  <a:gd name="T60" fmla="*/ 0 w 52"/>
                  <a:gd name="T61" fmla="*/ 52 h 72"/>
                  <a:gd name="T62" fmla="*/ 0 w 52"/>
                  <a:gd name="T63" fmla="*/ 46 h 72"/>
                  <a:gd name="T64" fmla="*/ 0 w 52"/>
                  <a:gd name="T65" fmla="*/ 38 h 72"/>
                  <a:gd name="T66" fmla="*/ 4 w 52"/>
                  <a:gd name="T67" fmla="*/ 30 h 72"/>
                  <a:gd name="T68" fmla="*/ 4 w 52"/>
                  <a:gd name="T69" fmla="*/ 22 h 72"/>
                  <a:gd name="T70" fmla="*/ 6 w 52"/>
                  <a:gd name="T71" fmla="*/ 20 h 72"/>
                  <a:gd name="T72" fmla="*/ 14 w 52"/>
                  <a:gd name="T73" fmla="*/ 20 h 72"/>
                  <a:gd name="T74" fmla="*/ 14 w 52"/>
                  <a:gd name="T75" fmla="*/ 20 h 72"/>
                  <a:gd name="T76" fmla="*/ 14 w 52"/>
                  <a:gd name="T77" fmla="*/ 20 h 72"/>
                  <a:gd name="T78" fmla="*/ 18 w 52"/>
                  <a:gd name="T79" fmla="*/ 22 h 72"/>
                  <a:gd name="T80" fmla="*/ 18 w 52"/>
                  <a:gd name="T81" fmla="*/ 16 h 72"/>
                  <a:gd name="T82" fmla="*/ 22 w 52"/>
                  <a:gd name="T83" fmla="*/ 12 h 72"/>
                  <a:gd name="T84" fmla="*/ 26 w 52"/>
                  <a:gd name="T85" fmla="*/ 16 h 72"/>
                  <a:gd name="T86" fmla="*/ 22 w 52"/>
                  <a:gd name="T87" fmla="*/ 12 h 72"/>
                  <a:gd name="T88" fmla="*/ 22 w 52"/>
                  <a:gd name="T89" fmla="*/ 4 h 72"/>
                  <a:gd name="T90" fmla="*/ 28 w 52"/>
                  <a:gd name="T91" fmla="*/ 4 h 72"/>
                  <a:gd name="T92" fmla="*/ 32 w 52"/>
                  <a:gd name="T93" fmla="*/ 4 h 72"/>
                  <a:gd name="T94" fmla="*/ 32 w 52"/>
                  <a:gd name="T95" fmla="*/ 0 h 72"/>
                  <a:gd name="T96" fmla="*/ 36 w 52"/>
                  <a:gd name="T97" fmla="*/ 4 h 72"/>
                  <a:gd name="T98" fmla="*/ 40 w 52"/>
                  <a:gd name="T99" fmla="*/ 8 h 72"/>
                  <a:gd name="T100" fmla="*/ 44 w 52"/>
                  <a:gd name="T101" fmla="*/ 4 h 72"/>
                  <a:gd name="T102" fmla="*/ 48 w 52"/>
                  <a:gd name="T103" fmla="*/ 0 h 72"/>
                  <a:gd name="T104" fmla="*/ 48 w 52"/>
                  <a:gd name="T105" fmla="*/ 8 h 72"/>
                  <a:gd name="T106" fmla="*/ 40 w 52"/>
                  <a:gd name="T107" fmla="*/ 12 h 72"/>
                  <a:gd name="T108" fmla="*/ 36 w 52"/>
                  <a:gd name="T109" fmla="*/ 16 h 72"/>
                  <a:gd name="T110" fmla="*/ 36 w 52"/>
                  <a:gd name="T111" fmla="*/ 16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52" h="72">
                    <a:moveTo>
                      <a:pt x="36" y="16"/>
                    </a:moveTo>
                    <a:lnTo>
                      <a:pt x="40" y="20"/>
                    </a:lnTo>
                    <a:lnTo>
                      <a:pt x="40" y="22"/>
                    </a:lnTo>
                    <a:lnTo>
                      <a:pt x="36" y="22"/>
                    </a:lnTo>
                    <a:lnTo>
                      <a:pt x="36" y="26"/>
                    </a:lnTo>
                    <a:lnTo>
                      <a:pt x="40" y="26"/>
                    </a:lnTo>
                    <a:lnTo>
                      <a:pt x="40" y="22"/>
                    </a:lnTo>
                    <a:lnTo>
                      <a:pt x="44" y="22"/>
                    </a:lnTo>
                    <a:lnTo>
                      <a:pt x="44" y="26"/>
                    </a:lnTo>
                    <a:lnTo>
                      <a:pt x="40" y="26"/>
                    </a:lnTo>
                    <a:lnTo>
                      <a:pt x="44" y="30"/>
                    </a:lnTo>
                    <a:lnTo>
                      <a:pt x="44" y="34"/>
                    </a:lnTo>
                    <a:lnTo>
                      <a:pt x="48" y="34"/>
                    </a:lnTo>
                    <a:lnTo>
                      <a:pt x="52" y="34"/>
                    </a:lnTo>
                    <a:lnTo>
                      <a:pt x="48" y="34"/>
                    </a:lnTo>
                    <a:lnTo>
                      <a:pt x="48" y="38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2"/>
                    </a:lnTo>
                    <a:lnTo>
                      <a:pt x="44" y="46"/>
                    </a:lnTo>
                    <a:lnTo>
                      <a:pt x="40" y="46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0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6" y="68"/>
                    </a:lnTo>
                    <a:lnTo>
                      <a:pt x="22" y="68"/>
                    </a:lnTo>
                    <a:lnTo>
                      <a:pt x="22" y="72"/>
                    </a:lnTo>
                    <a:lnTo>
                      <a:pt x="22" y="68"/>
                    </a:lnTo>
                    <a:lnTo>
                      <a:pt x="18" y="68"/>
                    </a:lnTo>
                    <a:lnTo>
                      <a:pt x="22" y="64"/>
                    </a:lnTo>
                    <a:lnTo>
                      <a:pt x="18" y="64"/>
                    </a:lnTo>
                    <a:lnTo>
                      <a:pt x="14" y="64"/>
                    </a:lnTo>
                    <a:lnTo>
                      <a:pt x="14" y="60"/>
                    </a:lnTo>
                    <a:lnTo>
                      <a:pt x="14" y="64"/>
                    </a:lnTo>
                    <a:lnTo>
                      <a:pt x="10" y="64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6" y="60"/>
                    </a:lnTo>
                    <a:lnTo>
                      <a:pt x="10" y="60"/>
                    </a:lnTo>
                    <a:lnTo>
                      <a:pt x="10" y="64"/>
                    </a:lnTo>
                    <a:lnTo>
                      <a:pt x="6" y="64"/>
                    </a:lnTo>
                    <a:lnTo>
                      <a:pt x="4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0" y="52"/>
                    </a:lnTo>
                    <a:lnTo>
                      <a:pt x="0" y="50"/>
                    </a:lnTo>
                    <a:lnTo>
                      <a:pt x="0" y="46"/>
                    </a:lnTo>
                    <a:lnTo>
                      <a:pt x="0" y="42"/>
                    </a:lnTo>
                    <a:lnTo>
                      <a:pt x="0" y="38"/>
                    </a:lnTo>
                    <a:lnTo>
                      <a:pt x="0" y="34"/>
                    </a:lnTo>
                    <a:lnTo>
                      <a:pt x="4" y="30"/>
                    </a:lnTo>
                    <a:lnTo>
                      <a:pt x="4" y="26"/>
                    </a:lnTo>
                    <a:lnTo>
                      <a:pt x="4" y="22"/>
                    </a:lnTo>
                    <a:lnTo>
                      <a:pt x="6" y="22"/>
                    </a:lnTo>
                    <a:lnTo>
                      <a:pt x="6" y="20"/>
                    </a:lnTo>
                    <a:lnTo>
                      <a:pt x="10" y="20"/>
                    </a:lnTo>
                    <a:lnTo>
                      <a:pt x="14" y="20"/>
                    </a:lnTo>
                    <a:lnTo>
                      <a:pt x="14" y="16"/>
                    </a:lnTo>
                    <a:lnTo>
                      <a:pt x="14" y="20"/>
                    </a:lnTo>
                    <a:lnTo>
                      <a:pt x="18" y="20"/>
                    </a:lnTo>
                    <a:lnTo>
                      <a:pt x="14" y="20"/>
                    </a:lnTo>
                    <a:lnTo>
                      <a:pt x="14" y="22"/>
                    </a:lnTo>
                    <a:lnTo>
                      <a:pt x="18" y="22"/>
                    </a:lnTo>
                    <a:lnTo>
                      <a:pt x="18" y="20"/>
                    </a:lnTo>
                    <a:lnTo>
                      <a:pt x="18" y="16"/>
                    </a:lnTo>
                    <a:lnTo>
                      <a:pt x="18" y="12"/>
                    </a:lnTo>
                    <a:lnTo>
                      <a:pt x="22" y="12"/>
                    </a:lnTo>
                    <a:lnTo>
                      <a:pt x="22" y="16"/>
                    </a:lnTo>
                    <a:lnTo>
                      <a:pt x="26" y="16"/>
                    </a:lnTo>
                    <a:lnTo>
                      <a:pt x="26" y="12"/>
                    </a:lnTo>
                    <a:lnTo>
                      <a:pt x="22" y="12"/>
                    </a:lnTo>
                    <a:lnTo>
                      <a:pt x="22" y="8"/>
                    </a:lnTo>
                    <a:lnTo>
                      <a:pt x="22" y="4"/>
                    </a:lnTo>
                    <a:lnTo>
                      <a:pt x="26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2" name="Freeform 222">
                <a:extLst>
                  <a:ext uri="{FF2B5EF4-FFF2-40B4-BE49-F238E27FC236}">
                    <a16:creationId xmlns:a16="http://schemas.microsoft.com/office/drawing/2014/main" id="{3C6FC728-49C1-4D66-ABD7-C765E23E654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24100" y="3143318"/>
                <a:ext cx="177800" cy="82550"/>
              </a:xfrm>
              <a:custGeom>
                <a:avLst/>
                <a:gdLst>
                  <a:gd name="T0" fmla="*/ 100 w 112"/>
                  <a:gd name="T1" fmla="*/ 52 h 52"/>
                  <a:gd name="T2" fmla="*/ 96 w 112"/>
                  <a:gd name="T3" fmla="*/ 48 h 52"/>
                  <a:gd name="T4" fmla="*/ 86 w 112"/>
                  <a:gd name="T5" fmla="*/ 48 h 52"/>
                  <a:gd name="T6" fmla="*/ 74 w 112"/>
                  <a:gd name="T7" fmla="*/ 52 h 52"/>
                  <a:gd name="T8" fmla="*/ 66 w 112"/>
                  <a:gd name="T9" fmla="*/ 48 h 52"/>
                  <a:gd name="T10" fmla="*/ 58 w 112"/>
                  <a:gd name="T11" fmla="*/ 44 h 52"/>
                  <a:gd name="T12" fmla="*/ 56 w 112"/>
                  <a:gd name="T13" fmla="*/ 40 h 52"/>
                  <a:gd name="T14" fmla="*/ 52 w 112"/>
                  <a:gd name="T15" fmla="*/ 48 h 52"/>
                  <a:gd name="T16" fmla="*/ 52 w 112"/>
                  <a:gd name="T17" fmla="*/ 38 h 52"/>
                  <a:gd name="T18" fmla="*/ 44 w 112"/>
                  <a:gd name="T19" fmla="*/ 40 h 52"/>
                  <a:gd name="T20" fmla="*/ 34 w 112"/>
                  <a:gd name="T21" fmla="*/ 44 h 52"/>
                  <a:gd name="T22" fmla="*/ 26 w 112"/>
                  <a:gd name="T23" fmla="*/ 52 h 52"/>
                  <a:gd name="T24" fmla="*/ 18 w 112"/>
                  <a:gd name="T25" fmla="*/ 44 h 52"/>
                  <a:gd name="T26" fmla="*/ 18 w 112"/>
                  <a:gd name="T27" fmla="*/ 40 h 52"/>
                  <a:gd name="T28" fmla="*/ 12 w 112"/>
                  <a:gd name="T29" fmla="*/ 44 h 52"/>
                  <a:gd name="T30" fmla="*/ 4 w 112"/>
                  <a:gd name="T31" fmla="*/ 48 h 52"/>
                  <a:gd name="T32" fmla="*/ 4 w 112"/>
                  <a:gd name="T33" fmla="*/ 44 h 52"/>
                  <a:gd name="T34" fmla="*/ 12 w 112"/>
                  <a:gd name="T35" fmla="*/ 38 h 52"/>
                  <a:gd name="T36" fmla="*/ 18 w 112"/>
                  <a:gd name="T37" fmla="*/ 30 h 52"/>
                  <a:gd name="T38" fmla="*/ 30 w 112"/>
                  <a:gd name="T39" fmla="*/ 26 h 52"/>
                  <a:gd name="T40" fmla="*/ 42 w 112"/>
                  <a:gd name="T41" fmla="*/ 18 h 52"/>
                  <a:gd name="T42" fmla="*/ 44 w 112"/>
                  <a:gd name="T43" fmla="*/ 10 h 52"/>
                  <a:gd name="T44" fmla="*/ 44 w 112"/>
                  <a:gd name="T45" fmla="*/ 14 h 52"/>
                  <a:gd name="T46" fmla="*/ 52 w 112"/>
                  <a:gd name="T47" fmla="*/ 10 h 52"/>
                  <a:gd name="T48" fmla="*/ 56 w 112"/>
                  <a:gd name="T49" fmla="*/ 4 h 52"/>
                  <a:gd name="T50" fmla="*/ 52 w 112"/>
                  <a:gd name="T51" fmla="*/ 10 h 52"/>
                  <a:gd name="T52" fmla="*/ 56 w 112"/>
                  <a:gd name="T53" fmla="*/ 6 h 52"/>
                  <a:gd name="T54" fmla="*/ 56 w 112"/>
                  <a:gd name="T55" fmla="*/ 4 h 52"/>
                  <a:gd name="T56" fmla="*/ 58 w 112"/>
                  <a:gd name="T57" fmla="*/ 4 h 52"/>
                  <a:gd name="T58" fmla="*/ 70 w 112"/>
                  <a:gd name="T59" fmla="*/ 6 h 52"/>
                  <a:gd name="T60" fmla="*/ 78 w 112"/>
                  <a:gd name="T61" fmla="*/ 6 h 52"/>
                  <a:gd name="T62" fmla="*/ 86 w 112"/>
                  <a:gd name="T63" fmla="*/ 10 h 52"/>
                  <a:gd name="T64" fmla="*/ 88 w 112"/>
                  <a:gd name="T65" fmla="*/ 18 h 52"/>
                  <a:gd name="T66" fmla="*/ 96 w 112"/>
                  <a:gd name="T67" fmla="*/ 22 h 52"/>
                  <a:gd name="T68" fmla="*/ 104 w 112"/>
                  <a:gd name="T69" fmla="*/ 26 h 52"/>
                  <a:gd name="T70" fmla="*/ 104 w 112"/>
                  <a:gd name="T71" fmla="*/ 34 h 52"/>
                  <a:gd name="T72" fmla="*/ 104 w 112"/>
                  <a:gd name="T73" fmla="*/ 38 h 52"/>
                  <a:gd name="T74" fmla="*/ 112 w 112"/>
                  <a:gd name="T75" fmla="*/ 44 h 52"/>
                  <a:gd name="T76" fmla="*/ 112 w 112"/>
                  <a:gd name="T77" fmla="*/ 48 h 52"/>
                  <a:gd name="T78" fmla="*/ 108 w 112"/>
                  <a:gd name="T79" fmla="*/ 52 h 52"/>
                  <a:gd name="T80" fmla="*/ 48 w 112"/>
                  <a:gd name="T81" fmla="*/ 18 h 52"/>
                  <a:gd name="T82" fmla="*/ 42 w 112"/>
                  <a:gd name="T83" fmla="*/ 26 h 52"/>
                  <a:gd name="T84" fmla="*/ 48 w 112"/>
                  <a:gd name="T85" fmla="*/ 22 h 52"/>
                  <a:gd name="T86" fmla="*/ 52 w 112"/>
                  <a:gd name="T87" fmla="*/ 18 h 52"/>
                  <a:gd name="T88" fmla="*/ 52 w 112"/>
                  <a:gd name="T89" fmla="*/ 40 h 52"/>
                  <a:gd name="T90" fmla="*/ 52 w 112"/>
                  <a:gd name="T91" fmla="*/ 40 h 52"/>
                  <a:gd name="T92" fmla="*/ 58 w 112"/>
                  <a:gd name="T93" fmla="*/ 38 h 52"/>
                  <a:gd name="T94" fmla="*/ 58 w 112"/>
                  <a:gd name="T95" fmla="*/ 34 h 52"/>
                  <a:gd name="T96" fmla="*/ 52 w 112"/>
                  <a:gd name="T97" fmla="*/ 38 h 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</a:cxnLst>
                <a:rect l="0" t="0" r="r" b="b"/>
                <a:pathLst>
                  <a:path w="112" h="52">
                    <a:moveTo>
                      <a:pt x="108" y="52"/>
                    </a:moveTo>
                    <a:lnTo>
                      <a:pt x="104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0" y="44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88" y="48"/>
                    </a:lnTo>
                    <a:lnTo>
                      <a:pt x="86" y="48"/>
                    </a:lnTo>
                    <a:lnTo>
                      <a:pt x="82" y="52"/>
                    </a:lnTo>
                    <a:lnTo>
                      <a:pt x="78" y="52"/>
                    </a:lnTo>
                    <a:lnTo>
                      <a:pt x="74" y="52"/>
                    </a:lnTo>
                    <a:lnTo>
                      <a:pt x="70" y="52"/>
                    </a:lnTo>
                    <a:lnTo>
                      <a:pt x="66" y="52"/>
                    </a:lnTo>
                    <a:lnTo>
                      <a:pt x="66" y="48"/>
                    </a:lnTo>
                    <a:lnTo>
                      <a:pt x="66" y="44"/>
                    </a:lnTo>
                    <a:lnTo>
                      <a:pt x="62" y="44"/>
                    </a:lnTo>
                    <a:lnTo>
                      <a:pt x="58" y="44"/>
                    </a:lnTo>
                    <a:lnTo>
                      <a:pt x="56" y="44"/>
                    </a:lnTo>
                    <a:lnTo>
                      <a:pt x="58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8"/>
                    </a:lnTo>
                    <a:lnTo>
                      <a:pt x="52" y="44"/>
                    </a:lnTo>
                    <a:lnTo>
                      <a:pt x="52" y="40"/>
                    </a:lnTo>
                    <a:lnTo>
                      <a:pt x="52" y="38"/>
                    </a:lnTo>
                    <a:lnTo>
                      <a:pt x="48" y="38"/>
                    </a:lnTo>
                    <a:lnTo>
                      <a:pt x="48" y="40"/>
                    </a:lnTo>
                    <a:lnTo>
                      <a:pt x="44" y="40"/>
                    </a:lnTo>
                    <a:lnTo>
                      <a:pt x="42" y="44"/>
                    </a:lnTo>
                    <a:lnTo>
                      <a:pt x="38" y="44"/>
                    </a:lnTo>
                    <a:lnTo>
                      <a:pt x="34" y="44"/>
                    </a:lnTo>
                    <a:lnTo>
                      <a:pt x="34" y="48"/>
                    </a:lnTo>
                    <a:lnTo>
                      <a:pt x="30" y="48"/>
                    </a:lnTo>
                    <a:lnTo>
                      <a:pt x="26" y="52"/>
                    </a:lnTo>
                    <a:lnTo>
                      <a:pt x="22" y="48"/>
                    </a:lnTo>
                    <a:lnTo>
                      <a:pt x="18" y="48"/>
                    </a:lnTo>
                    <a:lnTo>
                      <a:pt x="18" y="44"/>
                    </a:lnTo>
                    <a:lnTo>
                      <a:pt x="22" y="44"/>
                    </a:lnTo>
                    <a:lnTo>
                      <a:pt x="18" y="44"/>
                    </a:lnTo>
                    <a:lnTo>
                      <a:pt x="18" y="40"/>
                    </a:lnTo>
                    <a:lnTo>
                      <a:pt x="18" y="44"/>
                    </a:lnTo>
                    <a:lnTo>
                      <a:pt x="14" y="44"/>
                    </a:lnTo>
                    <a:lnTo>
                      <a:pt x="12" y="44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4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38"/>
                    </a:lnTo>
                    <a:lnTo>
                      <a:pt x="14" y="38"/>
                    </a:lnTo>
                    <a:lnTo>
                      <a:pt x="14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6" y="26"/>
                    </a:lnTo>
                    <a:lnTo>
                      <a:pt x="30" y="26"/>
                    </a:lnTo>
                    <a:lnTo>
                      <a:pt x="34" y="22"/>
                    </a:lnTo>
                    <a:lnTo>
                      <a:pt x="38" y="22"/>
                    </a:lnTo>
                    <a:lnTo>
                      <a:pt x="42" y="18"/>
                    </a:lnTo>
                    <a:lnTo>
                      <a:pt x="42" y="14"/>
                    </a:lnTo>
                    <a:lnTo>
                      <a:pt x="42" y="10"/>
                    </a:lnTo>
                    <a:lnTo>
                      <a:pt x="44" y="10"/>
                    </a:lnTo>
                    <a:lnTo>
                      <a:pt x="48" y="10"/>
                    </a:lnTo>
                    <a:lnTo>
                      <a:pt x="48" y="14"/>
                    </a:lnTo>
                    <a:lnTo>
                      <a:pt x="44" y="14"/>
                    </a:lnTo>
                    <a:lnTo>
                      <a:pt x="48" y="14"/>
                    </a:lnTo>
                    <a:lnTo>
                      <a:pt x="48" y="10"/>
                    </a:lnTo>
                    <a:lnTo>
                      <a:pt x="52" y="10"/>
                    </a:lnTo>
                    <a:lnTo>
                      <a:pt x="52" y="6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6"/>
                    </a:lnTo>
                    <a:lnTo>
                      <a:pt x="52" y="6"/>
                    </a:lnTo>
                    <a:lnTo>
                      <a:pt x="52" y="10"/>
                    </a:lnTo>
                    <a:lnTo>
                      <a:pt x="56" y="6"/>
                    </a:lnTo>
                    <a:lnTo>
                      <a:pt x="56" y="10"/>
                    </a:lnTo>
                    <a:lnTo>
                      <a:pt x="56" y="6"/>
                    </a:lnTo>
                    <a:lnTo>
                      <a:pt x="58" y="6"/>
                    </a:lnTo>
                    <a:lnTo>
                      <a:pt x="58" y="4"/>
                    </a:lnTo>
                    <a:lnTo>
                      <a:pt x="56" y="4"/>
                    </a:lnTo>
                    <a:lnTo>
                      <a:pt x="56" y="0"/>
                    </a:lnTo>
                    <a:lnTo>
                      <a:pt x="58" y="0"/>
                    </a:lnTo>
                    <a:lnTo>
                      <a:pt x="58" y="4"/>
                    </a:lnTo>
                    <a:lnTo>
                      <a:pt x="62" y="4"/>
                    </a:lnTo>
                    <a:lnTo>
                      <a:pt x="66" y="4"/>
                    </a:lnTo>
                    <a:lnTo>
                      <a:pt x="70" y="6"/>
                    </a:lnTo>
                    <a:lnTo>
                      <a:pt x="74" y="4"/>
                    </a:lnTo>
                    <a:lnTo>
                      <a:pt x="74" y="6"/>
                    </a:lnTo>
                    <a:lnTo>
                      <a:pt x="78" y="6"/>
                    </a:lnTo>
                    <a:lnTo>
                      <a:pt x="78" y="4"/>
                    </a:lnTo>
                    <a:lnTo>
                      <a:pt x="82" y="6"/>
                    </a:lnTo>
                    <a:lnTo>
                      <a:pt x="86" y="10"/>
                    </a:lnTo>
                    <a:lnTo>
                      <a:pt x="86" y="14"/>
                    </a:lnTo>
                    <a:lnTo>
                      <a:pt x="86" y="18"/>
                    </a:lnTo>
                    <a:lnTo>
                      <a:pt x="88" y="18"/>
                    </a:lnTo>
                    <a:lnTo>
                      <a:pt x="88" y="22"/>
                    </a:lnTo>
                    <a:lnTo>
                      <a:pt x="92" y="22"/>
                    </a:lnTo>
                    <a:lnTo>
                      <a:pt x="96" y="22"/>
                    </a:lnTo>
                    <a:lnTo>
                      <a:pt x="100" y="22"/>
                    </a:lnTo>
                    <a:lnTo>
                      <a:pt x="104" y="22"/>
                    </a:lnTo>
                    <a:lnTo>
                      <a:pt x="104" y="26"/>
                    </a:lnTo>
                    <a:lnTo>
                      <a:pt x="100" y="30"/>
                    </a:lnTo>
                    <a:lnTo>
                      <a:pt x="104" y="30"/>
                    </a:lnTo>
                    <a:lnTo>
                      <a:pt x="104" y="34"/>
                    </a:lnTo>
                    <a:lnTo>
                      <a:pt x="108" y="34"/>
                    </a:lnTo>
                    <a:lnTo>
                      <a:pt x="108" y="38"/>
                    </a:lnTo>
                    <a:lnTo>
                      <a:pt x="104" y="38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8" y="52"/>
                    </a:lnTo>
                    <a:close/>
                    <a:moveTo>
                      <a:pt x="52" y="18"/>
                    </a:moveTo>
                    <a:lnTo>
                      <a:pt x="48" y="18"/>
                    </a:lnTo>
                    <a:lnTo>
                      <a:pt x="44" y="22"/>
                    </a:lnTo>
                    <a:lnTo>
                      <a:pt x="42" y="22"/>
                    </a:lnTo>
                    <a:lnTo>
                      <a:pt x="42" y="26"/>
                    </a:lnTo>
                    <a:lnTo>
                      <a:pt x="44" y="26"/>
                    </a:lnTo>
                    <a:lnTo>
                      <a:pt x="44" y="22"/>
                    </a:lnTo>
                    <a:lnTo>
                      <a:pt x="48" y="22"/>
                    </a:lnTo>
                    <a:lnTo>
                      <a:pt x="52" y="22"/>
                    </a:lnTo>
                    <a:lnTo>
                      <a:pt x="52" y="18"/>
                    </a:lnTo>
                    <a:lnTo>
                      <a:pt x="52" y="18"/>
                    </a:lnTo>
                    <a:lnTo>
                      <a:pt x="52" y="18"/>
                    </a:lnTo>
                    <a:close/>
                    <a:moveTo>
                      <a:pt x="52" y="38"/>
                    </a:moveTo>
                    <a:lnTo>
                      <a:pt x="52" y="40"/>
                    </a:lnTo>
                    <a:lnTo>
                      <a:pt x="52" y="38"/>
                    </a:lnTo>
                    <a:lnTo>
                      <a:pt x="56" y="38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6" y="38"/>
                    </a:lnTo>
                    <a:lnTo>
                      <a:pt x="58" y="38"/>
                    </a:lnTo>
                    <a:lnTo>
                      <a:pt x="58" y="34"/>
                    </a:lnTo>
                    <a:lnTo>
                      <a:pt x="62" y="34"/>
                    </a:lnTo>
                    <a:lnTo>
                      <a:pt x="58" y="34"/>
                    </a:lnTo>
                    <a:lnTo>
                      <a:pt x="56" y="34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52" y="38"/>
                    </a:lnTo>
                    <a:lnTo>
                      <a:pt x="52" y="3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3" name="Freeform 223">
                <a:extLst>
                  <a:ext uri="{FF2B5EF4-FFF2-40B4-BE49-F238E27FC236}">
                    <a16:creationId xmlns:a16="http://schemas.microsoft.com/office/drawing/2014/main" id="{F72F8389-D13D-4981-B9C7-682061024D7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16175" y="3235393"/>
                <a:ext cx="73025" cy="142875"/>
              </a:xfrm>
              <a:custGeom>
                <a:avLst/>
                <a:gdLst>
                  <a:gd name="T0" fmla="*/ 46 w 46"/>
                  <a:gd name="T1" fmla="*/ 8 h 90"/>
                  <a:gd name="T2" fmla="*/ 46 w 46"/>
                  <a:gd name="T3" fmla="*/ 8 h 90"/>
                  <a:gd name="T4" fmla="*/ 42 w 46"/>
                  <a:gd name="T5" fmla="*/ 12 h 90"/>
                  <a:gd name="T6" fmla="*/ 42 w 46"/>
                  <a:gd name="T7" fmla="*/ 16 h 90"/>
                  <a:gd name="T8" fmla="*/ 46 w 46"/>
                  <a:gd name="T9" fmla="*/ 16 h 90"/>
                  <a:gd name="T10" fmla="*/ 42 w 46"/>
                  <a:gd name="T11" fmla="*/ 16 h 90"/>
                  <a:gd name="T12" fmla="*/ 38 w 46"/>
                  <a:gd name="T13" fmla="*/ 20 h 90"/>
                  <a:gd name="T14" fmla="*/ 34 w 46"/>
                  <a:gd name="T15" fmla="*/ 28 h 90"/>
                  <a:gd name="T16" fmla="*/ 34 w 46"/>
                  <a:gd name="T17" fmla="*/ 28 h 90"/>
                  <a:gd name="T18" fmla="*/ 38 w 46"/>
                  <a:gd name="T19" fmla="*/ 24 h 90"/>
                  <a:gd name="T20" fmla="*/ 34 w 46"/>
                  <a:gd name="T21" fmla="*/ 28 h 90"/>
                  <a:gd name="T22" fmla="*/ 34 w 46"/>
                  <a:gd name="T23" fmla="*/ 24 h 90"/>
                  <a:gd name="T24" fmla="*/ 34 w 46"/>
                  <a:gd name="T25" fmla="*/ 20 h 90"/>
                  <a:gd name="T26" fmla="*/ 34 w 46"/>
                  <a:gd name="T27" fmla="*/ 24 h 90"/>
                  <a:gd name="T28" fmla="*/ 30 w 46"/>
                  <a:gd name="T29" fmla="*/ 24 h 90"/>
                  <a:gd name="T30" fmla="*/ 26 w 46"/>
                  <a:gd name="T31" fmla="*/ 28 h 90"/>
                  <a:gd name="T32" fmla="*/ 26 w 46"/>
                  <a:gd name="T33" fmla="*/ 30 h 90"/>
                  <a:gd name="T34" fmla="*/ 24 w 46"/>
                  <a:gd name="T35" fmla="*/ 42 h 90"/>
                  <a:gd name="T36" fmla="*/ 24 w 46"/>
                  <a:gd name="T37" fmla="*/ 50 h 90"/>
                  <a:gd name="T38" fmla="*/ 24 w 46"/>
                  <a:gd name="T39" fmla="*/ 50 h 90"/>
                  <a:gd name="T40" fmla="*/ 26 w 46"/>
                  <a:gd name="T41" fmla="*/ 64 h 90"/>
                  <a:gd name="T42" fmla="*/ 26 w 46"/>
                  <a:gd name="T43" fmla="*/ 76 h 90"/>
                  <a:gd name="T44" fmla="*/ 20 w 46"/>
                  <a:gd name="T45" fmla="*/ 82 h 90"/>
                  <a:gd name="T46" fmla="*/ 12 w 46"/>
                  <a:gd name="T47" fmla="*/ 90 h 90"/>
                  <a:gd name="T48" fmla="*/ 8 w 46"/>
                  <a:gd name="T49" fmla="*/ 90 h 90"/>
                  <a:gd name="T50" fmla="*/ 4 w 46"/>
                  <a:gd name="T51" fmla="*/ 82 h 90"/>
                  <a:gd name="T52" fmla="*/ 4 w 46"/>
                  <a:gd name="T53" fmla="*/ 76 h 90"/>
                  <a:gd name="T54" fmla="*/ 4 w 46"/>
                  <a:gd name="T55" fmla="*/ 68 h 90"/>
                  <a:gd name="T56" fmla="*/ 4 w 46"/>
                  <a:gd name="T57" fmla="*/ 62 h 90"/>
                  <a:gd name="T58" fmla="*/ 4 w 46"/>
                  <a:gd name="T59" fmla="*/ 58 h 90"/>
                  <a:gd name="T60" fmla="*/ 4 w 46"/>
                  <a:gd name="T61" fmla="*/ 54 h 90"/>
                  <a:gd name="T62" fmla="*/ 4 w 46"/>
                  <a:gd name="T63" fmla="*/ 46 h 90"/>
                  <a:gd name="T64" fmla="*/ 8 w 46"/>
                  <a:gd name="T65" fmla="*/ 42 h 90"/>
                  <a:gd name="T66" fmla="*/ 8 w 46"/>
                  <a:gd name="T67" fmla="*/ 38 h 90"/>
                  <a:gd name="T68" fmla="*/ 8 w 46"/>
                  <a:gd name="T69" fmla="*/ 34 h 90"/>
                  <a:gd name="T70" fmla="*/ 8 w 46"/>
                  <a:gd name="T71" fmla="*/ 30 h 90"/>
                  <a:gd name="T72" fmla="*/ 4 w 46"/>
                  <a:gd name="T73" fmla="*/ 28 h 90"/>
                  <a:gd name="T74" fmla="*/ 0 w 46"/>
                  <a:gd name="T75" fmla="*/ 34 h 90"/>
                  <a:gd name="T76" fmla="*/ 4 w 46"/>
                  <a:gd name="T77" fmla="*/ 24 h 90"/>
                  <a:gd name="T78" fmla="*/ 4 w 46"/>
                  <a:gd name="T79" fmla="*/ 24 h 90"/>
                  <a:gd name="T80" fmla="*/ 12 w 46"/>
                  <a:gd name="T81" fmla="*/ 16 h 90"/>
                  <a:gd name="T82" fmla="*/ 16 w 46"/>
                  <a:gd name="T83" fmla="*/ 4 h 90"/>
                  <a:gd name="T84" fmla="*/ 16 w 46"/>
                  <a:gd name="T85" fmla="*/ 8 h 90"/>
                  <a:gd name="T86" fmla="*/ 24 w 46"/>
                  <a:gd name="T87" fmla="*/ 4 h 90"/>
                  <a:gd name="T88" fmla="*/ 20 w 46"/>
                  <a:gd name="T89" fmla="*/ 8 h 90"/>
                  <a:gd name="T90" fmla="*/ 20 w 46"/>
                  <a:gd name="T91" fmla="*/ 12 h 90"/>
                  <a:gd name="T92" fmla="*/ 20 w 46"/>
                  <a:gd name="T93" fmla="*/ 8 h 90"/>
                  <a:gd name="T94" fmla="*/ 24 w 46"/>
                  <a:gd name="T95" fmla="*/ 4 h 90"/>
                  <a:gd name="T96" fmla="*/ 34 w 46"/>
                  <a:gd name="T97" fmla="*/ 4 h 90"/>
                  <a:gd name="T98" fmla="*/ 34 w 46"/>
                  <a:gd name="T99" fmla="*/ 0 h 90"/>
                  <a:gd name="T100" fmla="*/ 42 w 46"/>
                  <a:gd name="T101" fmla="*/ 4 h 90"/>
                  <a:gd name="T102" fmla="*/ 46 w 46"/>
                  <a:gd name="T103" fmla="*/ 8 h 90"/>
                  <a:gd name="T104" fmla="*/ 12 w 46"/>
                  <a:gd name="T105" fmla="*/ 20 h 90"/>
                  <a:gd name="T106" fmla="*/ 8 w 46"/>
                  <a:gd name="T107" fmla="*/ 24 h 90"/>
                  <a:gd name="T108" fmla="*/ 12 w 46"/>
                  <a:gd name="T109" fmla="*/ 28 h 90"/>
                  <a:gd name="T110" fmla="*/ 12 w 46"/>
                  <a:gd name="T111" fmla="*/ 24 h 90"/>
                  <a:gd name="T112" fmla="*/ 16 w 46"/>
                  <a:gd name="T113" fmla="*/ 2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</a:cxnLst>
                <a:rect l="0" t="0" r="r" b="b"/>
                <a:pathLst>
                  <a:path w="46" h="90">
                    <a:moveTo>
                      <a:pt x="46" y="8"/>
                    </a:move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8" y="16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0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8" y="28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8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28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0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4"/>
                    </a:lnTo>
                    <a:lnTo>
                      <a:pt x="26" y="38"/>
                    </a:lnTo>
                    <a:lnTo>
                      <a:pt x="24" y="38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4" y="46"/>
                    </a:lnTo>
                    <a:lnTo>
                      <a:pt x="24" y="46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0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58"/>
                    </a:lnTo>
                    <a:lnTo>
                      <a:pt x="24" y="62"/>
                    </a:lnTo>
                    <a:lnTo>
                      <a:pt x="26" y="64"/>
                    </a:lnTo>
                    <a:lnTo>
                      <a:pt x="26" y="64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68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2"/>
                    </a:lnTo>
                    <a:lnTo>
                      <a:pt x="26" y="76"/>
                    </a:lnTo>
                    <a:lnTo>
                      <a:pt x="26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8"/>
                    </a:lnTo>
                    <a:lnTo>
                      <a:pt x="24" y="78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2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20" y="86"/>
                    </a:lnTo>
                    <a:lnTo>
                      <a:pt x="16" y="90"/>
                    </a:lnTo>
                    <a:lnTo>
                      <a:pt x="16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12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90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8" y="86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82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8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4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62"/>
                    </a:lnTo>
                    <a:lnTo>
                      <a:pt x="0" y="58"/>
                    </a:lnTo>
                    <a:lnTo>
                      <a:pt x="0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8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4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50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6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4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42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8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4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8" y="30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4" y="30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30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26" y="4"/>
                    </a:lnTo>
                    <a:lnTo>
                      <a:pt x="30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4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4" y="0"/>
                    </a:lnTo>
                    <a:lnTo>
                      <a:pt x="38" y="0"/>
                    </a:lnTo>
                    <a:lnTo>
                      <a:pt x="38" y="0"/>
                    </a:lnTo>
                    <a:lnTo>
                      <a:pt x="42" y="0"/>
                    </a:lnTo>
                    <a:lnTo>
                      <a:pt x="42" y="0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8"/>
                    </a:lnTo>
                    <a:lnTo>
                      <a:pt x="46" y="8"/>
                    </a:lnTo>
                    <a:lnTo>
                      <a:pt x="46" y="8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4" name="Freeform 224">
                <a:extLst>
                  <a:ext uri="{FF2B5EF4-FFF2-40B4-BE49-F238E27FC236}">
                    <a16:creationId xmlns:a16="http://schemas.microsoft.com/office/drawing/2014/main" id="{B22CFE67-9014-4FEC-86D2-AF1EEA58DB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00325" y="3289368"/>
                <a:ext cx="88900" cy="44450"/>
              </a:xfrm>
              <a:custGeom>
                <a:avLst/>
                <a:gdLst>
                  <a:gd name="T0" fmla="*/ 8 w 56"/>
                  <a:gd name="T1" fmla="*/ 28 h 28"/>
                  <a:gd name="T2" fmla="*/ 4 w 56"/>
                  <a:gd name="T3" fmla="*/ 24 h 28"/>
                  <a:gd name="T4" fmla="*/ 0 w 56"/>
                  <a:gd name="T5" fmla="*/ 24 h 28"/>
                  <a:gd name="T6" fmla="*/ 4 w 56"/>
                  <a:gd name="T7" fmla="*/ 20 h 28"/>
                  <a:gd name="T8" fmla="*/ 4 w 56"/>
                  <a:gd name="T9" fmla="*/ 20 h 28"/>
                  <a:gd name="T10" fmla="*/ 8 w 56"/>
                  <a:gd name="T11" fmla="*/ 16 h 28"/>
                  <a:gd name="T12" fmla="*/ 12 w 56"/>
                  <a:gd name="T13" fmla="*/ 12 h 28"/>
                  <a:gd name="T14" fmla="*/ 24 w 56"/>
                  <a:gd name="T15" fmla="*/ 12 h 28"/>
                  <a:gd name="T16" fmla="*/ 30 w 56"/>
                  <a:gd name="T17" fmla="*/ 8 h 28"/>
                  <a:gd name="T18" fmla="*/ 34 w 56"/>
                  <a:gd name="T19" fmla="*/ 8 h 28"/>
                  <a:gd name="T20" fmla="*/ 34 w 56"/>
                  <a:gd name="T21" fmla="*/ 12 h 28"/>
                  <a:gd name="T22" fmla="*/ 38 w 56"/>
                  <a:gd name="T23" fmla="*/ 12 h 28"/>
                  <a:gd name="T24" fmla="*/ 38 w 56"/>
                  <a:gd name="T25" fmla="*/ 12 h 28"/>
                  <a:gd name="T26" fmla="*/ 42 w 56"/>
                  <a:gd name="T27" fmla="*/ 12 h 28"/>
                  <a:gd name="T28" fmla="*/ 42 w 56"/>
                  <a:gd name="T29" fmla="*/ 12 h 28"/>
                  <a:gd name="T30" fmla="*/ 42 w 56"/>
                  <a:gd name="T31" fmla="*/ 12 h 28"/>
                  <a:gd name="T32" fmla="*/ 42 w 56"/>
                  <a:gd name="T33" fmla="*/ 12 h 28"/>
                  <a:gd name="T34" fmla="*/ 42 w 56"/>
                  <a:gd name="T35" fmla="*/ 8 h 28"/>
                  <a:gd name="T36" fmla="*/ 42 w 56"/>
                  <a:gd name="T37" fmla="*/ 8 h 28"/>
                  <a:gd name="T38" fmla="*/ 42 w 56"/>
                  <a:gd name="T39" fmla="*/ 8 h 28"/>
                  <a:gd name="T40" fmla="*/ 42 w 56"/>
                  <a:gd name="T41" fmla="*/ 8 h 28"/>
                  <a:gd name="T42" fmla="*/ 42 w 56"/>
                  <a:gd name="T43" fmla="*/ 4 h 28"/>
                  <a:gd name="T44" fmla="*/ 34 w 56"/>
                  <a:gd name="T45" fmla="*/ 8 h 28"/>
                  <a:gd name="T46" fmla="*/ 38 w 56"/>
                  <a:gd name="T47" fmla="*/ 4 h 28"/>
                  <a:gd name="T48" fmla="*/ 42 w 56"/>
                  <a:gd name="T49" fmla="*/ 4 h 28"/>
                  <a:gd name="T50" fmla="*/ 42 w 56"/>
                  <a:gd name="T51" fmla="*/ 8 h 28"/>
                  <a:gd name="T52" fmla="*/ 42 w 56"/>
                  <a:gd name="T53" fmla="*/ 8 h 28"/>
                  <a:gd name="T54" fmla="*/ 42 w 56"/>
                  <a:gd name="T55" fmla="*/ 8 h 28"/>
                  <a:gd name="T56" fmla="*/ 46 w 56"/>
                  <a:gd name="T57" fmla="*/ 4 h 28"/>
                  <a:gd name="T58" fmla="*/ 46 w 56"/>
                  <a:gd name="T59" fmla="*/ 4 h 28"/>
                  <a:gd name="T60" fmla="*/ 52 w 56"/>
                  <a:gd name="T61" fmla="*/ 4 h 28"/>
                  <a:gd name="T62" fmla="*/ 56 w 56"/>
                  <a:gd name="T63" fmla="*/ 0 h 28"/>
                  <a:gd name="T64" fmla="*/ 56 w 56"/>
                  <a:gd name="T65" fmla="*/ 0 h 28"/>
                  <a:gd name="T66" fmla="*/ 56 w 56"/>
                  <a:gd name="T67" fmla="*/ 0 h 28"/>
                  <a:gd name="T68" fmla="*/ 52 w 56"/>
                  <a:gd name="T69" fmla="*/ 4 h 28"/>
                  <a:gd name="T70" fmla="*/ 48 w 56"/>
                  <a:gd name="T71" fmla="*/ 8 h 28"/>
                  <a:gd name="T72" fmla="*/ 48 w 56"/>
                  <a:gd name="T73" fmla="*/ 8 h 28"/>
                  <a:gd name="T74" fmla="*/ 52 w 56"/>
                  <a:gd name="T75" fmla="*/ 8 h 28"/>
                  <a:gd name="T76" fmla="*/ 52 w 56"/>
                  <a:gd name="T77" fmla="*/ 8 h 28"/>
                  <a:gd name="T78" fmla="*/ 52 w 56"/>
                  <a:gd name="T79" fmla="*/ 8 h 28"/>
                  <a:gd name="T80" fmla="*/ 52 w 56"/>
                  <a:gd name="T81" fmla="*/ 12 h 28"/>
                  <a:gd name="T82" fmla="*/ 52 w 56"/>
                  <a:gd name="T83" fmla="*/ 20 h 28"/>
                  <a:gd name="T84" fmla="*/ 48 w 56"/>
                  <a:gd name="T85" fmla="*/ 20 h 28"/>
                  <a:gd name="T86" fmla="*/ 48 w 56"/>
                  <a:gd name="T87" fmla="*/ 20 h 28"/>
                  <a:gd name="T88" fmla="*/ 46 w 56"/>
                  <a:gd name="T89" fmla="*/ 24 h 28"/>
                  <a:gd name="T90" fmla="*/ 38 w 56"/>
                  <a:gd name="T91" fmla="*/ 24 h 28"/>
                  <a:gd name="T92" fmla="*/ 34 w 56"/>
                  <a:gd name="T93" fmla="*/ 24 h 28"/>
                  <a:gd name="T94" fmla="*/ 30 w 56"/>
                  <a:gd name="T95" fmla="*/ 24 h 28"/>
                  <a:gd name="T96" fmla="*/ 26 w 56"/>
                  <a:gd name="T97" fmla="*/ 24 h 28"/>
                  <a:gd name="T98" fmla="*/ 20 w 56"/>
                  <a:gd name="T99" fmla="*/ 24 h 28"/>
                  <a:gd name="T100" fmla="*/ 12 w 56"/>
                  <a:gd name="T101" fmla="*/ 24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</a:cxnLst>
                <a:rect l="0" t="0" r="r" b="b"/>
                <a:pathLst>
                  <a:path w="56" h="28">
                    <a:moveTo>
                      <a:pt x="12" y="24"/>
                    </a:move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30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4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38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12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42" y="8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8" y="4"/>
                    </a:lnTo>
                    <a:lnTo>
                      <a:pt x="38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4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2" y="8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6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6" y="20"/>
                    </a:lnTo>
                    <a:lnTo>
                      <a:pt x="46" y="20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6" y="24"/>
                    </a:lnTo>
                    <a:lnTo>
                      <a:pt x="42" y="24"/>
                    </a:lnTo>
                    <a:lnTo>
                      <a:pt x="42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8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4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6" y="24"/>
                    </a:lnTo>
                    <a:lnTo>
                      <a:pt x="26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5" name="Freeform 225">
                <a:extLst>
                  <a:ext uri="{FF2B5EF4-FFF2-40B4-BE49-F238E27FC236}">
                    <a16:creationId xmlns:a16="http://schemas.microsoft.com/office/drawing/2014/main" id="{C0ADE45A-446E-4A03-9540-29CE5CA315D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89200" y="3225868"/>
                <a:ext cx="117475" cy="114300"/>
              </a:xfrm>
              <a:custGeom>
                <a:avLst/>
                <a:gdLst>
                  <a:gd name="T0" fmla="*/ 34 w 74"/>
                  <a:gd name="T1" fmla="*/ 64 h 72"/>
                  <a:gd name="T2" fmla="*/ 30 w 74"/>
                  <a:gd name="T3" fmla="*/ 56 h 72"/>
                  <a:gd name="T4" fmla="*/ 26 w 74"/>
                  <a:gd name="T5" fmla="*/ 48 h 72"/>
                  <a:gd name="T6" fmla="*/ 18 w 74"/>
                  <a:gd name="T7" fmla="*/ 56 h 72"/>
                  <a:gd name="T8" fmla="*/ 10 w 74"/>
                  <a:gd name="T9" fmla="*/ 56 h 72"/>
                  <a:gd name="T10" fmla="*/ 14 w 74"/>
                  <a:gd name="T11" fmla="*/ 48 h 72"/>
                  <a:gd name="T12" fmla="*/ 22 w 74"/>
                  <a:gd name="T13" fmla="*/ 46 h 72"/>
                  <a:gd name="T14" fmla="*/ 22 w 74"/>
                  <a:gd name="T15" fmla="*/ 34 h 72"/>
                  <a:gd name="T16" fmla="*/ 22 w 74"/>
                  <a:gd name="T17" fmla="*/ 26 h 72"/>
                  <a:gd name="T18" fmla="*/ 18 w 74"/>
                  <a:gd name="T19" fmla="*/ 22 h 72"/>
                  <a:gd name="T20" fmla="*/ 10 w 74"/>
                  <a:gd name="T21" fmla="*/ 18 h 72"/>
                  <a:gd name="T22" fmla="*/ 8 w 74"/>
                  <a:gd name="T23" fmla="*/ 18 h 72"/>
                  <a:gd name="T24" fmla="*/ 0 w 74"/>
                  <a:gd name="T25" fmla="*/ 16 h 72"/>
                  <a:gd name="T26" fmla="*/ 4 w 74"/>
                  <a:gd name="T27" fmla="*/ 12 h 72"/>
                  <a:gd name="T28" fmla="*/ 14 w 74"/>
                  <a:gd name="T29" fmla="*/ 12 h 72"/>
                  <a:gd name="T30" fmla="*/ 10 w 74"/>
                  <a:gd name="T31" fmla="*/ 8 h 72"/>
                  <a:gd name="T32" fmla="*/ 8 w 74"/>
                  <a:gd name="T33" fmla="*/ 0 h 72"/>
                  <a:gd name="T34" fmla="*/ 10 w 74"/>
                  <a:gd name="T35" fmla="*/ 0 h 72"/>
                  <a:gd name="T36" fmla="*/ 18 w 74"/>
                  <a:gd name="T37" fmla="*/ 4 h 72"/>
                  <a:gd name="T38" fmla="*/ 30 w 74"/>
                  <a:gd name="T39" fmla="*/ 8 h 72"/>
                  <a:gd name="T40" fmla="*/ 34 w 74"/>
                  <a:gd name="T41" fmla="*/ 8 h 72"/>
                  <a:gd name="T42" fmla="*/ 44 w 74"/>
                  <a:gd name="T43" fmla="*/ 8 h 72"/>
                  <a:gd name="T44" fmla="*/ 44 w 74"/>
                  <a:gd name="T45" fmla="*/ 12 h 72"/>
                  <a:gd name="T46" fmla="*/ 56 w 74"/>
                  <a:gd name="T47" fmla="*/ 12 h 72"/>
                  <a:gd name="T48" fmla="*/ 60 w 74"/>
                  <a:gd name="T49" fmla="*/ 18 h 72"/>
                  <a:gd name="T50" fmla="*/ 68 w 74"/>
                  <a:gd name="T51" fmla="*/ 22 h 72"/>
                  <a:gd name="T52" fmla="*/ 70 w 74"/>
                  <a:gd name="T53" fmla="*/ 30 h 72"/>
                  <a:gd name="T54" fmla="*/ 70 w 74"/>
                  <a:gd name="T55" fmla="*/ 34 h 72"/>
                  <a:gd name="T56" fmla="*/ 68 w 74"/>
                  <a:gd name="T57" fmla="*/ 42 h 72"/>
                  <a:gd name="T58" fmla="*/ 60 w 74"/>
                  <a:gd name="T59" fmla="*/ 38 h 72"/>
                  <a:gd name="T60" fmla="*/ 56 w 74"/>
                  <a:gd name="T61" fmla="*/ 30 h 72"/>
                  <a:gd name="T62" fmla="*/ 44 w 74"/>
                  <a:gd name="T63" fmla="*/ 26 h 72"/>
                  <a:gd name="T64" fmla="*/ 52 w 74"/>
                  <a:gd name="T65" fmla="*/ 38 h 72"/>
                  <a:gd name="T66" fmla="*/ 44 w 74"/>
                  <a:gd name="T67" fmla="*/ 48 h 72"/>
                  <a:gd name="T68" fmla="*/ 44 w 74"/>
                  <a:gd name="T69" fmla="*/ 60 h 72"/>
                  <a:gd name="T70" fmla="*/ 40 w 74"/>
                  <a:gd name="T71" fmla="*/ 68 h 72"/>
                  <a:gd name="T72" fmla="*/ 34 w 74"/>
                  <a:gd name="T73" fmla="*/ 72 h 72"/>
                  <a:gd name="T74" fmla="*/ 22 w 74"/>
                  <a:gd name="T75" fmla="*/ 12 h 72"/>
                  <a:gd name="T76" fmla="*/ 30 w 74"/>
                  <a:gd name="T77" fmla="*/ 16 h 72"/>
                  <a:gd name="T78" fmla="*/ 38 w 74"/>
                  <a:gd name="T79" fmla="*/ 18 h 72"/>
                  <a:gd name="T80" fmla="*/ 44 w 74"/>
                  <a:gd name="T81" fmla="*/ 16 h 72"/>
                  <a:gd name="T82" fmla="*/ 44 w 74"/>
                  <a:gd name="T83" fmla="*/ 16 h 72"/>
                  <a:gd name="T84" fmla="*/ 38 w 74"/>
                  <a:gd name="T85" fmla="*/ 12 h 72"/>
                  <a:gd name="T86" fmla="*/ 30 w 74"/>
                  <a:gd name="T87" fmla="*/ 12 h 72"/>
                  <a:gd name="T88" fmla="*/ 26 w 74"/>
                  <a:gd name="T89" fmla="*/ 12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74" h="72">
                    <a:moveTo>
                      <a:pt x="34" y="72"/>
                    </a:moveTo>
                    <a:lnTo>
                      <a:pt x="34" y="68"/>
                    </a:lnTo>
                    <a:lnTo>
                      <a:pt x="34" y="64"/>
                    </a:lnTo>
                    <a:lnTo>
                      <a:pt x="34" y="60"/>
                    </a:lnTo>
                    <a:lnTo>
                      <a:pt x="34" y="56"/>
                    </a:lnTo>
                    <a:lnTo>
                      <a:pt x="30" y="56"/>
                    </a:lnTo>
                    <a:lnTo>
                      <a:pt x="30" y="52"/>
                    </a:lnTo>
                    <a:lnTo>
                      <a:pt x="30" y="48"/>
                    </a:lnTo>
                    <a:lnTo>
                      <a:pt x="26" y="48"/>
                    </a:lnTo>
                    <a:lnTo>
                      <a:pt x="22" y="48"/>
                    </a:lnTo>
                    <a:lnTo>
                      <a:pt x="22" y="52"/>
                    </a:lnTo>
                    <a:lnTo>
                      <a:pt x="18" y="56"/>
                    </a:lnTo>
                    <a:lnTo>
                      <a:pt x="14" y="60"/>
                    </a:lnTo>
                    <a:lnTo>
                      <a:pt x="14" y="56"/>
                    </a:lnTo>
                    <a:lnTo>
                      <a:pt x="10" y="56"/>
                    </a:lnTo>
                    <a:lnTo>
                      <a:pt x="10" y="52"/>
                    </a:lnTo>
                    <a:lnTo>
                      <a:pt x="14" y="52"/>
                    </a:lnTo>
                    <a:lnTo>
                      <a:pt x="14" y="48"/>
                    </a:lnTo>
                    <a:lnTo>
                      <a:pt x="18" y="48"/>
                    </a:lnTo>
                    <a:lnTo>
                      <a:pt x="18" y="46"/>
                    </a:lnTo>
                    <a:lnTo>
                      <a:pt x="22" y="46"/>
                    </a:lnTo>
                    <a:lnTo>
                      <a:pt x="22" y="42"/>
                    </a:lnTo>
                    <a:lnTo>
                      <a:pt x="22" y="38"/>
                    </a:lnTo>
                    <a:lnTo>
                      <a:pt x="22" y="34"/>
                    </a:lnTo>
                    <a:lnTo>
                      <a:pt x="18" y="30"/>
                    </a:lnTo>
                    <a:lnTo>
                      <a:pt x="22" y="30"/>
                    </a:lnTo>
                    <a:lnTo>
                      <a:pt x="22" y="26"/>
                    </a:lnTo>
                    <a:lnTo>
                      <a:pt x="18" y="26"/>
                    </a:lnTo>
                    <a:lnTo>
                      <a:pt x="22" y="26"/>
                    </a:lnTo>
                    <a:lnTo>
                      <a:pt x="18" y="22"/>
                    </a:lnTo>
                    <a:lnTo>
                      <a:pt x="14" y="22"/>
                    </a:lnTo>
                    <a:lnTo>
                      <a:pt x="14" y="18"/>
                    </a:lnTo>
                    <a:lnTo>
                      <a:pt x="10" y="18"/>
                    </a:lnTo>
                    <a:lnTo>
                      <a:pt x="8" y="18"/>
                    </a:lnTo>
                    <a:lnTo>
                      <a:pt x="8" y="16"/>
                    </a:lnTo>
                    <a:lnTo>
                      <a:pt x="8" y="18"/>
                    </a:lnTo>
                    <a:lnTo>
                      <a:pt x="4" y="18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10" y="12"/>
                    </a:lnTo>
                    <a:lnTo>
                      <a:pt x="14" y="12"/>
                    </a:lnTo>
                    <a:lnTo>
                      <a:pt x="10" y="8"/>
                    </a:lnTo>
                    <a:lnTo>
                      <a:pt x="10" y="12"/>
                    </a:lnTo>
                    <a:lnTo>
                      <a:pt x="10" y="8"/>
                    </a:lnTo>
                    <a:lnTo>
                      <a:pt x="10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0" y="0"/>
                    </a:lnTo>
                    <a:lnTo>
                      <a:pt x="10" y="4"/>
                    </a:lnTo>
                    <a:lnTo>
                      <a:pt x="14" y="4"/>
                    </a:lnTo>
                    <a:lnTo>
                      <a:pt x="18" y="4"/>
                    </a:lnTo>
                    <a:lnTo>
                      <a:pt x="22" y="8"/>
                    </a:lnTo>
                    <a:lnTo>
                      <a:pt x="26" y="8"/>
                    </a:lnTo>
                    <a:lnTo>
                      <a:pt x="30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34" y="8"/>
                    </a:lnTo>
                    <a:lnTo>
                      <a:pt x="38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6"/>
                    </a:lnTo>
                    <a:lnTo>
                      <a:pt x="60" y="18"/>
                    </a:lnTo>
                    <a:lnTo>
                      <a:pt x="64" y="18"/>
                    </a:lnTo>
                    <a:lnTo>
                      <a:pt x="64" y="22"/>
                    </a:lnTo>
                    <a:lnTo>
                      <a:pt x="68" y="22"/>
                    </a:lnTo>
                    <a:lnTo>
                      <a:pt x="68" y="26"/>
                    </a:lnTo>
                    <a:lnTo>
                      <a:pt x="68" y="30"/>
                    </a:lnTo>
                    <a:lnTo>
                      <a:pt x="70" y="30"/>
                    </a:lnTo>
                    <a:lnTo>
                      <a:pt x="70" y="34"/>
                    </a:lnTo>
                    <a:lnTo>
                      <a:pt x="74" y="34"/>
                    </a:lnTo>
                    <a:lnTo>
                      <a:pt x="70" y="34"/>
                    </a:lnTo>
                    <a:lnTo>
                      <a:pt x="68" y="34"/>
                    </a:lnTo>
                    <a:lnTo>
                      <a:pt x="68" y="38"/>
                    </a:lnTo>
                    <a:lnTo>
                      <a:pt x="68" y="42"/>
                    </a:lnTo>
                    <a:lnTo>
                      <a:pt x="64" y="42"/>
                    </a:lnTo>
                    <a:lnTo>
                      <a:pt x="64" y="38"/>
                    </a:lnTo>
                    <a:lnTo>
                      <a:pt x="60" y="38"/>
                    </a:lnTo>
                    <a:lnTo>
                      <a:pt x="56" y="38"/>
                    </a:lnTo>
                    <a:lnTo>
                      <a:pt x="56" y="34"/>
                    </a:lnTo>
                    <a:lnTo>
                      <a:pt x="56" y="30"/>
                    </a:lnTo>
                    <a:lnTo>
                      <a:pt x="52" y="30"/>
                    </a:lnTo>
                    <a:lnTo>
                      <a:pt x="48" y="26"/>
                    </a:lnTo>
                    <a:lnTo>
                      <a:pt x="44" y="26"/>
                    </a:lnTo>
                    <a:lnTo>
                      <a:pt x="48" y="30"/>
                    </a:lnTo>
                    <a:lnTo>
                      <a:pt x="52" y="34"/>
                    </a:lnTo>
                    <a:lnTo>
                      <a:pt x="52" y="38"/>
                    </a:lnTo>
                    <a:lnTo>
                      <a:pt x="48" y="42"/>
                    </a:lnTo>
                    <a:lnTo>
                      <a:pt x="44" y="46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8" y="68"/>
                    </a:lnTo>
                    <a:lnTo>
                      <a:pt x="34" y="72"/>
                    </a:lnTo>
                    <a:lnTo>
                      <a:pt x="34" y="72"/>
                    </a:lnTo>
                    <a:lnTo>
                      <a:pt x="34" y="72"/>
                    </a:lnTo>
                    <a:close/>
                    <a:moveTo>
                      <a:pt x="26" y="12"/>
                    </a:moveTo>
                    <a:lnTo>
                      <a:pt x="22" y="12"/>
                    </a:lnTo>
                    <a:lnTo>
                      <a:pt x="26" y="12"/>
                    </a:lnTo>
                    <a:lnTo>
                      <a:pt x="26" y="16"/>
                    </a:lnTo>
                    <a:lnTo>
                      <a:pt x="30" y="16"/>
                    </a:lnTo>
                    <a:lnTo>
                      <a:pt x="34" y="16"/>
                    </a:lnTo>
                    <a:lnTo>
                      <a:pt x="38" y="16"/>
                    </a:lnTo>
                    <a:lnTo>
                      <a:pt x="38" y="18"/>
                    </a:lnTo>
                    <a:lnTo>
                      <a:pt x="40" y="18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0" y="18"/>
                    </a:lnTo>
                    <a:lnTo>
                      <a:pt x="44" y="18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0" y="12"/>
                    </a:lnTo>
                    <a:lnTo>
                      <a:pt x="38" y="12"/>
                    </a:lnTo>
                    <a:lnTo>
                      <a:pt x="34" y="12"/>
                    </a:lnTo>
                    <a:lnTo>
                      <a:pt x="30" y="16"/>
                    </a:lnTo>
                    <a:lnTo>
                      <a:pt x="30" y="12"/>
                    </a:lnTo>
                    <a:lnTo>
                      <a:pt x="26" y="12"/>
                    </a:lnTo>
                    <a:lnTo>
                      <a:pt x="26" y="12"/>
                    </a:lnTo>
                    <a:lnTo>
                      <a:pt x="26" y="12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6" name="Freeform 226">
                <a:extLst>
                  <a:ext uri="{FF2B5EF4-FFF2-40B4-BE49-F238E27FC236}">
                    <a16:creationId xmlns:a16="http://schemas.microsoft.com/office/drawing/2014/main" id="{E0B45700-1652-48E9-A926-8DD7F0876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17775" y="3340168"/>
                <a:ext cx="107950" cy="44450"/>
              </a:xfrm>
              <a:custGeom>
                <a:avLst/>
                <a:gdLst>
                  <a:gd name="T0" fmla="*/ 68 w 68"/>
                  <a:gd name="T1" fmla="*/ 0 h 28"/>
                  <a:gd name="T2" fmla="*/ 68 w 68"/>
                  <a:gd name="T3" fmla="*/ 2 h 28"/>
                  <a:gd name="T4" fmla="*/ 68 w 68"/>
                  <a:gd name="T5" fmla="*/ 2 h 28"/>
                  <a:gd name="T6" fmla="*/ 56 w 68"/>
                  <a:gd name="T7" fmla="*/ 10 h 28"/>
                  <a:gd name="T8" fmla="*/ 54 w 68"/>
                  <a:gd name="T9" fmla="*/ 14 h 28"/>
                  <a:gd name="T10" fmla="*/ 46 w 68"/>
                  <a:gd name="T11" fmla="*/ 16 h 28"/>
                  <a:gd name="T12" fmla="*/ 42 w 68"/>
                  <a:gd name="T13" fmla="*/ 16 h 28"/>
                  <a:gd name="T14" fmla="*/ 34 w 68"/>
                  <a:gd name="T15" fmla="*/ 20 h 28"/>
                  <a:gd name="T16" fmla="*/ 30 w 68"/>
                  <a:gd name="T17" fmla="*/ 24 h 28"/>
                  <a:gd name="T18" fmla="*/ 28 w 68"/>
                  <a:gd name="T19" fmla="*/ 28 h 28"/>
                  <a:gd name="T20" fmla="*/ 24 w 68"/>
                  <a:gd name="T21" fmla="*/ 28 h 28"/>
                  <a:gd name="T22" fmla="*/ 24 w 68"/>
                  <a:gd name="T23" fmla="*/ 28 h 28"/>
                  <a:gd name="T24" fmla="*/ 20 w 68"/>
                  <a:gd name="T25" fmla="*/ 28 h 28"/>
                  <a:gd name="T26" fmla="*/ 16 w 68"/>
                  <a:gd name="T27" fmla="*/ 28 h 28"/>
                  <a:gd name="T28" fmla="*/ 12 w 68"/>
                  <a:gd name="T29" fmla="*/ 28 h 28"/>
                  <a:gd name="T30" fmla="*/ 8 w 68"/>
                  <a:gd name="T31" fmla="*/ 28 h 28"/>
                  <a:gd name="T32" fmla="*/ 8 w 68"/>
                  <a:gd name="T33" fmla="*/ 28 h 28"/>
                  <a:gd name="T34" fmla="*/ 12 w 68"/>
                  <a:gd name="T35" fmla="*/ 28 h 28"/>
                  <a:gd name="T36" fmla="*/ 12 w 68"/>
                  <a:gd name="T37" fmla="*/ 28 h 28"/>
                  <a:gd name="T38" fmla="*/ 12 w 68"/>
                  <a:gd name="T39" fmla="*/ 24 h 28"/>
                  <a:gd name="T40" fmla="*/ 12 w 68"/>
                  <a:gd name="T41" fmla="*/ 24 h 28"/>
                  <a:gd name="T42" fmla="*/ 8 w 68"/>
                  <a:gd name="T43" fmla="*/ 24 h 28"/>
                  <a:gd name="T44" fmla="*/ 8 w 68"/>
                  <a:gd name="T45" fmla="*/ 24 h 28"/>
                  <a:gd name="T46" fmla="*/ 4 w 68"/>
                  <a:gd name="T47" fmla="*/ 24 h 28"/>
                  <a:gd name="T48" fmla="*/ 0 w 68"/>
                  <a:gd name="T49" fmla="*/ 20 h 28"/>
                  <a:gd name="T50" fmla="*/ 0 w 68"/>
                  <a:gd name="T51" fmla="*/ 20 h 28"/>
                  <a:gd name="T52" fmla="*/ 4 w 68"/>
                  <a:gd name="T53" fmla="*/ 16 h 28"/>
                  <a:gd name="T54" fmla="*/ 4 w 68"/>
                  <a:gd name="T55" fmla="*/ 14 h 28"/>
                  <a:gd name="T56" fmla="*/ 8 w 68"/>
                  <a:gd name="T57" fmla="*/ 10 h 28"/>
                  <a:gd name="T58" fmla="*/ 8 w 68"/>
                  <a:gd name="T59" fmla="*/ 10 h 28"/>
                  <a:gd name="T60" fmla="*/ 8 w 68"/>
                  <a:gd name="T61" fmla="*/ 16 h 28"/>
                  <a:gd name="T62" fmla="*/ 8 w 68"/>
                  <a:gd name="T63" fmla="*/ 16 h 28"/>
                  <a:gd name="T64" fmla="*/ 12 w 68"/>
                  <a:gd name="T65" fmla="*/ 16 h 28"/>
                  <a:gd name="T66" fmla="*/ 12 w 68"/>
                  <a:gd name="T67" fmla="*/ 16 h 28"/>
                  <a:gd name="T68" fmla="*/ 16 w 68"/>
                  <a:gd name="T69" fmla="*/ 16 h 28"/>
                  <a:gd name="T70" fmla="*/ 16 w 68"/>
                  <a:gd name="T71" fmla="*/ 16 h 28"/>
                  <a:gd name="T72" fmla="*/ 20 w 68"/>
                  <a:gd name="T73" fmla="*/ 14 h 28"/>
                  <a:gd name="T74" fmla="*/ 28 w 68"/>
                  <a:gd name="T75" fmla="*/ 10 h 28"/>
                  <a:gd name="T76" fmla="*/ 30 w 68"/>
                  <a:gd name="T77" fmla="*/ 6 h 28"/>
                  <a:gd name="T78" fmla="*/ 34 w 68"/>
                  <a:gd name="T79" fmla="*/ 2 h 28"/>
                  <a:gd name="T80" fmla="*/ 42 w 68"/>
                  <a:gd name="T81" fmla="*/ 6 h 28"/>
                  <a:gd name="T82" fmla="*/ 42 w 68"/>
                  <a:gd name="T83" fmla="*/ 6 h 28"/>
                  <a:gd name="T84" fmla="*/ 50 w 68"/>
                  <a:gd name="T85" fmla="*/ 6 h 28"/>
                  <a:gd name="T86" fmla="*/ 50 w 68"/>
                  <a:gd name="T87" fmla="*/ 6 h 28"/>
                  <a:gd name="T88" fmla="*/ 50 w 68"/>
                  <a:gd name="T89" fmla="*/ 6 h 28"/>
                  <a:gd name="T90" fmla="*/ 46 w 68"/>
                  <a:gd name="T91" fmla="*/ 6 h 28"/>
                  <a:gd name="T92" fmla="*/ 46 w 68"/>
                  <a:gd name="T93" fmla="*/ 6 h 28"/>
                  <a:gd name="T94" fmla="*/ 50 w 68"/>
                  <a:gd name="T95" fmla="*/ 2 h 28"/>
                  <a:gd name="T96" fmla="*/ 54 w 68"/>
                  <a:gd name="T97" fmla="*/ 2 h 28"/>
                  <a:gd name="T98" fmla="*/ 56 w 68"/>
                  <a:gd name="T99" fmla="*/ 0 h 28"/>
                  <a:gd name="T100" fmla="*/ 64 w 68"/>
                  <a:gd name="T101" fmla="*/ 0 h 28"/>
                  <a:gd name="T102" fmla="*/ 64 w 68"/>
                  <a:gd name="T103" fmla="*/ 2 h 28"/>
                  <a:gd name="T104" fmla="*/ 68 w 68"/>
                  <a:gd name="T105" fmla="*/ 0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68" h="28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8" y="2"/>
                    </a:lnTo>
                    <a:lnTo>
                      <a:pt x="64" y="2"/>
                    </a:lnTo>
                    <a:lnTo>
                      <a:pt x="64" y="6"/>
                    </a:lnTo>
                    <a:lnTo>
                      <a:pt x="60" y="6"/>
                    </a:lnTo>
                    <a:lnTo>
                      <a:pt x="56" y="10"/>
                    </a:lnTo>
                    <a:lnTo>
                      <a:pt x="56" y="10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4" y="14"/>
                    </a:lnTo>
                    <a:lnTo>
                      <a:pt x="50" y="14"/>
                    </a:lnTo>
                    <a:lnTo>
                      <a:pt x="46" y="16"/>
                    </a:lnTo>
                    <a:lnTo>
                      <a:pt x="46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42" y="16"/>
                    </a:lnTo>
                    <a:lnTo>
                      <a:pt x="38" y="16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4" y="20"/>
                    </a:lnTo>
                    <a:lnTo>
                      <a:pt x="30" y="20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30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16" y="14"/>
                    </a:lnTo>
                    <a:lnTo>
                      <a:pt x="20" y="14"/>
                    </a:lnTo>
                    <a:lnTo>
                      <a:pt x="24" y="10"/>
                    </a:lnTo>
                    <a:lnTo>
                      <a:pt x="24" y="10"/>
                    </a:lnTo>
                    <a:lnTo>
                      <a:pt x="28" y="10"/>
                    </a:lnTo>
                    <a:lnTo>
                      <a:pt x="28" y="10"/>
                    </a:lnTo>
                    <a:lnTo>
                      <a:pt x="28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0" y="6"/>
                    </a:lnTo>
                    <a:lnTo>
                      <a:pt x="34" y="6"/>
                    </a:lnTo>
                    <a:lnTo>
                      <a:pt x="34" y="2"/>
                    </a:lnTo>
                    <a:lnTo>
                      <a:pt x="34" y="2"/>
                    </a:lnTo>
                    <a:lnTo>
                      <a:pt x="38" y="2"/>
                    </a:lnTo>
                    <a:lnTo>
                      <a:pt x="38" y="6"/>
                    </a:lnTo>
                    <a:lnTo>
                      <a:pt x="38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2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50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6"/>
                    </a:lnTo>
                    <a:lnTo>
                      <a:pt x="46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0" y="2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2"/>
                    </a:lnTo>
                    <a:lnTo>
                      <a:pt x="64" y="2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  <p:sp>
            <p:nvSpPr>
              <p:cNvPr id="487" name="Freeform 227">
                <a:extLst>
                  <a:ext uri="{FF2B5EF4-FFF2-40B4-BE49-F238E27FC236}">
                    <a16:creationId xmlns:a16="http://schemas.microsoft.com/office/drawing/2014/main" id="{9FC135FC-E433-4C2F-BBD0-C5A953BD574C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5927725" y="3530668"/>
                <a:ext cx="657225" cy="847725"/>
              </a:xfrm>
              <a:custGeom>
                <a:avLst/>
                <a:gdLst>
                  <a:gd name="T0" fmla="*/ 34 w 414"/>
                  <a:gd name="T1" fmla="*/ 226 h 534"/>
                  <a:gd name="T2" fmla="*/ 26 w 414"/>
                  <a:gd name="T3" fmla="*/ 198 h 534"/>
                  <a:gd name="T4" fmla="*/ 30 w 414"/>
                  <a:gd name="T5" fmla="*/ 162 h 534"/>
                  <a:gd name="T6" fmla="*/ 60 w 414"/>
                  <a:gd name="T7" fmla="*/ 146 h 534"/>
                  <a:gd name="T8" fmla="*/ 90 w 414"/>
                  <a:gd name="T9" fmla="*/ 106 h 534"/>
                  <a:gd name="T10" fmla="*/ 92 w 414"/>
                  <a:gd name="T11" fmla="*/ 80 h 534"/>
                  <a:gd name="T12" fmla="*/ 76 w 414"/>
                  <a:gd name="T13" fmla="*/ 42 h 534"/>
                  <a:gd name="T14" fmla="*/ 122 w 414"/>
                  <a:gd name="T15" fmla="*/ 20 h 534"/>
                  <a:gd name="T16" fmla="*/ 140 w 414"/>
                  <a:gd name="T17" fmla="*/ 28 h 534"/>
                  <a:gd name="T18" fmla="*/ 156 w 414"/>
                  <a:gd name="T19" fmla="*/ 68 h 534"/>
                  <a:gd name="T20" fmla="*/ 148 w 414"/>
                  <a:gd name="T21" fmla="*/ 94 h 534"/>
                  <a:gd name="T22" fmla="*/ 178 w 414"/>
                  <a:gd name="T23" fmla="*/ 116 h 534"/>
                  <a:gd name="T24" fmla="*/ 170 w 414"/>
                  <a:gd name="T25" fmla="*/ 150 h 534"/>
                  <a:gd name="T26" fmla="*/ 212 w 414"/>
                  <a:gd name="T27" fmla="*/ 170 h 534"/>
                  <a:gd name="T28" fmla="*/ 242 w 414"/>
                  <a:gd name="T29" fmla="*/ 184 h 534"/>
                  <a:gd name="T30" fmla="*/ 278 w 414"/>
                  <a:gd name="T31" fmla="*/ 188 h 534"/>
                  <a:gd name="T32" fmla="*/ 290 w 414"/>
                  <a:gd name="T33" fmla="*/ 162 h 534"/>
                  <a:gd name="T34" fmla="*/ 316 w 414"/>
                  <a:gd name="T35" fmla="*/ 184 h 534"/>
                  <a:gd name="T36" fmla="*/ 334 w 414"/>
                  <a:gd name="T37" fmla="*/ 166 h 534"/>
                  <a:gd name="T38" fmla="*/ 372 w 414"/>
                  <a:gd name="T39" fmla="*/ 140 h 534"/>
                  <a:gd name="T40" fmla="*/ 394 w 414"/>
                  <a:gd name="T41" fmla="*/ 140 h 534"/>
                  <a:gd name="T42" fmla="*/ 410 w 414"/>
                  <a:gd name="T43" fmla="*/ 166 h 534"/>
                  <a:gd name="T44" fmla="*/ 380 w 414"/>
                  <a:gd name="T45" fmla="*/ 188 h 534"/>
                  <a:gd name="T46" fmla="*/ 364 w 414"/>
                  <a:gd name="T47" fmla="*/ 236 h 534"/>
                  <a:gd name="T48" fmla="*/ 350 w 414"/>
                  <a:gd name="T49" fmla="*/ 256 h 534"/>
                  <a:gd name="T50" fmla="*/ 338 w 414"/>
                  <a:gd name="T51" fmla="*/ 248 h 534"/>
                  <a:gd name="T52" fmla="*/ 328 w 414"/>
                  <a:gd name="T53" fmla="*/ 244 h 534"/>
                  <a:gd name="T54" fmla="*/ 342 w 414"/>
                  <a:gd name="T55" fmla="*/ 218 h 534"/>
                  <a:gd name="T56" fmla="*/ 304 w 414"/>
                  <a:gd name="T57" fmla="*/ 198 h 534"/>
                  <a:gd name="T58" fmla="*/ 286 w 414"/>
                  <a:gd name="T59" fmla="*/ 184 h 534"/>
                  <a:gd name="T60" fmla="*/ 286 w 414"/>
                  <a:gd name="T61" fmla="*/ 214 h 534"/>
                  <a:gd name="T62" fmla="*/ 286 w 414"/>
                  <a:gd name="T63" fmla="*/ 236 h 534"/>
                  <a:gd name="T64" fmla="*/ 290 w 414"/>
                  <a:gd name="T65" fmla="*/ 270 h 534"/>
                  <a:gd name="T66" fmla="*/ 282 w 414"/>
                  <a:gd name="T67" fmla="*/ 274 h 534"/>
                  <a:gd name="T68" fmla="*/ 268 w 414"/>
                  <a:gd name="T69" fmla="*/ 278 h 534"/>
                  <a:gd name="T70" fmla="*/ 248 w 414"/>
                  <a:gd name="T71" fmla="*/ 306 h 534"/>
                  <a:gd name="T72" fmla="*/ 230 w 414"/>
                  <a:gd name="T73" fmla="*/ 318 h 534"/>
                  <a:gd name="T74" fmla="*/ 200 w 414"/>
                  <a:gd name="T75" fmla="*/ 352 h 534"/>
                  <a:gd name="T76" fmla="*/ 178 w 414"/>
                  <a:gd name="T77" fmla="*/ 378 h 534"/>
                  <a:gd name="T78" fmla="*/ 170 w 414"/>
                  <a:gd name="T79" fmla="*/ 412 h 534"/>
                  <a:gd name="T80" fmla="*/ 162 w 414"/>
                  <a:gd name="T81" fmla="*/ 442 h 534"/>
                  <a:gd name="T82" fmla="*/ 152 w 414"/>
                  <a:gd name="T83" fmla="*/ 478 h 534"/>
                  <a:gd name="T84" fmla="*/ 126 w 414"/>
                  <a:gd name="T85" fmla="*/ 508 h 534"/>
                  <a:gd name="T86" fmla="*/ 114 w 414"/>
                  <a:gd name="T87" fmla="*/ 486 h 534"/>
                  <a:gd name="T88" fmla="*/ 96 w 414"/>
                  <a:gd name="T89" fmla="*/ 442 h 534"/>
                  <a:gd name="T90" fmla="*/ 86 w 414"/>
                  <a:gd name="T91" fmla="*/ 396 h 534"/>
                  <a:gd name="T92" fmla="*/ 70 w 414"/>
                  <a:gd name="T93" fmla="*/ 358 h 534"/>
                  <a:gd name="T94" fmla="*/ 62 w 414"/>
                  <a:gd name="T95" fmla="*/ 322 h 534"/>
                  <a:gd name="T96" fmla="*/ 62 w 414"/>
                  <a:gd name="T97" fmla="*/ 286 h 534"/>
                  <a:gd name="T98" fmla="*/ 60 w 414"/>
                  <a:gd name="T99" fmla="*/ 270 h 534"/>
                  <a:gd name="T100" fmla="*/ 56 w 414"/>
                  <a:gd name="T101" fmla="*/ 270 h 534"/>
                  <a:gd name="T102" fmla="*/ 22 w 414"/>
                  <a:gd name="T103" fmla="*/ 282 h 534"/>
                  <a:gd name="T104" fmla="*/ 30 w 414"/>
                  <a:gd name="T105" fmla="*/ 256 h 534"/>
                  <a:gd name="T106" fmla="*/ 4 w 414"/>
                  <a:gd name="T107" fmla="*/ 240 h 534"/>
                  <a:gd name="T108" fmla="*/ 346 w 414"/>
                  <a:gd name="T109" fmla="*/ 442 h 534"/>
                  <a:gd name="T110" fmla="*/ 346 w 414"/>
                  <a:gd name="T111" fmla="*/ 490 h 534"/>
                  <a:gd name="T112" fmla="*/ 354 w 414"/>
                  <a:gd name="T113" fmla="*/ 512 h 534"/>
                  <a:gd name="T114" fmla="*/ 350 w 414"/>
                  <a:gd name="T115" fmla="*/ 426 h 534"/>
                  <a:gd name="T116" fmla="*/ 346 w 414"/>
                  <a:gd name="T117" fmla="*/ 438 h 534"/>
                  <a:gd name="T118" fmla="*/ 346 w 414"/>
                  <a:gd name="T119" fmla="*/ 442 h 534"/>
                  <a:gd name="T120" fmla="*/ 360 w 414"/>
                  <a:gd name="T121" fmla="*/ 528 h 5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14" h="534">
                    <a:moveTo>
                      <a:pt x="0" y="236"/>
                    </a:moveTo>
                    <a:lnTo>
                      <a:pt x="0" y="232"/>
                    </a:lnTo>
                    <a:lnTo>
                      <a:pt x="4" y="232"/>
                    </a:lnTo>
                    <a:lnTo>
                      <a:pt x="6" y="232"/>
                    </a:lnTo>
                    <a:lnTo>
                      <a:pt x="6" y="228"/>
                    </a:lnTo>
                    <a:lnTo>
                      <a:pt x="6" y="226"/>
                    </a:lnTo>
                    <a:lnTo>
                      <a:pt x="10" y="226"/>
                    </a:lnTo>
                    <a:lnTo>
                      <a:pt x="10" y="228"/>
                    </a:lnTo>
                    <a:lnTo>
                      <a:pt x="14" y="228"/>
                    </a:lnTo>
                    <a:lnTo>
                      <a:pt x="18" y="228"/>
                    </a:lnTo>
                    <a:lnTo>
                      <a:pt x="22" y="228"/>
                    </a:lnTo>
                    <a:lnTo>
                      <a:pt x="26" y="228"/>
                    </a:lnTo>
                    <a:lnTo>
                      <a:pt x="26" y="226"/>
                    </a:lnTo>
                    <a:lnTo>
                      <a:pt x="30" y="226"/>
                    </a:lnTo>
                    <a:lnTo>
                      <a:pt x="34" y="226"/>
                    </a:lnTo>
                    <a:lnTo>
                      <a:pt x="34" y="228"/>
                    </a:lnTo>
                    <a:lnTo>
                      <a:pt x="36" y="228"/>
                    </a:lnTo>
                    <a:lnTo>
                      <a:pt x="36" y="226"/>
                    </a:lnTo>
                    <a:lnTo>
                      <a:pt x="40" y="226"/>
                    </a:lnTo>
                    <a:lnTo>
                      <a:pt x="36" y="226"/>
                    </a:lnTo>
                    <a:lnTo>
                      <a:pt x="36" y="222"/>
                    </a:lnTo>
                    <a:lnTo>
                      <a:pt x="40" y="222"/>
                    </a:lnTo>
                    <a:lnTo>
                      <a:pt x="36" y="218"/>
                    </a:lnTo>
                    <a:lnTo>
                      <a:pt x="36" y="214"/>
                    </a:lnTo>
                    <a:lnTo>
                      <a:pt x="36" y="210"/>
                    </a:lnTo>
                    <a:lnTo>
                      <a:pt x="34" y="210"/>
                    </a:lnTo>
                    <a:lnTo>
                      <a:pt x="34" y="206"/>
                    </a:lnTo>
                    <a:lnTo>
                      <a:pt x="34" y="202"/>
                    </a:lnTo>
                    <a:lnTo>
                      <a:pt x="30" y="202"/>
                    </a:lnTo>
                    <a:lnTo>
                      <a:pt x="26" y="198"/>
                    </a:lnTo>
                    <a:lnTo>
                      <a:pt x="26" y="196"/>
                    </a:lnTo>
                    <a:lnTo>
                      <a:pt x="26" y="192"/>
                    </a:lnTo>
                    <a:lnTo>
                      <a:pt x="26" y="188"/>
                    </a:lnTo>
                    <a:lnTo>
                      <a:pt x="26" y="184"/>
                    </a:lnTo>
                    <a:lnTo>
                      <a:pt x="22" y="184"/>
                    </a:lnTo>
                    <a:lnTo>
                      <a:pt x="18" y="184"/>
                    </a:lnTo>
                    <a:lnTo>
                      <a:pt x="18" y="180"/>
                    </a:lnTo>
                    <a:lnTo>
                      <a:pt x="18" y="176"/>
                    </a:lnTo>
                    <a:lnTo>
                      <a:pt x="18" y="172"/>
                    </a:lnTo>
                    <a:lnTo>
                      <a:pt x="22" y="172"/>
                    </a:lnTo>
                    <a:lnTo>
                      <a:pt x="22" y="170"/>
                    </a:lnTo>
                    <a:lnTo>
                      <a:pt x="26" y="170"/>
                    </a:lnTo>
                    <a:lnTo>
                      <a:pt x="26" y="166"/>
                    </a:lnTo>
                    <a:lnTo>
                      <a:pt x="26" y="162"/>
                    </a:lnTo>
                    <a:lnTo>
                      <a:pt x="30" y="162"/>
                    </a:lnTo>
                    <a:lnTo>
                      <a:pt x="30" y="158"/>
                    </a:lnTo>
                    <a:lnTo>
                      <a:pt x="34" y="158"/>
                    </a:lnTo>
                    <a:lnTo>
                      <a:pt x="34" y="162"/>
                    </a:lnTo>
                    <a:lnTo>
                      <a:pt x="34" y="166"/>
                    </a:lnTo>
                    <a:lnTo>
                      <a:pt x="36" y="166"/>
                    </a:lnTo>
                    <a:lnTo>
                      <a:pt x="40" y="166"/>
                    </a:lnTo>
                    <a:lnTo>
                      <a:pt x="40" y="162"/>
                    </a:lnTo>
                    <a:lnTo>
                      <a:pt x="44" y="162"/>
                    </a:lnTo>
                    <a:lnTo>
                      <a:pt x="48" y="162"/>
                    </a:lnTo>
                    <a:lnTo>
                      <a:pt x="52" y="162"/>
                    </a:lnTo>
                    <a:lnTo>
                      <a:pt x="52" y="158"/>
                    </a:lnTo>
                    <a:lnTo>
                      <a:pt x="56" y="154"/>
                    </a:lnTo>
                    <a:lnTo>
                      <a:pt x="56" y="150"/>
                    </a:lnTo>
                    <a:lnTo>
                      <a:pt x="56" y="146"/>
                    </a:lnTo>
                    <a:lnTo>
                      <a:pt x="60" y="146"/>
                    </a:lnTo>
                    <a:lnTo>
                      <a:pt x="60" y="142"/>
                    </a:lnTo>
                    <a:lnTo>
                      <a:pt x="62" y="142"/>
                    </a:lnTo>
                    <a:lnTo>
                      <a:pt x="66" y="142"/>
                    </a:lnTo>
                    <a:lnTo>
                      <a:pt x="66" y="140"/>
                    </a:lnTo>
                    <a:lnTo>
                      <a:pt x="70" y="132"/>
                    </a:lnTo>
                    <a:lnTo>
                      <a:pt x="70" y="128"/>
                    </a:lnTo>
                    <a:lnTo>
                      <a:pt x="74" y="124"/>
                    </a:lnTo>
                    <a:lnTo>
                      <a:pt x="78" y="124"/>
                    </a:lnTo>
                    <a:lnTo>
                      <a:pt x="82" y="120"/>
                    </a:lnTo>
                    <a:lnTo>
                      <a:pt x="82" y="116"/>
                    </a:lnTo>
                    <a:lnTo>
                      <a:pt x="78" y="116"/>
                    </a:lnTo>
                    <a:lnTo>
                      <a:pt x="82" y="112"/>
                    </a:lnTo>
                    <a:lnTo>
                      <a:pt x="86" y="110"/>
                    </a:lnTo>
                    <a:lnTo>
                      <a:pt x="86" y="106"/>
                    </a:lnTo>
                    <a:lnTo>
                      <a:pt x="90" y="106"/>
                    </a:lnTo>
                    <a:lnTo>
                      <a:pt x="92" y="102"/>
                    </a:lnTo>
                    <a:lnTo>
                      <a:pt x="90" y="102"/>
                    </a:lnTo>
                    <a:lnTo>
                      <a:pt x="90" y="106"/>
                    </a:lnTo>
                    <a:lnTo>
                      <a:pt x="90" y="102"/>
                    </a:lnTo>
                    <a:lnTo>
                      <a:pt x="90" y="98"/>
                    </a:lnTo>
                    <a:lnTo>
                      <a:pt x="90" y="94"/>
                    </a:lnTo>
                    <a:lnTo>
                      <a:pt x="90" y="90"/>
                    </a:lnTo>
                    <a:lnTo>
                      <a:pt x="90" y="86"/>
                    </a:lnTo>
                    <a:lnTo>
                      <a:pt x="92" y="86"/>
                    </a:lnTo>
                    <a:lnTo>
                      <a:pt x="96" y="86"/>
                    </a:lnTo>
                    <a:lnTo>
                      <a:pt x="100" y="86"/>
                    </a:lnTo>
                    <a:lnTo>
                      <a:pt x="100" y="82"/>
                    </a:lnTo>
                    <a:lnTo>
                      <a:pt x="100" y="80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0" y="80"/>
                    </a:lnTo>
                    <a:lnTo>
                      <a:pt x="88" y="78"/>
                    </a:lnTo>
                    <a:lnTo>
                      <a:pt x="86" y="78"/>
                    </a:lnTo>
                    <a:lnTo>
                      <a:pt x="84" y="76"/>
                    </a:lnTo>
                    <a:lnTo>
                      <a:pt x="82" y="76"/>
                    </a:lnTo>
                    <a:lnTo>
                      <a:pt x="80" y="72"/>
                    </a:lnTo>
                    <a:lnTo>
                      <a:pt x="78" y="72"/>
                    </a:lnTo>
                    <a:lnTo>
                      <a:pt x="76" y="70"/>
                    </a:lnTo>
                    <a:lnTo>
                      <a:pt x="76" y="66"/>
                    </a:lnTo>
                    <a:lnTo>
                      <a:pt x="76" y="62"/>
                    </a:lnTo>
                    <a:lnTo>
                      <a:pt x="76" y="58"/>
                    </a:lnTo>
                    <a:lnTo>
                      <a:pt x="74" y="54"/>
                    </a:lnTo>
                    <a:lnTo>
                      <a:pt x="74" y="48"/>
                    </a:lnTo>
                    <a:lnTo>
                      <a:pt x="76" y="42"/>
                    </a:lnTo>
                    <a:lnTo>
                      <a:pt x="84" y="36"/>
                    </a:lnTo>
                    <a:lnTo>
                      <a:pt x="66" y="22"/>
                    </a:lnTo>
                    <a:lnTo>
                      <a:pt x="62" y="18"/>
                    </a:lnTo>
                    <a:lnTo>
                      <a:pt x="66" y="10"/>
                    </a:lnTo>
                    <a:lnTo>
                      <a:pt x="78" y="4"/>
                    </a:lnTo>
                    <a:lnTo>
                      <a:pt x="88" y="2"/>
                    </a:lnTo>
                    <a:lnTo>
                      <a:pt x="92" y="0"/>
                    </a:lnTo>
                    <a:lnTo>
                      <a:pt x="100" y="0"/>
                    </a:lnTo>
                    <a:lnTo>
                      <a:pt x="104" y="4"/>
                    </a:lnTo>
                    <a:lnTo>
                      <a:pt x="114" y="12"/>
                    </a:lnTo>
                    <a:lnTo>
                      <a:pt x="118" y="18"/>
                    </a:lnTo>
                    <a:lnTo>
                      <a:pt x="118" y="18"/>
                    </a:lnTo>
                    <a:lnTo>
                      <a:pt x="120" y="18"/>
                    </a:lnTo>
                    <a:lnTo>
                      <a:pt x="120" y="18"/>
                    </a:lnTo>
                    <a:lnTo>
                      <a:pt x="122" y="20"/>
                    </a:lnTo>
                    <a:lnTo>
                      <a:pt x="124" y="20"/>
                    </a:lnTo>
                    <a:lnTo>
                      <a:pt x="124" y="20"/>
                    </a:lnTo>
                    <a:lnTo>
                      <a:pt x="128" y="22"/>
                    </a:lnTo>
                    <a:lnTo>
                      <a:pt x="126" y="26"/>
                    </a:lnTo>
                    <a:lnTo>
                      <a:pt x="126" y="26"/>
                    </a:lnTo>
                    <a:lnTo>
                      <a:pt x="130" y="26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2" y="28"/>
                    </a:lnTo>
                    <a:lnTo>
                      <a:pt x="130" y="28"/>
                    </a:lnTo>
                    <a:lnTo>
                      <a:pt x="130" y="28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32" y="30"/>
                    </a:lnTo>
                    <a:lnTo>
                      <a:pt x="140" y="28"/>
                    </a:lnTo>
                    <a:lnTo>
                      <a:pt x="142" y="26"/>
                    </a:lnTo>
                    <a:lnTo>
                      <a:pt x="148" y="24"/>
                    </a:lnTo>
                    <a:lnTo>
                      <a:pt x="152" y="24"/>
                    </a:lnTo>
                    <a:lnTo>
                      <a:pt x="158" y="22"/>
                    </a:lnTo>
                    <a:lnTo>
                      <a:pt x="168" y="30"/>
                    </a:lnTo>
                    <a:lnTo>
                      <a:pt x="168" y="36"/>
                    </a:lnTo>
                    <a:lnTo>
                      <a:pt x="166" y="44"/>
                    </a:lnTo>
                    <a:lnTo>
                      <a:pt x="158" y="52"/>
                    </a:lnTo>
                    <a:lnTo>
                      <a:pt x="156" y="54"/>
                    </a:lnTo>
                    <a:lnTo>
                      <a:pt x="148" y="54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56" y="80"/>
                    </a:lnTo>
                    <a:lnTo>
                      <a:pt x="156" y="76"/>
                    </a:lnTo>
                    <a:lnTo>
                      <a:pt x="152" y="80"/>
                    </a:lnTo>
                    <a:lnTo>
                      <a:pt x="148" y="80"/>
                    </a:lnTo>
                    <a:lnTo>
                      <a:pt x="148" y="76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2"/>
                    </a:lnTo>
                    <a:lnTo>
                      <a:pt x="144" y="86"/>
                    </a:lnTo>
                    <a:lnTo>
                      <a:pt x="148" y="86"/>
                    </a:lnTo>
                    <a:lnTo>
                      <a:pt x="148" y="90"/>
                    </a:lnTo>
                    <a:lnTo>
                      <a:pt x="148" y="94"/>
                    </a:lnTo>
                    <a:lnTo>
                      <a:pt x="148" y="98"/>
                    </a:lnTo>
                    <a:lnTo>
                      <a:pt x="148" y="102"/>
                    </a:lnTo>
                    <a:lnTo>
                      <a:pt x="148" y="98"/>
                    </a:lnTo>
                    <a:lnTo>
                      <a:pt x="152" y="98"/>
                    </a:lnTo>
                    <a:lnTo>
                      <a:pt x="156" y="98"/>
                    </a:lnTo>
                    <a:lnTo>
                      <a:pt x="156" y="102"/>
                    </a:lnTo>
                    <a:lnTo>
                      <a:pt x="156" y="106"/>
                    </a:lnTo>
                    <a:lnTo>
                      <a:pt x="160" y="106"/>
                    </a:lnTo>
                    <a:lnTo>
                      <a:pt x="162" y="106"/>
                    </a:lnTo>
                    <a:lnTo>
                      <a:pt x="166" y="110"/>
                    </a:lnTo>
                    <a:lnTo>
                      <a:pt x="170" y="110"/>
                    </a:lnTo>
                    <a:lnTo>
                      <a:pt x="166" y="112"/>
                    </a:lnTo>
                    <a:lnTo>
                      <a:pt x="170" y="112"/>
                    </a:lnTo>
                    <a:lnTo>
                      <a:pt x="174" y="116"/>
                    </a:lnTo>
                    <a:lnTo>
                      <a:pt x="178" y="116"/>
                    </a:lnTo>
                    <a:lnTo>
                      <a:pt x="178" y="120"/>
                    </a:lnTo>
                    <a:lnTo>
                      <a:pt x="182" y="120"/>
                    </a:lnTo>
                    <a:lnTo>
                      <a:pt x="178" y="120"/>
                    </a:lnTo>
                    <a:lnTo>
                      <a:pt x="174" y="124"/>
                    </a:lnTo>
                    <a:lnTo>
                      <a:pt x="174" y="128"/>
                    </a:lnTo>
                    <a:lnTo>
                      <a:pt x="170" y="128"/>
                    </a:lnTo>
                    <a:lnTo>
                      <a:pt x="170" y="132"/>
                    </a:lnTo>
                    <a:lnTo>
                      <a:pt x="166" y="136"/>
                    </a:lnTo>
                    <a:lnTo>
                      <a:pt x="170" y="136"/>
                    </a:lnTo>
                    <a:lnTo>
                      <a:pt x="170" y="140"/>
                    </a:lnTo>
                    <a:lnTo>
                      <a:pt x="166" y="140"/>
                    </a:lnTo>
                    <a:lnTo>
                      <a:pt x="166" y="142"/>
                    </a:lnTo>
                    <a:lnTo>
                      <a:pt x="166" y="146"/>
                    </a:lnTo>
                    <a:lnTo>
                      <a:pt x="170" y="146"/>
                    </a:lnTo>
                    <a:lnTo>
                      <a:pt x="170" y="150"/>
                    </a:lnTo>
                    <a:lnTo>
                      <a:pt x="174" y="150"/>
                    </a:lnTo>
                    <a:lnTo>
                      <a:pt x="174" y="146"/>
                    </a:lnTo>
                    <a:lnTo>
                      <a:pt x="174" y="150"/>
                    </a:lnTo>
                    <a:lnTo>
                      <a:pt x="178" y="150"/>
                    </a:lnTo>
                    <a:lnTo>
                      <a:pt x="182" y="154"/>
                    </a:lnTo>
                    <a:lnTo>
                      <a:pt x="186" y="158"/>
                    </a:lnTo>
                    <a:lnTo>
                      <a:pt x="190" y="162"/>
                    </a:lnTo>
                    <a:lnTo>
                      <a:pt x="192" y="162"/>
                    </a:lnTo>
                    <a:lnTo>
                      <a:pt x="196" y="162"/>
                    </a:lnTo>
                    <a:lnTo>
                      <a:pt x="196" y="166"/>
                    </a:lnTo>
                    <a:lnTo>
                      <a:pt x="200" y="166"/>
                    </a:lnTo>
                    <a:lnTo>
                      <a:pt x="204" y="166"/>
                    </a:lnTo>
                    <a:lnTo>
                      <a:pt x="204" y="170"/>
                    </a:lnTo>
                    <a:lnTo>
                      <a:pt x="208" y="170"/>
                    </a:lnTo>
                    <a:lnTo>
                      <a:pt x="212" y="170"/>
                    </a:lnTo>
                    <a:lnTo>
                      <a:pt x="212" y="172"/>
                    </a:lnTo>
                    <a:lnTo>
                      <a:pt x="212" y="170"/>
                    </a:lnTo>
                    <a:lnTo>
                      <a:pt x="216" y="170"/>
                    </a:lnTo>
                    <a:lnTo>
                      <a:pt x="218" y="170"/>
                    </a:lnTo>
                    <a:lnTo>
                      <a:pt x="218" y="172"/>
                    </a:lnTo>
                    <a:lnTo>
                      <a:pt x="218" y="170"/>
                    </a:lnTo>
                    <a:lnTo>
                      <a:pt x="222" y="170"/>
                    </a:lnTo>
                    <a:lnTo>
                      <a:pt x="226" y="172"/>
                    </a:lnTo>
                    <a:lnTo>
                      <a:pt x="230" y="172"/>
                    </a:lnTo>
                    <a:lnTo>
                      <a:pt x="230" y="176"/>
                    </a:lnTo>
                    <a:lnTo>
                      <a:pt x="234" y="176"/>
                    </a:lnTo>
                    <a:lnTo>
                      <a:pt x="234" y="180"/>
                    </a:lnTo>
                    <a:lnTo>
                      <a:pt x="238" y="180"/>
                    </a:lnTo>
                    <a:lnTo>
                      <a:pt x="238" y="184"/>
                    </a:lnTo>
                    <a:lnTo>
                      <a:pt x="242" y="184"/>
                    </a:lnTo>
                    <a:lnTo>
                      <a:pt x="242" y="180"/>
                    </a:lnTo>
                    <a:lnTo>
                      <a:pt x="246" y="180"/>
                    </a:lnTo>
                    <a:lnTo>
                      <a:pt x="246" y="184"/>
                    </a:lnTo>
                    <a:lnTo>
                      <a:pt x="248" y="188"/>
                    </a:lnTo>
                    <a:lnTo>
                      <a:pt x="248" y="184"/>
                    </a:lnTo>
                    <a:lnTo>
                      <a:pt x="252" y="184"/>
                    </a:lnTo>
                    <a:lnTo>
                      <a:pt x="256" y="184"/>
                    </a:lnTo>
                    <a:lnTo>
                      <a:pt x="256" y="188"/>
                    </a:lnTo>
                    <a:lnTo>
                      <a:pt x="260" y="188"/>
                    </a:lnTo>
                    <a:lnTo>
                      <a:pt x="264" y="188"/>
                    </a:lnTo>
                    <a:lnTo>
                      <a:pt x="268" y="188"/>
                    </a:lnTo>
                    <a:lnTo>
                      <a:pt x="268" y="192"/>
                    </a:lnTo>
                    <a:lnTo>
                      <a:pt x="272" y="188"/>
                    </a:lnTo>
                    <a:lnTo>
                      <a:pt x="274" y="188"/>
                    </a:lnTo>
                    <a:lnTo>
                      <a:pt x="278" y="188"/>
                    </a:lnTo>
                    <a:lnTo>
                      <a:pt x="278" y="192"/>
                    </a:lnTo>
                    <a:lnTo>
                      <a:pt x="278" y="188"/>
                    </a:lnTo>
                    <a:lnTo>
                      <a:pt x="282" y="184"/>
                    </a:lnTo>
                    <a:lnTo>
                      <a:pt x="282" y="180"/>
                    </a:lnTo>
                    <a:lnTo>
                      <a:pt x="278" y="180"/>
                    </a:lnTo>
                    <a:lnTo>
                      <a:pt x="278" y="176"/>
                    </a:lnTo>
                    <a:lnTo>
                      <a:pt x="278" y="172"/>
                    </a:lnTo>
                    <a:lnTo>
                      <a:pt x="278" y="170"/>
                    </a:lnTo>
                    <a:lnTo>
                      <a:pt x="282" y="166"/>
                    </a:lnTo>
                    <a:lnTo>
                      <a:pt x="282" y="162"/>
                    </a:lnTo>
                    <a:lnTo>
                      <a:pt x="278" y="162"/>
                    </a:lnTo>
                    <a:lnTo>
                      <a:pt x="282" y="162"/>
                    </a:lnTo>
                    <a:lnTo>
                      <a:pt x="286" y="158"/>
                    </a:lnTo>
                    <a:lnTo>
                      <a:pt x="290" y="158"/>
                    </a:lnTo>
                    <a:lnTo>
                      <a:pt x="290" y="162"/>
                    </a:lnTo>
                    <a:lnTo>
                      <a:pt x="290" y="166"/>
                    </a:lnTo>
                    <a:lnTo>
                      <a:pt x="290" y="170"/>
                    </a:lnTo>
                    <a:lnTo>
                      <a:pt x="290" y="172"/>
                    </a:lnTo>
                    <a:lnTo>
                      <a:pt x="290" y="176"/>
                    </a:lnTo>
                    <a:lnTo>
                      <a:pt x="290" y="180"/>
                    </a:lnTo>
                    <a:lnTo>
                      <a:pt x="294" y="180"/>
                    </a:lnTo>
                    <a:lnTo>
                      <a:pt x="298" y="180"/>
                    </a:lnTo>
                    <a:lnTo>
                      <a:pt x="302" y="180"/>
                    </a:lnTo>
                    <a:lnTo>
                      <a:pt x="302" y="184"/>
                    </a:lnTo>
                    <a:lnTo>
                      <a:pt x="304" y="184"/>
                    </a:lnTo>
                    <a:lnTo>
                      <a:pt x="308" y="184"/>
                    </a:lnTo>
                    <a:lnTo>
                      <a:pt x="308" y="180"/>
                    </a:lnTo>
                    <a:lnTo>
                      <a:pt x="312" y="180"/>
                    </a:lnTo>
                    <a:lnTo>
                      <a:pt x="316" y="180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4" y="180"/>
                    </a:lnTo>
                    <a:lnTo>
                      <a:pt x="324" y="184"/>
                    </a:lnTo>
                    <a:lnTo>
                      <a:pt x="328" y="184"/>
                    </a:lnTo>
                    <a:lnTo>
                      <a:pt x="328" y="180"/>
                    </a:lnTo>
                    <a:lnTo>
                      <a:pt x="332" y="180"/>
                    </a:lnTo>
                    <a:lnTo>
                      <a:pt x="334" y="180"/>
                    </a:lnTo>
                    <a:lnTo>
                      <a:pt x="338" y="180"/>
                    </a:lnTo>
                    <a:lnTo>
                      <a:pt x="334" y="176"/>
                    </a:lnTo>
                    <a:lnTo>
                      <a:pt x="338" y="172"/>
                    </a:lnTo>
                    <a:lnTo>
                      <a:pt x="334" y="172"/>
                    </a:lnTo>
                    <a:lnTo>
                      <a:pt x="334" y="170"/>
                    </a:lnTo>
                    <a:lnTo>
                      <a:pt x="332" y="170"/>
                    </a:lnTo>
                    <a:lnTo>
                      <a:pt x="332" y="166"/>
                    </a:lnTo>
                    <a:lnTo>
                      <a:pt x="334" y="166"/>
                    </a:lnTo>
                    <a:lnTo>
                      <a:pt x="338" y="166"/>
                    </a:lnTo>
                    <a:lnTo>
                      <a:pt x="338" y="162"/>
                    </a:lnTo>
                    <a:lnTo>
                      <a:pt x="338" y="166"/>
                    </a:lnTo>
                    <a:lnTo>
                      <a:pt x="342" y="162"/>
                    </a:lnTo>
                    <a:lnTo>
                      <a:pt x="346" y="162"/>
                    </a:lnTo>
                    <a:lnTo>
                      <a:pt x="346" y="158"/>
                    </a:lnTo>
                    <a:lnTo>
                      <a:pt x="350" y="154"/>
                    </a:lnTo>
                    <a:lnTo>
                      <a:pt x="354" y="154"/>
                    </a:lnTo>
                    <a:lnTo>
                      <a:pt x="354" y="150"/>
                    </a:lnTo>
                    <a:lnTo>
                      <a:pt x="358" y="146"/>
                    </a:lnTo>
                    <a:lnTo>
                      <a:pt x="360" y="146"/>
                    </a:lnTo>
                    <a:lnTo>
                      <a:pt x="364" y="146"/>
                    </a:lnTo>
                    <a:lnTo>
                      <a:pt x="364" y="142"/>
                    </a:lnTo>
                    <a:lnTo>
                      <a:pt x="368" y="140"/>
                    </a:lnTo>
                    <a:lnTo>
                      <a:pt x="372" y="140"/>
                    </a:lnTo>
                    <a:lnTo>
                      <a:pt x="372" y="136"/>
                    </a:lnTo>
                    <a:lnTo>
                      <a:pt x="376" y="136"/>
                    </a:lnTo>
                    <a:lnTo>
                      <a:pt x="376" y="140"/>
                    </a:lnTo>
                    <a:lnTo>
                      <a:pt x="380" y="140"/>
                    </a:lnTo>
                    <a:lnTo>
                      <a:pt x="384" y="142"/>
                    </a:lnTo>
                    <a:lnTo>
                      <a:pt x="384" y="140"/>
                    </a:lnTo>
                    <a:lnTo>
                      <a:pt x="388" y="140"/>
                    </a:lnTo>
                    <a:lnTo>
                      <a:pt x="388" y="136"/>
                    </a:lnTo>
                    <a:lnTo>
                      <a:pt x="390" y="136"/>
                    </a:lnTo>
                    <a:lnTo>
                      <a:pt x="394" y="132"/>
                    </a:lnTo>
                    <a:lnTo>
                      <a:pt x="394" y="136"/>
                    </a:lnTo>
                    <a:lnTo>
                      <a:pt x="394" y="140"/>
                    </a:lnTo>
                    <a:lnTo>
                      <a:pt x="398" y="136"/>
                    </a:lnTo>
                    <a:lnTo>
                      <a:pt x="398" y="140"/>
                    </a:lnTo>
                    <a:lnTo>
                      <a:pt x="394" y="140"/>
                    </a:lnTo>
                    <a:lnTo>
                      <a:pt x="394" y="142"/>
                    </a:lnTo>
                    <a:lnTo>
                      <a:pt x="398" y="142"/>
                    </a:lnTo>
                    <a:lnTo>
                      <a:pt x="398" y="140"/>
                    </a:lnTo>
                    <a:lnTo>
                      <a:pt x="398" y="142"/>
                    </a:lnTo>
                    <a:lnTo>
                      <a:pt x="402" y="146"/>
                    </a:lnTo>
                    <a:lnTo>
                      <a:pt x="398" y="150"/>
                    </a:lnTo>
                    <a:lnTo>
                      <a:pt x="398" y="154"/>
                    </a:lnTo>
                    <a:lnTo>
                      <a:pt x="402" y="150"/>
                    </a:lnTo>
                    <a:lnTo>
                      <a:pt x="402" y="154"/>
                    </a:lnTo>
                    <a:lnTo>
                      <a:pt x="406" y="154"/>
                    </a:lnTo>
                    <a:lnTo>
                      <a:pt x="410" y="154"/>
                    </a:lnTo>
                    <a:lnTo>
                      <a:pt x="410" y="158"/>
                    </a:lnTo>
                    <a:lnTo>
                      <a:pt x="414" y="162"/>
                    </a:lnTo>
                    <a:lnTo>
                      <a:pt x="410" y="162"/>
                    </a:lnTo>
                    <a:lnTo>
                      <a:pt x="410" y="166"/>
                    </a:lnTo>
                    <a:lnTo>
                      <a:pt x="406" y="166"/>
                    </a:lnTo>
                    <a:lnTo>
                      <a:pt x="406" y="170"/>
                    </a:lnTo>
                    <a:lnTo>
                      <a:pt x="406" y="172"/>
                    </a:lnTo>
                    <a:lnTo>
                      <a:pt x="410" y="176"/>
                    </a:lnTo>
                    <a:lnTo>
                      <a:pt x="406" y="176"/>
                    </a:lnTo>
                    <a:lnTo>
                      <a:pt x="406" y="172"/>
                    </a:lnTo>
                    <a:lnTo>
                      <a:pt x="402" y="172"/>
                    </a:lnTo>
                    <a:lnTo>
                      <a:pt x="398" y="172"/>
                    </a:lnTo>
                    <a:lnTo>
                      <a:pt x="394" y="172"/>
                    </a:lnTo>
                    <a:lnTo>
                      <a:pt x="390" y="176"/>
                    </a:lnTo>
                    <a:lnTo>
                      <a:pt x="388" y="180"/>
                    </a:lnTo>
                    <a:lnTo>
                      <a:pt x="384" y="180"/>
                    </a:lnTo>
                    <a:lnTo>
                      <a:pt x="384" y="184"/>
                    </a:lnTo>
                    <a:lnTo>
                      <a:pt x="380" y="184"/>
                    </a:lnTo>
                    <a:lnTo>
                      <a:pt x="380" y="188"/>
                    </a:lnTo>
                    <a:lnTo>
                      <a:pt x="380" y="192"/>
                    </a:lnTo>
                    <a:lnTo>
                      <a:pt x="380" y="196"/>
                    </a:lnTo>
                    <a:lnTo>
                      <a:pt x="380" y="198"/>
                    </a:lnTo>
                    <a:lnTo>
                      <a:pt x="380" y="202"/>
                    </a:lnTo>
                    <a:lnTo>
                      <a:pt x="376" y="202"/>
                    </a:lnTo>
                    <a:lnTo>
                      <a:pt x="376" y="206"/>
                    </a:lnTo>
                    <a:lnTo>
                      <a:pt x="372" y="206"/>
                    </a:lnTo>
                    <a:lnTo>
                      <a:pt x="372" y="210"/>
                    </a:lnTo>
                    <a:lnTo>
                      <a:pt x="376" y="214"/>
                    </a:lnTo>
                    <a:lnTo>
                      <a:pt x="372" y="218"/>
                    </a:lnTo>
                    <a:lnTo>
                      <a:pt x="372" y="222"/>
                    </a:lnTo>
                    <a:lnTo>
                      <a:pt x="368" y="226"/>
                    </a:lnTo>
                    <a:lnTo>
                      <a:pt x="368" y="228"/>
                    </a:lnTo>
                    <a:lnTo>
                      <a:pt x="368" y="232"/>
                    </a:lnTo>
                    <a:lnTo>
                      <a:pt x="364" y="236"/>
                    </a:lnTo>
                    <a:lnTo>
                      <a:pt x="364" y="232"/>
                    </a:lnTo>
                    <a:lnTo>
                      <a:pt x="360" y="232"/>
                    </a:lnTo>
                    <a:lnTo>
                      <a:pt x="358" y="232"/>
                    </a:lnTo>
                    <a:lnTo>
                      <a:pt x="354" y="232"/>
                    </a:lnTo>
                    <a:lnTo>
                      <a:pt x="354" y="228"/>
                    </a:lnTo>
                    <a:lnTo>
                      <a:pt x="354" y="232"/>
                    </a:lnTo>
                    <a:lnTo>
                      <a:pt x="354" y="236"/>
                    </a:lnTo>
                    <a:lnTo>
                      <a:pt x="358" y="240"/>
                    </a:lnTo>
                    <a:lnTo>
                      <a:pt x="354" y="244"/>
                    </a:lnTo>
                    <a:lnTo>
                      <a:pt x="354" y="248"/>
                    </a:lnTo>
                    <a:lnTo>
                      <a:pt x="354" y="252"/>
                    </a:lnTo>
                    <a:lnTo>
                      <a:pt x="354" y="248"/>
                    </a:lnTo>
                    <a:lnTo>
                      <a:pt x="350" y="248"/>
                    </a:lnTo>
                    <a:lnTo>
                      <a:pt x="350" y="252"/>
                    </a:lnTo>
                    <a:lnTo>
                      <a:pt x="350" y="256"/>
                    </a:lnTo>
                    <a:lnTo>
                      <a:pt x="350" y="258"/>
                    </a:lnTo>
                    <a:lnTo>
                      <a:pt x="354" y="258"/>
                    </a:lnTo>
                    <a:lnTo>
                      <a:pt x="354" y="262"/>
                    </a:lnTo>
                    <a:lnTo>
                      <a:pt x="354" y="266"/>
                    </a:lnTo>
                    <a:lnTo>
                      <a:pt x="350" y="266"/>
                    </a:lnTo>
                    <a:lnTo>
                      <a:pt x="350" y="262"/>
                    </a:lnTo>
                    <a:lnTo>
                      <a:pt x="350" y="266"/>
                    </a:lnTo>
                    <a:lnTo>
                      <a:pt x="346" y="266"/>
                    </a:lnTo>
                    <a:lnTo>
                      <a:pt x="342" y="270"/>
                    </a:lnTo>
                    <a:lnTo>
                      <a:pt x="342" y="266"/>
                    </a:lnTo>
                    <a:lnTo>
                      <a:pt x="342" y="262"/>
                    </a:lnTo>
                    <a:lnTo>
                      <a:pt x="342" y="258"/>
                    </a:lnTo>
                    <a:lnTo>
                      <a:pt x="342" y="256"/>
                    </a:lnTo>
                    <a:lnTo>
                      <a:pt x="342" y="252"/>
                    </a:lnTo>
                    <a:lnTo>
                      <a:pt x="338" y="248"/>
                    </a:lnTo>
                    <a:lnTo>
                      <a:pt x="342" y="248"/>
                    </a:lnTo>
                    <a:lnTo>
                      <a:pt x="342" y="244"/>
                    </a:lnTo>
                    <a:lnTo>
                      <a:pt x="338" y="244"/>
                    </a:lnTo>
                    <a:lnTo>
                      <a:pt x="338" y="240"/>
                    </a:lnTo>
                    <a:lnTo>
                      <a:pt x="338" y="236"/>
                    </a:lnTo>
                    <a:lnTo>
                      <a:pt x="334" y="240"/>
                    </a:lnTo>
                    <a:lnTo>
                      <a:pt x="334" y="236"/>
                    </a:lnTo>
                    <a:lnTo>
                      <a:pt x="334" y="240"/>
                    </a:lnTo>
                    <a:lnTo>
                      <a:pt x="334" y="244"/>
                    </a:lnTo>
                    <a:lnTo>
                      <a:pt x="332" y="244"/>
                    </a:lnTo>
                    <a:lnTo>
                      <a:pt x="332" y="248"/>
                    </a:lnTo>
                    <a:lnTo>
                      <a:pt x="332" y="252"/>
                    </a:lnTo>
                    <a:lnTo>
                      <a:pt x="328" y="252"/>
                    </a:lnTo>
                    <a:lnTo>
                      <a:pt x="328" y="248"/>
                    </a:lnTo>
                    <a:lnTo>
                      <a:pt x="328" y="244"/>
                    </a:lnTo>
                    <a:lnTo>
                      <a:pt x="328" y="248"/>
                    </a:lnTo>
                    <a:lnTo>
                      <a:pt x="324" y="244"/>
                    </a:lnTo>
                    <a:lnTo>
                      <a:pt x="324" y="240"/>
                    </a:lnTo>
                    <a:lnTo>
                      <a:pt x="324" y="236"/>
                    </a:lnTo>
                    <a:lnTo>
                      <a:pt x="324" y="232"/>
                    </a:lnTo>
                    <a:lnTo>
                      <a:pt x="328" y="228"/>
                    </a:lnTo>
                    <a:lnTo>
                      <a:pt x="328" y="232"/>
                    </a:lnTo>
                    <a:lnTo>
                      <a:pt x="328" y="228"/>
                    </a:lnTo>
                    <a:lnTo>
                      <a:pt x="332" y="228"/>
                    </a:lnTo>
                    <a:lnTo>
                      <a:pt x="334" y="228"/>
                    </a:lnTo>
                    <a:lnTo>
                      <a:pt x="334" y="226"/>
                    </a:lnTo>
                    <a:lnTo>
                      <a:pt x="338" y="226"/>
                    </a:lnTo>
                    <a:lnTo>
                      <a:pt x="338" y="222"/>
                    </a:lnTo>
                    <a:lnTo>
                      <a:pt x="338" y="218"/>
                    </a:lnTo>
                    <a:lnTo>
                      <a:pt x="342" y="218"/>
                    </a:lnTo>
                    <a:lnTo>
                      <a:pt x="342" y="214"/>
                    </a:lnTo>
                    <a:lnTo>
                      <a:pt x="338" y="214"/>
                    </a:lnTo>
                    <a:lnTo>
                      <a:pt x="338" y="210"/>
                    </a:lnTo>
                    <a:lnTo>
                      <a:pt x="334" y="210"/>
                    </a:lnTo>
                    <a:lnTo>
                      <a:pt x="332" y="210"/>
                    </a:lnTo>
                    <a:lnTo>
                      <a:pt x="328" y="210"/>
                    </a:lnTo>
                    <a:lnTo>
                      <a:pt x="324" y="210"/>
                    </a:lnTo>
                    <a:lnTo>
                      <a:pt x="320" y="210"/>
                    </a:lnTo>
                    <a:lnTo>
                      <a:pt x="316" y="210"/>
                    </a:lnTo>
                    <a:lnTo>
                      <a:pt x="312" y="210"/>
                    </a:lnTo>
                    <a:lnTo>
                      <a:pt x="308" y="210"/>
                    </a:lnTo>
                    <a:lnTo>
                      <a:pt x="304" y="210"/>
                    </a:lnTo>
                    <a:lnTo>
                      <a:pt x="304" y="206"/>
                    </a:lnTo>
                    <a:lnTo>
                      <a:pt x="304" y="202"/>
                    </a:lnTo>
                    <a:lnTo>
                      <a:pt x="304" y="198"/>
                    </a:lnTo>
                    <a:lnTo>
                      <a:pt x="304" y="196"/>
                    </a:lnTo>
                    <a:lnTo>
                      <a:pt x="302" y="196"/>
                    </a:lnTo>
                    <a:lnTo>
                      <a:pt x="302" y="192"/>
                    </a:lnTo>
                    <a:lnTo>
                      <a:pt x="302" y="196"/>
                    </a:lnTo>
                    <a:lnTo>
                      <a:pt x="298" y="196"/>
                    </a:lnTo>
                    <a:lnTo>
                      <a:pt x="294" y="196"/>
                    </a:lnTo>
                    <a:lnTo>
                      <a:pt x="294" y="192"/>
                    </a:lnTo>
                    <a:lnTo>
                      <a:pt x="294" y="188"/>
                    </a:lnTo>
                    <a:lnTo>
                      <a:pt x="290" y="188"/>
                    </a:lnTo>
                    <a:lnTo>
                      <a:pt x="290" y="192"/>
                    </a:lnTo>
                    <a:lnTo>
                      <a:pt x="294" y="192"/>
                    </a:lnTo>
                    <a:lnTo>
                      <a:pt x="290" y="192"/>
                    </a:lnTo>
                    <a:lnTo>
                      <a:pt x="290" y="188"/>
                    </a:lnTo>
                    <a:lnTo>
                      <a:pt x="286" y="188"/>
                    </a:lnTo>
                    <a:lnTo>
                      <a:pt x="286" y="184"/>
                    </a:lnTo>
                    <a:lnTo>
                      <a:pt x="282" y="188"/>
                    </a:lnTo>
                    <a:lnTo>
                      <a:pt x="286" y="188"/>
                    </a:lnTo>
                    <a:lnTo>
                      <a:pt x="286" y="192"/>
                    </a:lnTo>
                    <a:lnTo>
                      <a:pt x="282" y="192"/>
                    </a:lnTo>
                    <a:lnTo>
                      <a:pt x="282" y="196"/>
                    </a:lnTo>
                    <a:lnTo>
                      <a:pt x="278" y="198"/>
                    </a:lnTo>
                    <a:lnTo>
                      <a:pt x="282" y="198"/>
                    </a:lnTo>
                    <a:lnTo>
                      <a:pt x="286" y="202"/>
                    </a:lnTo>
                    <a:lnTo>
                      <a:pt x="286" y="206"/>
                    </a:lnTo>
                    <a:lnTo>
                      <a:pt x="290" y="206"/>
                    </a:lnTo>
                    <a:lnTo>
                      <a:pt x="290" y="210"/>
                    </a:lnTo>
                    <a:lnTo>
                      <a:pt x="294" y="210"/>
                    </a:lnTo>
                    <a:lnTo>
                      <a:pt x="290" y="210"/>
                    </a:lnTo>
                    <a:lnTo>
                      <a:pt x="286" y="210"/>
                    </a:lnTo>
                    <a:lnTo>
                      <a:pt x="286" y="214"/>
                    </a:lnTo>
                    <a:lnTo>
                      <a:pt x="282" y="214"/>
                    </a:lnTo>
                    <a:lnTo>
                      <a:pt x="282" y="218"/>
                    </a:lnTo>
                    <a:lnTo>
                      <a:pt x="282" y="214"/>
                    </a:lnTo>
                    <a:lnTo>
                      <a:pt x="278" y="218"/>
                    </a:lnTo>
                    <a:lnTo>
                      <a:pt x="282" y="218"/>
                    </a:lnTo>
                    <a:lnTo>
                      <a:pt x="278" y="218"/>
                    </a:lnTo>
                    <a:lnTo>
                      <a:pt x="278" y="222"/>
                    </a:lnTo>
                    <a:lnTo>
                      <a:pt x="282" y="226"/>
                    </a:lnTo>
                    <a:lnTo>
                      <a:pt x="286" y="226"/>
                    </a:lnTo>
                    <a:lnTo>
                      <a:pt x="286" y="228"/>
                    </a:lnTo>
                    <a:lnTo>
                      <a:pt x="286" y="226"/>
                    </a:lnTo>
                    <a:lnTo>
                      <a:pt x="290" y="226"/>
                    </a:lnTo>
                    <a:lnTo>
                      <a:pt x="290" y="228"/>
                    </a:lnTo>
                    <a:lnTo>
                      <a:pt x="290" y="232"/>
                    </a:lnTo>
                    <a:lnTo>
                      <a:pt x="286" y="236"/>
                    </a:lnTo>
                    <a:lnTo>
                      <a:pt x="286" y="240"/>
                    </a:lnTo>
                    <a:lnTo>
                      <a:pt x="290" y="240"/>
                    </a:lnTo>
                    <a:lnTo>
                      <a:pt x="290" y="244"/>
                    </a:lnTo>
                    <a:lnTo>
                      <a:pt x="290" y="248"/>
                    </a:lnTo>
                    <a:lnTo>
                      <a:pt x="294" y="248"/>
                    </a:lnTo>
                    <a:lnTo>
                      <a:pt x="290" y="248"/>
                    </a:lnTo>
                    <a:lnTo>
                      <a:pt x="290" y="252"/>
                    </a:lnTo>
                    <a:lnTo>
                      <a:pt x="294" y="262"/>
                    </a:lnTo>
                    <a:lnTo>
                      <a:pt x="294" y="266"/>
                    </a:lnTo>
                    <a:lnTo>
                      <a:pt x="294" y="270"/>
                    </a:lnTo>
                    <a:lnTo>
                      <a:pt x="294" y="274"/>
                    </a:lnTo>
                    <a:lnTo>
                      <a:pt x="290" y="274"/>
                    </a:lnTo>
                    <a:lnTo>
                      <a:pt x="290" y="278"/>
                    </a:lnTo>
                    <a:lnTo>
                      <a:pt x="290" y="274"/>
                    </a:lnTo>
                    <a:lnTo>
                      <a:pt x="290" y="270"/>
                    </a:lnTo>
                    <a:lnTo>
                      <a:pt x="290" y="266"/>
                    </a:lnTo>
                    <a:lnTo>
                      <a:pt x="290" y="270"/>
                    </a:lnTo>
                    <a:lnTo>
                      <a:pt x="286" y="270"/>
                    </a:lnTo>
                    <a:lnTo>
                      <a:pt x="286" y="266"/>
                    </a:lnTo>
                    <a:lnTo>
                      <a:pt x="290" y="266"/>
                    </a:lnTo>
                    <a:lnTo>
                      <a:pt x="286" y="266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6" y="278"/>
                    </a:lnTo>
                    <a:lnTo>
                      <a:pt x="286" y="274"/>
                    </a:lnTo>
                    <a:lnTo>
                      <a:pt x="286" y="270"/>
                    </a:lnTo>
                    <a:lnTo>
                      <a:pt x="286" y="274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82" y="274"/>
                    </a:lnTo>
                    <a:lnTo>
                      <a:pt x="282" y="278"/>
                    </a:lnTo>
                    <a:lnTo>
                      <a:pt x="282" y="274"/>
                    </a:lnTo>
                    <a:lnTo>
                      <a:pt x="282" y="270"/>
                    </a:lnTo>
                    <a:lnTo>
                      <a:pt x="278" y="270"/>
                    </a:lnTo>
                    <a:lnTo>
                      <a:pt x="282" y="266"/>
                    </a:lnTo>
                    <a:lnTo>
                      <a:pt x="278" y="262"/>
                    </a:lnTo>
                    <a:lnTo>
                      <a:pt x="278" y="258"/>
                    </a:lnTo>
                    <a:lnTo>
                      <a:pt x="278" y="262"/>
                    </a:lnTo>
                    <a:lnTo>
                      <a:pt x="278" y="266"/>
                    </a:lnTo>
                    <a:lnTo>
                      <a:pt x="282" y="266"/>
                    </a:lnTo>
                    <a:lnTo>
                      <a:pt x="278" y="266"/>
                    </a:lnTo>
                    <a:lnTo>
                      <a:pt x="278" y="270"/>
                    </a:lnTo>
                    <a:lnTo>
                      <a:pt x="274" y="274"/>
                    </a:lnTo>
                    <a:lnTo>
                      <a:pt x="272" y="274"/>
                    </a:lnTo>
                    <a:lnTo>
                      <a:pt x="268" y="278"/>
                    </a:lnTo>
                    <a:lnTo>
                      <a:pt x="264" y="278"/>
                    </a:lnTo>
                    <a:lnTo>
                      <a:pt x="264" y="282"/>
                    </a:lnTo>
                    <a:lnTo>
                      <a:pt x="264" y="286"/>
                    </a:lnTo>
                    <a:lnTo>
                      <a:pt x="264" y="288"/>
                    </a:lnTo>
                    <a:lnTo>
                      <a:pt x="264" y="292"/>
                    </a:lnTo>
                    <a:lnTo>
                      <a:pt x="260" y="292"/>
                    </a:lnTo>
                    <a:lnTo>
                      <a:pt x="260" y="296"/>
                    </a:lnTo>
                    <a:lnTo>
                      <a:pt x="260" y="300"/>
                    </a:lnTo>
                    <a:lnTo>
                      <a:pt x="256" y="300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6" y="302"/>
                    </a:lnTo>
                    <a:lnTo>
                      <a:pt x="252" y="302"/>
                    </a:lnTo>
                    <a:lnTo>
                      <a:pt x="252" y="306"/>
                    </a:lnTo>
                    <a:lnTo>
                      <a:pt x="248" y="306"/>
                    </a:lnTo>
                    <a:lnTo>
                      <a:pt x="246" y="306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6" y="306"/>
                    </a:lnTo>
                    <a:lnTo>
                      <a:pt x="242" y="302"/>
                    </a:lnTo>
                    <a:lnTo>
                      <a:pt x="242" y="306"/>
                    </a:lnTo>
                    <a:lnTo>
                      <a:pt x="238" y="306"/>
                    </a:lnTo>
                    <a:lnTo>
                      <a:pt x="238" y="310"/>
                    </a:lnTo>
                    <a:lnTo>
                      <a:pt x="242" y="310"/>
                    </a:lnTo>
                    <a:lnTo>
                      <a:pt x="242" y="306"/>
                    </a:lnTo>
                    <a:lnTo>
                      <a:pt x="242" y="310"/>
                    </a:lnTo>
                    <a:lnTo>
                      <a:pt x="238" y="310"/>
                    </a:lnTo>
                    <a:lnTo>
                      <a:pt x="238" y="314"/>
                    </a:lnTo>
                    <a:lnTo>
                      <a:pt x="234" y="318"/>
                    </a:lnTo>
                    <a:lnTo>
                      <a:pt x="230" y="318"/>
                    </a:lnTo>
                    <a:lnTo>
                      <a:pt x="234" y="318"/>
                    </a:lnTo>
                    <a:lnTo>
                      <a:pt x="230" y="322"/>
                    </a:lnTo>
                    <a:lnTo>
                      <a:pt x="230" y="326"/>
                    </a:lnTo>
                    <a:lnTo>
                      <a:pt x="226" y="330"/>
                    </a:lnTo>
                    <a:lnTo>
                      <a:pt x="222" y="332"/>
                    </a:lnTo>
                    <a:lnTo>
                      <a:pt x="218" y="332"/>
                    </a:lnTo>
                    <a:lnTo>
                      <a:pt x="218" y="336"/>
                    </a:lnTo>
                    <a:lnTo>
                      <a:pt x="216" y="336"/>
                    </a:lnTo>
                    <a:lnTo>
                      <a:pt x="216" y="340"/>
                    </a:lnTo>
                    <a:lnTo>
                      <a:pt x="212" y="340"/>
                    </a:lnTo>
                    <a:lnTo>
                      <a:pt x="212" y="344"/>
                    </a:lnTo>
                    <a:lnTo>
                      <a:pt x="208" y="348"/>
                    </a:lnTo>
                    <a:lnTo>
                      <a:pt x="204" y="348"/>
                    </a:lnTo>
                    <a:lnTo>
                      <a:pt x="204" y="352"/>
                    </a:lnTo>
                    <a:lnTo>
                      <a:pt x="200" y="352"/>
                    </a:lnTo>
                    <a:lnTo>
                      <a:pt x="200" y="356"/>
                    </a:lnTo>
                    <a:lnTo>
                      <a:pt x="196" y="356"/>
                    </a:lnTo>
                    <a:lnTo>
                      <a:pt x="196" y="358"/>
                    </a:lnTo>
                    <a:lnTo>
                      <a:pt x="200" y="358"/>
                    </a:lnTo>
                    <a:lnTo>
                      <a:pt x="196" y="358"/>
                    </a:lnTo>
                    <a:lnTo>
                      <a:pt x="196" y="362"/>
                    </a:lnTo>
                    <a:lnTo>
                      <a:pt x="196" y="366"/>
                    </a:lnTo>
                    <a:lnTo>
                      <a:pt x="192" y="366"/>
                    </a:lnTo>
                    <a:lnTo>
                      <a:pt x="190" y="366"/>
                    </a:lnTo>
                    <a:lnTo>
                      <a:pt x="186" y="366"/>
                    </a:lnTo>
                    <a:lnTo>
                      <a:pt x="182" y="366"/>
                    </a:lnTo>
                    <a:lnTo>
                      <a:pt x="182" y="370"/>
                    </a:lnTo>
                    <a:lnTo>
                      <a:pt x="182" y="374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8" y="378"/>
                    </a:lnTo>
                    <a:lnTo>
                      <a:pt x="178" y="374"/>
                    </a:lnTo>
                    <a:lnTo>
                      <a:pt x="174" y="374"/>
                    </a:lnTo>
                    <a:lnTo>
                      <a:pt x="170" y="378"/>
                    </a:lnTo>
                    <a:lnTo>
                      <a:pt x="166" y="382"/>
                    </a:lnTo>
                    <a:lnTo>
                      <a:pt x="166" y="386"/>
                    </a:lnTo>
                    <a:lnTo>
                      <a:pt x="166" y="388"/>
                    </a:lnTo>
                    <a:lnTo>
                      <a:pt x="166" y="392"/>
                    </a:lnTo>
                    <a:lnTo>
                      <a:pt x="166" y="396"/>
                    </a:lnTo>
                    <a:lnTo>
                      <a:pt x="166" y="400"/>
                    </a:lnTo>
                    <a:lnTo>
                      <a:pt x="166" y="404"/>
                    </a:lnTo>
                    <a:lnTo>
                      <a:pt x="166" y="408"/>
                    </a:lnTo>
                    <a:lnTo>
                      <a:pt x="166" y="412"/>
                    </a:lnTo>
                    <a:lnTo>
                      <a:pt x="170" y="412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6"/>
                    </a:lnTo>
                    <a:lnTo>
                      <a:pt x="170" y="418"/>
                    </a:lnTo>
                    <a:lnTo>
                      <a:pt x="170" y="416"/>
                    </a:lnTo>
                    <a:lnTo>
                      <a:pt x="166" y="412"/>
                    </a:lnTo>
                    <a:lnTo>
                      <a:pt x="166" y="416"/>
                    </a:lnTo>
                    <a:lnTo>
                      <a:pt x="170" y="418"/>
                    </a:lnTo>
                    <a:lnTo>
                      <a:pt x="170" y="422"/>
                    </a:lnTo>
                    <a:lnTo>
                      <a:pt x="170" y="426"/>
                    </a:lnTo>
                    <a:lnTo>
                      <a:pt x="170" y="430"/>
                    </a:lnTo>
                    <a:lnTo>
                      <a:pt x="166" y="430"/>
                    </a:lnTo>
                    <a:lnTo>
                      <a:pt x="166" y="434"/>
                    </a:lnTo>
                    <a:lnTo>
                      <a:pt x="166" y="438"/>
                    </a:lnTo>
                    <a:lnTo>
                      <a:pt x="162" y="442"/>
                    </a:lnTo>
                    <a:lnTo>
                      <a:pt x="162" y="446"/>
                    </a:lnTo>
                    <a:lnTo>
                      <a:pt x="162" y="448"/>
                    </a:lnTo>
                    <a:lnTo>
                      <a:pt x="162" y="452"/>
                    </a:lnTo>
                    <a:lnTo>
                      <a:pt x="162" y="456"/>
                    </a:lnTo>
                    <a:lnTo>
                      <a:pt x="162" y="460"/>
                    </a:lnTo>
                    <a:lnTo>
                      <a:pt x="162" y="464"/>
                    </a:lnTo>
                    <a:lnTo>
                      <a:pt x="162" y="468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62" y="472"/>
                    </a:lnTo>
                    <a:lnTo>
                      <a:pt x="160" y="472"/>
                    </a:lnTo>
                    <a:lnTo>
                      <a:pt x="156" y="472"/>
                    </a:lnTo>
                    <a:lnTo>
                      <a:pt x="156" y="474"/>
                    </a:lnTo>
                    <a:lnTo>
                      <a:pt x="156" y="478"/>
                    </a:lnTo>
                    <a:lnTo>
                      <a:pt x="152" y="478"/>
                    </a:lnTo>
                    <a:lnTo>
                      <a:pt x="152" y="482"/>
                    </a:lnTo>
                    <a:lnTo>
                      <a:pt x="148" y="486"/>
                    </a:lnTo>
                    <a:lnTo>
                      <a:pt x="152" y="486"/>
                    </a:lnTo>
                    <a:lnTo>
                      <a:pt x="152" y="490"/>
                    </a:lnTo>
                    <a:lnTo>
                      <a:pt x="156" y="490"/>
                    </a:lnTo>
                    <a:lnTo>
                      <a:pt x="152" y="490"/>
                    </a:lnTo>
                    <a:lnTo>
                      <a:pt x="148" y="490"/>
                    </a:lnTo>
                    <a:lnTo>
                      <a:pt x="144" y="494"/>
                    </a:lnTo>
                    <a:lnTo>
                      <a:pt x="140" y="494"/>
                    </a:lnTo>
                    <a:lnTo>
                      <a:pt x="140" y="498"/>
                    </a:lnTo>
                    <a:lnTo>
                      <a:pt x="140" y="502"/>
                    </a:lnTo>
                    <a:lnTo>
                      <a:pt x="136" y="504"/>
                    </a:lnTo>
                    <a:lnTo>
                      <a:pt x="134" y="508"/>
                    </a:lnTo>
                    <a:lnTo>
                      <a:pt x="130" y="508"/>
                    </a:lnTo>
                    <a:lnTo>
                      <a:pt x="126" y="508"/>
                    </a:lnTo>
                    <a:lnTo>
                      <a:pt x="126" y="504"/>
                    </a:lnTo>
                    <a:lnTo>
                      <a:pt x="122" y="504"/>
                    </a:lnTo>
                    <a:lnTo>
                      <a:pt x="122" y="502"/>
                    </a:lnTo>
                    <a:lnTo>
                      <a:pt x="118" y="502"/>
                    </a:lnTo>
                    <a:lnTo>
                      <a:pt x="118" y="498"/>
                    </a:lnTo>
                    <a:lnTo>
                      <a:pt x="118" y="494"/>
                    </a:lnTo>
                    <a:lnTo>
                      <a:pt x="114" y="494"/>
                    </a:lnTo>
                    <a:lnTo>
                      <a:pt x="114" y="490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0" y="478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4" y="482"/>
                    </a:lnTo>
                    <a:lnTo>
                      <a:pt x="114" y="486"/>
                    </a:lnTo>
                    <a:lnTo>
                      <a:pt x="114" y="482"/>
                    </a:lnTo>
                    <a:lnTo>
                      <a:pt x="114" y="478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8"/>
                    </a:lnTo>
                    <a:lnTo>
                      <a:pt x="110" y="474"/>
                    </a:lnTo>
                    <a:lnTo>
                      <a:pt x="110" y="472"/>
                    </a:lnTo>
                    <a:lnTo>
                      <a:pt x="110" y="468"/>
                    </a:lnTo>
                    <a:lnTo>
                      <a:pt x="106" y="464"/>
                    </a:lnTo>
                    <a:lnTo>
                      <a:pt x="106" y="460"/>
                    </a:lnTo>
                    <a:lnTo>
                      <a:pt x="104" y="452"/>
                    </a:lnTo>
                    <a:lnTo>
                      <a:pt x="104" y="448"/>
                    </a:lnTo>
                    <a:lnTo>
                      <a:pt x="100" y="446"/>
                    </a:lnTo>
                    <a:lnTo>
                      <a:pt x="100" y="442"/>
                    </a:lnTo>
                    <a:lnTo>
                      <a:pt x="96" y="442"/>
                    </a:lnTo>
                    <a:lnTo>
                      <a:pt x="96" y="438"/>
                    </a:lnTo>
                    <a:lnTo>
                      <a:pt x="96" y="434"/>
                    </a:lnTo>
                    <a:lnTo>
                      <a:pt x="92" y="430"/>
                    </a:lnTo>
                    <a:lnTo>
                      <a:pt x="92" y="426"/>
                    </a:lnTo>
                    <a:lnTo>
                      <a:pt x="92" y="422"/>
                    </a:lnTo>
                    <a:lnTo>
                      <a:pt x="92" y="418"/>
                    </a:lnTo>
                    <a:lnTo>
                      <a:pt x="90" y="416"/>
                    </a:lnTo>
                    <a:lnTo>
                      <a:pt x="90" y="412"/>
                    </a:lnTo>
                    <a:lnTo>
                      <a:pt x="90" y="408"/>
                    </a:lnTo>
                    <a:lnTo>
                      <a:pt x="90" y="404"/>
                    </a:lnTo>
                    <a:lnTo>
                      <a:pt x="86" y="404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6" y="400"/>
                    </a:lnTo>
                    <a:lnTo>
                      <a:pt x="86" y="396"/>
                    </a:lnTo>
                    <a:lnTo>
                      <a:pt x="82" y="396"/>
                    </a:lnTo>
                    <a:lnTo>
                      <a:pt x="82" y="392"/>
                    </a:lnTo>
                    <a:lnTo>
                      <a:pt x="82" y="388"/>
                    </a:lnTo>
                    <a:lnTo>
                      <a:pt x="78" y="386"/>
                    </a:lnTo>
                    <a:lnTo>
                      <a:pt x="78" y="382"/>
                    </a:lnTo>
                    <a:lnTo>
                      <a:pt x="82" y="386"/>
                    </a:lnTo>
                    <a:lnTo>
                      <a:pt x="82" y="382"/>
                    </a:lnTo>
                    <a:lnTo>
                      <a:pt x="78" y="382"/>
                    </a:lnTo>
                    <a:lnTo>
                      <a:pt x="78" y="378"/>
                    </a:lnTo>
                    <a:lnTo>
                      <a:pt x="74" y="378"/>
                    </a:lnTo>
                    <a:lnTo>
                      <a:pt x="74" y="374"/>
                    </a:lnTo>
                    <a:lnTo>
                      <a:pt x="74" y="370"/>
                    </a:lnTo>
                    <a:lnTo>
                      <a:pt x="70" y="366"/>
                    </a:lnTo>
                    <a:lnTo>
                      <a:pt x="70" y="362"/>
                    </a:lnTo>
                    <a:lnTo>
                      <a:pt x="70" y="358"/>
                    </a:lnTo>
                    <a:lnTo>
                      <a:pt x="70" y="356"/>
                    </a:lnTo>
                    <a:lnTo>
                      <a:pt x="70" y="352"/>
                    </a:lnTo>
                    <a:lnTo>
                      <a:pt x="70" y="348"/>
                    </a:lnTo>
                    <a:lnTo>
                      <a:pt x="70" y="344"/>
                    </a:lnTo>
                    <a:lnTo>
                      <a:pt x="66" y="344"/>
                    </a:lnTo>
                    <a:lnTo>
                      <a:pt x="66" y="340"/>
                    </a:lnTo>
                    <a:lnTo>
                      <a:pt x="66" y="336"/>
                    </a:lnTo>
                    <a:lnTo>
                      <a:pt x="66" y="332"/>
                    </a:lnTo>
                    <a:lnTo>
                      <a:pt x="66" y="330"/>
                    </a:lnTo>
                    <a:lnTo>
                      <a:pt x="62" y="326"/>
                    </a:lnTo>
                    <a:lnTo>
                      <a:pt x="66" y="326"/>
                    </a:lnTo>
                    <a:lnTo>
                      <a:pt x="66" y="322"/>
                    </a:lnTo>
                    <a:lnTo>
                      <a:pt x="66" y="318"/>
                    </a:lnTo>
                    <a:lnTo>
                      <a:pt x="66" y="322"/>
                    </a:lnTo>
                    <a:lnTo>
                      <a:pt x="62" y="322"/>
                    </a:lnTo>
                    <a:lnTo>
                      <a:pt x="62" y="318"/>
                    </a:lnTo>
                    <a:lnTo>
                      <a:pt x="62" y="314"/>
                    </a:lnTo>
                    <a:lnTo>
                      <a:pt x="66" y="314"/>
                    </a:lnTo>
                    <a:lnTo>
                      <a:pt x="66" y="318"/>
                    </a:lnTo>
                    <a:lnTo>
                      <a:pt x="66" y="314"/>
                    </a:lnTo>
                    <a:lnTo>
                      <a:pt x="62" y="314"/>
                    </a:lnTo>
                    <a:lnTo>
                      <a:pt x="62" y="310"/>
                    </a:lnTo>
                    <a:lnTo>
                      <a:pt x="62" y="306"/>
                    </a:lnTo>
                    <a:lnTo>
                      <a:pt x="62" y="302"/>
                    </a:lnTo>
                    <a:lnTo>
                      <a:pt x="62" y="300"/>
                    </a:lnTo>
                    <a:lnTo>
                      <a:pt x="62" y="296"/>
                    </a:lnTo>
                    <a:lnTo>
                      <a:pt x="66" y="296"/>
                    </a:lnTo>
                    <a:lnTo>
                      <a:pt x="66" y="288"/>
                    </a:lnTo>
                    <a:lnTo>
                      <a:pt x="62" y="288"/>
                    </a:lnTo>
                    <a:lnTo>
                      <a:pt x="62" y="286"/>
                    </a:lnTo>
                    <a:lnTo>
                      <a:pt x="62" y="282"/>
                    </a:lnTo>
                    <a:lnTo>
                      <a:pt x="60" y="282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0" y="278"/>
                    </a:lnTo>
                    <a:lnTo>
                      <a:pt x="62" y="278"/>
                    </a:lnTo>
                    <a:lnTo>
                      <a:pt x="62" y="274"/>
                    </a:lnTo>
                    <a:lnTo>
                      <a:pt x="66" y="274"/>
                    </a:lnTo>
                    <a:lnTo>
                      <a:pt x="70" y="274"/>
                    </a:lnTo>
                    <a:lnTo>
                      <a:pt x="66" y="274"/>
                    </a:lnTo>
                    <a:lnTo>
                      <a:pt x="62" y="274"/>
                    </a:lnTo>
                    <a:lnTo>
                      <a:pt x="60" y="274"/>
                    </a:lnTo>
                    <a:lnTo>
                      <a:pt x="60" y="270"/>
                    </a:lnTo>
                    <a:lnTo>
                      <a:pt x="62" y="270"/>
                    </a:lnTo>
                    <a:lnTo>
                      <a:pt x="60" y="270"/>
                    </a:lnTo>
                    <a:lnTo>
                      <a:pt x="60" y="266"/>
                    </a:lnTo>
                    <a:lnTo>
                      <a:pt x="62" y="262"/>
                    </a:lnTo>
                    <a:lnTo>
                      <a:pt x="62" y="266"/>
                    </a:lnTo>
                    <a:lnTo>
                      <a:pt x="62" y="262"/>
                    </a:lnTo>
                    <a:lnTo>
                      <a:pt x="66" y="262"/>
                    </a:lnTo>
                    <a:lnTo>
                      <a:pt x="62" y="262"/>
                    </a:lnTo>
                    <a:lnTo>
                      <a:pt x="60" y="262"/>
                    </a:lnTo>
                    <a:lnTo>
                      <a:pt x="56" y="262"/>
                    </a:lnTo>
                    <a:lnTo>
                      <a:pt x="56" y="266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6" y="270"/>
                    </a:lnTo>
                    <a:lnTo>
                      <a:pt x="52" y="270"/>
                    </a:lnTo>
                    <a:lnTo>
                      <a:pt x="52" y="274"/>
                    </a:lnTo>
                    <a:lnTo>
                      <a:pt x="56" y="270"/>
                    </a:lnTo>
                    <a:lnTo>
                      <a:pt x="56" y="274"/>
                    </a:lnTo>
                    <a:lnTo>
                      <a:pt x="56" y="278"/>
                    </a:lnTo>
                    <a:lnTo>
                      <a:pt x="56" y="282"/>
                    </a:lnTo>
                    <a:lnTo>
                      <a:pt x="52" y="282"/>
                    </a:lnTo>
                    <a:lnTo>
                      <a:pt x="52" y="286"/>
                    </a:lnTo>
                    <a:lnTo>
                      <a:pt x="48" y="286"/>
                    </a:lnTo>
                    <a:lnTo>
                      <a:pt x="44" y="288"/>
                    </a:lnTo>
                    <a:lnTo>
                      <a:pt x="40" y="288"/>
                    </a:lnTo>
                    <a:lnTo>
                      <a:pt x="36" y="292"/>
                    </a:lnTo>
                    <a:lnTo>
                      <a:pt x="34" y="288"/>
                    </a:lnTo>
                    <a:lnTo>
                      <a:pt x="30" y="288"/>
                    </a:lnTo>
                    <a:lnTo>
                      <a:pt x="30" y="286"/>
                    </a:lnTo>
                    <a:lnTo>
                      <a:pt x="26" y="286"/>
                    </a:lnTo>
                    <a:lnTo>
                      <a:pt x="26" y="282"/>
                    </a:lnTo>
                    <a:lnTo>
                      <a:pt x="22" y="282"/>
                    </a:lnTo>
                    <a:lnTo>
                      <a:pt x="22" y="278"/>
                    </a:lnTo>
                    <a:lnTo>
                      <a:pt x="18" y="274"/>
                    </a:lnTo>
                    <a:lnTo>
                      <a:pt x="14" y="270"/>
                    </a:lnTo>
                    <a:lnTo>
                      <a:pt x="10" y="266"/>
                    </a:lnTo>
                    <a:lnTo>
                      <a:pt x="10" y="262"/>
                    </a:lnTo>
                    <a:lnTo>
                      <a:pt x="10" y="258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0" y="262"/>
                    </a:lnTo>
                    <a:lnTo>
                      <a:pt x="14" y="262"/>
                    </a:lnTo>
                    <a:lnTo>
                      <a:pt x="18" y="262"/>
                    </a:lnTo>
                    <a:lnTo>
                      <a:pt x="22" y="262"/>
                    </a:lnTo>
                    <a:lnTo>
                      <a:pt x="22" y="258"/>
                    </a:lnTo>
                    <a:lnTo>
                      <a:pt x="26" y="258"/>
                    </a:lnTo>
                    <a:lnTo>
                      <a:pt x="30" y="256"/>
                    </a:lnTo>
                    <a:lnTo>
                      <a:pt x="30" y="252"/>
                    </a:lnTo>
                    <a:lnTo>
                      <a:pt x="34" y="252"/>
                    </a:lnTo>
                    <a:lnTo>
                      <a:pt x="34" y="248"/>
                    </a:lnTo>
                    <a:lnTo>
                      <a:pt x="30" y="248"/>
                    </a:lnTo>
                    <a:lnTo>
                      <a:pt x="30" y="252"/>
                    </a:lnTo>
                    <a:lnTo>
                      <a:pt x="22" y="252"/>
                    </a:lnTo>
                    <a:lnTo>
                      <a:pt x="22" y="256"/>
                    </a:lnTo>
                    <a:lnTo>
                      <a:pt x="18" y="256"/>
                    </a:lnTo>
                    <a:lnTo>
                      <a:pt x="14" y="256"/>
                    </a:lnTo>
                    <a:lnTo>
                      <a:pt x="14" y="252"/>
                    </a:lnTo>
                    <a:lnTo>
                      <a:pt x="10" y="252"/>
                    </a:lnTo>
                    <a:lnTo>
                      <a:pt x="6" y="252"/>
                    </a:lnTo>
                    <a:lnTo>
                      <a:pt x="6" y="248"/>
                    </a:lnTo>
                    <a:lnTo>
                      <a:pt x="4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6" y="236"/>
                    </a:lnTo>
                    <a:lnTo>
                      <a:pt x="4" y="236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36"/>
                    </a:lnTo>
                    <a:lnTo>
                      <a:pt x="0" y="236"/>
                    </a:lnTo>
                    <a:close/>
                    <a:moveTo>
                      <a:pt x="282" y="270"/>
                    </a:moveTo>
                    <a:lnTo>
                      <a:pt x="282" y="274"/>
                    </a:lnTo>
                    <a:lnTo>
                      <a:pt x="278" y="274"/>
                    </a:lnTo>
                    <a:lnTo>
                      <a:pt x="278" y="270"/>
                    </a:lnTo>
                    <a:lnTo>
                      <a:pt x="282" y="270"/>
                    </a:lnTo>
                    <a:lnTo>
                      <a:pt x="282" y="270"/>
                    </a:lnTo>
                    <a:lnTo>
                      <a:pt x="282" y="270"/>
                    </a:lnTo>
                    <a:close/>
                    <a:moveTo>
                      <a:pt x="346" y="442"/>
                    </a:move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6" y="452"/>
                    </a:moveTo>
                    <a:lnTo>
                      <a:pt x="342" y="452"/>
                    </a:lnTo>
                    <a:lnTo>
                      <a:pt x="346" y="452"/>
                    </a:lnTo>
                    <a:lnTo>
                      <a:pt x="346" y="452"/>
                    </a:lnTo>
                    <a:lnTo>
                      <a:pt x="346" y="452"/>
                    </a:lnTo>
                    <a:close/>
                    <a:moveTo>
                      <a:pt x="346" y="490"/>
                    </a:moveTo>
                    <a:lnTo>
                      <a:pt x="346" y="494"/>
                    </a:lnTo>
                    <a:lnTo>
                      <a:pt x="346" y="490"/>
                    </a:lnTo>
                    <a:lnTo>
                      <a:pt x="346" y="490"/>
                    </a:lnTo>
                    <a:lnTo>
                      <a:pt x="346" y="490"/>
                    </a:lnTo>
                    <a:close/>
                    <a:moveTo>
                      <a:pt x="66" y="504"/>
                    </a:moveTo>
                    <a:lnTo>
                      <a:pt x="66" y="508"/>
                    </a:lnTo>
                    <a:lnTo>
                      <a:pt x="66" y="504"/>
                    </a:lnTo>
                    <a:lnTo>
                      <a:pt x="66" y="504"/>
                    </a:lnTo>
                    <a:lnTo>
                      <a:pt x="66" y="504"/>
                    </a:lnTo>
                    <a:close/>
                    <a:moveTo>
                      <a:pt x="358" y="508"/>
                    </a:moveTo>
                    <a:lnTo>
                      <a:pt x="358" y="512"/>
                    </a:lnTo>
                    <a:lnTo>
                      <a:pt x="358" y="508"/>
                    </a:lnTo>
                    <a:lnTo>
                      <a:pt x="358" y="508"/>
                    </a:lnTo>
                    <a:lnTo>
                      <a:pt x="358" y="508"/>
                    </a:lnTo>
                    <a:close/>
                    <a:moveTo>
                      <a:pt x="354" y="512"/>
                    </a:moveTo>
                    <a:lnTo>
                      <a:pt x="358" y="512"/>
                    </a:lnTo>
                    <a:lnTo>
                      <a:pt x="354" y="512"/>
                    </a:lnTo>
                    <a:lnTo>
                      <a:pt x="354" y="512"/>
                    </a:lnTo>
                    <a:lnTo>
                      <a:pt x="354" y="512"/>
                    </a:lnTo>
                    <a:close/>
                    <a:moveTo>
                      <a:pt x="360" y="524"/>
                    </a:moveTo>
                    <a:lnTo>
                      <a:pt x="358" y="524"/>
                    </a:lnTo>
                    <a:lnTo>
                      <a:pt x="360" y="524"/>
                    </a:lnTo>
                    <a:lnTo>
                      <a:pt x="360" y="520"/>
                    </a:lnTo>
                    <a:lnTo>
                      <a:pt x="360" y="524"/>
                    </a:lnTo>
                    <a:lnTo>
                      <a:pt x="360" y="524"/>
                    </a:lnTo>
                    <a:lnTo>
                      <a:pt x="360" y="524"/>
                    </a:lnTo>
                    <a:close/>
                    <a:moveTo>
                      <a:pt x="346" y="426"/>
                    </a:moveTo>
                    <a:lnTo>
                      <a:pt x="346" y="422"/>
                    </a:lnTo>
                    <a:lnTo>
                      <a:pt x="346" y="418"/>
                    </a:lnTo>
                    <a:lnTo>
                      <a:pt x="350" y="418"/>
                    </a:lnTo>
                    <a:lnTo>
                      <a:pt x="350" y="416"/>
                    </a:lnTo>
                    <a:lnTo>
                      <a:pt x="350" y="418"/>
                    </a:lnTo>
                    <a:lnTo>
                      <a:pt x="350" y="422"/>
                    </a:lnTo>
                    <a:lnTo>
                      <a:pt x="350" y="426"/>
                    </a:lnTo>
                    <a:lnTo>
                      <a:pt x="350" y="422"/>
                    </a:lnTo>
                    <a:lnTo>
                      <a:pt x="346" y="426"/>
                    </a:lnTo>
                    <a:lnTo>
                      <a:pt x="346" y="426"/>
                    </a:lnTo>
                    <a:lnTo>
                      <a:pt x="346" y="426"/>
                    </a:lnTo>
                    <a:close/>
                    <a:moveTo>
                      <a:pt x="346" y="438"/>
                    </a:moveTo>
                    <a:lnTo>
                      <a:pt x="346" y="434"/>
                    </a:lnTo>
                    <a:lnTo>
                      <a:pt x="346" y="430"/>
                    </a:lnTo>
                    <a:lnTo>
                      <a:pt x="346" y="426"/>
                    </a:lnTo>
                    <a:lnTo>
                      <a:pt x="350" y="426"/>
                    </a:lnTo>
                    <a:lnTo>
                      <a:pt x="350" y="430"/>
                    </a:lnTo>
                    <a:lnTo>
                      <a:pt x="350" y="434"/>
                    </a:lnTo>
                    <a:lnTo>
                      <a:pt x="346" y="434"/>
                    </a:lnTo>
                    <a:lnTo>
                      <a:pt x="346" y="438"/>
                    </a:lnTo>
                    <a:lnTo>
                      <a:pt x="350" y="438"/>
                    </a:lnTo>
                    <a:lnTo>
                      <a:pt x="346" y="438"/>
                    </a:lnTo>
                    <a:lnTo>
                      <a:pt x="346" y="438"/>
                    </a:lnTo>
                    <a:lnTo>
                      <a:pt x="346" y="438"/>
                    </a:lnTo>
                    <a:close/>
                    <a:moveTo>
                      <a:pt x="346" y="442"/>
                    </a:moveTo>
                    <a:lnTo>
                      <a:pt x="346" y="446"/>
                    </a:lnTo>
                    <a:lnTo>
                      <a:pt x="346" y="448"/>
                    </a:lnTo>
                    <a:lnTo>
                      <a:pt x="346" y="452"/>
                    </a:lnTo>
                    <a:lnTo>
                      <a:pt x="342" y="448"/>
                    </a:lnTo>
                    <a:lnTo>
                      <a:pt x="342" y="446"/>
                    </a:lnTo>
                    <a:lnTo>
                      <a:pt x="346" y="446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38"/>
                    </a:lnTo>
                    <a:lnTo>
                      <a:pt x="346" y="442"/>
                    </a:lnTo>
                    <a:lnTo>
                      <a:pt x="346" y="442"/>
                    </a:lnTo>
                    <a:lnTo>
                      <a:pt x="346" y="442"/>
                    </a:lnTo>
                    <a:close/>
                    <a:moveTo>
                      <a:pt x="342" y="464"/>
                    </a:moveTo>
                    <a:lnTo>
                      <a:pt x="342" y="468"/>
                    </a:lnTo>
                    <a:lnTo>
                      <a:pt x="338" y="468"/>
                    </a:lnTo>
                    <a:lnTo>
                      <a:pt x="338" y="464"/>
                    </a:lnTo>
                    <a:lnTo>
                      <a:pt x="342" y="464"/>
                    </a:lnTo>
                    <a:lnTo>
                      <a:pt x="342" y="460"/>
                    </a:lnTo>
                    <a:lnTo>
                      <a:pt x="342" y="464"/>
                    </a:lnTo>
                    <a:lnTo>
                      <a:pt x="342" y="464"/>
                    </a:lnTo>
                    <a:lnTo>
                      <a:pt x="342" y="464"/>
                    </a:lnTo>
                    <a:close/>
                    <a:moveTo>
                      <a:pt x="360" y="528"/>
                    </a:moveTo>
                    <a:lnTo>
                      <a:pt x="360" y="532"/>
                    </a:lnTo>
                    <a:lnTo>
                      <a:pt x="360" y="534"/>
                    </a:lnTo>
                    <a:lnTo>
                      <a:pt x="360" y="532"/>
                    </a:lnTo>
                    <a:lnTo>
                      <a:pt x="360" y="528"/>
                    </a:lnTo>
                    <a:lnTo>
                      <a:pt x="358" y="528"/>
                    </a:lnTo>
                    <a:lnTo>
                      <a:pt x="360" y="524"/>
                    </a:lnTo>
                    <a:lnTo>
                      <a:pt x="360" y="528"/>
                    </a:lnTo>
                    <a:lnTo>
                      <a:pt x="360" y="528"/>
                    </a:lnTo>
                    <a:lnTo>
                      <a:pt x="360" y="528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>
                  <a:solidFill>
                    <a:srgbClr val="36180B"/>
                  </a:solidFill>
                  <a:latin typeface="Arial"/>
                </a:endParaRPr>
              </a:p>
            </p:txBody>
          </p:sp>
        </p:grpSp>
        <p:sp>
          <p:nvSpPr>
            <p:cNvPr id="273" name="Freeform 321">
              <a:extLst>
                <a:ext uri="{FF2B5EF4-FFF2-40B4-BE49-F238E27FC236}">
                  <a16:creationId xmlns:a16="http://schemas.microsoft.com/office/drawing/2014/main" id="{0814B601-4410-451D-AB78-3438D0C3849B}"/>
                </a:ext>
              </a:extLst>
            </p:cNvPr>
            <p:cNvSpPr>
              <a:spLocks/>
            </p:cNvSpPr>
            <p:nvPr/>
          </p:nvSpPr>
          <p:spPr bwMode="gray">
            <a:xfrm>
              <a:off x="1955517" y="4299459"/>
              <a:ext cx="2048159" cy="1811507"/>
            </a:xfrm>
            <a:custGeom>
              <a:avLst/>
              <a:gdLst/>
              <a:ahLst/>
              <a:cxnLst>
                <a:cxn ang="0">
                  <a:pos x="19" y="119"/>
                </a:cxn>
                <a:cxn ang="0">
                  <a:pos x="16" y="112"/>
                </a:cxn>
                <a:cxn ang="0">
                  <a:pos x="5" y="107"/>
                </a:cxn>
                <a:cxn ang="0">
                  <a:pos x="0" y="113"/>
                </a:cxn>
                <a:cxn ang="0">
                  <a:pos x="26" y="172"/>
                </a:cxn>
                <a:cxn ang="0">
                  <a:pos x="24" y="188"/>
                </a:cxn>
                <a:cxn ang="0">
                  <a:pos x="20" y="192"/>
                </a:cxn>
                <a:cxn ang="0">
                  <a:pos x="23" y="196"/>
                </a:cxn>
                <a:cxn ang="0">
                  <a:pos x="27" y="213"/>
                </a:cxn>
                <a:cxn ang="0">
                  <a:pos x="30" y="213"/>
                </a:cxn>
                <a:cxn ang="0">
                  <a:pos x="35" y="218"/>
                </a:cxn>
                <a:cxn ang="0">
                  <a:pos x="42" y="221"/>
                </a:cxn>
                <a:cxn ang="0">
                  <a:pos x="54" y="224"/>
                </a:cxn>
                <a:cxn ang="0">
                  <a:pos x="80" y="218"/>
                </a:cxn>
                <a:cxn ang="0">
                  <a:pos x="86" y="212"/>
                </a:cxn>
                <a:cxn ang="0">
                  <a:pos x="100" y="213"/>
                </a:cxn>
                <a:cxn ang="0">
                  <a:pos x="125" y="214"/>
                </a:cxn>
                <a:cxn ang="0">
                  <a:pos x="138" y="213"/>
                </a:cxn>
                <a:cxn ang="0">
                  <a:pos x="139" y="207"/>
                </a:cxn>
                <a:cxn ang="0">
                  <a:pos x="161" y="203"/>
                </a:cxn>
                <a:cxn ang="0">
                  <a:pos x="195" y="167"/>
                </a:cxn>
                <a:cxn ang="0">
                  <a:pos x="224" y="124"/>
                </a:cxn>
                <a:cxn ang="0">
                  <a:pos x="246" y="80"/>
                </a:cxn>
                <a:cxn ang="0">
                  <a:pos x="233" y="64"/>
                </a:cxn>
                <a:cxn ang="0">
                  <a:pos x="226" y="10"/>
                </a:cxn>
                <a:cxn ang="0">
                  <a:pos x="216" y="4"/>
                </a:cxn>
                <a:cxn ang="0">
                  <a:pos x="196" y="0"/>
                </a:cxn>
                <a:cxn ang="0">
                  <a:pos x="175" y="13"/>
                </a:cxn>
                <a:cxn ang="0">
                  <a:pos x="157" y="30"/>
                </a:cxn>
                <a:cxn ang="0">
                  <a:pos x="141" y="48"/>
                </a:cxn>
                <a:cxn ang="0">
                  <a:pos x="124" y="62"/>
                </a:cxn>
                <a:cxn ang="0">
                  <a:pos x="102" y="58"/>
                </a:cxn>
                <a:cxn ang="0">
                  <a:pos x="76" y="81"/>
                </a:cxn>
                <a:cxn ang="0">
                  <a:pos x="63" y="78"/>
                </a:cxn>
                <a:cxn ang="0">
                  <a:pos x="64" y="61"/>
                </a:cxn>
                <a:cxn ang="0">
                  <a:pos x="51" y="64"/>
                </a:cxn>
                <a:cxn ang="0">
                  <a:pos x="51" y="111"/>
                </a:cxn>
              </a:cxnLst>
              <a:rect l="0" t="0" r="r" b="b"/>
              <a:pathLst>
                <a:path w="246" h="224">
                  <a:moveTo>
                    <a:pt x="38" y="119"/>
                  </a:moveTo>
                  <a:lnTo>
                    <a:pt x="19" y="119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8" y="107"/>
                  </a:lnTo>
                  <a:lnTo>
                    <a:pt x="5" y="107"/>
                  </a:lnTo>
                  <a:lnTo>
                    <a:pt x="2" y="113"/>
                  </a:lnTo>
                  <a:lnTo>
                    <a:pt x="0" y="113"/>
                  </a:lnTo>
                  <a:lnTo>
                    <a:pt x="14" y="149"/>
                  </a:lnTo>
                  <a:lnTo>
                    <a:pt x="26" y="172"/>
                  </a:lnTo>
                  <a:lnTo>
                    <a:pt x="27" y="183"/>
                  </a:lnTo>
                  <a:lnTo>
                    <a:pt x="24" y="188"/>
                  </a:lnTo>
                  <a:lnTo>
                    <a:pt x="22" y="187"/>
                  </a:lnTo>
                  <a:lnTo>
                    <a:pt x="20" y="192"/>
                  </a:lnTo>
                  <a:lnTo>
                    <a:pt x="23" y="193"/>
                  </a:lnTo>
                  <a:lnTo>
                    <a:pt x="23" y="196"/>
                  </a:lnTo>
                  <a:lnTo>
                    <a:pt x="29" y="205"/>
                  </a:lnTo>
                  <a:lnTo>
                    <a:pt x="27" y="213"/>
                  </a:lnTo>
                  <a:lnTo>
                    <a:pt x="30" y="218"/>
                  </a:lnTo>
                  <a:lnTo>
                    <a:pt x="30" y="213"/>
                  </a:lnTo>
                  <a:lnTo>
                    <a:pt x="35" y="213"/>
                  </a:lnTo>
                  <a:lnTo>
                    <a:pt x="35" y="218"/>
                  </a:lnTo>
                  <a:lnTo>
                    <a:pt x="41" y="218"/>
                  </a:lnTo>
                  <a:lnTo>
                    <a:pt x="42" y="221"/>
                  </a:lnTo>
                  <a:lnTo>
                    <a:pt x="45" y="224"/>
                  </a:lnTo>
                  <a:lnTo>
                    <a:pt x="54" y="224"/>
                  </a:lnTo>
                  <a:lnTo>
                    <a:pt x="58" y="220"/>
                  </a:lnTo>
                  <a:lnTo>
                    <a:pt x="80" y="218"/>
                  </a:lnTo>
                  <a:lnTo>
                    <a:pt x="81" y="215"/>
                  </a:lnTo>
                  <a:lnTo>
                    <a:pt x="86" y="212"/>
                  </a:lnTo>
                  <a:lnTo>
                    <a:pt x="91" y="212"/>
                  </a:lnTo>
                  <a:lnTo>
                    <a:pt x="100" y="213"/>
                  </a:lnTo>
                  <a:lnTo>
                    <a:pt x="107" y="210"/>
                  </a:lnTo>
                  <a:lnTo>
                    <a:pt x="125" y="214"/>
                  </a:lnTo>
                  <a:lnTo>
                    <a:pt x="127" y="212"/>
                  </a:lnTo>
                  <a:lnTo>
                    <a:pt x="138" y="213"/>
                  </a:lnTo>
                  <a:lnTo>
                    <a:pt x="138" y="208"/>
                  </a:lnTo>
                  <a:lnTo>
                    <a:pt x="139" y="207"/>
                  </a:lnTo>
                  <a:lnTo>
                    <a:pt x="155" y="205"/>
                  </a:lnTo>
                  <a:lnTo>
                    <a:pt x="161" y="203"/>
                  </a:lnTo>
                  <a:lnTo>
                    <a:pt x="181" y="185"/>
                  </a:lnTo>
                  <a:lnTo>
                    <a:pt x="195" y="167"/>
                  </a:lnTo>
                  <a:lnTo>
                    <a:pt x="205" y="159"/>
                  </a:lnTo>
                  <a:lnTo>
                    <a:pt x="224" y="124"/>
                  </a:lnTo>
                  <a:lnTo>
                    <a:pt x="239" y="110"/>
                  </a:lnTo>
                  <a:lnTo>
                    <a:pt x="246" y="80"/>
                  </a:lnTo>
                  <a:lnTo>
                    <a:pt x="235" y="80"/>
                  </a:lnTo>
                  <a:lnTo>
                    <a:pt x="233" y="64"/>
                  </a:lnTo>
                  <a:lnTo>
                    <a:pt x="232" y="37"/>
                  </a:lnTo>
                  <a:lnTo>
                    <a:pt x="226" y="10"/>
                  </a:lnTo>
                  <a:lnTo>
                    <a:pt x="220" y="5"/>
                  </a:lnTo>
                  <a:lnTo>
                    <a:pt x="216" y="4"/>
                  </a:lnTo>
                  <a:lnTo>
                    <a:pt x="205" y="3"/>
                  </a:lnTo>
                  <a:lnTo>
                    <a:pt x="196" y="0"/>
                  </a:lnTo>
                  <a:lnTo>
                    <a:pt x="193" y="2"/>
                  </a:lnTo>
                  <a:lnTo>
                    <a:pt x="175" y="13"/>
                  </a:lnTo>
                  <a:lnTo>
                    <a:pt x="166" y="20"/>
                  </a:lnTo>
                  <a:lnTo>
                    <a:pt x="157" y="30"/>
                  </a:lnTo>
                  <a:lnTo>
                    <a:pt x="152" y="37"/>
                  </a:lnTo>
                  <a:lnTo>
                    <a:pt x="141" y="48"/>
                  </a:lnTo>
                  <a:lnTo>
                    <a:pt x="136" y="59"/>
                  </a:lnTo>
                  <a:lnTo>
                    <a:pt x="124" y="62"/>
                  </a:lnTo>
                  <a:lnTo>
                    <a:pt x="110" y="57"/>
                  </a:lnTo>
                  <a:lnTo>
                    <a:pt x="102" y="58"/>
                  </a:lnTo>
                  <a:lnTo>
                    <a:pt x="86" y="79"/>
                  </a:lnTo>
                  <a:lnTo>
                    <a:pt x="76" y="81"/>
                  </a:lnTo>
                  <a:lnTo>
                    <a:pt x="63" y="79"/>
                  </a:lnTo>
                  <a:lnTo>
                    <a:pt x="63" y="78"/>
                  </a:lnTo>
                  <a:lnTo>
                    <a:pt x="66" y="68"/>
                  </a:lnTo>
                  <a:lnTo>
                    <a:pt x="64" y="61"/>
                  </a:lnTo>
                  <a:lnTo>
                    <a:pt x="51" y="46"/>
                  </a:lnTo>
                  <a:lnTo>
                    <a:pt x="51" y="64"/>
                  </a:lnTo>
                  <a:lnTo>
                    <a:pt x="51" y="84"/>
                  </a:lnTo>
                  <a:lnTo>
                    <a:pt x="51" y="111"/>
                  </a:lnTo>
                  <a:lnTo>
                    <a:pt x="38" y="119"/>
                  </a:lnTo>
                  <a:close/>
                </a:path>
              </a:pathLst>
            </a:custGeom>
            <a:solidFill>
              <a:srgbClr val="8ED201">
                <a:alpha val="52000"/>
              </a:srgbClr>
            </a:solidFill>
            <a:ln w="6350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endParaRPr lang="en-US" sz="3200" dirty="0">
                <a:solidFill>
                  <a:srgbClr val="000000"/>
                </a:solidFill>
                <a:latin typeface="Arial"/>
              </a:endParaRPr>
            </a:p>
          </p:txBody>
        </p:sp>
      </p:grpSp>
      <p:pic>
        <p:nvPicPr>
          <p:cNvPr id="37" name="Picture 36">
            <a:extLst>
              <a:ext uri="{FF2B5EF4-FFF2-40B4-BE49-F238E27FC236}">
                <a16:creationId xmlns:a16="http://schemas.microsoft.com/office/drawing/2014/main" id="{95C10B8D-B42F-4198-AA9C-963CB3882F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71768" y="-1290483"/>
            <a:ext cx="3676691" cy="77404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8D80067-3029-410A-9C6C-445944FD3E39}"/>
              </a:ext>
            </a:extLst>
          </p:cNvPr>
          <p:cNvSpPr/>
          <p:nvPr/>
        </p:nvSpPr>
        <p:spPr>
          <a:xfrm>
            <a:off x="1672905" y="466033"/>
            <a:ext cx="8387746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aro Coal Business at a Glance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C040C60C-F2F1-4D1F-A15C-3370F1EBD6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4075" y="-1026072"/>
            <a:ext cx="3676691" cy="774040"/>
          </a:xfrm>
          <a:prstGeom prst="rect">
            <a:avLst/>
          </a:prstGeom>
        </p:spPr>
      </p:pic>
      <p:sp>
        <p:nvSpPr>
          <p:cNvPr id="252" name="TextColumnContent">
            <a:extLst>
              <a:ext uri="{FF2B5EF4-FFF2-40B4-BE49-F238E27FC236}">
                <a16:creationId xmlns:a16="http://schemas.microsoft.com/office/drawing/2014/main" id="{75C2559F-0E07-4D47-90FF-446896D3C8DA}"/>
              </a:ext>
            </a:extLst>
          </p:cNvPr>
          <p:cNvSpPr>
            <a:spLocks noChangeArrowheads="1"/>
          </p:cNvSpPr>
          <p:nvPr/>
        </p:nvSpPr>
        <p:spPr bwMode="gray">
          <a:xfrm>
            <a:off x="8206326" y="1828423"/>
            <a:ext cx="3892477" cy="124641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5719" rIns="0" bIns="45719"/>
          <a:lstStyle/>
          <a:p>
            <a:r>
              <a:rPr lang="en-US" sz="2000" b="1" dirty="0" err="1">
                <a:solidFill>
                  <a:srgbClr val="2D3E46"/>
                </a:solidFill>
                <a:latin typeface="Arial"/>
              </a:rPr>
              <a:t>Exxaro</a:t>
            </a:r>
            <a:r>
              <a:rPr lang="en-US" sz="2000" b="1" dirty="0">
                <a:solidFill>
                  <a:srgbClr val="2D3E46"/>
                </a:solidFill>
                <a:latin typeface="Arial"/>
              </a:rPr>
              <a:t> is the most </a:t>
            </a:r>
            <a:r>
              <a:rPr lang="en-US" sz="2000" dirty="0">
                <a:solidFill>
                  <a:srgbClr val="2D3E46"/>
                </a:solidFill>
                <a:latin typeface="Arial"/>
              </a:rPr>
              <a:t>diversified multiproduct producer. i.e. sized product at mine level and export product mix at RBCT. </a:t>
            </a:r>
            <a:endParaRPr lang="en-ZA" dirty="0">
              <a:solidFill>
                <a:srgbClr val="2D3E46"/>
              </a:solidFill>
              <a:latin typeface="Arial"/>
            </a:endParaRPr>
          </a:p>
        </p:txBody>
      </p:sp>
      <p:sp>
        <p:nvSpPr>
          <p:cNvPr id="253" name="TextColumnContent">
            <a:extLst>
              <a:ext uri="{FF2B5EF4-FFF2-40B4-BE49-F238E27FC236}">
                <a16:creationId xmlns:a16="http://schemas.microsoft.com/office/drawing/2014/main" id="{BCC1930C-FA63-4719-85F4-AE6DC8D83444}"/>
              </a:ext>
            </a:extLst>
          </p:cNvPr>
          <p:cNvSpPr>
            <a:spLocks noChangeArrowheads="1"/>
          </p:cNvSpPr>
          <p:nvPr/>
        </p:nvSpPr>
        <p:spPr bwMode="gray">
          <a:xfrm>
            <a:off x="517244" y="1828423"/>
            <a:ext cx="3395953" cy="1082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5719" rIns="0" bIns="45719"/>
          <a:lstStyle/>
          <a:p>
            <a:r>
              <a:rPr lang="en-US" sz="2000" b="1" dirty="0" err="1">
                <a:solidFill>
                  <a:srgbClr val="2D3E46"/>
                </a:solidFill>
                <a:latin typeface="Arial"/>
              </a:rPr>
              <a:t>Exxaro</a:t>
            </a:r>
            <a:r>
              <a:rPr lang="en-US" sz="2000" b="1" dirty="0">
                <a:solidFill>
                  <a:srgbClr val="2D3E46"/>
                </a:solidFill>
                <a:latin typeface="Arial"/>
              </a:rPr>
              <a:t> </a:t>
            </a:r>
            <a:r>
              <a:rPr lang="en-ZA" sz="2000" b="1" dirty="0">
                <a:solidFill>
                  <a:srgbClr val="2D3E46"/>
                </a:solidFill>
                <a:latin typeface="Arial"/>
              </a:rPr>
              <a:t>is the largest </a:t>
            </a:r>
            <a:r>
              <a:rPr lang="en-US" sz="2000" dirty="0">
                <a:solidFill>
                  <a:srgbClr val="2D3E46"/>
                </a:solidFill>
                <a:latin typeface="Arial"/>
              </a:rPr>
              <a:t>supplier of coal to Eskom </a:t>
            </a:r>
            <a:r>
              <a:rPr lang="en-ZA" sz="2000" dirty="0">
                <a:solidFill>
                  <a:srgbClr val="2D3E46"/>
                </a:solidFill>
                <a:latin typeface="Arial"/>
              </a:rPr>
              <a:t>and 4th largest coal exporter of thermal coal in South Africa. </a:t>
            </a:r>
            <a:endParaRPr lang="en-ZA" b="1" dirty="0">
              <a:solidFill>
                <a:srgbClr val="2D3E46"/>
              </a:solidFill>
              <a:latin typeface="Arial"/>
            </a:endParaRPr>
          </a:p>
        </p:txBody>
      </p:sp>
      <p:sp>
        <p:nvSpPr>
          <p:cNvPr id="256" name="TextColumnContent">
            <a:extLst>
              <a:ext uri="{FF2B5EF4-FFF2-40B4-BE49-F238E27FC236}">
                <a16:creationId xmlns:a16="http://schemas.microsoft.com/office/drawing/2014/main" id="{7696F627-9697-4A98-A598-8A7431067E9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61785" y="1828423"/>
            <a:ext cx="3395953" cy="1082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5719" rIns="0" bIns="45719"/>
          <a:lstStyle/>
          <a:p>
            <a:r>
              <a:rPr lang="en-US" sz="2000" b="1" dirty="0" err="1">
                <a:solidFill>
                  <a:srgbClr val="2D3E46"/>
                </a:solidFill>
                <a:latin typeface="Arial"/>
              </a:rPr>
              <a:t>Exxaro</a:t>
            </a:r>
            <a:r>
              <a:rPr lang="en-US" sz="2000" b="1" dirty="0">
                <a:solidFill>
                  <a:srgbClr val="2D3E46"/>
                </a:solidFill>
                <a:latin typeface="Arial"/>
              </a:rPr>
              <a:t> is geared </a:t>
            </a:r>
            <a:r>
              <a:rPr lang="en-US" sz="2000" dirty="0">
                <a:solidFill>
                  <a:srgbClr val="2D3E46"/>
                </a:solidFill>
                <a:latin typeface="Arial"/>
              </a:rPr>
              <a:t>to produce ~60 Mt by 2023</a:t>
            </a:r>
            <a:r>
              <a:rPr lang="en-ZA" dirty="0">
                <a:solidFill>
                  <a:srgbClr val="2D3E46"/>
                </a:solidFill>
                <a:latin typeface="Arial"/>
              </a:rPr>
              <a:t> </a:t>
            </a:r>
            <a:endParaRPr lang="en-ZA" b="1" dirty="0">
              <a:solidFill>
                <a:srgbClr val="2D3E46"/>
              </a:solidFill>
              <a:latin typeface="Arial"/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A0247BA7-9E27-4663-97C4-C3D003D5E921}"/>
              </a:ext>
            </a:extLst>
          </p:cNvPr>
          <p:cNvGrpSpPr/>
          <p:nvPr/>
        </p:nvGrpSpPr>
        <p:grpSpPr>
          <a:xfrm>
            <a:off x="2003798" y="3778086"/>
            <a:ext cx="8110276" cy="2621819"/>
            <a:chOff x="1912923" y="3778086"/>
            <a:chExt cx="8110276" cy="2621819"/>
          </a:xfrm>
        </p:grpSpPr>
        <p:sp>
          <p:nvSpPr>
            <p:cNvPr id="789" name="Rectangle 788">
              <a:extLst>
                <a:ext uri="{FF2B5EF4-FFF2-40B4-BE49-F238E27FC236}">
                  <a16:creationId xmlns:a16="http://schemas.microsoft.com/office/drawing/2014/main" id="{D1A35F37-2F8B-4FB0-B9DA-7A8D3465B5E0}"/>
                </a:ext>
              </a:extLst>
            </p:cNvPr>
            <p:cNvSpPr/>
            <p:nvPr/>
          </p:nvSpPr>
          <p:spPr>
            <a:xfrm>
              <a:off x="4880028" y="5843770"/>
              <a:ext cx="739991" cy="222250"/>
            </a:xfrm>
            <a:prstGeom prst="rect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 err="1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Mtpa</a:t>
              </a:r>
              <a:endParaRPr lang="en-ZA" sz="1400" dirty="0">
                <a:solidFill>
                  <a:srgbClr val="2D3E46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54" name="Right Arrow 31">
              <a:extLst>
                <a:ext uri="{FF2B5EF4-FFF2-40B4-BE49-F238E27FC236}">
                  <a16:creationId xmlns:a16="http://schemas.microsoft.com/office/drawing/2014/main" id="{7CB01C1A-EDB2-42DD-BC5F-F4EA57A679E3}"/>
                </a:ext>
              </a:extLst>
            </p:cNvPr>
            <p:cNvSpPr/>
            <p:nvPr/>
          </p:nvSpPr>
          <p:spPr>
            <a:xfrm>
              <a:off x="1912923" y="4512132"/>
              <a:ext cx="2367193" cy="605698"/>
            </a:xfrm>
            <a:prstGeom prst="rightArrow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Semi Soft Coking Coal</a:t>
              </a:r>
            </a:p>
          </p:txBody>
        </p:sp>
        <p:sp>
          <p:nvSpPr>
            <p:cNvPr id="255" name="Right Arrow 260">
              <a:extLst>
                <a:ext uri="{FF2B5EF4-FFF2-40B4-BE49-F238E27FC236}">
                  <a16:creationId xmlns:a16="http://schemas.microsoft.com/office/drawing/2014/main" id="{44A37657-280A-4C92-A470-421422CBB1C2}"/>
                </a:ext>
              </a:extLst>
            </p:cNvPr>
            <p:cNvSpPr/>
            <p:nvPr/>
          </p:nvSpPr>
          <p:spPr>
            <a:xfrm>
              <a:off x="1937067" y="5647482"/>
              <a:ext cx="2343048" cy="605698"/>
            </a:xfrm>
            <a:prstGeom prst="rightArrow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Local Power Station Coal</a:t>
              </a:r>
            </a:p>
          </p:txBody>
        </p:sp>
        <p:sp>
          <p:nvSpPr>
            <p:cNvPr id="258" name="Right Arrow 264">
              <a:extLst>
                <a:ext uri="{FF2B5EF4-FFF2-40B4-BE49-F238E27FC236}">
                  <a16:creationId xmlns:a16="http://schemas.microsoft.com/office/drawing/2014/main" id="{305F00C6-F89D-4EF6-9137-8F9ED298720F}"/>
                </a:ext>
              </a:extLst>
            </p:cNvPr>
            <p:cNvSpPr/>
            <p:nvPr/>
          </p:nvSpPr>
          <p:spPr>
            <a:xfrm>
              <a:off x="1937067" y="5079807"/>
              <a:ext cx="2343048" cy="605698"/>
            </a:xfrm>
            <a:prstGeom prst="rightArrow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Export thermal coal</a:t>
              </a:r>
            </a:p>
          </p:txBody>
        </p:sp>
        <p:sp>
          <p:nvSpPr>
            <p:cNvPr id="261" name="Rectangle 260">
              <a:extLst>
                <a:ext uri="{FF2B5EF4-FFF2-40B4-BE49-F238E27FC236}">
                  <a16:creationId xmlns:a16="http://schemas.microsoft.com/office/drawing/2014/main" id="{0E0F3E85-CDAE-485F-A30A-A6E2AAC3513F}"/>
                </a:ext>
              </a:extLst>
            </p:cNvPr>
            <p:cNvSpPr/>
            <p:nvPr/>
          </p:nvSpPr>
          <p:spPr>
            <a:xfrm>
              <a:off x="4906138" y="5293459"/>
              <a:ext cx="739991" cy="222250"/>
            </a:xfrm>
            <a:prstGeom prst="rect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 err="1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Mtpa</a:t>
              </a:r>
              <a:endParaRPr lang="en-ZA" sz="1400" dirty="0">
                <a:solidFill>
                  <a:srgbClr val="2D3E46"/>
                </a:solidFill>
                <a:latin typeface="Arial" pitchFamily="34" charset="0"/>
                <a:cs typeface="Arial" pitchFamily="34" charset="0"/>
              </a:endParaRPr>
            </a:p>
          </p:txBody>
        </p:sp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91D21745-82B2-4259-9709-887E24FF8FED}"/>
                </a:ext>
              </a:extLst>
            </p:cNvPr>
            <p:cNvGrpSpPr/>
            <p:nvPr/>
          </p:nvGrpSpPr>
          <p:grpSpPr>
            <a:xfrm>
              <a:off x="4311268" y="4594668"/>
              <a:ext cx="512152" cy="441325"/>
              <a:chOff x="4862595" y="4110576"/>
              <a:chExt cx="512152" cy="441325"/>
            </a:xfrm>
          </p:grpSpPr>
          <p:sp>
            <p:nvSpPr>
              <p:cNvPr id="257" name="Oval 256">
                <a:extLst>
                  <a:ext uri="{FF2B5EF4-FFF2-40B4-BE49-F238E27FC236}">
                    <a16:creationId xmlns:a16="http://schemas.microsoft.com/office/drawing/2014/main" id="{A75A731C-69A0-4261-AF3F-D79AD2AD95EA}"/>
                  </a:ext>
                </a:extLst>
              </p:cNvPr>
              <p:cNvSpPr/>
              <p:nvPr/>
            </p:nvSpPr>
            <p:spPr>
              <a:xfrm>
                <a:off x="4884484" y="4110576"/>
                <a:ext cx="468375" cy="441325"/>
              </a:xfrm>
              <a:prstGeom prst="ellipse">
                <a:avLst/>
              </a:prstGeom>
              <a:solidFill>
                <a:srgbClr val="86CBC4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ZA" sz="800" dirty="0">
                  <a:solidFill>
                    <a:srgbClr val="36180B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2" name="TextBox 261">
                <a:extLst>
                  <a:ext uri="{FF2B5EF4-FFF2-40B4-BE49-F238E27FC236}">
                    <a16:creationId xmlns:a16="http://schemas.microsoft.com/office/drawing/2014/main" id="{85358FE7-A377-4785-B1F9-AE02F505B4FA}"/>
                  </a:ext>
                </a:extLst>
              </p:cNvPr>
              <p:cNvSpPr txBox="1"/>
              <p:nvPr/>
            </p:nvSpPr>
            <p:spPr>
              <a:xfrm>
                <a:off x="4862595" y="4134369"/>
                <a:ext cx="512152" cy="397201"/>
              </a:xfrm>
              <a:prstGeom prst="rect">
                <a:avLst/>
              </a:prstGeom>
              <a:noFill/>
            </p:spPr>
            <p:txBody>
              <a:bodyPr wrap="square" tIns="90000" bIns="90000" rtlCol="0">
                <a:spAutoFit/>
              </a:bodyPr>
              <a:lstStyle/>
              <a:p>
                <a:pPr algn="ctr"/>
                <a:r>
                  <a:rPr lang="en-ZA" sz="140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2</a:t>
                </a: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BE7491BE-9484-41FD-810E-C2A202A21AE0}"/>
                </a:ext>
              </a:extLst>
            </p:cNvPr>
            <p:cNvGrpSpPr/>
            <p:nvPr/>
          </p:nvGrpSpPr>
          <p:grpSpPr>
            <a:xfrm>
              <a:off x="4276832" y="5177239"/>
              <a:ext cx="581025" cy="441325"/>
              <a:chOff x="4828159" y="4693147"/>
              <a:chExt cx="581025" cy="441325"/>
            </a:xfrm>
          </p:grpSpPr>
          <p:sp>
            <p:nvSpPr>
              <p:cNvPr id="260" name="Oval 259">
                <a:extLst>
                  <a:ext uri="{FF2B5EF4-FFF2-40B4-BE49-F238E27FC236}">
                    <a16:creationId xmlns:a16="http://schemas.microsoft.com/office/drawing/2014/main" id="{2A6F9620-C3F7-4042-A1E4-9C28E7172218}"/>
                  </a:ext>
                </a:extLst>
              </p:cNvPr>
              <p:cNvSpPr/>
              <p:nvPr/>
            </p:nvSpPr>
            <p:spPr>
              <a:xfrm>
                <a:off x="4884484" y="4693147"/>
                <a:ext cx="468375" cy="441325"/>
              </a:xfrm>
              <a:prstGeom prst="ellipse">
                <a:avLst/>
              </a:prstGeom>
              <a:solidFill>
                <a:srgbClr val="86CBC4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ZA" sz="1400" dirty="0">
                  <a:solidFill>
                    <a:srgbClr val="36180B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3" name="TextBox 262">
                <a:extLst>
                  <a:ext uri="{FF2B5EF4-FFF2-40B4-BE49-F238E27FC236}">
                    <a16:creationId xmlns:a16="http://schemas.microsoft.com/office/drawing/2014/main" id="{ACBDB91B-332F-4034-AF55-594D30B254E6}"/>
                  </a:ext>
                </a:extLst>
              </p:cNvPr>
              <p:cNvSpPr txBox="1"/>
              <p:nvPr/>
            </p:nvSpPr>
            <p:spPr>
              <a:xfrm>
                <a:off x="4828159" y="4711363"/>
                <a:ext cx="581025" cy="397201"/>
              </a:xfrm>
              <a:prstGeom prst="rect">
                <a:avLst/>
              </a:prstGeom>
              <a:noFill/>
            </p:spPr>
            <p:txBody>
              <a:bodyPr wrap="square" tIns="90000" bIns="90000" rtlCol="0">
                <a:spAutoFit/>
              </a:bodyPr>
              <a:lstStyle/>
              <a:p>
                <a:pPr algn="ctr"/>
                <a:r>
                  <a:rPr lang="en-ZA" sz="140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9</a:t>
                </a:r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543F5F4C-8AE5-49DD-944F-320B876F169B}"/>
                </a:ext>
              </a:extLst>
            </p:cNvPr>
            <p:cNvGrpSpPr/>
            <p:nvPr/>
          </p:nvGrpSpPr>
          <p:grpSpPr>
            <a:xfrm>
              <a:off x="4276832" y="5725843"/>
              <a:ext cx="581025" cy="441325"/>
              <a:chOff x="4828159" y="5241751"/>
              <a:chExt cx="581025" cy="441325"/>
            </a:xfrm>
          </p:grpSpPr>
          <p:sp>
            <p:nvSpPr>
              <p:cNvPr id="259" name="Oval 258">
                <a:extLst>
                  <a:ext uri="{FF2B5EF4-FFF2-40B4-BE49-F238E27FC236}">
                    <a16:creationId xmlns:a16="http://schemas.microsoft.com/office/drawing/2014/main" id="{2BABF02D-D7D0-4966-B759-F0847085BE44}"/>
                  </a:ext>
                </a:extLst>
              </p:cNvPr>
              <p:cNvSpPr/>
              <p:nvPr/>
            </p:nvSpPr>
            <p:spPr>
              <a:xfrm>
                <a:off x="4884484" y="5241751"/>
                <a:ext cx="468375" cy="441325"/>
              </a:xfrm>
              <a:prstGeom prst="ellipse">
                <a:avLst/>
              </a:prstGeom>
              <a:solidFill>
                <a:srgbClr val="86CBC4"/>
              </a:soli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90000" bIns="90000" rtlCol="0" anchor="ctr" anchorCtr="0"/>
              <a:lstStyle/>
              <a:p>
                <a:pPr algn="ctr"/>
                <a:endParaRPr lang="en-ZA" sz="1400" dirty="0">
                  <a:solidFill>
                    <a:srgbClr val="36180B"/>
                  </a:solidFill>
                  <a:latin typeface="Arial" pitchFamily="34" charset="0"/>
                  <a:cs typeface="Arial" pitchFamily="34" charset="0"/>
                </a:endParaRPr>
              </a:p>
            </p:txBody>
          </p:sp>
          <p:sp>
            <p:nvSpPr>
              <p:cNvPr id="264" name="TextBox 263">
                <a:extLst>
                  <a:ext uri="{FF2B5EF4-FFF2-40B4-BE49-F238E27FC236}">
                    <a16:creationId xmlns:a16="http://schemas.microsoft.com/office/drawing/2014/main" id="{0B4302AB-B512-4A79-93E2-867647A5F590}"/>
                  </a:ext>
                </a:extLst>
              </p:cNvPr>
              <p:cNvSpPr txBox="1"/>
              <p:nvPr/>
            </p:nvSpPr>
            <p:spPr>
              <a:xfrm>
                <a:off x="4828159" y="5278264"/>
                <a:ext cx="581025" cy="397201"/>
              </a:xfrm>
              <a:prstGeom prst="rect">
                <a:avLst/>
              </a:prstGeom>
              <a:noFill/>
            </p:spPr>
            <p:txBody>
              <a:bodyPr wrap="square" tIns="90000" bIns="90000" rtlCol="0">
                <a:spAutoFit/>
              </a:bodyPr>
              <a:lstStyle/>
              <a:p>
                <a:pPr algn="ctr"/>
                <a:r>
                  <a:rPr lang="en-ZA" sz="1400" dirty="0">
                    <a:solidFill>
                      <a:srgbClr val="FFFFFF"/>
                    </a:solidFill>
                    <a:latin typeface="Arial" pitchFamily="34" charset="0"/>
                    <a:cs typeface="Arial" pitchFamily="34" charset="0"/>
                  </a:rPr>
                  <a:t>36</a:t>
                </a:r>
              </a:p>
            </p:txBody>
          </p:sp>
        </p:grpSp>
        <p:sp>
          <p:nvSpPr>
            <p:cNvPr id="265" name="TextBox 264">
              <a:extLst>
                <a:ext uri="{FF2B5EF4-FFF2-40B4-BE49-F238E27FC236}">
                  <a16:creationId xmlns:a16="http://schemas.microsoft.com/office/drawing/2014/main" id="{DCD7FFC8-00C8-404E-A84D-B6AF819356D3}"/>
                </a:ext>
              </a:extLst>
            </p:cNvPr>
            <p:cNvSpPr txBox="1"/>
            <p:nvPr/>
          </p:nvSpPr>
          <p:spPr>
            <a:xfrm>
              <a:off x="1963739" y="3778086"/>
              <a:ext cx="4087788" cy="551090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2D3E46"/>
                  </a:solidFill>
                  <a:latin typeface="Arial"/>
                </a:rPr>
                <a:t>Current Saleable Mix* </a:t>
              </a:r>
            </a:p>
          </p:txBody>
        </p:sp>
        <p:cxnSp>
          <p:nvCxnSpPr>
            <p:cNvPr id="266" name="Straight Connector 265">
              <a:extLst>
                <a:ext uri="{FF2B5EF4-FFF2-40B4-BE49-F238E27FC236}">
                  <a16:creationId xmlns:a16="http://schemas.microsoft.com/office/drawing/2014/main" id="{75389608-7C35-4934-8EB3-97426B48B56F}"/>
                </a:ext>
              </a:extLst>
            </p:cNvPr>
            <p:cNvCxnSpPr/>
            <p:nvPr/>
          </p:nvCxnSpPr>
          <p:spPr>
            <a:xfrm>
              <a:off x="2263115" y="4256060"/>
              <a:ext cx="3349625" cy="0"/>
            </a:xfrm>
            <a:prstGeom prst="line">
              <a:avLst/>
            </a:prstGeom>
            <a:ln w="28575">
              <a:solidFill>
                <a:srgbClr val="8ED2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7" name="TextBox 266">
              <a:extLst>
                <a:ext uri="{FF2B5EF4-FFF2-40B4-BE49-F238E27FC236}">
                  <a16:creationId xmlns:a16="http://schemas.microsoft.com/office/drawing/2014/main" id="{54F3F8A4-8624-4D30-AD4A-0C565DB65962}"/>
                </a:ext>
              </a:extLst>
            </p:cNvPr>
            <p:cNvSpPr txBox="1"/>
            <p:nvPr/>
          </p:nvSpPr>
          <p:spPr>
            <a:xfrm>
              <a:off x="7521465" y="3789415"/>
              <a:ext cx="2501734" cy="551090"/>
            </a:xfrm>
            <a:prstGeom prst="rect">
              <a:avLst/>
            </a:prstGeom>
            <a:noFill/>
          </p:spPr>
          <p:txBody>
            <a:bodyPr wrap="square" tIns="90000" bIns="90000" rtlCol="0">
              <a:spAutoFit/>
            </a:bodyPr>
            <a:lstStyle/>
            <a:p>
              <a:pPr algn="ctr"/>
              <a:r>
                <a:rPr lang="en-US" sz="2400" b="1" dirty="0">
                  <a:solidFill>
                    <a:srgbClr val="2D3E46"/>
                  </a:solidFill>
                  <a:latin typeface="Arial"/>
                </a:rPr>
                <a:t>Sized Products</a:t>
              </a:r>
            </a:p>
          </p:txBody>
        </p:sp>
        <p:cxnSp>
          <p:nvCxnSpPr>
            <p:cNvPr id="268" name="Straight Connector 267">
              <a:extLst>
                <a:ext uri="{FF2B5EF4-FFF2-40B4-BE49-F238E27FC236}">
                  <a16:creationId xmlns:a16="http://schemas.microsoft.com/office/drawing/2014/main" id="{B2DE2C47-5D52-4F38-9F5D-DE363F9E6D3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521465" y="4248896"/>
              <a:ext cx="2501734" cy="9548"/>
            </a:xfrm>
            <a:prstGeom prst="line">
              <a:avLst/>
            </a:prstGeom>
            <a:ln w="28575">
              <a:solidFill>
                <a:srgbClr val="8ED20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9" name="Flowchart: Connector 268">
              <a:extLst>
                <a:ext uri="{FF2B5EF4-FFF2-40B4-BE49-F238E27FC236}">
                  <a16:creationId xmlns:a16="http://schemas.microsoft.com/office/drawing/2014/main" id="{49DFFD76-BDE2-4E5D-A942-F93CD659828C}"/>
                </a:ext>
              </a:extLst>
            </p:cNvPr>
            <p:cNvSpPr/>
            <p:nvPr/>
          </p:nvSpPr>
          <p:spPr>
            <a:xfrm>
              <a:off x="7685648" y="4531268"/>
              <a:ext cx="2173369" cy="1868637"/>
            </a:xfrm>
            <a:prstGeom prst="flowChartConnector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endParaRPr lang="en-US" sz="1400" dirty="0">
                <a:solidFill>
                  <a:srgbClr val="36180B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0" name="TextBox 269">
              <a:extLst>
                <a:ext uri="{FF2B5EF4-FFF2-40B4-BE49-F238E27FC236}">
                  <a16:creationId xmlns:a16="http://schemas.microsoft.com/office/drawing/2014/main" id="{35D1C6AB-E49C-4EE4-8A6E-50B74D420440}"/>
                </a:ext>
              </a:extLst>
            </p:cNvPr>
            <p:cNvSpPr txBox="1"/>
            <p:nvPr/>
          </p:nvSpPr>
          <p:spPr>
            <a:xfrm>
              <a:off x="7887590" y="5004052"/>
              <a:ext cx="1769484" cy="1144690"/>
            </a:xfrm>
            <a:prstGeom prst="rect">
              <a:avLst/>
            </a:prstGeom>
            <a:noFill/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>
              <a:defPPr>
                <a:defRPr lang="en-US"/>
              </a:defPPr>
              <a:lvl1pPr algn="ctr">
                <a:defRPr sz="1400">
                  <a:latin typeface="Arial" pitchFamily="34" charset="0"/>
                  <a:cs typeface="Arial" pitchFamily="34" charset="0"/>
                </a:defRPr>
              </a:lvl1pPr>
              <a:lvl2pPr>
                <a:defRPr>
                  <a:solidFill>
                    <a:schemeClr val="lt1"/>
                  </a:solidFill>
                </a:defRPr>
              </a:lvl2pPr>
              <a:lvl3pPr>
                <a:defRPr>
                  <a:solidFill>
                    <a:schemeClr val="lt1"/>
                  </a:solidFill>
                </a:defRPr>
              </a:lvl3pPr>
              <a:lvl4pPr>
                <a:defRPr>
                  <a:solidFill>
                    <a:schemeClr val="lt1"/>
                  </a:solidFill>
                </a:defRPr>
              </a:lvl4pPr>
              <a:lvl5pPr>
                <a:defRPr>
                  <a:solidFill>
                    <a:schemeClr val="lt1"/>
                  </a:solidFill>
                </a:defRPr>
              </a:lvl5pPr>
              <a:lvl6pPr>
                <a:defRPr>
                  <a:solidFill>
                    <a:schemeClr val="lt1"/>
                  </a:solidFill>
                </a:defRPr>
              </a:lvl6pPr>
              <a:lvl7pPr>
                <a:defRPr>
                  <a:solidFill>
                    <a:schemeClr val="lt1"/>
                  </a:solidFill>
                </a:defRPr>
              </a:lvl7pPr>
              <a:lvl8pPr>
                <a:defRPr>
                  <a:solidFill>
                    <a:schemeClr val="lt1"/>
                  </a:solidFill>
                </a:defRPr>
              </a:lvl8pPr>
              <a:lvl9pPr>
                <a:defRPr>
                  <a:solidFill>
                    <a:schemeClr val="lt1"/>
                  </a:solidFill>
                </a:defRPr>
              </a:lvl9pPr>
            </a:lstStyle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rgbClr val="2D3E46"/>
                  </a:solidFill>
                </a:rPr>
                <a:t>Duff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rgbClr val="2D3E46"/>
                  </a:solidFill>
                </a:rPr>
                <a:t>Peas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rgbClr val="2D3E46"/>
                  </a:solidFill>
                </a:rPr>
                <a:t>Small nuts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800" dirty="0">
                  <a:solidFill>
                    <a:srgbClr val="2D3E46"/>
                  </a:solidFill>
                </a:rPr>
                <a:t>Semi-Coke</a:t>
              </a:r>
            </a:p>
            <a:p>
              <a:pPr marL="285750" indent="-285750" algn="l">
                <a:buFont typeface="Arial" panose="020B0604020202020204" pitchFamily="34" charset="0"/>
                <a:buChar char="•"/>
              </a:pPr>
              <a:r>
                <a:rPr lang="en-US" sz="1800" dirty="0" err="1">
                  <a:solidFill>
                    <a:srgbClr val="2D3E46"/>
                  </a:solidFill>
                </a:rPr>
                <a:t>Middlings</a:t>
              </a:r>
              <a:endParaRPr lang="en-US" sz="1800" dirty="0">
                <a:solidFill>
                  <a:srgbClr val="2D3E46"/>
                </a:solidFill>
              </a:endParaRPr>
            </a:p>
            <a:p>
              <a:pPr algn="l"/>
              <a:endParaRPr lang="en-US" sz="1800" dirty="0">
                <a:solidFill>
                  <a:srgbClr val="2D3E46"/>
                </a:solidFill>
              </a:endParaRPr>
            </a:p>
          </p:txBody>
        </p:sp>
        <p:sp>
          <p:nvSpPr>
            <p:cNvPr id="947" name="Rectangle 946">
              <a:extLst>
                <a:ext uri="{FF2B5EF4-FFF2-40B4-BE49-F238E27FC236}">
                  <a16:creationId xmlns:a16="http://schemas.microsoft.com/office/drawing/2014/main" id="{C5957BC3-8D9E-410A-9ED9-EE965C1BE361}"/>
                </a:ext>
              </a:extLst>
            </p:cNvPr>
            <p:cNvSpPr/>
            <p:nvPr/>
          </p:nvSpPr>
          <p:spPr>
            <a:xfrm>
              <a:off x="4957995" y="4683831"/>
              <a:ext cx="739991" cy="222250"/>
            </a:xfrm>
            <a:prstGeom prst="rect">
              <a:avLst/>
            </a:prstGeom>
            <a:solidFill>
              <a:srgbClr val="86CBC4"/>
            </a:soli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90000" bIns="90000" rtlCol="0" anchor="ctr" anchorCtr="0"/>
            <a:lstStyle/>
            <a:p>
              <a:pPr algn="ctr"/>
              <a:r>
                <a:rPr lang="en-ZA" sz="1400" dirty="0" err="1">
                  <a:solidFill>
                    <a:srgbClr val="2D3E46"/>
                  </a:solidFill>
                  <a:latin typeface="Arial" pitchFamily="34" charset="0"/>
                  <a:cs typeface="Arial" pitchFamily="34" charset="0"/>
                </a:rPr>
                <a:t>Mtpa</a:t>
              </a:r>
              <a:endParaRPr lang="en-ZA" sz="1400" dirty="0">
                <a:solidFill>
                  <a:srgbClr val="2D3E46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DB58EB-532F-4F82-9C88-7C5E49910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6</a:t>
            </a:fld>
            <a:endParaRPr lang="en-GB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EE4F1CC-CF30-418D-BFD0-F815471B6FCF}"/>
              </a:ext>
            </a:extLst>
          </p:cNvPr>
          <p:cNvSpPr txBox="1"/>
          <p:nvPr/>
        </p:nvSpPr>
        <p:spPr>
          <a:xfrm>
            <a:off x="374850" y="6624749"/>
            <a:ext cx="278908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i="1" dirty="0">
                <a:solidFill>
                  <a:srgbClr val="2D3E46"/>
                </a:solidFill>
                <a:latin typeface="Arial"/>
              </a:rPr>
              <a:t>*</a:t>
            </a:r>
            <a:r>
              <a:rPr lang="en-US" sz="700" i="1" dirty="0" err="1">
                <a:solidFill>
                  <a:srgbClr val="2D3E46"/>
                </a:solidFill>
                <a:latin typeface="Arial"/>
              </a:rPr>
              <a:t>Exxaro</a:t>
            </a:r>
            <a:r>
              <a:rPr lang="en-US" sz="700" i="1" dirty="0">
                <a:solidFill>
                  <a:srgbClr val="2D3E46"/>
                </a:solidFill>
                <a:latin typeface="Arial"/>
              </a:rPr>
              <a:t> Internal View  </a:t>
            </a:r>
          </a:p>
          <a:p>
            <a:endParaRPr lang="en-US" sz="700" i="1" dirty="0"/>
          </a:p>
        </p:txBody>
      </p:sp>
    </p:spTree>
    <p:extLst>
      <p:ext uri="{BB962C8B-B14F-4D97-AF65-F5344CB8AC3E}">
        <p14:creationId xmlns:p14="http://schemas.microsoft.com/office/powerpoint/2010/main" val="30585697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2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50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2000"/>
                            </p:stCondLst>
                            <p:childTnLst>
                              <p:par>
                                <p:cTn id="2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252" grpId="0"/>
      <p:bldP spid="253" grpId="0"/>
      <p:bldP spid="256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3B942697-4BC7-4868-8640-9AAF2BD5F731}"/>
              </a:ext>
            </a:extLst>
          </p:cNvPr>
          <p:cNvSpPr/>
          <p:nvPr/>
        </p:nvSpPr>
        <p:spPr>
          <a:xfrm flipH="1">
            <a:off x="-6626" y="-7759"/>
            <a:ext cx="12198626" cy="6856794"/>
          </a:xfrm>
          <a:prstGeom prst="rect">
            <a:avLst/>
          </a:prstGeom>
          <a:solidFill>
            <a:schemeClr val="bg1">
              <a:lumMod val="95000"/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bg1"/>
              </a:solidFill>
              <a:latin typeface="Arial"/>
            </a:endParaRPr>
          </a:p>
        </p:txBody>
      </p:sp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8D80067-3029-410A-9C6C-445944FD3E39}"/>
              </a:ext>
            </a:extLst>
          </p:cNvPr>
          <p:cNvSpPr/>
          <p:nvPr/>
        </p:nvSpPr>
        <p:spPr>
          <a:xfrm>
            <a:off x="1679531" y="432309"/>
            <a:ext cx="963465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aro</a:t>
            </a:r>
            <a:r>
              <a:rPr lang="en-GB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al Business at a Glance… continued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TextColumnContent">
            <a:extLst>
              <a:ext uri="{FF2B5EF4-FFF2-40B4-BE49-F238E27FC236}">
                <a16:creationId xmlns:a16="http://schemas.microsoft.com/office/drawing/2014/main" id="{D7235F32-0169-48A3-B9EE-CE9DF136800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69128" y="5639706"/>
            <a:ext cx="11722872" cy="1082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0" tIns="45719" rIns="0" bIns="45719"/>
          <a:lstStyle/>
          <a:p>
            <a:r>
              <a:rPr lang="en-US" sz="2000" i="1" dirty="0" err="1">
                <a:solidFill>
                  <a:srgbClr val="2D3E46"/>
                </a:solidFill>
                <a:latin typeface="Arial"/>
              </a:rPr>
              <a:t>Exxaro</a:t>
            </a:r>
            <a:r>
              <a:rPr lang="en-US" sz="2000" i="1" dirty="0">
                <a:solidFill>
                  <a:srgbClr val="2D3E46"/>
                </a:solidFill>
                <a:latin typeface="Arial"/>
              </a:rPr>
              <a:t> has a robust </a:t>
            </a:r>
            <a:r>
              <a:rPr lang="en-US" sz="2000" b="1" i="1" dirty="0">
                <a:solidFill>
                  <a:srgbClr val="2D3E46"/>
                </a:solidFill>
                <a:latin typeface="Arial"/>
              </a:rPr>
              <a:t>export product portfolio </a:t>
            </a:r>
            <a:r>
              <a:rPr lang="en-US" sz="2000" i="1" dirty="0">
                <a:solidFill>
                  <a:srgbClr val="2D3E46"/>
                </a:solidFill>
                <a:latin typeface="Arial"/>
              </a:rPr>
              <a:t>that will be skewed towards higher quality coals in future</a:t>
            </a:r>
          </a:p>
          <a:p>
            <a:endParaRPr lang="en-ZA" b="1" dirty="0">
              <a:latin typeface="Arial"/>
            </a:endParaRPr>
          </a:p>
        </p:txBody>
      </p:sp>
      <p:graphicFrame>
        <p:nvGraphicFramePr>
          <p:cNvPr id="28" name="Chart 27">
            <a:extLst>
              <a:ext uri="{FF2B5EF4-FFF2-40B4-BE49-F238E27FC236}">
                <a16:creationId xmlns:a16="http://schemas.microsoft.com/office/drawing/2014/main" id="{0730DA5C-CC31-43F1-BDC2-FAA2F7BE44B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3986301"/>
              </p:ext>
            </p:extLst>
          </p:nvPr>
        </p:nvGraphicFramePr>
        <p:xfrm>
          <a:off x="-578422" y="1496178"/>
          <a:ext cx="5133588" cy="34919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6DFD7105-78C5-4C13-A193-F903BD05DC4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5407506"/>
              </p:ext>
            </p:extLst>
          </p:nvPr>
        </p:nvGraphicFramePr>
        <p:xfrm>
          <a:off x="6894481" y="1467994"/>
          <a:ext cx="5297519" cy="342407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32" name="Chart 31">
            <a:extLst>
              <a:ext uri="{FF2B5EF4-FFF2-40B4-BE49-F238E27FC236}">
                <a16:creationId xmlns:a16="http://schemas.microsoft.com/office/drawing/2014/main" id="{C3E3AB3E-7FC4-4252-B3A4-A9AE285EF9C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8019270"/>
              </p:ext>
            </p:extLst>
          </p:nvPr>
        </p:nvGraphicFramePr>
        <p:xfrm>
          <a:off x="3212327" y="1496179"/>
          <a:ext cx="5375394" cy="34100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956228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26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5494"/>
            <a:ext cx="12198626" cy="6856794"/>
          </a:xfrm>
          <a:prstGeom prst="rect">
            <a:avLst/>
          </a:prstGeom>
          <a:solidFill>
            <a:schemeClr val="bg1">
              <a:lumMod val="95000"/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BBDA4C5-EB7E-4D2C-95BB-9FF738CE7163}"/>
              </a:ext>
            </a:extLst>
          </p:cNvPr>
          <p:cNvSpPr/>
          <p:nvPr/>
        </p:nvSpPr>
        <p:spPr>
          <a:xfrm>
            <a:off x="1683043" y="217285"/>
            <a:ext cx="8254755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aro</a:t>
            </a:r>
            <a:r>
              <a:rPr lang="en-US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is Currently the Largest Coal Producer in South Africa…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F349661-C1D1-4A3E-A5CE-48D17C05280F}"/>
              </a:ext>
            </a:extLst>
          </p:cNvPr>
          <p:cNvSpPr/>
          <p:nvPr/>
        </p:nvSpPr>
        <p:spPr>
          <a:xfrm>
            <a:off x="2375260" y="4857580"/>
            <a:ext cx="729649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18  Product Tons Production (Mt)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C883CE0-8ADF-430E-BA59-B8B879E02BE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84076DF7-C3E8-42E0-8AFB-5C9DD0AFC6A7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A5CF4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AC270339-F111-4BF9-A6DA-6ABC113423FC}"/>
              </a:ext>
            </a:extLst>
          </p:cNvPr>
          <p:cNvGrpSpPr/>
          <p:nvPr/>
        </p:nvGrpSpPr>
        <p:grpSpPr>
          <a:xfrm>
            <a:off x="2109215" y="2354174"/>
            <a:ext cx="7828583" cy="2135068"/>
            <a:chOff x="2109215" y="2258961"/>
            <a:chExt cx="7828583" cy="2135068"/>
          </a:xfrm>
        </p:grpSpPr>
        <p:graphicFrame>
          <p:nvGraphicFramePr>
            <p:cNvPr id="13" name="Chart 12">
              <a:extLst>
                <a:ext uri="{FF2B5EF4-FFF2-40B4-BE49-F238E27FC236}">
                  <a16:creationId xmlns:a16="http://schemas.microsoft.com/office/drawing/2014/main" id="{5810100B-3835-4636-ADAE-B8812AFAD48E}"/>
                </a:ext>
              </a:extLst>
            </p:cNvPr>
            <p:cNvGraphicFramePr/>
            <p:nvPr>
              <p:extLst/>
            </p:nvPr>
          </p:nvGraphicFramePr>
          <p:xfrm>
            <a:off x="2109215" y="2258961"/>
            <a:ext cx="7828583" cy="213506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1B2FDC57-477D-4B0F-998B-89B832F93ED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" b="30071"/>
            <a:stretch/>
          </p:blipFill>
          <p:spPr>
            <a:xfrm>
              <a:off x="2614948" y="4140725"/>
              <a:ext cx="611930" cy="207438"/>
            </a:xfrm>
            <a:prstGeom prst="rect">
              <a:avLst/>
            </a:prstGeom>
          </p:spPr>
        </p:pic>
      </p:grp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9EA68FC-9C3A-4AE3-9861-A29DF31F67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3786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2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0BB67AE0-FCB9-4D75-A7D7-17271819B5A0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932"/>
          <a:stretch/>
        </p:blipFill>
        <p:spPr>
          <a:xfrm>
            <a:off x="0" y="1428"/>
            <a:ext cx="12198626" cy="6856572"/>
          </a:xfrm>
          <a:prstGeom prst="rect">
            <a:avLst/>
          </a:prstGeom>
        </p:spPr>
      </p:pic>
      <p:sp>
        <p:nvSpPr>
          <p:cNvPr id="33" name="Rectangle 32">
            <a:extLst>
              <a:ext uri="{FF2B5EF4-FFF2-40B4-BE49-F238E27FC236}">
                <a16:creationId xmlns:a16="http://schemas.microsoft.com/office/drawing/2014/main" id="{36C6D393-8412-4A75-A3AB-C4AA0E3AA6C1}"/>
              </a:ext>
            </a:extLst>
          </p:cNvPr>
          <p:cNvSpPr/>
          <p:nvPr/>
        </p:nvSpPr>
        <p:spPr>
          <a:xfrm flipH="1">
            <a:off x="-6626" y="1206"/>
            <a:ext cx="12198626" cy="6856794"/>
          </a:xfrm>
          <a:prstGeom prst="rect">
            <a:avLst/>
          </a:prstGeom>
          <a:solidFill>
            <a:schemeClr val="bg1">
              <a:alpha val="72000"/>
            </a:schemeClr>
          </a:solidFill>
          <a:ln w="9525" cap="flat" cmpd="sng" algn="ctr">
            <a:noFill/>
            <a:prstDash val="solid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000" b="1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37" name="Picture 36">
            <a:extLst>
              <a:ext uri="{FF2B5EF4-FFF2-40B4-BE49-F238E27FC236}">
                <a16:creationId xmlns:a16="http://schemas.microsoft.com/office/drawing/2014/main" id="{95C10B8D-B42F-4198-AA9C-963CB3882F6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5671768" y="-1290483"/>
            <a:ext cx="3676691" cy="774040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1CC87F87-3BE3-47D9-AAD1-77B8474EE278}"/>
              </a:ext>
            </a:extLst>
          </p:cNvPr>
          <p:cNvGrpSpPr/>
          <p:nvPr/>
        </p:nvGrpSpPr>
        <p:grpSpPr>
          <a:xfrm>
            <a:off x="3580643" y="1802519"/>
            <a:ext cx="5024088" cy="4586299"/>
            <a:chOff x="1473853" y="2121726"/>
            <a:chExt cx="1789116" cy="1633216"/>
          </a:xfrm>
        </p:grpSpPr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A52BCA4D-187A-4103-BE01-6ADF67FC2D13}"/>
                </a:ext>
              </a:extLst>
            </p:cNvPr>
            <p:cNvGrpSpPr/>
            <p:nvPr/>
          </p:nvGrpSpPr>
          <p:grpSpPr>
            <a:xfrm>
              <a:off x="1473853" y="2121726"/>
              <a:ext cx="1789116" cy="1633216"/>
              <a:chOff x="16529052" y="-14512928"/>
              <a:chExt cx="36272791" cy="33112083"/>
            </a:xfrm>
            <a:solidFill>
              <a:schemeClr val="accent1">
                <a:lumMod val="10000"/>
                <a:lumOff val="90000"/>
              </a:schemeClr>
            </a:solidFill>
          </p:grpSpPr>
          <p:sp>
            <p:nvSpPr>
              <p:cNvPr id="27" name="Freeform 35">
                <a:extLst>
                  <a:ext uri="{FF2B5EF4-FFF2-40B4-BE49-F238E27FC236}">
                    <a16:creationId xmlns:a16="http://schemas.microsoft.com/office/drawing/2014/main" id="{2EA59216-B973-43A9-B080-9BF48927E5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9052" y="10521953"/>
                <a:ext cx="20586702" cy="8077202"/>
              </a:xfrm>
              <a:custGeom>
                <a:avLst/>
                <a:gdLst>
                  <a:gd name="T0" fmla="*/ 12607 w 12968"/>
                  <a:gd name="T1" fmla="*/ 4587 h 5088"/>
                  <a:gd name="T2" fmla="*/ 12510 w 12968"/>
                  <a:gd name="T3" fmla="*/ 4715 h 5088"/>
                  <a:gd name="T4" fmla="*/ 12472 w 12968"/>
                  <a:gd name="T5" fmla="*/ 4852 h 5088"/>
                  <a:gd name="T6" fmla="*/ 12489 w 12968"/>
                  <a:gd name="T7" fmla="*/ 4946 h 5088"/>
                  <a:gd name="T8" fmla="*/ 12491 w 12968"/>
                  <a:gd name="T9" fmla="*/ 4953 h 5088"/>
                  <a:gd name="T10" fmla="*/ 0 w 12968"/>
                  <a:gd name="T11" fmla="*/ 3408 h 5088"/>
                  <a:gd name="T12" fmla="*/ 524 w 12968"/>
                  <a:gd name="T13" fmla="*/ 3361 h 5088"/>
                  <a:gd name="T14" fmla="*/ 1013 w 12968"/>
                  <a:gd name="T15" fmla="*/ 3694 h 5088"/>
                  <a:gd name="T16" fmla="*/ 1186 w 12968"/>
                  <a:gd name="T17" fmla="*/ 3635 h 5088"/>
                  <a:gd name="T18" fmla="*/ 1592 w 12968"/>
                  <a:gd name="T19" fmla="*/ 2962 h 5088"/>
                  <a:gd name="T20" fmla="*/ 1797 w 12968"/>
                  <a:gd name="T21" fmla="*/ 2648 h 5088"/>
                  <a:gd name="T22" fmla="*/ 2086 w 12968"/>
                  <a:gd name="T23" fmla="*/ 2544 h 5088"/>
                  <a:gd name="T24" fmla="*/ 2541 w 12968"/>
                  <a:gd name="T25" fmla="*/ 2577 h 5088"/>
                  <a:gd name="T26" fmla="*/ 2421 w 12968"/>
                  <a:gd name="T27" fmla="*/ 2322 h 5088"/>
                  <a:gd name="T28" fmla="*/ 2308 w 12968"/>
                  <a:gd name="T29" fmla="*/ 1871 h 5088"/>
                  <a:gd name="T30" fmla="*/ 2416 w 12968"/>
                  <a:gd name="T31" fmla="*/ 1722 h 5088"/>
                  <a:gd name="T32" fmla="*/ 2629 w 12968"/>
                  <a:gd name="T33" fmla="*/ 1507 h 5088"/>
                  <a:gd name="T34" fmla="*/ 2943 w 12968"/>
                  <a:gd name="T35" fmla="*/ 1197 h 5088"/>
                  <a:gd name="T36" fmla="*/ 3165 w 12968"/>
                  <a:gd name="T37" fmla="*/ 1233 h 5088"/>
                  <a:gd name="T38" fmla="*/ 3493 w 12968"/>
                  <a:gd name="T39" fmla="*/ 921 h 5088"/>
                  <a:gd name="T40" fmla="*/ 3857 w 12968"/>
                  <a:gd name="T41" fmla="*/ 1020 h 5088"/>
                  <a:gd name="T42" fmla="*/ 3919 w 12968"/>
                  <a:gd name="T43" fmla="*/ 699 h 5088"/>
                  <a:gd name="T44" fmla="*/ 4256 w 12968"/>
                  <a:gd name="T45" fmla="*/ 923 h 5088"/>
                  <a:gd name="T46" fmla="*/ 4663 w 12968"/>
                  <a:gd name="T47" fmla="*/ 885 h 5088"/>
                  <a:gd name="T48" fmla="*/ 4717 w 12968"/>
                  <a:gd name="T49" fmla="*/ 1041 h 5088"/>
                  <a:gd name="T50" fmla="*/ 5149 w 12968"/>
                  <a:gd name="T51" fmla="*/ 623 h 5088"/>
                  <a:gd name="T52" fmla="*/ 5541 w 12968"/>
                  <a:gd name="T53" fmla="*/ 772 h 5088"/>
                  <a:gd name="T54" fmla="*/ 5775 w 12968"/>
                  <a:gd name="T55" fmla="*/ 375 h 5088"/>
                  <a:gd name="T56" fmla="*/ 5955 w 12968"/>
                  <a:gd name="T57" fmla="*/ 243 h 5088"/>
                  <a:gd name="T58" fmla="*/ 6165 w 12968"/>
                  <a:gd name="T59" fmla="*/ 319 h 5088"/>
                  <a:gd name="T60" fmla="*/ 6626 w 12968"/>
                  <a:gd name="T61" fmla="*/ 259 h 5088"/>
                  <a:gd name="T62" fmla="*/ 7185 w 12968"/>
                  <a:gd name="T63" fmla="*/ 0 h 5088"/>
                  <a:gd name="T64" fmla="*/ 7367 w 12968"/>
                  <a:gd name="T65" fmla="*/ 422 h 5088"/>
                  <a:gd name="T66" fmla="*/ 7743 w 12968"/>
                  <a:gd name="T67" fmla="*/ 805 h 5088"/>
                  <a:gd name="T68" fmla="*/ 8010 w 12968"/>
                  <a:gd name="T69" fmla="*/ 824 h 5088"/>
                  <a:gd name="T70" fmla="*/ 8352 w 12968"/>
                  <a:gd name="T71" fmla="*/ 928 h 5088"/>
                  <a:gd name="T72" fmla="*/ 8785 w 12968"/>
                  <a:gd name="T73" fmla="*/ 1030 h 5088"/>
                  <a:gd name="T74" fmla="*/ 9085 w 12968"/>
                  <a:gd name="T75" fmla="*/ 1235 h 5088"/>
                  <a:gd name="T76" fmla="*/ 9375 w 12968"/>
                  <a:gd name="T77" fmla="*/ 1193 h 5088"/>
                  <a:gd name="T78" fmla="*/ 9366 w 12968"/>
                  <a:gd name="T79" fmla="*/ 1011 h 5088"/>
                  <a:gd name="T80" fmla="*/ 10025 w 12968"/>
                  <a:gd name="T81" fmla="*/ 1287 h 5088"/>
                  <a:gd name="T82" fmla="*/ 10393 w 12968"/>
                  <a:gd name="T83" fmla="*/ 1148 h 5088"/>
                  <a:gd name="T84" fmla="*/ 10658 w 12968"/>
                  <a:gd name="T85" fmla="*/ 1252 h 5088"/>
                  <a:gd name="T86" fmla="*/ 10982 w 12968"/>
                  <a:gd name="T87" fmla="*/ 1653 h 5088"/>
                  <a:gd name="T88" fmla="*/ 11383 w 12968"/>
                  <a:gd name="T89" fmla="*/ 1802 h 5088"/>
                  <a:gd name="T90" fmla="*/ 11567 w 12968"/>
                  <a:gd name="T91" fmla="*/ 1911 h 5088"/>
                  <a:gd name="T92" fmla="*/ 11896 w 12968"/>
                  <a:gd name="T93" fmla="*/ 2059 h 5088"/>
                  <a:gd name="T94" fmla="*/ 12033 w 12968"/>
                  <a:gd name="T95" fmla="*/ 2298 h 5088"/>
                  <a:gd name="T96" fmla="*/ 12189 w 12968"/>
                  <a:gd name="T97" fmla="*/ 2624 h 5088"/>
                  <a:gd name="T98" fmla="*/ 12524 w 12968"/>
                  <a:gd name="T99" fmla="*/ 2978 h 5088"/>
                  <a:gd name="T100" fmla="*/ 12692 w 12968"/>
                  <a:gd name="T101" fmla="*/ 2827 h 5088"/>
                  <a:gd name="T102" fmla="*/ 12751 w 12968"/>
                  <a:gd name="T103" fmla="*/ 2846 h 5088"/>
                  <a:gd name="T104" fmla="*/ 12789 w 12968"/>
                  <a:gd name="T105" fmla="*/ 2886 h 5088"/>
                  <a:gd name="T106" fmla="*/ 12758 w 12968"/>
                  <a:gd name="T107" fmla="*/ 3009 h 5088"/>
                  <a:gd name="T108" fmla="*/ 12949 w 12968"/>
                  <a:gd name="T109" fmla="*/ 3177 h 5088"/>
                  <a:gd name="T110" fmla="*/ 12659 w 12968"/>
                  <a:gd name="T111" fmla="*/ 3552 h 5088"/>
                  <a:gd name="T112" fmla="*/ 12737 w 12968"/>
                  <a:gd name="T113" fmla="*/ 3706 h 5088"/>
                  <a:gd name="T114" fmla="*/ 12720 w 12968"/>
                  <a:gd name="T115" fmla="*/ 3926 h 50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2968" h="5088">
                    <a:moveTo>
                      <a:pt x="12786" y="4051"/>
                    </a:moveTo>
                    <a:lnTo>
                      <a:pt x="12602" y="4403"/>
                    </a:lnTo>
                    <a:lnTo>
                      <a:pt x="12607" y="4587"/>
                    </a:lnTo>
                    <a:lnTo>
                      <a:pt x="12607" y="4594"/>
                    </a:lnTo>
                    <a:lnTo>
                      <a:pt x="12607" y="4613"/>
                    </a:lnTo>
                    <a:lnTo>
                      <a:pt x="12510" y="4715"/>
                    </a:lnTo>
                    <a:lnTo>
                      <a:pt x="12470" y="4845"/>
                    </a:lnTo>
                    <a:lnTo>
                      <a:pt x="12472" y="4852"/>
                    </a:lnTo>
                    <a:lnTo>
                      <a:pt x="12472" y="4852"/>
                    </a:lnTo>
                    <a:lnTo>
                      <a:pt x="12479" y="4897"/>
                    </a:lnTo>
                    <a:lnTo>
                      <a:pt x="12481" y="4901"/>
                    </a:lnTo>
                    <a:lnTo>
                      <a:pt x="12489" y="4946"/>
                    </a:lnTo>
                    <a:lnTo>
                      <a:pt x="12489" y="4946"/>
                    </a:lnTo>
                    <a:lnTo>
                      <a:pt x="12489" y="4946"/>
                    </a:lnTo>
                    <a:lnTo>
                      <a:pt x="12491" y="4953"/>
                    </a:lnTo>
                    <a:lnTo>
                      <a:pt x="12618" y="5088"/>
                    </a:lnTo>
                    <a:lnTo>
                      <a:pt x="0" y="5088"/>
                    </a:lnTo>
                    <a:lnTo>
                      <a:pt x="0" y="3408"/>
                    </a:lnTo>
                    <a:lnTo>
                      <a:pt x="323" y="3224"/>
                    </a:lnTo>
                    <a:lnTo>
                      <a:pt x="401" y="3212"/>
                    </a:lnTo>
                    <a:lnTo>
                      <a:pt x="524" y="3361"/>
                    </a:lnTo>
                    <a:lnTo>
                      <a:pt x="713" y="3352"/>
                    </a:lnTo>
                    <a:lnTo>
                      <a:pt x="945" y="3413"/>
                    </a:lnTo>
                    <a:lnTo>
                      <a:pt x="1013" y="3694"/>
                    </a:lnTo>
                    <a:lnTo>
                      <a:pt x="1058" y="3722"/>
                    </a:lnTo>
                    <a:lnTo>
                      <a:pt x="1171" y="3694"/>
                    </a:lnTo>
                    <a:lnTo>
                      <a:pt x="1186" y="3635"/>
                    </a:lnTo>
                    <a:lnTo>
                      <a:pt x="1124" y="3522"/>
                    </a:lnTo>
                    <a:lnTo>
                      <a:pt x="1223" y="3321"/>
                    </a:lnTo>
                    <a:lnTo>
                      <a:pt x="1592" y="2962"/>
                    </a:lnTo>
                    <a:lnTo>
                      <a:pt x="1686" y="2936"/>
                    </a:lnTo>
                    <a:lnTo>
                      <a:pt x="1684" y="2806"/>
                    </a:lnTo>
                    <a:lnTo>
                      <a:pt x="1797" y="2648"/>
                    </a:lnTo>
                    <a:lnTo>
                      <a:pt x="1908" y="2615"/>
                    </a:lnTo>
                    <a:lnTo>
                      <a:pt x="2001" y="2659"/>
                    </a:lnTo>
                    <a:lnTo>
                      <a:pt x="2086" y="2544"/>
                    </a:lnTo>
                    <a:lnTo>
                      <a:pt x="2296" y="2577"/>
                    </a:lnTo>
                    <a:lnTo>
                      <a:pt x="2383" y="2541"/>
                    </a:lnTo>
                    <a:lnTo>
                      <a:pt x="2541" y="2577"/>
                    </a:lnTo>
                    <a:lnTo>
                      <a:pt x="2598" y="2558"/>
                    </a:lnTo>
                    <a:lnTo>
                      <a:pt x="2386" y="2428"/>
                    </a:lnTo>
                    <a:lnTo>
                      <a:pt x="2421" y="2322"/>
                    </a:lnTo>
                    <a:lnTo>
                      <a:pt x="2520" y="2284"/>
                    </a:lnTo>
                    <a:lnTo>
                      <a:pt x="2520" y="2100"/>
                    </a:lnTo>
                    <a:lnTo>
                      <a:pt x="2308" y="1871"/>
                    </a:lnTo>
                    <a:lnTo>
                      <a:pt x="2267" y="1745"/>
                    </a:lnTo>
                    <a:lnTo>
                      <a:pt x="2305" y="1710"/>
                    </a:lnTo>
                    <a:lnTo>
                      <a:pt x="2416" y="1722"/>
                    </a:lnTo>
                    <a:lnTo>
                      <a:pt x="2492" y="1648"/>
                    </a:lnTo>
                    <a:lnTo>
                      <a:pt x="2534" y="1656"/>
                    </a:lnTo>
                    <a:lnTo>
                      <a:pt x="2629" y="1507"/>
                    </a:lnTo>
                    <a:lnTo>
                      <a:pt x="2806" y="1528"/>
                    </a:lnTo>
                    <a:lnTo>
                      <a:pt x="2813" y="1337"/>
                    </a:lnTo>
                    <a:lnTo>
                      <a:pt x="2943" y="1197"/>
                    </a:lnTo>
                    <a:lnTo>
                      <a:pt x="3080" y="1167"/>
                    </a:lnTo>
                    <a:lnTo>
                      <a:pt x="3127" y="1240"/>
                    </a:lnTo>
                    <a:lnTo>
                      <a:pt x="3165" y="1233"/>
                    </a:lnTo>
                    <a:lnTo>
                      <a:pt x="3198" y="1119"/>
                    </a:lnTo>
                    <a:lnTo>
                      <a:pt x="3314" y="1013"/>
                    </a:lnTo>
                    <a:lnTo>
                      <a:pt x="3493" y="921"/>
                    </a:lnTo>
                    <a:lnTo>
                      <a:pt x="3562" y="963"/>
                    </a:lnTo>
                    <a:lnTo>
                      <a:pt x="3680" y="855"/>
                    </a:lnTo>
                    <a:lnTo>
                      <a:pt x="3857" y="1020"/>
                    </a:lnTo>
                    <a:lnTo>
                      <a:pt x="3886" y="973"/>
                    </a:lnTo>
                    <a:lnTo>
                      <a:pt x="3871" y="748"/>
                    </a:lnTo>
                    <a:lnTo>
                      <a:pt x="3919" y="699"/>
                    </a:lnTo>
                    <a:lnTo>
                      <a:pt x="3963" y="701"/>
                    </a:lnTo>
                    <a:lnTo>
                      <a:pt x="4041" y="843"/>
                    </a:lnTo>
                    <a:lnTo>
                      <a:pt x="4256" y="923"/>
                    </a:lnTo>
                    <a:lnTo>
                      <a:pt x="4445" y="895"/>
                    </a:lnTo>
                    <a:lnTo>
                      <a:pt x="4601" y="923"/>
                    </a:lnTo>
                    <a:lnTo>
                      <a:pt x="4663" y="885"/>
                    </a:lnTo>
                    <a:lnTo>
                      <a:pt x="4708" y="937"/>
                    </a:lnTo>
                    <a:lnTo>
                      <a:pt x="4684" y="1030"/>
                    </a:lnTo>
                    <a:lnTo>
                      <a:pt x="4717" y="1041"/>
                    </a:lnTo>
                    <a:lnTo>
                      <a:pt x="4804" y="1008"/>
                    </a:lnTo>
                    <a:lnTo>
                      <a:pt x="5045" y="689"/>
                    </a:lnTo>
                    <a:lnTo>
                      <a:pt x="5149" y="623"/>
                    </a:lnTo>
                    <a:lnTo>
                      <a:pt x="5419" y="869"/>
                    </a:lnTo>
                    <a:lnTo>
                      <a:pt x="5461" y="864"/>
                    </a:lnTo>
                    <a:lnTo>
                      <a:pt x="5541" y="772"/>
                    </a:lnTo>
                    <a:lnTo>
                      <a:pt x="5643" y="751"/>
                    </a:lnTo>
                    <a:lnTo>
                      <a:pt x="5773" y="543"/>
                    </a:lnTo>
                    <a:lnTo>
                      <a:pt x="5775" y="375"/>
                    </a:lnTo>
                    <a:lnTo>
                      <a:pt x="5851" y="363"/>
                    </a:lnTo>
                    <a:lnTo>
                      <a:pt x="5957" y="323"/>
                    </a:lnTo>
                    <a:lnTo>
                      <a:pt x="5955" y="243"/>
                    </a:lnTo>
                    <a:lnTo>
                      <a:pt x="6123" y="210"/>
                    </a:lnTo>
                    <a:lnTo>
                      <a:pt x="6153" y="226"/>
                    </a:lnTo>
                    <a:lnTo>
                      <a:pt x="6165" y="319"/>
                    </a:lnTo>
                    <a:lnTo>
                      <a:pt x="6425" y="302"/>
                    </a:lnTo>
                    <a:lnTo>
                      <a:pt x="6557" y="387"/>
                    </a:lnTo>
                    <a:lnTo>
                      <a:pt x="6626" y="259"/>
                    </a:lnTo>
                    <a:lnTo>
                      <a:pt x="6930" y="210"/>
                    </a:lnTo>
                    <a:lnTo>
                      <a:pt x="7077" y="40"/>
                    </a:lnTo>
                    <a:lnTo>
                      <a:pt x="7185" y="0"/>
                    </a:lnTo>
                    <a:lnTo>
                      <a:pt x="7287" y="68"/>
                    </a:lnTo>
                    <a:lnTo>
                      <a:pt x="7261" y="205"/>
                    </a:lnTo>
                    <a:lnTo>
                      <a:pt x="7367" y="422"/>
                    </a:lnTo>
                    <a:lnTo>
                      <a:pt x="7514" y="569"/>
                    </a:lnTo>
                    <a:lnTo>
                      <a:pt x="7663" y="637"/>
                    </a:lnTo>
                    <a:lnTo>
                      <a:pt x="7743" y="805"/>
                    </a:lnTo>
                    <a:lnTo>
                      <a:pt x="7835" y="661"/>
                    </a:lnTo>
                    <a:lnTo>
                      <a:pt x="7930" y="817"/>
                    </a:lnTo>
                    <a:lnTo>
                      <a:pt x="8010" y="824"/>
                    </a:lnTo>
                    <a:lnTo>
                      <a:pt x="8123" y="767"/>
                    </a:lnTo>
                    <a:lnTo>
                      <a:pt x="8232" y="855"/>
                    </a:lnTo>
                    <a:lnTo>
                      <a:pt x="8352" y="928"/>
                    </a:lnTo>
                    <a:lnTo>
                      <a:pt x="8574" y="921"/>
                    </a:lnTo>
                    <a:lnTo>
                      <a:pt x="8674" y="1117"/>
                    </a:lnTo>
                    <a:lnTo>
                      <a:pt x="8785" y="1030"/>
                    </a:lnTo>
                    <a:lnTo>
                      <a:pt x="8858" y="1027"/>
                    </a:lnTo>
                    <a:lnTo>
                      <a:pt x="8974" y="1181"/>
                    </a:lnTo>
                    <a:lnTo>
                      <a:pt x="9085" y="1235"/>
                    </a:lnTo>
                    <a:lnTo>
                      <a:pt x="9016" y="1367"/>
                    </a:lnTo>
                    <a:lnTo>
                      <a:pt x="9241" y="1200"/>
                    </a:lnTo>
                    <a:lnTo>
                      <a:pt x="9375" y="1193"/>
                    </a:lnTo>
                    <a:lnTo>
                      <a:pt x="9382" y="1124"/>
                    </a:lnTo>
                    <a:lnTo>
                      <a:pt x="9264" y="1108"/>
                    </a:lnTo>
                    <a:lnTo>
                      <a:pt x="9366" y="1011"/>
                    </a:lnTo>
                    <a:lnTo>
                      <a:pt x="9555" y="1079"/>
                    </a:lnTo>
                    <a:lnTo>
                      <a:pt x="9911" y="1306"/>
                    </a:lnTo>
                    <a:lnTo>
                      <a:pt x="10025" y="1287"/>
                    </a:lnTo>
                    <a:lnTo>
                      <a:pt x="10122" y="1337"/>
                    </a:lnTo>
                    <a:lnTo>
                      <a:pt x="10183" y="1233"/>
                    </a:lnTo>
                    <a:lnTo>
                      <a:pt x="10393" y="1148"/>
                    </a:lnTo>
                    <a:lnTo>
                      <a:pt x="10471" y="1162"/>
                    </a:lnTo>
                    <a:lnTo>
                      <a:pt x="10566" y="1263"/>
                    </a:lnTo>
                    <a:lnTo>
                      <a:pt x="10658" y="1252"/>
                    </a:lnTo>
                    <a:lnTo>
                      <a:pt x="10679" y="1419"/>
                    </a:lnTo>
                    <a:lnTo>
                      <a:pt x="10852" y="1717"/>
                    </a:lnTo>
                    <a:lnTo>
                      <a:pt x="10982" y="1653"/>
                    </a:lnTo>
                    <a:lnTo>
                      <a:pt x="11156" y="1663"/>
                    </a:lnTo>
                    <a:lnTo>
                      <a:pt x="11279" y="1785"/>
                    </a:lnTo>
                    <a:lnTo>
                      <a:pt x="11383" y="1802"/>
                    </a:lnTo>
                    <a:lnTo>
                      <a:pt x="11435" y="1873"/>
                    </a:lnTo>
                    <a:lnTo>
                      <a:pt x="11527" y="1875"/>
                    </a:lnTo>
                    <a:lnTo>
                      <a:pt x="11567" y="1911"/>
                    </a:lnTo>
                    <a:lnTo>
                      <a:pt x="11553" y="2010"/>
                    </a:lnTo>
                    <a:lnTo>
                      <a:pt x="11747" y="1967"/>
                    </a:lnTo>
                    <a:lnTo>
                      <a:pt x="11896" y="2059"/>
                    </a:lnTo>
                    <a:lnTo>
                      <a:pt x="11950" y="2130"/>
                    </a:lnTo>
                    <a:lnTo>
                      <a:pt x="11971" y="2260"/>
                    </a:lnTo>
                    <a:lnTo>
                      <a:pt x="12033" y="2298"/>
                    </a:lnTo>
                    <a:lnTo>
                      <a:pt x="12016" y="2367"/>
                    </a:lnTo>
                    <a:lnTo>
                      <a:pt x="12224" y="2548"/>
                    </a:lnTo>
                    <a:lnTo>
                      <a:pt x="12189" y="2624"/>
                    </a:lnTo>
                    <a:lnTo>
                      <a:pt x="12321" y="2735"/>
                    </a:lnTo>
                    <a:lnTo>
                      <a:pt x="12444" y="2962"/>
                    </a:lnTo>
                    <a:lnTo>
                      <a:pt x="12524" y="2978"/>
                    </a:lnTo>
                    <a:lnTo>
                      <a:pt x="12590" y="2922"/>
                    </a:lnTo>
                    <a:lnTo>
                      <a:pt x="12689" y="2917"/>
                    </a:lnTo>
                    <a:lnTo>
                      <a:pt x="12692" y="2827"/>
                    </a:lnTo>
                    <a:lnTo>
                      <a:pt x="12756" y="2763"/>
                    </a:lnTo>
                    <a:lnTo>
                      <a:pt x="12923" y="2768"/>
                    </a:lnTo>
                    <a:lnTo>
                      <a:pt x="12751" y="2846"/>
                    </a:lnTo>
                    <a:lnTo>
                      <a:pt x="12756" y="2851"/>
                    </a:lnTo>
                    <a:lnTo>
                      <a:pt x="12751" y="2853"/>
                    </a:lnTo>
                    <a:lnTo>
                      <a:pt x="12789" y="2886"/>
                    </a:lnTo>
                    <a:lnTo>
                      <a:pt x="12756" y="3002"/>
                    </a:lnTo>
                    <a:lnTo>
                      <a:pt x="12758" y="3004"/>
                    </a:lnTo>
                    <a:lnTo>
                      <a:pt x="12758" y="3009"/>
                    </a:lnTo>
                    <a:lnTo>
                      <a:pt x="12926" y="3085"/>
                    </a:lnTo>
                    <a:lnTo>
                      <a:pt x="12949" y="3174"/>
                    </a:lnTo>
                    <a:lnTo>
                      <a:pt x="12949" y="3177"/>
                    </a:lnTo>
                    <a:lnTo>
                      <a:pt x="12968" y="3255"/>
                    </a:lnTo>
                    <a:lnTo>
                      <a:pt x="12659" y="3486"/>
                    </a:lnTo>
                    <a:lnTo>
                      <a:pt x="12659" y="3552"/>
                    </a:lnTo>
                    <a:lnTo>
                      <a:pt x="12659" y="3555"/>
                    </a:lnTo>
                    <a:lnTo>
                      <a:pt x="12659" y="3559"/>
                    </a:lnTo>
                    <a:lnTo>
                      <a:pt x="12737" y="3706"/>
                    </a:lnTo>
                    <a:lnTo>
                      <a:pt x="12720" y="3919"/>
                    </a:lnTo>
                    <a:lnTo>
                      <a:pt x="12720" y="3923"/>
                    </a:lnTo>
                    <a:lnTo>
                      <a:pt x="12720" y="3926"/>
                    </a:lnTo>
                    <a:lnTo>
                      <a:pt x="12786" y="4051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29" name="Freeform 36">
                <a:extLst>
                  <a:ext uri="{FF2B5EF4-FFF2-40B4-BE49-F238E27FC236}">
                    <a16:creationId xmlns:a16="http://schemas.microsoft.com/office/drawing/2014/main" id="{C058668D-67E8-4E48-B7E5-38BC6A766D1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2641" y="18302292"/>
                <a:ext cx="12700" cy="71438"/>
              </a:xfrm>
              <a:custGeom>
                <a:avLst/>
                <a:gdLst>
                  <a:gd name="T0" fmla="*/ 8 w 8"/>
                  <a:gd name="T1" fmla="*/ 45 h 45"/>
                  <a:gd name="T2" fmla="*/ 8 w 8"/>
                  <a:gd name="T3" fmla="*/ 45 h 45"/>
                  <a:gd name="T4" fmla="*/ 0 w 8"/>
                  <a:gd name="T5" fmla="*/ 0 h 45"/>
                  <a:gd name="T6" fmla="*/ 8 w 8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5">
                    <a:moveTo>
                      <a:pt x="8" y="45"/>
                    </a:moveTo>
                    <a:lnTo>
                      <a:pt x="8" y="45"/>
                    </a:lnTo>
                    <a:lnTo>
                      <a:pt x="0" y="0"/>
                    </a:lnTo>
                    <a:lnTo>
                      <a:pt x="8" y="4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0" name="Freeform 37">
                <a:extLst>
                  <a:ext uri="{FF2B5EF4-FFF2-40B4-BE49-F238E27FC236}">
                    <a16:creationId xmlns:a16="http://schemas.microsoft.com/office/drawing/2014/main" id="{99724FF4-54B8-41CC-B55E-BA0829F3A5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5179" y="17845092"/>
                <a:ext cx="217488" cy="379413"/>
              </a:xfrm>
              <a:custGeom>
                <a:avLst/>
                <a:gdLst>
                  <a:gd name="T0" fmla="*/ 137 w 137"/>
                  <a:gd name="T1" fmla="*/ 7 h 239"/>
                  <a:gd name="T2" fmla="*/ 40 w 137"/>
                  <a:gd name="T3" fmla="*/ 106 h 239"/>
                  <a:gd name="T4" fmla="*/ 2 w 137"/>
                  <a:gd name="T5" fmla="*/ 239 h 239"/>
                  <a:gd name="T6" fmla="*/ 0 w 137"/>
                  <a:gd name="T7" fmla="*/ 232 h 239"/>
                  <a:gd name="T8" fmla="*/ 40 w 137"/>
                  <a:gd name="T9" fmla="*/ 102 h 239"/>
                  <a:gd name="T10" fmla="*/ 137 w 137"/>
                  <a:gd name="T11" fmla="*/ 0 h 239"/>
                  <a:gd name="T12" fmla="*/ 137 w 137"/>
                  <a:gd name="T13" fmla="*/ 7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239">
                    <a:moveTo>
                      <a:pt x="137" y="7"/>
                    </a:moveTo>
                    <a:lnTo>
                      <a:pt x="40" y="106"/>
                    </a:lnTo>
                    <a:lnTo>
                      <a:pt x="2" y="239"/>
                    </a:lnTo>
                    <a:lnTo>
                      <a:pt x="0" y="232"/>
                    </a:lnTo>
                    <a:lnTo>
                      <a:pt x="40" y="102"/>
                    </a:lnTo>
                    <a:lnTo>
                      <a:pt x="137" y="0"/>
                    </a:lnTo>
                    <a:lnTo>
                      <a:pt x="137" y="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31" name="Freeform 38">
                <a:extLst>
                  <a:ext uri="{FF2B5EF4-FFF2-40B4-BE49-F238E27FC236}">
                    <a16:creationId xmlns:a16="http://schemas.microsoft.com/office/drawing/2014/main" id="{AED98D74-6193-41D0-9B91-1CE71D2ECE1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5216" y="15565442"/>
                <a:ext cx="493713" cy="600075"/>
              </a:xfrm>
              <a:custGeom>
                <a:avLst/>
                <a:gdLst>
                  <a:gd name="T0" fmla="*/ 311 w 311"/>
                  <a:gd name="T1" fmla="*/ 85 h 378"/>
                  <a:gd name="T2" fmla="*/ 0 w 311"/>
                  <a:gd name="T3" fmla="*/ 316 h 378"/>
                  <a:gd name="T4" fmla="*/ 0 w 311"/>
                  <a:gd name="T5" fmla="*/ 378 h 378"/>
                  <a:gd name="T6" fmla="*/ 0 w 311"/>
                  <a:gd name="T7" fmla="*/ 375 h 378"/>
                  <a:gd name="T8" fmla="*/ 0 w 311"/>
                  <a:gd name="T9" fmla="*/ 309 h 378"/>
                  <a:gd name="T10" fmla="*/ 309 w 311"/>
                  <a:gd name="T11" fmla="*/ 78 h 378"/>
                  <a:gd name="T12" fmla="*/ 290 w 311"/>
                  <a:gd name="T13" fmla="*/ 0 h 378"/>
                  <a:gd name="T14" fmla="*/ 311 w 311"/>
                  <a:gd name="T15" fmla="*/ 85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1" h="378">
                    <a:moveTo>
                      <a:pt x="311" y="85"/>
                    </a:moveTo>
                    <a:lnTo>
                      <a:pt x="0" y="316"/>
                    </a:lnTo>
                    <a:lnTo>
                      <a:pt x="0" y="378"/>
                    </a:lnTo>
                    <a:lnTo>
                      <a:pt x="0" y="375"/>
                    </a:lnTo>
                    <a:lnTo>
                      <a:pt x="0" y="309"/>
                    </a:lnTo>
                    <a:lnTo>
                      <a:pt x="309" y="78"/>
                    </a:lnTo>
                    <a:lnTo>
                      <a:pt x="290" y="0"/>
                    </a:lnTo>
                    <a:lnTo>
                      <a:pt x="311" y="8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1" name="Freeform 39">
                <a:extLst>
                  <a:ext uri="{FF2B5EF4-FFF2-40B4-BE49-F238E27FC236}">
                    <a16:creationId xmlns:a16="http://schemas.microsoft.com/office/drawing/2014/main" id="{6A861CFC-17E7-45EF-B16C-8AD9CD2D197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054" y="16405229"/>
                <a:ext cx="26988" cy="344488"/>
              </a:xfrm>
              <a:custGeom>
                <a:avLst/>
                <a:gdLst>
                  <a:gd name="T0" fmla="*/ 17 w 17"/>
                  <a:gd name="T1" fmla="*/ 2 h 217"/>
                  <a:gd name="T2" fmla="*/ 0 w 17"/>
                  <a:gd name="T3" fmla="*/ 217 h 217"/>
                  <a:gd name="T4" fmla="*/ 0 w 17"/>
                  <a:gd name="T5" fmla="*/ 213 h 217"/>
                  <a:gd name="T6" fmla="*/ 17 w 17"/>
                  <a:gd name="T7" fmla="*/ 0 h 217"/>
                  <a:gd name="T8" fmla="*/ 17 w 17"/>
                  <a:gd name="T9" fmla="*/ 2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17">
                    <a:moveTo>
                      <a:pt x="17" y="2"/>
                    </a:moveTo>
                    <a:lnTo>
                      <a:pt x="0" y="217"/>
                    </a:lnTo>
                    <a:lnTo>
                      <a:pt x="0" y="213"/>
                    </a:lnTo>
                    <a:lnTo>
                      <a:pt x="17" y="0"/>
                    </a:lnTo>
                    <a:lnTo>
                      <a:pt x="17" y="2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2" name="Freeform 40">
                <a:extLst>
                  <a:ext uri="{FF2B5EF4-FFF2-40B4-BE49-F238E27FC236}">
                    <a16:creationId xmlns:a16="http://schemas.microsoft.com/office/drawing/2014/main" id="{F0CF706F-9654-4655-A473-452BCFF800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4729" y="16952917"/>
                <a:ext cx="296863" cy="850900"/>
              </a:xfrm>
              <a:custGeom>
                <a:avLst/>
                <a:gdLst>
                  <a:gd name="T0" fmla="*/ 2 w 187"/>
                  <a:gd name="T1" fmla="*/ 357 h 536"/>
                  <a:gd name="T2" fmla="*/ 5 w 187"/>
                  <a:gd name="T3" fmla="*/ 536 h 536"/>
                  <a:gd name="T4" fmla="*/ 0 w 187"/>
                  <a:gd name="T5" fmla="*/ 352 h 536"/>
                  <a:gd name="T6" fmla="*/ 184 w 187"/>
                  <a:gd name="T7" fmla="*/ 0 h 536"/>
                  <a:gd name="T8" fmla="*/ 187 w 187"/>
                  <a:gd name="T9" fmla="*/ 5 h 536"/>
                  <a:gd name="T10" fmla="*/ 2 w 187"/>
                  <a:gd name="T11" fmla="*/ 357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536">
                    <a:moveTo>
                      <a:pt x="2" y="357"/>
                    </a:moveTo>
                    <a:lnTo>
                      <a:pt x="5" y="536"/>
                    </a:lnTo>
                    <a:lnTo>
                      <a:pt x="0" y="352"/>
                    </a:lnTo>
                    <a:lnTo>
                      <a:pt x="184" y="0"/>
                    </a:lnTo>
                    <a:lnTo>
                      <a:pt x="187" y="5"/>
                    </a:lnTo>
                    <a:lnTo>
                      <a:pt x="2" y="357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3" name="Freeform 41">
                <a:extLst>
                  <a:ext uri="{FF2B5EF4-FFF2-40B4-BE49-F238E27FC236}">
                    <a16:creationId xmlns:a16="http://schemas.microsoft.com/office/drawing/2014/main" id="{E7127414-40B5-490D-99A8-B738F1E8E54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9204" y="15103479"/>
                <a:ext cx="55563" cy="187325"/>
              </a:xfrm>
              <a:custGeom>
                <a:avLst/>
                <a:gdLst>
                  <a:gd name="T0" fmla="*/ 35 w 35"/>
                  <a:gd name="T1" fmla="*/ 3 h 118"/>
                  <a:gd name="T2" fmla="*/ 2 w 35"/>
                  <a:gd name="T3" fmla="*/ 118 h 118"/>
                  <a:gd name="T4" fmla="*/ 0 w 35"/>
                  <a:gd name="T5" fmla="*/ 116 h 118"/>
                  <a:gd name="T6" fmla="*/ 33 w 35"/>
                  <a:gd name="T7" fmla="*/ 0 h 118"/>
                  <a:gd name="T8" fmla="*/ 35 w 35"/>
                  <a:gd name="T9" fmla="*/ 3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8">
                    <a:moveTo>
                      <a:pt x="35" y="3"/>
                    </a:moveTo>
                    <a:lnTo>
                      <a:pt x="2" y="118"/>
                    </a:lnTo>
                    <a:lnTo>
                      <a:pt x="0" y="116"/>
                    </a:lnTo>
                    <a:lnTo>
                      <a:pt x="33" y="0"/>
                    </a:lnTo>
                    <a:lnTo>
                      <a:pt x="35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4" name="Freeform 42">
                <a:extLst>
                  <a:ext uri="{FF2B5EF4-FFF2-40B4-BE49-F238E27FC236}">
                    <a16:creationId xmlns:a16="http://schemas.microsoft.com/office/drawing/2014/main" id="{D55C1805-10A1-4110-BFB5-04ABC071496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1266" y="14916154"/>
                <a:ext cx="300038" cy="131763"/>
              </a:xfrm>
              <a:custGeom>
                <a:avLst/>
                <a:gdLst>
                  <a:gd name="T0" fmla="*/ 189 w 189"/>
                  <a:gd name="T1" fmla="*/ 0 h 83"/>
                  <a:gd name="T2" fmla="*/ 5 w 189"/>
                  <a:gd name="T3" fmla="*/ 83 h 83"/>
                  <a:gd name="T4" fmla="*/ 0 w 189"/>
                  <a:gd name="T5" fmla="*/ 78 h 83"/>
                  <a:gd name="T6" fmla="*/ 172 w 189"/>
                  <a:gd name="T7" fmla="*/ 0 h 83"/>
                  <a:gd name="T8" fmla="*/ 172 w 189"/>
                  <a:gd name="T9" fmla="*/ 0 h 83"/>
                  <a:gd name="T10" fmla="*/ 189 w 189"/>
                  <a:gd name="T11" fmla="*/ 0 h 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9" h="83">
                    <a:moveTo>
                      <a:pt x="189" y="0"/>
                    </a:moveTo>
                    <a:lnTo>
                      <a:pt x="5" y="83"/>
                    </a:lnTo>
                    <a:lnTo>
                      <a:pt x="0" y="78"/>
                    </a:lnTo>
                    <a:lnTo>
                      <a:pt x="172" y="0"/>
                    </a:lnTo>
                    <a:lnTo>
                      <a:pt x="172" y="0"/>
                    </a:lnTo>
                    <a:lnTo>
                      <a:pt x="189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5" name="Freeform 43">
                <a:extLst>
                  <a:ext uri="{FF2B5EF4-FFF2-40B4-BE49-F238E27FC236}">
                    <a16:creationId xmlns:a16="http://schemas.microsoft.com/office/drawing/2014/main" id="{5EF47F9F-41A2-400F-B0E1-5A73C524842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950615" y="2654301"/>
                <a:ext cx="9512301" cy="9224965"/>
              </a:xfrm>
              <a:custGeom>
                <a:avLst/>
                <a:gdLst>
                  <a:gd name="T0" fmla="*/ 5633 w 5992"/>
                  <a:gd name="T1" fmla="*/ 1960 h 5811"/>
                  <a:gd name="T2" fmla="*/ 5300 w 5992"/>
                  <a:gd name="T3" fmla="*/ 2674 h 5811"/>
                  <a:gd name="T4" fmla="*/ 5005 w 5992"/>
                  <a:gd name="T5" fmla="*/ 2589 h 5811"/>
                  <a:gd name="T6" fmla="*/ 4594 w 5992"/>
                  <a:gd name="T7" fmla="*/ 2549 h 5811"/>
                  <a:gd name="T8" fmla="*/ 4303 w 5992"/>
                  <a:gd name="T9" fmla="*/ 2816 h 5811"/>
                  <a:gd name="T10" fmla="*/ 4093 w 5992"/>
                  <a:gd name="T11" fmla="*/ 2901 h 5811"/>
                  <a:gd name="T12" fmla="*/ 4280 w 5992"/>
                  <a:gd name="T13" fmla="*/ 3427 h 5811"/>
                  <a:gd name="T14" fmla="*/ 4674 w 5992"/>
                  <a:gd name="T15" fmla="*/ 3758 h 5811"/>
                  <a:gd name="T16" fmla="*/ 5038 w 5992"/>
                  <a:gd name="T17" fmla="*/ 3791 h 5811"/>
                  <a:gd name="T18" fmla="*/ 5021 w 5992"/>
                  <a:gd name="T19" fmla="*/ 4230 h 5811"/>
                  <a:gd name="T20" fmla="*/ 4594 w 5992"/>
                  <a:gd name="T21" fmla="*/ 4575 h 5811"/>
                  <a:gd name="T22" fmla="*/ 4251 w 5992"/>
                  <a:gd name="T23" fmla="*/ 4762 h 5811"/>
                  <a:gd name="T24" fmla="*/ 3973 w 5992"/>
                  <a:gd name="T25" fmla="*/ 4920 h 5811"/>
                  <a:gd name="T26" fmla="*/ 3760 w 5992"/>
                  <a:gd name="T27" fmla="*/ 5225 h 5811"/>
                  <a:gd name="T28" fmla="*/ 3675 w 5992"/>
                  <a:gd name="T29" fmla="*/ 5407 h 5811"/>
                  <a:gd name="T30" fmla="*/ 3569 w 5992"/>
                  <a:gd name="T31" fmla="*/ 5615 h 5811"/>
                  <a:gd name="T32" fmla="*/ 3448 w 5992"/>
                  <a:gd name="T33" fmla="*/ 5723 h 5811"/>
                  <a:gd name="T34" fmla="*/ 3160 w 5992"/>
                  <a:gd name="T35" fmla="*/ 5617 h 5811"/>
                  <a:gd name="T36" fmla="*/ 2839 w 5992"/>
                  <a:gd name="T37" fmla="*/ 5525 h 5811"/>
                  <a:gd name="T38" fmla="*/ 2612 w 5992"/>
                  <a:gd name="T39" fmla="*/ 5024 h 5811"/>
                  <a:gd name="T40" fmla="*/ 2255 w 5992"/>
                  <a:gd name="T41" fmla="*/ 5166 h 5811"/>
                  <a:gd name="T42" fmla="*/ 1750 w 5992"/>
                  <a:gd name="T43" fmla="*/ 5258 h 5811"/>
                  <a:gd name="T44" fmla="*/ 1448 w 5992"/>
                  <a:gd name="T45" fmla="*/ 5166 h 5811"/>
                  <a:gd name="T46" fmla="*/ 1176 w 5992"/>
                  <a:gd name="T47" fmla="*/ 5319 h 5811"/>
                  <a:gd name="T48" fmla="*/ 1230 w 5992"/>
                  <a:gd name="T49" fmla="*/ 4656 h 5811"/>
                  <a:gd name="T50" fmla="*/ 1370 w 5992"/>
                  <a:gd name="T51" fmla="*/ 4204 h 5811"/>
                  <a:gd name="T52" fmla="*/ 970 w 5992"/>
                  <a:gd name="T53" fmla="*/ 4065 h 5811"/>
                  <a:gd name="T54" fmla="*/ 134 w 5992"/>
                  <a:gd name="T55" fmla="*/ 4417 h 5811"/>
                  <a:gd name="T56" fmla="*/ 188 w 5992"/>
                  <a:gd name="T57" fmla="*/ 3822 h 5811"/>
                  <a:gd name="T58" fmla="*/ 540 w 5992"/>
                  <a:gd name="T59" fmla="*/ 3193 h 5811"/>
                  <a:gd name="T60" fmla="*/ 885 w 5992"/>
                  <a:gd name="T61" fmla="*/ 2402 h 5811"/>
                  <a:gd name="T62" fmla="*/ 1466 w 5992"/>
                  <a:gd name="T63" fmla="*/ 2003 h 5811"/>
                  <a:gd name="T64" fmla="*/ 1750 w 5992"/>
                  <a:gd name="T65" fmla="*/ 2206 h 5811"/>
                  <a:gd name="T66" fmla="*/ 2272 w 5992"/>
                  <a:gd name="T67" fmla="*/ 2015 h 5811"/>
                  <a:gd name="T68" fmla="*/ 2501 w 5992"/>
                  <a:gd name="T69" fmla="*/ 1904 h 5811"/>
                  <a:gd name="T70" fmla="*/ 2402 w 5992"/>
                  <a:gd name="T71" fmla="*/ 1327 h 5811"/>
                  <a:gd name="T72" fmla="*/ 2789 w 5992"/>
                  <a:gd name="T73" fmla="*/ 1098 h 5811"/>
                  <a:gd name="T74" fmla="*/ 2966 w 5992"/>
                  <a:gd name="T75" fmla="*/ 470 h 5811"/>
                  <a:gd name="T76" fmla="*/ 2983 w 5992"/>
                  <a:gd name="T77" fmla="*/ 564 h 5811"/>
                  <a:gd name="T78" fmla="*/ 3148 w 5992"/>
                  <a:gd name="T79" fmla="*/ 602 h 5811"/>
                  <a:gd name="T80" fmla="*/ 3573 w 5992"/>
                  <a:gd name="T81" fmla="*/ 196 h 5811"/>
                  <a:gd name="T82" fmla="*/ 4209 w 5992"/>
                  <a:gd name="T83" fmla="*/ 165 h 5811"/>
                  <a:gd name="T84" fmla="*/ 4584 w 5992"/>
                  <a:gd name="T85" fmla="*/ 85 h 5811"/>
                  <a:gd name="T86" fmla="*/ 4674 w 5992"/>
                  <a:gd name="T87" fmla="*/ 562 h 5811"/>
                  <a:gd name="T88" fmla="*/ 4589 w 5992"/>
                  <a:gd name="T89" fmla="*/ 883 h 5811"/>
                  <a:gd name="T90" fmla="*/ 5600 w 5992"/>
                  <a:gd name="T91" fmla="*/ 1117 h 5811"/>
                  <a:gd name="T92" fmla="*/ 5690 w 5992"/>
                  <a:gd name="T93" fmla="*/ 1419 h 58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5992" h="5811">
                    <a:moveTo>
                      <a:pt x="5740" y="1646"/>
                    </a:moveTo>
                    <a:lnTo>
                      <a:pt x="5588" y="1927"/>
                    </a:lnTo>
                    <a:lnTo>
                      <a:pt x="5633" y="1960"/>
                    </a:lnTo>
                    <a:lnTo>
                      <a:pt x="5614" y="2112"/>
                    </a:lnTo>
                    <a:lnTo>
                      <a:pt x="5411" y="2076"/>
                    </a:lnTo>
                    <a:lnTo>
                      <a:pt x="5300" y="2674"/>
                    </a:lnTo>
                    <a:lnTo>
                      <a:pt x="5114" y="2664"/>
                    </a:lnTo>
                    <a:lnTo>
                      <a:pt x="5059" y="2693"/>
                    </a:lnTo>
                    <a:lnTo>
                      <a:pt x="5005" y="2589"/>
                    </a:lnTo>
                    <a:lnTo>
                      <a:pt x="4984" y="2619"/>
                    </a:lnTo>
                    <a:lnTo>
                      <a:pt x="4854" y="2617"/>
                    </a:lnTo>
                    <a:lnTo>
                      <a:pt x="4594" y="2549"/>
                    </a:lnTo>
                    <a:lnTo>
                      <a:pt x="4476" y="2657"/>
                    </a:lnTo>
                    <a:lnTo>
                      <a:pt x="4429" y="2856"/>
                    </a:lnTo>
                    <a:lnTo>
                      <a:pt x="4303" y="2816"/>
                    </a:lnTo>
                    <a:lnTo>
                      <a:pt x="4284" y="2865"/>
                    </a:lnTo>
                    <a:lnTo>
                      <a:pt x="4235" y="2849"/>
                    </a:lnTo>
                    <a:lnTo>
                      <a:pt x="4093" y="2901"/>
                    </a:lnTo>
                    <a:lnTo>
                      <a:pt x="4143" y="3073"/>
                    </a:lnTo>
                    <a:lnTo>
                      <a:pt x="4259" y="3160"/>
                    </a:lnTo>
                    <a:lnTo>
                      <a:pt x="4280" y="3427"/>
                    </a:lnTo>
                    <a:lnTo>
                      <a:pt x="4580" y="3524"/>
                    </a:lnTo>
                    <a:lnTo>
                      <a:pt x="4589" y="3746"/>
                    </a:lnTo>
                    <a:lnTo>
                      <a:pt x="4674" y="3758"/>
                    </a:lnTo>
                    <a:lnTo>
                      <a:pt x="4693" y="3815"/>
                    </a:lnTo>
                    <a:lnTo>
                      <a:pt x="4814" y="3888"/>
                    </a:lnTo>
                    <a:lnTo>
                      <a:pt x="5038" y="3791"/>
                    </a:lnTo>
                    <a:lnTo>
                      <a:pt x="5239" y="3770"/>
                    </a:lnTo>
                    <a:lnTo>
                      <a:pt x="5378" y="4056"/>
                    </a:lnTo>
                    <a:lnTo>
                      <a:pt x="5021" y="4230"/>
                    </a:lnTo>
                    <a:lnTo>
                      <a:pt x="5014" y="4441"/>
                    </a:lnTo>
                    <a:lnTo>
                      <a:pt x="4620" y="4469"/>
                    </a:lnTo>
                    <a:lnTo>
                      <a:pt x="4594" y="4575"/>
                    </a:lnTo>
                    <a:lnTo>
                      <a:pt x="4388" y="4547"/>
                    </a:lnTo>
                    <a:lnTo>
                      <a:pt x="4254" y="4651"/>
                    </a:lnTo>
                    <a:lnTo>
                      <a:pt x="4251" y="4762"/>
                    </a:lnTo>
                    <a:lnTo>
                      <a:pt x="4129" y="4771"/>
                    </a:lnTo>
                    <a:lnTo>
                      <a:pt x="4114" y="4908"/>
                    </a:lnTo>
                    <a:lnTo>
                      <a:pt x="3973" y="4920"/>
                    </a:lnTo>
                    <a:lnTo>
                      <a:pt x="3956" y="4975"/>
                    </a:lnTo>
                    <a:lnTo>
                      <a:pt x="3824" y="5001"/>
                    </a:lnTo>
                    <a:lnTo>
                      <a:pt x="3760" y="5225"/>
                    </a:lnTo>
                    <a:lnTo>
                      <a:pt x="3822" y="5253"/>
                    </a:lnTo>
                    <a:lnTo>
                      <a:pt x="3845" y="5348"/>
                    </a:lnTo>
                    <a:lnTo>
                      <a:pt x="3675" y="5407"/>
                    </a:lnTo>
                    <a:lnTo>
                      <a:pt x="3675" y="5459"/>
                    </a:lnTo>
                    <a:lnTo>
                      <a:pt x="3571" y="5490"/>
                    </a:lnTo>
                    <a:lnTo>
                      <a:pt x="3569" y="5615"/>
                    </a:lnTo>
                    <a:lnTo>
                      <a:pt x="3635" y="5653"/>
                    </a:lnTo>
                    <a:lnTo>
                      <a:pt x="3557" y="5811"/>
                    </a:lnTo>
                    <a:lnTo>
                      <a:pt x="3448" y="5723"/>
                    </a:lnTo>
                    <a:lnTo>
                      <a:pt x="3335" y="5780"/>
                    </a:lnTo>
                    <a:lnTo>
                      <a:pt x="3255" y="5773"/>
                    </a:lnTo>
                    <a:lnTo>
                      <a:pt x="3160" y="5617"/>
                    </a:lnTo>
                    <a:lnTo>
                      <a:pt x="3068" y="5761"/>
                    </a:lnTo>
                    <a:lnTo>
                      <a:pt x="2988" y="5593"/>
                    </a:lnTo>
                    <a:lnTo>
                      <a:pt x="2839" y="5525"/>
                    </a:lnTo>
                    <a:lnTo>
                      <a:pt x="2692" y="5378"/>
                    </a:lnTo>
                    <a:lnTo>
                      <a:pt x="2586" y="5161"/>
                    </a:lnTo>
                    <a:lnTo>
                      <a:pt x="2612" y="5024"/>
                    </a:lnTo>
                    <a:lnTo>
                      <a:pt x="2510" y="4956"/>
                    </a:lnTo>
                    <a:lnTo>
                      <a:pt x="2402" y="4996"/>
                    </a:lnTo>
                    <a:lnTo>
                      <a:pt x="2255" y="5166"/>
                    </a:lnTo>
                    <a:lnTo>
                      <a:pt x="1951" y="5215"/>
                    </a:lnTo>
                    <a:lnTo>
                      <a:pt x="1882" y="5343"/>
                    </a:lnTo>
                    <a:lnTo>
                      <a:pt x="1750" y="5258"/>
                    </a:lnTo>
                    <a:lnTo>
                      <a:pt x="1490" y="5275"/>
                    </a:lnTo>
                    <a:lnTo>
                      <a:pt x="1478" y="5182"/>
                    </a:lnTo>
                    <a:lnTo>
                      <a:pt x="1448" y="5166"/>
                    </a:lnTo>
                    <a:lnTo>
                      <a:pt x="1280" y="5199"/>
                    </a:lnTo>
                    <a:lnTo>
                      <a:pt x="1282" y="5279"/>
                    </a:lnTo>
                    <a:lnTo>
                      <a:pt x="1176" y="5319"/>
                    </a:lnTo>
                    <a:lnTo>
                      <a:pt x="1266" y="4812"/>
                    </a:lnTo>
                    <a:lnTo>
                      <a:pt x="1157" y="4672"/>
                    </a:lnTo>
                    <a:lnTo>
                      <a:pt x="1230" y="4656"/>
                    </a:lnTo>
                    <a:lnTo>
                      <a:pt x="1292" y="4360"/>
                    </a:lnTo>
                    <a:lnTo>
                      <a:pt x="1325" y="4351"/>
                    </a:lnTo>
                    <a:lnTo>
                      <a:pt x="1370" y="4204"/>
                    </a:lnTo>
                    <a:lnTo>
                      <a:pt x="1065" y="4216"/>
                    </a:lnTo>
                    <a:lnTo>
                      <a:pt x="1027" y="4112"/>
                    </a:lnTo>
                    <a:lnTo>
                      <a:pt x="970" y="4065"/>
                    </a:lnTo>
                    <a:lnTo>
                      <a:pt x="524" y="4164"/>
                    </a:lnTo>
                    <a:lnTo>
                      <a:pt x="555" y="4254"/>
                    </a:lnTo>
                    <a:lnTo>
                      <a:pt x="134" y="4417"/>
                    </a:lnTo>
                    <a:lnTo>
                      <a:pt x="134" y="4252"/>
                    </a:lnTo>
                    <a:lnTo>
                      <a:pt x="0" y="4001"/>
                    </a:lnTo>
                    <a:lnTo>
                      <a:pt x="188" y="3822"/>
                    </a:lnTo>
                    <a:lnTo>
                      <a:pt x="441" y="3654"/>
                    </a:lnTo>
                    <a:lnTo>
                      <a:pt x="330" y="3170"/>
                    </a:lnTo>
                    <a:lnTo>
                      <a:pt x="540" y="3193"/>
                    </a:lnTo>
                    <a:lnTo>
                      <a:pt x="550" y="3061"/>
                    </a:lnTo>
                    <a:lnTo>
                      <a:pt x="734" y="3035"/>
                    </a:lnTo>
                    <a:lnTo>
                      <a:pt x="885" y="2402"/>
                    </a:lnTo>
                    <a:lnTo>
                      <a:pt x="878" y="2161"/>
                    </a:lnTo>
                    <a:lnTo>
                      <a:pt x="1431" y="1861"/>
                    </a:lnTo>
                    <a:lnTo>
                      <a:pt x="1466" y="2003"/>
                    </a:lnTo>
                    <a:lnTo>
                      <a:pt x="1575" y="2154"/>
                    </a:lnTo>
                    <a:lnTo>
                      <a:pt x="1738" y="2067"/>
                    </a:lnTo>
                    <a:lnTo>
                      <a:pt x="1750" y="2206"/>
                    </a:lnTo>
                    <a:lnTo>
                      <a:pt x="2019" y="2116"/>
                    </a:lnTo>
                    <a:lnTo>
                      <a:pt x="2272" y="2083"/>
                    </a:lnTo>
                    <a:lnTo>
                      <a:pt x="2272" y="2015"/>
                    </a:lnTo>
                    <a:lnTo>
                      <a:pt x="2416" y="2031"/>
                    </a:lnTo>
                    <a:lnTo>
                      <a:pt x="2418" y="1956"/>
                    </a:lnTo>
                    <a:lnTo>
                      <a:pt x="2501" y="1904"/>
                    </a:lnTo>
                    <a:lnTo>
                      <a:pt x="2451" y="1719"/>
                    </a:lnTo>
                    <a:lnTo>
                      <a:pt x="2544" y="1686"/>
                    </a:lnTo>
                    <a:lnTo>
                      <a:pt x="2402" y="1327"/>
                    </a:lnTo>
                    <a:lnTo>
                      <a:pt x="2655" y="1287"/>
                    </a:lnTo>
                    <a:lnTo>
                      <a:pt x="2749" y="1226"/>
                    </a:lnTo>
                    <a:lnTo>
                      <a:pt x="2789" y="1098"/>
                    </a:lnTo>
                    <a:lnTo>
                      <a:pt x="2933" y="997"/>
                    </a:lnTo>
                    <a:lnTo>
                      <a:pt x="2825" y="527"/>
                    </a:lnTo>
                    <a:lnTo>
                      <a:pt x="2966" y="470"/>
                    </a:lnTo>
                    <a:lnTo>
                      <a:pt x="3066" y="486"/>
                    </a:lnTo>
                    <a:lnTo>
                      <a:pt x="3068" y="536"/>
                    </a:lnTo>
                    <a:lnTo>
                      <a:pt x="2983" y="564"/>
                    </a:lnTo>
                    <a:lnTo>
                      <a:pt x="3011" y="671"/>
                    </a:lnTo>
                    <a:lnTo>
                      <a:pt x="3082" y="668"/>
                    </a:lnTo>
                    <a:lnTo>
                      <a:pt x="3148" y="602"/>
                    </a:lnTo>
                    <a:lnTo>
                      <a:pt x="3316" y="612"/>
                    </a:lnTo>
                    <a:lnTo>
                      <a:pt x="3573" y="534"/>
                    </a:lnTo>
                    <a:lnTo>
                      <a:pt x="3573" y="196"/>
                    </a:lnTo>
                    <a:lnTo>
                      <a:pt x="3807" y="137"/>
                    </a:lnTo>
                    <a:lnTo>
                      <a:pt x="3829" y="241"/>
                    </a:lnTo>
                    <a:lnTo>
                      <a:pt x="4209" y="165"/>
                    </a:lnTo>
                    <a:lnTo>
                      <a:pt x="4233" y="0"/>
                    </a:lnTo>
                    <a:lnTo>
                      <a:pt x="4533" y="2"/>
                    </a:lnTo>
                    <a:lnTo>
                      <a:pt x="4584" y="85"/>
                    </a:lnTo>
                    <a:lnTo>
                      <a:pt x="4696" y="19"/>
                    </a:lnTo>
                    <a:lnTo>
                      <a:pt x="4700" y="26"/>
                    </a:lnTo>
                    <a:lnTo>
                      <a:pt x="4674" y="562"/>
                    </a:lnTo>
                    <a:lnTo>
                      <a:pt x="4608" y="668"/>
                    </a:lnTo>
                    <a:lnTo>
                      <a:pt x="4665" y="763"/>
                    </a:lnTo>
                    <a:lnTo>
                      <a:pt x="4589" y="883"/>
                    </a:lnTo>
                    <a:lnTo>
                      <a:pt x="4759" y="1495"/>
                    </a:lnTo>
                    <a:lnTo>
                      <a:pt x="5253" y="1538"/>
                    </a:lnTo>
                    <a:lnTo>
                      <a:pt x="5600" y="1117"/>
                    </a:lnTo>
                    <a:lnTo>
                      <a:pt x="5917" y="1032"/>
                    </a:lnTo>
                    <a:lnTo>
                      <a:pt x="5992" y="1299"/>
                    </a:lnTo>
                    <a:lnTo>
                      <a:pt x="5690" y="1419"/>
                    </a:lnTo>
                    <a:lnTo>
                      <a:pt x="5655" y="1545"/>
                    </a:lnTo>
                    <a:lnTo>
                      <a:pt x="5740" y="1646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6" name="Freeform 44">
                <a:extLst>
                  <a:ext uri="{FF2B5EF4-FFF2-40B4-BE49-F238E27FC236}">
                    <a16:creationId xmlns:a16="http://schemas.microsoft.com/office/drawing/2014/main" id="{8A27545D-EC0E-44E6-B91B-27BA65E070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1194378" y="2001838"/>
                <a:ext cx="866775" cy="693738"/>
              </a:xfrm>
              <a:custGeom>
                <a:avLst/>
                <a:gdLst>
                  <a:gd name="T0" fmla="*/ 546 w 546"/>
                  <a:gd name="T1" fmla="*/ 241 h 437"/>
                  <a:gd name="T2" fmla="*/ 338 w 546"/>
                  <a:gd name="T3" fmla="*/ 413 h 437"/>
                  <a:gd name="T4" fmla="*/ 137 w 546"/>
                  <a:gd name="T5" fmla="*/ 437 h 437"/>
                  <a:gd name="T6" fmla="*/ 133 w 546"/>
                  <a:gd name="T7" fmla="*/ 430 h 437"/>
                  <a:gd name="T8" fmla="*/ 156 w 546"/>
                  <a:gd name="T9" fmla="*/ 415 h 437"/>
                  <a:gd name="T10" fmla="*/ 225 w 546"/>
                  <a:gd name="T11" fmla="*/ 281 h 437"/>
                  <a:gd name="T12" fmla="*/ 111 w 546"/>
                  <a:gd name="T13" fmla="*/ 286 h 437"/>
                  <a:gd name="T14" fmla="*/ 0 w 546"/>
                  <a:gd name="T15" fmla="*/ 49 h 437"/>
                  <a:gd name="T16" fmla="*/ 456 w 546"/>
                  <a:gd name="T17" fmla="*/ 0 h 437"/>
                  <a:gd name="T18" fmla="*/ 546 w 546"/>
                  <a:gd name="T19" fmla="*/ 241 h 4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46" h="437">
                    <a:moveTo>
                      <a:pt x="546" y="241"/>
                    </a:moveTo>
                    <a:lnTo>
                      <a:pt x="338" y="413"/>
                    </a:lnTo>
                    <a:lnTo>
                      <a:pt x="137" y="437"/>
                    </a:lnTo>
                    <a:lnTo>
                      <a:pt x="133" y="430"/>
                    </a:lnTo>
                    <a:lnTo>
                      <a:pt x="156" y="415"/>
                    </a:lnTo>
                    <a:lnTo>
                      <a:pt x="225" y="281"/>
                    </a:lnTo>
                    <a:lnTo>
                      <a:pt x="111" y="286"/>
                    </a:lnTo>
                    <a:lnTo>
                      <a:pt x="0" y="49"/>
                    </a:lnTo>
                    <a:lnTo>
                      <a:pt x="456" y="0"/>
                    </a:lnTo>
                    <a:lnTo>
                      <a:pt x="546" y="241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7" name="Freeform 45">
                <a:extLst>
                  <a:ext uri="{FF2B5EF4-FFF2-40B4-BE49-F238E27FC236}">
                    <a16:creationId xmlns:a16="http://schemas.microsoft.com/office/drawing/2014/main" id="{E4DD787F-F57C-4444-9761-E6C9909D1C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069177" y="-14512928"/>
                <a:ext cx="27609803" cy="17549817"/>
              </a:xfrm>
              <a:custGeom>
                <a:avLst/>
                <a:gdLst>
                  <a:gd name="T0" fmla="*/ 16840 w 17392"/>
                  <a:gd name="T1" fmla="*/ 6614 h 11055"/>
                  <a:gd name="T2" fmla="*/ 16339 w 17392"/>
                  <a:gd name="T3" fmla="*/ 6602 h 11055"/>
                  <a:gd name="T4" fmla="*/ 15496 w 17392"/>
                  <a:gd name="T5" fmla="*/ 6680 h 11055"/>
                  <a:gd name="T6" fmla="*/ 15999 w 17392"/>
                  <a:gd name="T7" fmla="*/ 7455 h 11055"/>
                  <a:gd name="T8" fmla="*/ 16114 w 17392"/>
                  <a:gd name="T9" fmla="*/ 8050 h 11055"/>
                  <a:gd name="T10" fmla="*/ 16379 w 17392"/>
                  <a:gd name="T11" fmla="*/ 8688 h 11055"/>
                  <a:gd name="T12" fmla="*/ 15710 w 17392"/>
                  <a:gd name="T13" fmla="*/ 9052 h 11055"/>
                  <a:gd name="T14" fmla="*/ 16029 w 17392"/>
                  <a:gd name="T15" fmla="*/ 9616 h 11055"/>
                  <a:gd name="T16" fmla="*/ 14903 w 17392"/>
                  <a:gd name="T17" fmla="*/ 9975 h 11055"/>
                  <a:gd name="T18" fmla="*/ 14385 w 17392"/>
                  <a:gd name="T19" fmla="*/ 9217 h 11055"/>
                  <a:gd name="T20" fmla="*/ 14322 w 17392"/>
                  <a:gd name="T21" fmla="*/ 8574 h 11055"/>
                  <a:gd name="T22" fmla="*/ 13748 w 17392"/>
                  <a:gd name="T23" fmla="*/ 8213 h 11055"/>
                  <a:gd name="T24" fmla="*/ 13067 w 17392"/>
                  <a:gd name="T25" fmla="*/ 8478 h 11055"/>
                  <a:gd name="T26" fmla="*/ 12172 w 17392"/>
                  <a:gd name="T27" fmla="*/ 8591 h 11055"/>
                  <a:gd name="T28" fmla="*/ 11877 w 17392"/>
                  <a:gd name="T29" fmla="*/ 9215 h 11055"/>
                  <a:gd name="T30" fmla="*/ 10800 w 17392"/>
                  <a:gd name="T31" fmla="*/ 10176 h 11055"/>
                  <a:gd name="T32" fmla="*/ 10093 w 17392"/>
                  <a:gd name="T33" fmla="*/ 10448 h 11055"/>
                  <a:gd name="T34" fmla="*/ 9600 w 17392"/>
                  <a:gd name="T35" fmla="*/ 9845 h 11055"/>
                  <a:gd name="T36" fmla="*/ 9059 w 17392"/>
                  <a:gd name="T37" fmla="*/ 9262 h 11055"/>
                  <a:gd name="T38" fmla="*/ 8371 w 17392"/>
                  <a:gd name="T39" fmla="*/ 9555 h 11055"/>
                  <a:gd name="T40" fmla="*/ 7759 w 17392"/>
                  <a:gd name="T41" fmla="*/ 9711 h 11055"/>
                  <a:gd name="T42" fmla="*/ 6519 w 17392"/>
                  <a:gd name="T43" fmla="*/ 10287 h 11055"/>
                  <a:gd name="T44" fmla="*/ 6666 w 17392"/>
                  <a:gd name="T45" fmla="*/ 10561 h 11055"/>
                  <a:gd name="T46" fmla="*/ 7029 w 17392"/>
                  <a:gd name="T47" fmla="*/ 10899 h 11055"/>
                  <a:gd name="T48" fmla="*/ 6018 w 17392"/>
                  <a:gd name="T49" fmla="*/ 11010 h 11055"/>
                  <a:gd name="T50" fmla="*/ 5459 w 17392"/>
                  <a:gd name="T51" fmla="*/ 10261 h 11055"/>
                  <a:gd name="T52" fmla="*/ 4979 w 17392"/>
                  <a:gd name="T53" fmla="*/ 9824 h 11055"/>
                  <a:gd name="T54" fmla="*/ 4759 w 17392"/>
                  <a:gd name="T55" fmla="*/ 9730 h 11055"/>
                  <a:gd name="T56" fmla="*/ 3878 w 17392"/>
                  <a:gd name="T57" fmla="*/ 9800 h 11055"/>
                  <a:gd name="T58" fmla="*/ 3054 w 17392"/>
                  <a:gd name="T59" fmla="*/ 10143 h 11055"/>
                  <a:gd name="T60" fmla="*/ 2038 w 17392"/>
                  <a:gd name="T61" fmla="*/ 8936 h 11055"/>
                  <a:gd name="T62" fmla="*/ 1181 w 17392"/>
                  <a:gd name="T63" fmla="*/ 9458 h 11055"/>
                  <a:gd name="T64" fmla="*/ 14 w 17392"/>
                  <a:gd name="T65" fmla="*/ 8638 h 11055"/>
                  <a:gd name="T66" fmla="*/ 652 w 17392"/>
                  <a:gd name="T67" fmla="*/ 7842 h 11055"/>
                  <a:gd name="T68" fmla="*/ 1481 w 17392"/>
                  <a:gd name="T69" fmla="*/ 7332 h 11055"/>
                  <a:gd name="T70" fmla="*/ 1497 w 17392"/>
                  <a:gd name="T71" fmla="*/ 6781 h 11055"/>
                  <a:gd name="T72" fmla="*/ 1764 w 17392"/>
                  <a:gd name="T73" fmla="*/ 6009 h 11055"/>
                  <a:gd name="T74" fmla="*/ 1837 w 17392"/>
                  <a:gd name="T75" fmla="*/ 5418 h 11055"/>
                  <a:gd name="T76" fmla="*/ 2170 w 17392"/>
                  <a:gd name="T77" fmla="*/ 5222 h 11055"/>
                  <a:gd name="T78" fmla="*/ 2359 w 17392"/>
                  <a:gd name="T79" fmla="*/ 4795 h 11055"/>
                  <a:gd name="T80" fmla="*/ 2527 w 17392"/>
                  <a:gd name="T81" fmla="*/ 4724 h 11055"/>
                  <a:gd name="T82" fmla="*/ 2967 w 17392"/>
                  <a:gd name="T83" fmla="*/ 4381 h 11055"/>
                  <a:gd name="T84" fmla="*/ 3179 w 17392"/>
                  <a:gd name="T85" fmla="*/ 4438 h 11055"/>
                  <a:gd name="T86" fmla="*/ 3812 w 17392"/>
                  <a:gd name="T87" fmla="*/ 3867 h 11055"/>
                  <a:gd name="T88" fmla="*/ 4273 w 17392"/>
                  <a:gd name="T89" fmla="*/ 3800 h 11055"/>
                  <a:gd name="T90" fmla="*/ 4526 w 17392"/>
                  <a:gd name="T91" fmla="*/ 3375 h 11055"/>
                  <a:gd name="T92" fmla="*/ 5007 w 17392"/>
                  <a:gd name="T93" fmla="*/ 2846 h 11055"/>
                  <a:gd name="T94" fmla="*/ 5598 w 17392"/>
                  <a:gd name="T95" fmla="*/ 2000 h 11055"/>
                  <a:gd name="T96" fmla="*/ 6512 w 17392"/>
                  <a:gd name="T97" fmla="*/ 1516 h 11055"/>
                  <a:gd name="T98" fmla="*/ 7722 w 17392"/>
                  <a:gd name="T99" fmla="*/ 1148 h 11055"/>
                  <a:gd name="T100" fmla="*/ 8241 w 17392"/>
                  <a:gd name="T101" fmla="*/ 526 h 11055"/>
                  <a:gd name="T102" fmla="*/ 9259 w 17392"/>
                  <a:gd name="T103" fmla="*/ 215 h 11055"/>
                  <a:gd name="T104" fmla="*/ 10190 w 17392"/>
                  <a:gd name="T105" fmla="*/ 96 h 11055"/>
                  <a:gd name="T106" fmla="*/ 11303 w 17392"/>
                  <a:gd name="T107" fmla="*/ 307 h 11055"/>
                  <a:gd name="T108" fmla="*/ 12351 w 17392"/>
                  <a:gd name="T109" fmla="*/ 767 h 11055"/>
                  <a:gd name="T110" fmla="*/ 13547 w 17392"/>
                  <a:gd name="T111" fmla="*/ 618 h 11055"/>
                  <a:gd name="T112" fmla="*/ 15250 w 17392"/>
                  <a:gd name="T113" fmla="*/ 798 h 11055"/>
                  <a:gd name="T114" fmla="*/ 16802 w 17392"/>
                  <a:gd name="T115" fmla="*/ 5118 h 110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7392" h="11055">
                    <a:moveTo>
                      <a:pt x="17392" y="6274"/>
                    </a:moveTo>
                    <a:lnTo>
                      <a:pt x="17265" y="6335"/>
                    </a:lnTo>
                    <a:lnTo>
                      <a:pt x="17081" y="6311"/>
                    </a:lnTo>
                    <a:lnTo>
                      <a:pt x="16936" y="6453"/>
                    </a:lnTo>
                    <a:lnTo>
                      <a:pt x="16908" y="6588"/>
                    </a:lnTo>
                    <a:lnTo>
                      <a:pt x="16840" y="6614"/>
                    </a:lnTo>
                    <a:lnTo>
                      <a:pt x="16743" y="6621"/>
                    </a:lnTo>
                    <a:lnTo>
                      <a:pt x="16667" y="6474"/>
                    </a:lnTo>
                    <a:lnTo>
                      <a:pt x="16601" y="6486"/>
                    </a:lnTo>
                    <a:lnTo>
                      <a:pt x="16488" y="6611"/>
                    </a:lnTo>
                    <a:lnTo>
                      <a:pt x="16417" y="6538"/>
                    </a:lnTo>
                    <a:lnTo>
                      <a:pt x="16339" y="6602"/>
                    </a:lnTo>
                    <a:lnTo>
                      <a:pt x="16275" y="6600"/>
                    </a:lnTo>
                    <a:lnTo>
                      <a:pt x="16036" y="6491"/>
                    </a:lnTo>
                    <a:lnTo>
                      <a:pt x="15895" y="6640"/>
                    </a:lnTo>
                    <a:lnTo>
                      <a:pt x="15798" y="6607"/>
                    </a:lnTo>
                    <a:lnTo>
                      <a:pt x="15670" y="6715"/>
                    </a:lnTo>
                    <a:lnTo>
                      <a:pt x="15496" y="6680"/>
                    </a:lnTo>
                    <a:lnTo>
                      <a:pt x="15429" y="6755"/>
                    </a:lnTo>
                    <a:lnTo>
                      <a:pt x="16138" y="6737"/>
                    </a:lnTo>
                    <a:lnTo>
                      <a:pt x="16138" y="6926"/>
                    </a:lnTo>
                    <a:lnTo>
                      <a:pt x="15968" y="7086"/>
                    </a:lnTo>
                    <a:lnTo>
                      <a:pt x="16015" y="7211"/>
                    </a:lnTo>
                    <a:lnTo>
                      <a:pt x="15999" y="7455"/>
                    </a:lnTo>
                    <a:lnTo>
                      <a:pt x="15859" y="7601"/>
                    </a:lnTo>
                    <a:lnTo>
                      <a:pt x="15852" y="7717"/>
                    </a:lnTo>
                    <a:lnTo>
                      <a:pt x="15720" y="7811"/>
                    </a:lnTo>
                    <a:lnTo>
                      <a:pt x="15895" y="7920"/>
                    </a:lnTo>
                    <a:lnTo>
                      <a:pt x="15829" y="8045"/>
                    </a:lnTo>
                    <a:lnTo>
                      <a:pt x="16114" y="8050"/>
                    </a:lnTo>
                    <a:lnTo>
                      <a:pt x="15973" y="8185"/>
                    </a:lnTo>
                    <a:lnTo>
                      <a:pt x="16046" y="8298"/>
                    </a:lnTo>
                    <a:lnTo>
                      <a:pt x="16320" y="8459"/>
                    </a:lnTo>
                    <a:lnTo>
                      <a:pt x="16507" y="8492"/>
                    </a:lnTo>
                    <a:lnTo>
                      <a:pt x="16507" y="8678"/>
                    </a:lnTo>
                    <a:lnTo>
                      <a:pt x="16379" y="8688"/>
                    </a:lnTo>
                    <a:lnTo>
                      <a:pt x="16384" y="8740"/>
                    </a:lnTo>
                    <a:lnTo>
                      <a:pt x="16249" y="8709"/>
                    </a:lnTo>
                    <a:lnTo>
                      <a:pt x="16249" y="8799"/>
                    </a:lnTo>
                    <a:lnTo>
                      <a:pt x="16081" y="8922"/>
                    </a:lnTo>
                    <a:lnTo>
                      <a:pt x="15654" y="8922"/>
                    </a:lnTo>
                    <a:lnTo>
                      <a:pt x="15710" y="9052"/>
                    </a:lnTo>
                    <a:lnTo>
                      <a:pt x="15710" y="9316"/>
                    </a:lnTo>
                    <a:lnTo>
                      <a:pt x="15840" y="9316"/>
                    </a:lnTo>
                    <a:lnTo>
                      <a:pt x="15840" y="9394"/>
                    </a:lnTo>
                    <a:lnTo>
                      <a:pt x="16110" y="9359"/>
                    </a:lnTo>
                    <a:lnTo>
                      <a:pt x="16138" y="9602"/>
                    </a:lnTo>
                    <a:lnTo>
                      <a:pt x="16029" y="9616"/>
                    </a:lnTo>
                    <a:lnTo>
                      <a:pt x="16081" y="9869"/>
                    </a:lnTo>
                    <a:lnTo>
                      <a:pt x="15637" y="9822"/>
                    </a:lnTo>
                    <a:lnTo>
                      <a:pt x="15446" y="9869"/>
                    </a:lnTo>
                    <a:lnTo>
                      <a:pt x="15384" y="9975"/>
                    </a:lnTo>
                    <a:lnTo>
                      <a:pt x="14964" y="10013"/>
                    </a:lnTo>
                    <a:lnTo>
                      <a:pt x="14903" y="9975"/>
                    </a:lnTo>
                    <a:lnTo>
                      <a:pt x="14836" y="9819"/>
                    </a:lnTo>
                    <a:lnTo>
                      <a:pt x="14733" y="9798"/>
                    </a:lnTo>
                    <a:lnTo>
                      <a:pt x="14733" y="9524"/>
                    </a:lnTo>
                    <a:lnTo>
                      <a:pt x="14640" y="9311"/>
                    </a:lnTo>
                    <a:lnTo>
                      <a:pt x="14574" y="9259"/>
                    </a:lnTo>
                    <a:lnTo>
                      <a:pt x="14385" y="9217"/>
                    </a:lnTo>
                    <a:lnTo>
                      <a:pt x="14333" y="9160"/>
                    </a:lnTo>
                    <a:lnTo>
                      <a:pt x="14333" y="8917"/>
                    </a:lnTo>
                    <a:lnTo>
                      <a:pt x="14281" y="8874"/>
                    </a:lnTo>
                    <a:lnTo>
                      <a:pt x="14355" y="8759"/>
                    </a:lnTo>
                    <a:lnTo>
                      <a:pt x="14355" y="8659"/>
                    </a:lnTo>
                    <a:lnTo>
                      <a:pt x="14322" y="8574"/>
                    </a:lnTo>
                    <a:lnTo>
                      <a:pt x="14144" y="8537"/>
                    </a:lnTo>
                    <a:lnTo>
                      <a:pt x="14073" y="8459"/>
                    </a:lnTo>
                    <a:lnTo>
                      <a:pt x="14196" y="8286"/>
                    </a:lnTo>
                    <a:lnTo>
                      <a:pt x="13934" y="8059"/>
                    </a:lnTo>
                    <a:lnTo>
                      <a:pt x="13778" y="8116"/>
                    </a:lnTo>
                    <a:lnTo>
                      <a:pt x="13748" y="8213"/>
                    </a:lnTo>
                    <a:lnTo>
                      <a:pt x="13516" y="8310"/>
                    </a:lnTo>
                    <a:lnTo>
                      <a:pt x="13469" y="8211"/>
                    </a:lnTo>
                    <a:lnTo>
                      <a:pt x="13379" y="8244"/>
                    </a:lnTo>
                    <a:lnTo>
                      <a:pt x="13377" y="8459"/>
                    </a:lnTo>
                    <a:lnTo>
                      <a:pt x="13192" y="8643"/>
                    </a:lnTo>
                    <a:lnTo>
                      <a:pt x="13067" y="8478"/>
                    </a:lnTo>
                    <a:lnTo>
                      <a:pt x="12729" y="8400"/>
                    </a:lnTo>
                    <a:lnTo>
                      <a:pt x="12607" y="8324"/>
                    </a:lnTo>
                    <a:lnTo>
                      <a:pt x="12557" y="8470"/>
                    </a:lnTo>
                    <a:lnTo>
                      <a:pt x="12347" y="8473"/>
                    </a:lnTo>
                    <a:lnTo>
                      <a:pt x="12186" y="8374"/>
                    </a:lnTo>
                    <a:lnTo>
                      <a:pt x="12172" y="8591"/>
                    </a:lnTo>
                    <a:lnTo>
                      <a:pt x="12002" y="8459"/>
                    </a:lnTo>
                    <a:lnTo>
                      <a:pt x="11716" y="8470"/>
                    </a:lnTo>
                    <a:lnTo>
                      <a:pt x="11787" y="8744"/>
                    </a:lnTo>
                    <a:lnTo>
                      <a:pt x="11749" y="8837"/>
                    </a:lnTo>
                    <a:lnTo>
                      <a:pt x="11922" y="8983"/>
                    </a:lnTo>
                    <a:lnTo>
                      <a:pt x="11877" y="9215"/>
                    </a:lnTo>
                    <a:lnTo>
                      <a:pt x="11688" y="9238"/>
                    </a:lnTo>
                    <a:lnTo>
                      <a:pt x="10896" y="9892"/>
                    </a:lnTo>
                    <a:lnTo>
                      <a:pt x="10894" y="10008"/>
                    </a:lnTo>
                    <a:lnTo>
                      <a:pt x="10674" y="10030"/>
                    </a:lnTo>
                    <a:lnTo>
                      <a:pt x="10681" y="10143"/>
                    </a:lnTo>
                    <a:lnTo>
                      <a:pt x="10800" y="10176"/>
                    </a:lnTo>
                    <a:lnTo>
                      <a:pt x="10885" y="10365"/>
                    </a:lnTo>
                    <a:lnTo>
                      <a:pt x="10740" y="10412"/>
                    </a:lnTo>
                    <a:lnTo>
                      <a:pt x="10740" y="10497"/>
                    </a:lnTo>
                    <a:lnTo>
                      <a:pt x="10644" y="10637"/>
                    </a:lnTo>
                    <a:lnTo>
                      <a:pt x="10081" y="10540"/>
                    </a:lnTo>
                    <a:lnTo>
                      <a:pt x="10093" y="10448"/>
                    </a:lnTo>
                    <a:lnTo>
                      <a:pt x="9885" y="10237"/>
                    </a:lnTo>
                    <a:lnTo>
                      <a:pt x="9805" y="10249"/>
                    </a:lnTo>
                    <a:lnTo>
                      <a:pt x="9718" y="10141"/>
                    </a:lnTo>
                    <a:lnTo>
                      <a:pt x="9741" y="10037"/>
                    </a:lnTo>
                    <a:lnTo>
                      <a:pt x="9600" y="9954"/>
                    </a:lnTo>
                    <a:lnTo>
                      <a:pt x="9600" y="9845"/>
                    </a:lnTo>
                    <a:lnTo>
                      <a:pt x="9403" y="9937"/>
                    </a:lnTo>
                    <a:lnTo>
                      <a:pt x="9387" y="9911"/>
                    </a:lnTo>
                    <a:lnTo>
                      <a:pt x="9491" y="9737"/>
                    </a:lnTo>
                    <a:lnTo>
                      <a:pt x="9382" y="9446"/>
                    </a:lnTo>
                    <a:lnTo>
                      <a:pt x="9387" y="9344"/>
                    </a:lnTo>
                    <a:lnTo>
                      <a:pt x="9059" y="9262"/>
                    </a:lnTo>
                    <a:lnTo>
                      <a:pt x="8877" y="9311"/>
                    </a:lnTo>
                    <a:lnTo>
                      <a:pt x="8874" y="9557"/>
                    </a:lnTo>
                    <a:lnTo>
                      <a:pt x="8806" y="9588"/>
                    </a:lnTo>
                    <a:lnTo>
                      <a:pt x="8834" y="9689"/>
                    </a:lnTo>
                    <a:lnTo>
                      <a:pt x="8496" y="9833"/>
                    </a:lnTo>
                    <a:lnTo>
                      <a:pt x="8371" y="9555"/>
                    </a:lnTo>
                    <a:lnTo>
                      <a:pt x="8333" y="9567"/>
                    </a:lnTo>
                    <a:lnTo>
                      <a:pt x="8300" y="9503"/>
                    </a:lnTo>
                    <a:lnTo>
                      <a:pt x="8007" y="9451"/>
                    </a:lnTo>
                    <a:lnTo>
                      <a:pt x="8059" y="9711"/>
                    </a:lnTo>
                    <a:lnTo>
                      <a:pt x="7911" y="9666"/>
                    </a:lnTo>
                    <a:lnTo>
                      <a:pt x="7759" y="9711"/>
                    </a:lnTo>
                    <a:lnTo>
                      <a:pt x="7606" y="9661"/>
                    </a:lnTo>
                    <a:lnTo>
                      <a:pt x="7398" y="9696"/>
                    </a:lnTo>
                    <a:lnTo>
                      <a:pt x="7278" y="9796"/>
                    </a:lnTo>
                    <a:lnTo>
                      <a:pt x="6982" y="9911"/>
                    </a:lnTo>
                    <a:lnTo>
                      <a:pt x="6987" y="10176"/>
                    </a:lnTo>
                    <a:lnTo>
                      <a:pt x="6519" y="10287"/>
                    </a:lnTo>
                    <a:lnTo>
                      <a:pt x="6515" y="10400"/>
                    </a:lnTo>
                    <a:lnTo>
                      <a:pt x="6212" y="10495"/>
                    </a:lnTo>
                    <a:lnTo>
                      <a:pt x="6229" y="10698"/>
                    </a:lnTo>
                    <a:lnTo>
                      <a:pt x="6278" y="10715"/>
                    </a:lnTo>
                    <a:lnTo>
                      <a:pt x="6609" y="10639"/>
                    </a:lnTo>
                    <a:lnTo>
                      <a:pt x="6666" y="10561"/>
                    </a:lnTo>
                    <a:lnTo>
                      <a:pt x="7008" y="10452"/>
                    </a:lnTo>
                    <a:lnTo>
                      <a:pt x="7119" y="10689"/>
                    </a:lnTo>
                    <a:lnTo>
                      <a:pt x="7233" y="10684"/>
                    </a:lnTo>
                    <a:lnTo>
                      <a:pt x="7164" y="10818"/>
                    </a:lnTo>
                    <a:lnTo>
                      <a:pt x="7141" y="10833"/>
                    </a:lnTo>
                    <a:lnTo>
                      <a:pt x="7029" y="10899"/>
                    </a:lnTo>
                    <a:lnTo>
                      <a:pt x="6978" y="10816"/>
                    </a:lnTo>
                    <a:lnTo>
                      <a:pt x="6678" y="10814"/>
                    </a:lnTo>
                    <a:lnTo>
                      <a:pt x="6654" y="10979"/>
                    </a:lnTo>
                    <a:lnTo>
                      <a:pt x="6274" y="11055"/>
                    </a:lnTo>
                    <a:lnTo>
                      <a:pt x="6252" y="10951"/>
                    </a:lnTo>
                    <a:lnTo>
                      <a:pt x="6018" y="11010"/>
                    </a:lnTo>
                    <a:lnTo>
                      <a:pt x="5787" y="10627"/>
                    </a:lnTo>
                    <a:lnTo>
                      <a:pt x="5496" y="10660"/>
                    </a:lnTo>
                    <a:lnTo>
                      <a:pt x="5480" y="10483"/>
                    </a:lnTo>
                    <a:lnTo>
                      <a:pt x="5305" y="10452"/>
                    </a:lnTo>
                    <a:lnTo>
                      <a:pt x="5338" y="10289"/>
                    </a:lnTo>
                    <a:lnTo>
                      <a:pt x="5459" y="10261"/>
                    </a:lnTo>
                    <a:lnTo>
                      <a:pt x="5615" y="10377"/>
                    </a:lnTo>
                    <a:lnTo>
                      <a:pt x="5770" y="10370"/>
                    </a:lnTo>
                    <a:lnTo>
                      <a:pt x="5827" y="10141"/>
                    </a:lnTo>
                    <a:lnTo>
                      <a:pt x="5367" y="9909"/>
                    </a:lnTo>
                    <a:lnTo>
                      <a:pt x="5083" y="9888"/>
                    </a:lnTo>
                    <a:lnTo>
                      <a:pt x="4979" y="9824"/>
                    </a:lnTo>
                    <a:lnTo>
                      <a:pt x="4880" y="9843"/>
                    </a:lnTo>
                    <a:lnTo>
                      <a:pt x="4837" y="9921"/>
                    </a:lnTo>
                    <a:lnTo>
                      <a:pt x="4703" y="9904"/>
                    </a:lnTo>
                    <a:lnTo>
                      <a:pt x="4698" y="9833"/>
                    </a:lnTo>
                    <a:lnTo>
                      <a:pt x="4788" y="9833"/>
                    </a:lnTo>
                    <a:lnTo>
                      <a:pt x="4759" y="9730"/>
                    </a:lnTo>
                    <a:lnTo>
                      <a:pt x="4530" y="9675"/>
                    </a:lnTo>
                    <a:lnTo>
                      <a:pt x="4511" y="9871"/>
                    </a:lnTo>
                    <a:lnTo>
                      <a:pt x="4296" y="9845"/>
                    </a:lnTo>
                    <a:lnTo>
                      <a:pt x="4159" y="9928"/>
                    </a:lnTo>
                    <a:lnTo>
                      <a:pt x="4030" y="9800"/>
                    </a:lnTo>
                    <a:lnTo>
                      <a:pt x="3878" y="9800"/>
                    </a:lnTo>
                    <a:lnTo>
                      <a:pt x="3774" y="9867"/>
                    </a:lnTo>
                    <a:lnTo>
                      <a:pt x="3784" y="10065"/>
                    </a:lnTo>
                    <a:lnTo>
                      <a:pt x="3623" y="10280"/>
                    </a:lnTo>
                    <a:lnTo>
                      <a:pt x="3526" y="10244"/>
                    </a:lnTo>
                    <a:lnTo>
                      <a:pt x="3458" y="10098"/>
                    </a:lnTo>
                    <a:lnTo>
                      <a:pt x="3054" y="10143"/>
                    </a:lnTo>
                    <a:lnTo>
                      <a:pt x="2860" y="9902"/>
                    </a:lnTo>
                    <a:lnTo>
                      <a:pt x="2433" y="9883"/>
                    </a:lnTo>
                    <a:lnTo>
                      <a:pt x="2435" y="9796"/>
                    </a:lnTo>
                    <a:lnTo>
                      <a:pt x="2338" y="9611"/>
                    </a:lnTo>
                    <a:lnTo>
                      <a:pt x="2109" y="9524"/>
                    </a:lnTo>
                    <a:lnTo>
                      <a:pt x="2038" y="8936"/>
                    </a:lnTo>
                    <a:lnTo>
                      <a:pt x="1906" y="8941"/>
                    </a:lnTo>
                    <a:lnTo>
                      <a:pt x="1892" y="9115"/>
                    </a:lnTo>
                    <a:lnTo>
                      <a:pt x="1783" y="9113"/>
                    </a:lnTo>
                    <a:lnTo>
                      <a:pt x="1733" y="9186"/>
                    </a:lnTo>
                    <a:lnTo>
                      <a:pt x="1235" y="9366"/>
                    </a:lnTo>
                    <a:lnTo>
                      <a:pt x="1181" y="9458"/>
                    </a:lnTo>
                    <a:lnTo>
                      <a:pt x="996" y="9446"/>
                    </a:lnTo>
                    <a:lnTo>
                      <a:pt x="779" y="9283"/>
                    </a:lnTo>
                    <a:lnTo>
                      <a:pt x="597" y="9314"/>
                    </a:lnTo>
                    <a:lnTo>
                      <a:pt x="115" y="9248"/>
                    </a:lnTo>
                    <a:lnTo>
                      <a:pt x="0" y="9011"/>
                    </a:lnTo>
                    <a:lnTo>
                      <a:pt x="14" y="8638"/>
                    </a:lnTo>
                    <a:lnTo>
                      <a:pt x="73" y="8633"/>
                    </a:lnTo>
                    <a:lnTo>
                      <a:pt x="101" y="8563"/>
                    </a:lnTo>
                    <a:lnTo>
                      <a:pt x="243" y="8468"/>
                    </a:lnTo>
                    <a:lnTo>
                      <a:pt x="385" y="8114"/>
                    </a:lnTo>
                    <a:lnTo>
                      <a:pt x="508" y="7981"/>
                    </a:lnTo>
                    <a:lnTo>
                      <a:pt x="652" y="7842"/>
                    </a:lnTo>
                    <a:lnTo>
                      <a:pt x="857" y="7783"/>
                    </a:lnTo>
                    <a:lnTo>
                      <a:pt x="904" y="7608"/>
                    </a:lnTo>
                    <a:lnTo>
                      <a:pt x="1082" y="7481"/>
                    </a:lnTo>
                    <a:lnTo>
                      <a:pt x="1230" y="7488"/>
                    </a:lnTo>
                    <a:lnTo>
                      <a:pt x="1372" y="7372"/>
                    </a:lnTo>
                    <a:lnTo>
                      <a:pt x="1481" y="7332"/>
                    </a:lnTo>
                    <a:lnTo>
                      <a:pt x="1478" y="7185"/>
                    </a:lnTo>
                    <a:lnTo>
                      <a:pt x="1530" y="7122"/>
                    </a:lnTo>
                    <a:lnTo>
                      <a:pt x="1490" y="7044"/>
                    </a:lnTo>
                    <a:lnTo>
                      <a:pt x="1540" y="6980"/>
                    </a:lnTo>
                    <a:lnTo>
                      <a:pt x="1485" y="6892"/>
                    </a:lnTo>
                    <a:lnTo>
                      <a:pt x="1497" y="6781"/>
                    </a:lnTo>
                    <a:lnTo>
                      <a:pt x="1573" y="6713"/>
                    </a:lnTo>
                    <a:lnTo>
                      <a:pt x="1646" y="6493"/>
                    </a:lnTo>
                    <a:lnTo>
                      <a:pt x="1639" y="6378"/>
                    </a:lnTo>
                    <a:lnTo>
                      <a:pt x="1684" y="6326"/>
                    </a:lnTo>
                    <a:lnTo>
                      <a:pt x="1698" y="6172"/>
                    </a:lnTo>
                    <a:lnTo>
                      <a:pt x="1764" y="6009"/>
                    </a:lnTo>
                    <a:lnTo>
                      <a:pt x="1762" y="5948"/>
                    </a:lnTo>
                    <a:lnTo>
                      <a:pt x="1712" y="5938"/>
                    </a:lnTo>
                    <a:lnTo>
                      <a:pt x="1771" y="5879"/>
                    </a:lnTo>
                    <a:lnTo>
                      <a:pt x="1752" y="5787"/>
                    </a:lnTo>
                    <a:lnTo>
                      <a:pt x="1807" y="5511"/>
                    </a:lnTo>
                    <a:lnTo>
                      <a:pt x="1837" y="5418"/>
                    </a:lnTo>
                    <a:lnTo>
                      <a:pt x="1913" y="5362"/>
                    </a:lnTo>
                    <a:lnTo>
                      <a:pt x="1941" y="5199"/>
                    </a:lnTo>
                    <a:lnTo>
                      <a:pt x="2024" y="5260"/>
                    </a:lnTo>
                    <a:lnTo>
                      <a:pt x="2015" y="5341"/>
                    </a:lnTo>
                    <a:lnTo>
                      <a:pt x="2107" y="5305"/>
                    </a:lnTo>
                    <a:lnTo>
                      <a:pt x="2170" y="5222"/>
                    </a:lnTo>
                    <a:lnTo>
                      <a:pt x="2111" y="5107"/>
                    </a:lnTo>
                    <a:lnTo>
                      <a:pt x="2232" y="5045"/>
                    </a:lnTo>
                    <a:lnTo>
                      <a:pt x="2272" y="4958"/>
                    </a:lnTo>
                    <a:lnTo>
                      <a:pt x="2404" y="4939"/>
                    </a:lnTo>
                    <a:lnTo>
                      <a:pt x="2350" y="4863"/>
                    </a:lnTo>
                    <a:lnTo>
                      <a:pt x="2359" y="4795"/>
                    </a:lnTo>
                    <a:lnTo>
                      <a:pt x="2421" y="4842"/>
                    </a:lnTo>
                    <a:lnTo>
                      <a:pt x="2468" y="4809"/>
                    </a:lnTo>
                    <a:lnTo>
                      <a:pt x="2511" y="4844"/>
                    </a:lnTo>
                    <a:lnTo>
                      <a:pt x="2567" y="4830"/>
                    </a:lnTo>
                    <a:lnTo>
                      <a:pt x="2589" y="4802"/>
                    </a:lnTo>
                    <a:lnTo>
                      <a:pt x="2527" y="4724"/>
                    </a:lnTo>
                    <a:lnTo>
                      <a:pt x="2579" y="4677"/>
                    </a:lnTo>
                    <a:lnTo>
                      <a:pt x="2667" y="4710"/>
                    </a:lnTo>
                    <a:lnTo>
                      <a:pt x="2700" y="4651"/>
                    </a:lnTo>
                    <a:lnTo>
                      <a:pt x="2787" y="4634"/>
                    </a:lnTo>
                    <a:lnTo>
                      <a:pt x="2891" y="4559"/>
                    </a:lnTo>
                    <a:lnTo>
                      <a:pt x="2967" y="4381"/>
                    </a:lnTo>
                    <a:lnTo>
                      <a:pt x="3028" y="4391"/>
                    </a:lnTo>
                    <a:lnTo>
                      <a:pt x="3028" y="4464"/>
                    </a:lnTo>
                    <a:lnTo>
                      <a:pt x="3104" y="4471"/>
                    </a:lnTo>
                    <a:lnTo>
                      <a:pt x="3115" y="4374"/>
                    </a:lnTo>
                    <a:lnTo>
                      <a:pt x="3198" y="4348"/>
                    </a:lnTo>
                    <a:lnTo>
                      <a:pt x="3179" y="4438"/>
                    </a:lnTo>
                    <a:lnTo>
                      <a:pt x="3241" y="4459"/>
                    </a:lnTo>
                    <a:lnTo>
                      <a:pt x="3337" y="4327"/>
                    </a:lnTo>
                    <a:lnTo>
                      <a:pt x="3604" y="4306"/>
                    </a:lnTo>
                    <a:lnTo>
                      <a:pt x="3699" y="4204"/>
                    </a:lnTo>
                    <a:lnTo>
                      <a:pt x="3739" y="3918"/>
                    </a:lnTo>
                    <a:lnTo>
                      <a:pt x="3812" y="3867"/>
                    </a:lnTo>
                    <a:lnTo>
                      <a:pt x="3810" y="3772"/>
                    </a:lnTo>
                    <a:lnTo>
                      <a:pt x="3838" y="3751"/>
                    </a:lnTo>
                    <a:lnTo>
                      <a:pt x="3980" y="3789"/>
                    </a:lnTo>
                    <a:lnTo>
                      <a:pt x="4105" y="3699"/>
                    </a:lnTo>
                    <a:lnTo>
                      <a:pt x="4195" y="3815"/>
                    </a:lnTo>
                    <a:lnTo>
                      <a:pt x="4273" y="3800"/>
                    </a:lnTo>
                    <a:lnTo>
                      <a:pt x="4308" y="3689"/>
                    </a:lnTo>
                    <a:lnTo>
                      <a:pt x="4407" y="3602"/>
                    </a:lnTo>
                    <a:lnTo>
                      <a:pt x="4344" y="3481"/>
                    </a:lnTo>
                    <a:lnTo>
                      <a:pt x="4419" y="3503"/>
                    </a:lnTo>
                    <a:lnTo>
                      <a:pt x="4502" y="3463"/>
                    </a:lnTo>
                    <a:lnTo>
                      <a:pt x="4526" y="3375"/>
                    </a:lnTo>
                    <a:lnTo>
                      <a:pt x="4752" y="3297"/>
                    </a:lnTo>
                    <a:lnTo>
                      <a:pt x="4878" y="3189"/>
                    </a:lnTo>
                    <a:lnTo>
                      <a:pt x="4887" y="3030"/>
                    </a:lnTo>
                    <a:lnTo>
                      <a:pt x="4925" y="2969"/>
                    </a:lnTo>
                    <a:lnTo>
                      <a:pt x="4896" y="2863"/>
                    </a:lnTo>
                    <a:lnTo>
                      <a:pt x="5007" y="2846"/>
                    </a:lnTo>
                    <a:lnTo>
                      <a:pt x="5227" y="2676"/>
                    </a:lnTo>
                    <a:lnTo>
                      <a:pt x="5258" y="2615"/>
                    </a:lnTo>
                    <a:lnTo>
                      <a:pt x="5230" y="2433"/>
                    </a:lnTo>
                    <a:lnTo>
                      <a:pt x="5357" y="2383"/>
                    </a:lnTo>
                    <a:lnTo>
                      <a:pt x="5579" y="2196"/>
                    </a:lnTo>
                    <a:lnTo>
                      <a:pt x="5598" y="2000"/>
                    </a:lnTo>
                    <a:lnTo>
                      <a:pt x="5728" y="1859"/>
                    </a:lnTo>
                    <a:lnTo>
                      <a:pt x="5912" y="1776"/>
                    </a:lnTo>
                    <a:lnTo>
                      <a:pt x="5971" y="1679"/>
                    </a:lnTo>
                    <a:lnTo>
                      <a:pt x="6108" y="1620"/>
                    </a:lnTo>
                    <a:lnTo>
                      <a:pt x="6184" y="1537"/>
                    </a:lnTo>
                    <a:lnTo>
                      <a:pt x="6512" y="1516"/>
                    </a:lnTo>
                    <a:lnTo>
                      <a:pt x="6713" y="1573"/>
                    </a:lnTo>
                    <a:lnTo>
                      <a:pt x="6843" y="1495"/>
                    </a:lnTo>
                    <a:lnTo>
                      <a:pt x="7081" y="1478"/>
                    </a:lnTo>
                    <a:lnTo>
                      <a:pt x="7365" y="1320"/>
                    </a:lnTo>
                    <a:lnTo>
                      <a:pt x="7719" y="1223"/>
                    </a:lnTo>
                    <a:lnTo>
                      <a:pt x="7722" y="1148"/>
                    </a:lnTo>
                    <a:lnTo>
                      <a:pt x="7835" y="1093"/>
                    </a:lnTo>
                    <a:lnTo>
                      <a:pt x="7996" y="1138"/>
                    </a:lnTo>
                    <a:lnTo>
                      <a:pt x="8173" y="841"/>
                    </a:lnTo>
                    <a:lnTo>
                      <a:pt x="8152" y="621"/>
                    </a:lnTo>
                    <a:lnTo>
                      <a:pt x="8182" y="552"/>
                    </a:lnTo>
                    <a:lnTo>
                      <a:pt x="8241" y="526"/>
                    </a:lnTo>
                    <a:lnTo>
                      <a:pt x="8303" y="356"/>
                    </a:lnTo>
                    <a:lnTo>
                      <a:pt x="8366" y="309"/>
                    </a:lnTo>
                    <a:lnTo>
                      <a:pt x="8740" y="300"/>
                    </a:lnTo>
                    <a:lnTo>
                      <a:pt x="8896" y="189"/>
                    </a:lnTo>
                    <a:lnTo>
                      <a:pt x="9122" y="229"/>
                    </a:lnTo>
                    <a:lnTo>
                      <a:pt x="9259" y="215"/>
                    </a:lnTo>
                    <a:lnTo>
                      <a:pt x="9321" y="267"/>
                    </a:lnTo>
                    <a:lnTo>
                      <a:pt x="9720" y="139"/>
                    </a:lnTo>
                    <a:lnTo>
                      <a:pt x="9900" y="172"/>
                    </a:lnTo>
                    <a:lnTo>
                      <a:pt x="9956" y="89"/>
                    </a:lnTo>
                    <a:lnTo>
                      <a:pt x="10074" y="54"/>
                    </a:lnTo>
                    <a:lnTo>
                      <a:pt x="10190" y="96"/>
                    </a:lnTo>
                    <a:lnTo>
                      <a:pt x="10320" y="0"/>
                    </a:lnTo>
                    <a:lnTo>
                      <a:pt x="10398" y="42"/>
                    </a:lnTo>
                    <a:lnTo>
                      <a:pt x="10686" y="49"/>
                    </a:lnTo>
                    <a:lnTo>
                      <a:pt x="11043" y="222"/>
                    </a:lnTo>
                    <a:lnTo>
                      <a:pt x="11196" y="224"/>
                    </a:lnTo>
                    <a:lnTo>
                      <a:pt x="11303" y="307"/>
                    </a:lnTo>
                    <a:lnTo>
                      <a:pt x="11473" y="354"/>
                    </a:lnTo>
                    <a:lnTo>
                      <a:pt x="11503" y="430"/>
                    </a:lnTo>
                    <a:lnTo>
                      <a:pt x="11619" y="446"/>
                    </a:lnTo>
                    <a:lnTo>
                      <a:pt x="11832" y="621"/>
                    </a:lnTo>
                    <a:lnTo>
                      <a:pt x="12146" y="571"/>
                    </a:lnTo>
                    <a:lnTo>
                      <a:pt x="12351" y="767"/>
                    </a:lnTo>
                    <a:lnTo>
                      <a:pt x="12729" y="727"/>
                    </a:lnTo>
                    <a:lnTo>
                      <a:pt x="12973" y="640"/>
                    </a:lnTo>
                    <a:lnTo>
                      <a:pt x="13133" y="675"/>
                    </a:lnTo>
                    <a:lnTo>
                      <a:pt x="13339" y="656"/>
                    </a:lnTo>
                    <a:lnTo>
                      <a:pt x="13431" y="699"/>
                    </a:lnTo>
                    <a:lnTo>
                      <a:pt x="13547" y="618"/>
                    </a:lnTo>
                    <a:lnTo>
                      <a:pt x="13696" y="642"/>
                    </a:lnTo>
                    <a:lnTo>
                      <a:pt x="14064" y="559"/>
                    </a:lnTo>
                    <a:lnTo>
                      <a:pt x="14395" y="592"/>
                    </a:lnTo>
                    <a:lnTo>
                      <a:pt x="14855" y="741"/>
                    </a:lnTo>
                    <a:lnTo>
                      <a:pt x="15113" y="682"/>
                    </a:lnTo>
                    <a:lnTo>
                      <a:pt x="15250" y="798"/>
                    </a:lnTo>
                    <a:lnTo>
                      <a:pt x="15436" y="798"/>
                    </a:lnTo>
                    <a:lnTo>
                      <a:pt x="15597" y="1051"/>
                    </a:lnTo>
                    <a:lnTo>
                      <a:pt x="16386" y="3600"/>
                    </a:lnTo>
                    <a:lnTo>
                      <a:pt x="16346" y="4374"/>
                    </a:lnTo>
                    <a:lnTo>
                      <a:pt x="16381" y="4601"/>
                    </a:lnTo>
                    <a:lnTo>
                      <a:pt x="16802" y="5118"/>
                    </a:lnTo>
                    <a:lnTo>
                      <a:pt x="16821" y="5466"/>
                    </a:lnTo>
                    <a:lnTo>
                      <a:pt x="17033" y="6018"/>
                    </a:lnTo>
                    <a:lnTo>
                      <a:pt x="17392" y="6274"/>
                    </a:lnTo>
                    <a:close/>
                  </a:path>
                </a:pathLst>
              </a:custGeom>
              <a:solidFill>
                <a:srgbClr val="86CBC4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8" name="Freeform 46">
                <a:extLst>
                  <a:ext uri="{FF2B5EF4-FFF2-40B4-BE49-F238E27FC236}">
                    <a16:creationId xmlns:a16="http://schemas.microsoft.com/office/drawing/2014/main" id="{AA1D7049-782C-49D4-8D9D-A88021C3189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9597353" y="-4552951"/>
                <a:ext cx="18896014" cy="19802480"/>
              </a:xfrm>
              <a:custGeom>
                <a:avLst/>
                <a:gdLst>
                  <a:gd name="T0" fmla="*/ 11726 w 11903"/>
                  <a:gd name="T1" fmla="*/ 5442 h 12474"/>
                  <a:gd name="T2" fmla="*/ 9959 w 11903"/>
                  <a:gd name="T3" fmla="*/ 6144 h 12474"/>
                  <a:gd name="T4" fmla="*/ 8284 w 11903"/>
                  <a:gd name="T5" fmla="*/ 8263 h 12474"/>
                  <a:gd name="T6" fmla="*/ 8109 w 11903"/>
                  <a:gd name="T7" fmla="*/ 10081 h 12474"/>
                  <a:gd name="T8" fmla="*/ 8534 w 11903"/>
                  <a:gd name="T9" fmla="*/ 10710 h 12474"/>
                  <a:gd name="T10" fmla="*/ 8950 w 11903"/>
                  <a:gd name="T11" fmla="*/ 11839 h 12474"/>
                  <a:gd name="T12" fmla="*/ 8199 w 11903"/>
                  <a:gd name="T13" fmla="*/ 11752 h 12474"/>
                  <a:gd name="T14" fmla="*/ 7464 w 11903"/>
                  <a:gd name="T15" fmla="*/ 11633 h 12474"/>
                  <a:gd name="T16" fmla="*/ 6647 w 11903"/>
                  <a:gd name="T17" fmla="*/ 11586 h 12474"/>
                  <a:gd name="T18" fmla="*/ 5901 w 11903"/>
                  <a:gd name="T19" fmla="*/ 12016 h 12474"/>
                  <a:gd name="T20" fmla="*/ 5211 w 11903"/>
                  <a:gd name="T21" fmla="*/ 11933 h 12474"/>
                  <a:gd name="T22" fmla="*/ 4524 w 11903"/>
                  <a:gd name="T23" fmla="*/ 12259 h 12474"/>
                  <a:gd name="T24" fmla="*/ 4089 w 11903"/>
                  <a:gd name="T25" fmla="*/ 12231 h 12474"/>
                  <a:gd name="T26" fmla="*/ 3718 w 11903"/>
                  <a:gd name="T27" fmla="*/ 11626 h 12474"/>
                  <a:gd name="T28" fmla="*/ 3203 w 11903"/>
                  <a:gd name="T29" fmla="*/ 11369 h 12474"/>
                  <a:gd name="T30" fmla="*/ 2447 w 11903"/>
                  <a:gd name="T31" fmla="*/ 10915 h 12474"/>
                  <a:gd name="T32" fmla="*/ 1890 w 11903"/>
                  <a:gd name="T33" fmla="*/ 10833 h 12474"/>
                  <a:gd name="T34" fmla="*/ 1150 w 11903"/>
                  <a:gd name="T35" fmla="*/ 10620 h 12474"/>
                  <a:gd name="T36" fmla="*/ 626 w 11903"/>
                  <a:gd name="T37" fmla="*/ 10523 h 12474"/>
                  <a:gd name="T38" fmla="*/ 78 w 11903"/>
                  <a:gd name="T39" fmla="*/ 10193 h 12474"/>
                  <a:gd name="T40" fmla="*/ 265 w 11903"/>
                  <a:gd name="T41" fmla="*/ 9793 h 12474"/>
                  <a:gd name="T42" fmla="*/ 572 w 11903"/>
                  <a:gd name="T43" fmla="*/ 9311 h 12474"/>
                  <a:gd name="T44" fmla="*/ 1457 w 11903"/>
                  <a:gd name="T45" fmla="*/ 8981 h 12474"/>
                  <a:gd name="T46" fmla="*/ 1136 w 11903"/>
                  <a:gd name="T47" fmla="*/ 8355 h 12474"/>
                  <a:gd name="T48" fmla="*/ 586 w 11903"/>
                  <a:gd name="T49" fmla="*/ 7613 h 12474"/>
                  <a:gd name="T50" fmla="*/ 919 w 11903"/>
                  <a:gd name="T51" fmla="*/ 7197 h 12474"/>
                  <a:gd name="T52" fmla="*/ 1557 w 11903"/>
                  <a:gd name="T53" fmla="*/ 7204 h 12474"/>
                  <a:gd name="T54" fmla="*/ 2183 w 11903"/>
                  <a:gd name="T55" fmla="*/ 6186 h 12474"/>
                  <a:gd name="T56" fmla="*/ 1696 w 11903"/>
                  <a:gd name="T57" fmla="*/ 6078 h 12474"/>
                  <a:gd name="T58" fmla="*/ 1143 w 11903"/>
                  <a:gd name="T59" fmla="*/ 4566 h 12474"/>
                  <a:gd name="T60" fmla="*/ 607 w 11903"/>
                  <a:gd name="T61" fmla="*/ 4365 h 12474"/>
                  <a:gd name="T62" fmla="*/ 985 w 11903"/>
                  <a:gd name="T63" fmla="*/ 3902 h 12474"/>
                  <a:gd name="T64" fmla="*/ 1909 w 11903"/>
                  <a:gd name="T65" fmla="*/ 3392 h 12474"/>
                  <a:gd name="T66" fmla="*/ 2494 w 11903"/>
                  <a:gd name="T67" fmla="*/ 3559 h 12474"/>
                  <a:gd name="T68" fmla="*/ 3385 w 11903"/>
                  <a:gd name="T69" fmla="*/ 3070 h 12474"/>
                  <a:gd name="T70" fmla="*/ 3598 w 11903"/>
                  <a:gd name="T71" fmla="*/ 3680 h 12474"/>
                  <a:gd name="T72" fmla="*/ 4079 w 11903"/>
                  <a:gd name="T73" fmla="*/ 4266 h 12474"/>
                  <a:gd name="T74" fmla="*/ 4679 w 11903"/>
                  <a:gd name="T75" fmla="*/ 3869 h 12474"/>
                  <a:gd name="T76" fmla="*/ 5920 w 11903"/>
                  <a:gd name="T77" fmla="*/ 2709 h 12474"/>
                  <a:gd name="T78" fmla="*/ 6184 w 11903"/>
                  <a:gd name="T79" fmla="*/ 2100 h 12474"/>
                  <a:gd name="T80" fmla="*/ 7190 w 11903"/>
                  <a:gd name="T81" fmla="*/ 2369 h 12474"/>
                  <a:gd name="T82" fmla="*/ 7776 w 11903"/>
                  <a:gd name="T83" fmla="*/ 1842 h 12474"/>
                  <a:gd name="T84" fmla="*/ 8353 w 11903"/>
                  <a:gd name="T85" fmla="*/ 2385 h 12474"/>
                  <a:gd name="T86" fmla="*/ 8572 w 11903"/>
                  <a:gd name="T87" fmla="*/ 2985 h 12474"/>
                  <a:gd name="T88" fmla="*/ 8962 w 11903"/>
                  <a:gd name="T89" fmla="*/ 3739 h 12474"/>
                  <a:gd name="T90" fmla="*/ 10136 w 11903"/>
                  <a:gd name="T91" fmla="*/ 3328 h 12474"/>
                  <a:gd name="T92" fmla="*/ 9652 w 11903"/>
                  <a:gd name="T93" fmla="*/ 2648 h 12474"/>
                  <a:gd name="T94" fmla="*/ 10505 w 11903"/>
                  <a:gd name="T95" fmla="*/ 2404 h 12474"/>
                  <a:gd name="T96" fmla="*/ 9827 w 11903"/>
                  <a:gd name="T97" fmla="*/ 1771 h 12474"/>
                  <a:gd name="T98" fmla="*/ 10013 w 11903"/>
                  <a:gd name="T99" fmla="*/ 937 h 12474"/>
                  <a:gd name="T100" fmla="*/ 9668 w 11903"/>
                  <a:gd name="T101" fmla="*/ 441 h 12474"/>
                  <a:gd name="T102" fmla="*/ 10415 w 11903"/>
                  <a:gd name="T103" fmla="*/ 264 h 12474"/>
                  <a:gd name="T104" fmla="*/ 10906 w 11903"/>
                  <a:gd name="T105" fmla="*/ 314 h 12474"/>
                  <a:gd name="T106" fmla="*/ 11442 w 11903"/>
                  <a:gd name="T107" fmla="*/ 158 h 124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1903" h="12474">
                    <a:moveTo>
                      <a:pt x="11903" y="3774"/>
                    </a:moveTo>
                    <a:lnTo>
                      <a:pt x="11893" y="4578"/>
                    </a:lnTo>
                    <a:lnTo>
                      <a:pt x="11867" y="4932"/>
                    </a:lnTo>
                    <a:lnTo>
                      <a:pt x="11752" y="5182"/>
                    </a:lnTo>
                    <a:lnTo>
                      <a:pt x="11728" y="5324"/>
                    </a:lnTo>
                    <a:lnTo>
                      <a:pt x="11726" y="5442"/>
                    </a:lnTo>
                    <a:lnTo>
                      <a:pt x="11787" y="5463"/>
                    </a:lnTo>
                    <a:lnTo>
                      <a:pt x="11827" y="5856"/>
                    </a:lnTo>
                    <a:lnTo>
                      <a:pt x="11591" y="6533"/>
                    </a:lnTo>
                    <a:lnTo>
                      <a:pt x="11730" y="6959"/>
                    </a:lnTo>
                    <a:lnTo>
                      <a:pt x="11371" y="7122"/>
                    </a:lnTo>
                    <a:lnTo>
                      <a:pt x="9959" y="6144"/>
                    </a:lnTo>
                    <a:lnTo>
                      <a:pt x="9628" y="6229"/>
                    </a:lnTo>
                    <a:lnTo>
                      <a:pt x="9442" y="6484"/>
                    </a:lnTo>
                    <a:lnTo>
                      <a:pt x="9035" y="6845"/>
                    </a:lnTo>
                    <a:lnTo>
                      <a:pt x="8988" y="7077"/>
                    </a:lnTo>
                    <a:lnTo>
                      <a:pt x="8563" y="7944"/>
                    </a:lnTo>
                    <a:lnTo>
                      <a:pt x="8284" y="8263"/>
                    </a:lnTo>
                    <a:lnTo>
                      <a:pt x="8081" y="8600"/>
                    </a:lnTo>
                    <a:lnTo>
                      <a:pt x="7960" y="9118"/>
                    </a:lnTo>
                    <a:lnTo>
                      <a:pt x="7968" y="9663"/>
                    </a:lnTo>
                    <a:lnTo>
                      <a:pt x="8015" y="10039"/>
                    </a:lnTo>
                    <a:lnTo>
                      <a:pt x="8050" y="10091"/>
                    </a:lnTo>
                    <a:lnTo>
                      <a:pt x="8109" y="10081"/>
                    </a:lnTo>
                    <a:lnTo>
                      <a:pt x="8301" y="9914"/>
                    </a:lnTo>
                    <a:lnTo>
                      <a:pt x="8348" y="10155"/>
                    </a:lnTo>
                    <a:lnTo>
                      <a:pt x="8551" y="10360"/>
                    </a:lnTo>
                    <a:lnTo>
                      <a:pt x="8568" y="10481"/>
                    </a:lnTo>
                    <a:lnTo>
                      <a:pt x="8511" y="10632"/>
                    </a:lnTo>
                    <a:lnTo>
                      <a:pt x="8534" y="10710"/>
                    </a:lnTo>
                    <a:lnTo>
                      <a:pt x="8827" y="11003"/>
                    </a:lnTo>
                    <a:lnTo>
                      <a:pt x="9087" y="11345"/>
                    </a:lnTo>
                    <a:lnTo>
                      <a:pt x="9527" y="11522"/>
                    </a:lnTo>
                    <a:lnTo>
                      <a:pt x="9184" y="11962"/>
                    </a:lnTo>
                    <a:lnTo>
                      <a:pt x="9094" y="11955"/>
                    </a:lnTo>
                    <a:lnTo>
                      <a:pt x="8950" y="11839"/>
                    </a:lnTo>
                    <a:lnTo>
                      <a:pt x="8863" y="11860"/>
                    </a:lnTo>
                    <a:lnTo>
                      <a:pt x="8792" y="11837"/>
                    </a:lnTo>
                    <a:lnTo>
                      <a:pt x="8480" y="11910"/>
                    </a:lnTo>
                    <a:lnTo>
                      <a:pt x="8381" y="11839"/>
                    </a:lnTo>
                    <a:lnTo>
                      <a:pt x="8353" y="11723"/>
                    </a:lnTo>
                    <a:lnTo>
                      <a:pt x="8199" y="11752"/>
                    </a:lnTo>
                    <a:lnTo>
                      <a:pt x="8081" y="11853"/>
                    </a:lnTo>
                    <a:lnTo>
                      <a:pt x="7939" y="11752"/>
                    </a:lnTo>
                    <a:lnTo>
                      <a:pt x="7861" y="11763"/>
                    </a:lnTo>
                    <a:lnTo>
                      <a:pt x="7776" y="11676"/>
                    </a:lnTo>
                    <a:lnTo>
                      <a:pt x="7613" y="11617"/>
                    </a:lnTo>
                    <a:lnTo>
                      <a:pt x="7464" y="11633"/>
                    </a:lnTo>
                    <a:lnTo>
                      <a:pt x="7275" y="11768"/>
                    </a:lnTo>
                    <a:lnTo>
                      <a:pt x="7034" y="11721"/>
                    </a:lnTo>
                    <a:lnTo>
                      <a:pt x="6841" y="11747"/>
                    </a:lnTo>
                    <a:lnTo>
                      <a:pt x="6789" y="11726"/>
                    </a:lnTo>
                    <a:lnTo>
                      <a:pt x="6768" y="11610"/>
                    </a:lnTo>
                    <a:lnTo>
                      <a:pt x="6647" y="11586"/>
                    </a:lnTo>
                    <a:lnTo>
                      <a:pt x="6569" y="11678"/>
                    </a:lnTo>
                    <a:lnTo>
                      <a:pt x="6465" y="11669"/>
                    </a:lnTo>
                    <a:lnTo>
                      <a:pt x="6316" y="11711"/>
                    </a:lnTo>
                    <a:lnTo>
                      <a:pt x="6142" y="11858"/>
                    </a:lnTo>
                    <a:lnTo>
                      <a:pt x="6002" y="11896"/>
                    </a:lnTo>
                    <a:lnTo>
                      <a:pt x="5901" y="12016"/>
                    </a:lnTo>
                    <a:lnTo>
                      <a:pt x="5638" y="11938"/>
                    </a:lnTo>
                    <a:lnTo>
                      <a:pt x="5636" y="11938"/>
                    </a:lnTo>
                    <a:lnTo>
                      <a:pt x="5612" y="11929"/>
                    </a:lnTo>
                    <a:lnTo>
                      <a:pt x="5478" y="12021"/>
                    </a:lnTo>
                    <a:lnTo>
                      <a:pt x="5312" y="11997"/>
                    </a:lnTo>
                    <a:lnTo>
                      <a:pt x="5211" y="11933"/>
                    </a:lnTo>
                    <a:lnTo>
                      <a:pt x="4951" y="12018"/>
                    </a:lnTo>
                    <a:lnTo>
                      <a:pt x="4802" y="12302"/>
                    </a:lnTo>
                    <a:lnTo>
                      <a:pt x="4705" y="12257"/>
                    </a:lnTo>
                    <a:lnTo>
                      <a:pt x="4691" y="12264"/>
                    </a:lnTo>
                    <a:lnTo>
                      <a:pt x="4691" y="12264"/>
                    </a:lnTo>
                    <a:lnTo>
                      <a:pt x="4524" y="12259"/>
                    </a:lnTo>
                    <a:lnTo>
                      <a:pt x="4460" y="12323"/>
                    </a:lnTo>
                    <a:lnTo>
                      <a:pt x="4457" y="12413"/>
                    </a:lnTo>
                    <a:lnTo>
                      <a:pt x="4358" y="12418"/>
                    </a:lnTo>
                    <a:lnTo>
                      <a:pt x="4292" y="12474"/>
                    </a:lnTo>
                    <a:lnTo>
                      <a:pt x="4212" y="12458"/>
                    </a:lnTo>
                    <a:lnTo>
                      <a:pt x="4089" y="12231"/>
                    </a:lnTo>
                    <a:lnTo>
                      <a:pt x="3957" y="12120"/>
                    </a:lnTo>
                    <a:lnTo>
                      <a:pt x="3992" y="12044"/>
                    </a:lnTo>
                    <a:lnTo>
                      <a:pt x="3784" y="11863"/>
                    </a:lnTo>
                    <a:lnTo>
                      <a:pt x="3801" y="11794"/>
                    </a:lnTo>
                    <a:lnTo>
                      <a:pt x="3739" y="11756"/>
                    </a:lnTo>
                    <a:lnTo>
                      <a:pt x="3718" y="11626"/>
                    </a:lnTo>
                    <a:lnTo>
                      <a:pt x="3664" y="11555"/>
                    </a:lnTo>
                    <a:lnTo>
                      <a:pt x="3515" y="11463"/>
                    </a:lnTo>
                    <a:lnTo>
                      <a:pt x="3321" y="11506"/>
                    </a:lnTo>
                    <a:lnTo>
                      <a:pt x="3335" y="11407"/>
                    </a:lnTo>
                    <a:lnTo>
                      <a:pt x="3295" y="11371"/>
                    </a:lnTo>
                    <a:lnTo>
                      <a:pt x="3203" y="11369"/>
                    </a:lnTo>
                    <a:lnTo>
                      <a:pt x="3151" y="11298"/>
                    </a:lnTo>
                    <a:lnTo>
                      <a:pt x="3047" y="11281"/>
                    </a:lnTo>
                    <a:lnTo>
                      <a:pt x="2924" y="11159"/>
                    </a:lnTo>
                    <a:lnTo>
                      <a:pt x="2750" y="11149"/>
                    </a:lnTo>
                    <a:lnTo>
                      <a:pt x="2620" y="11213"/>
                    </a:lnTo>
                    <a:lnTo>
                      <a:pt x="2447" y="10915"/>
                    </a:lnTo>
                    <a:lnTo>
                      <a:pt x="2426" y="10748"/>
                    </a:lnTo>
                    <a:lnTo>
                      <a:pt x="2334" y="10759"/>
                    </a:lnTo>
                    <a:lnTo>
                      <a:pt x="2239" y="10658"/>
                    </a:lnTo>
                    <a:lnTo>
                      <a:pt x="2161" y="10644"/>
                    </a:lnTo>
                    <a:lnTo>
                      <a:pt x="1951" y="10729"/>
                    </a:lnTo>
                    <a:lnTo>
                      <a:pt x="1890" y="10833"/>
                    </a:lnTo>
                    <a:lnTo>
                      <a:pt x="1793" y="10783"/>
                    </a:lnTo>
                    <a:lnTo>
                      <a:pt x="1679" y="10802"/>
                    </a:lnTo>
                    <a:lnTo>
                      <a:pt x="1323" y="10575"/>
                    </a:lnTo>
                    <a:lnTo>
                      <a:pt x="1134" y="10507"/>
                    </a:lnTo>
                    <a:lnTo>
                      <a:pt x="1032" y="10604"/>
                    </a:lnTo>
                    <a:lnTo>
                      <a:pt x="1150" y="10620"/>
                    </a:lnTo>
                    <a:lnTo>
                      <a:pt x="1143" y="10689"/>
                    </a:lnTo>
                    <a:lnTo>
                      <a:pt x="1009" y="10696"/>
                    </a:lnTo>
                    <a:lnTo>
                      <a:pt x="784" y="10863"/>
                    </a:lnTo>
                    <a:lnTo>
                      <a:pt x="853" y="10731"/>
                    </a:lnTo>
                    <a:lnTo>
                      <a:pt x="742" y="10677"/>
                    </a:lnTo>
                    <a:lnTo>
                      <a:pt x="626" y="10523"/>
                    </a:lnTo>
                    <a:lnTo>
                      <a:pt x="553" y="10526"/>
                    </a:lnTo>
                    <a:lnTo>
                      <a:pt x="442" y="10613"/>
                    </a:lnTo>
                    <a:lnTo>
                      <a:pt x="342" y="10417"/>
                    </a:lnTo>
                    <a:lnTo>
                      <a:pt x="120" y="10424"/>
                    </a:lnTo>
                    <a:lnTo>
                      <a:pt x="0" y="10351"/>
                    </a:lnTo>
                    <a:lnTo>
                      <a:pt x="78" y="10193"/>
                    </a:lnTo>
                    <a:lnTo>
                      <a:pt x="12" y="10155"/>
                    </a:lnTo>
                    <a:lnTo>
                      <a:pt x="14" y="10030"/>
                    </a:lnTo>
                    <a:lnTo>
                      <a:pt x="118" y="9999"/>
                    </a:lnTo>
                    <a:lnTo>
                      <a:pt x="118" y="9947"/>
                    </a:lnTo>
                    <a:lnTo>
                      <a:pt x="288" y="9888"/>
                    </a:lnTo>
                    <a:lnTo>
                      <a:pt x="265" y="9793"/>
                    </a:lnTo>
                    <a:lnTo>
                      <a:pt x="203" y="9765"/>
                    </a:lnTo>
                    <a:lnTo>
                      <a:pt x="267" y="9541"/>
                    </a:lnTo>
                    <a:lnTo>
                      <a:pt x="399" y="9515"/>
                    </a:lnTo>
                    <a:lnTo>
                      <a:pt x="416" y="9460"/>
                    </a:lnTo>
                    <a:lnTo>
                      <a:pt x="557" y="9448"/>
                    </a:lnTo>
                    <a:lnTo>
                      <a:pt x="572" y="9311"/>
                    </a:lnTo>
                    <a:lnTo>
                      <a:pt x="694" y="9302"/>
                    </a:lnTo>
                    <a:lnTo>
                      <a:pt x="697" y="9191"/>
                    </a:lnTo>
                    <a:lnTo>
                      <a:pt x="831" y="9087"/>
                    </a:lnTo>
                    <a:lnTo>
                      <a:pt x="1037" y="9115"/>
                    </a:lnTo>
                    <a:lnTo>
                      <a:pt x="1063" y="9009"/>
                    </a:lnTo>
                    <a:lnTo>
                      <a:pt x="1457" y="8981"/>
                    </a:lnTo>
                    <a:lnTo>
                      <a:pt x="1464" y="8770"/>
                    </a:lnTo>
                    <a:lnTo>
                      <a:pt x="1821" y="8596"/>
                    </a:lnTo>
                    <a:lnTo>
                      <a:pt x="1682" y="8310"/>
                    </a:lnTo>
                    <a:lnTo>
                      <a:pt x="1481" y="8331"/>
                    </a:lnTo>
                    <a:lnTo>
                      <a:pt x="1257" y="8428"/>
                    </a:lnTo>
                    <a:lnTo>
                      <a:pt x="1136" y="8355"/>
                    </a:lnTo>
                    <a:lnTo>
                      <a:pt x="1117" y="8298"/>
                    </a:lnTo>
                    <a:lnTo>
                      <a:pt x="1032" y="8286"/>
                    </a:lnTo>
                    <a:lnTo>
                      <a:pt x="1023" y="8064"/>
                    </a:lnTo>
                    <a:lnTo>
                      <a:pt x="723" y="7967"/>
                    </a:lnTo>
                    <a:lnTo>
                      <a:pt x="702" y="7700"/>
                    </a:lnTo>
                    <a:lnTo>
                      <a:pt x="586" y="7613"/>
                    </a:lnTo>
                    <a:lnTo>
                      <a:pt x="536" y="7441"/>
                    </a:lnTo>
                    <a:lnTo>
                      <a:pt x="678" y="7389"/>
                    </a:lnTo>
                    <a:lnTo>
                      <a:pt x="727" y="7405"/>
                    </a:lnTo>
                    <a:lnTo>
                      <a:pt x="746" y="7356"/>
                    </a:lnTo>
                    <a:lnTo>
                      <a:pt x="872" y="7396"/>
                    </a:lnTo>
                    <a:lnTo>
                      <a:pt x="919" y="7197"/>
                    </a:lnTo>
                    <a:lnTo>
                      <a:pt x="1037" y="7089"/>
                    </a:lnTo>
                    <a:lnTo>
                      <a:pt x="1297" y="7157"/>
                    </a:lnTo>
                    <a:lnTo>
                      <a:pt x="1427" y="7159"/>
                    </a:lnTo>
                    <a:lnTo>
                      <a:pt x="1448" y="7129"/>
                    </a:lnTo>
                    <a:lnTo>
                      <a:pt x="1502" y="7233"/>
                    </a:lnTo>
                    <a:lnTo>
                      <a:pt x="1557" y="7204"/>
                    </a:lnTo>
                    <a:lnTo>
                      <a:pt x="1743" y="7214"/>
                    </a:lnTo>
                    <a:lnTo>
                      <a:pt x="1854" y="6616"/>
                    </a:lnTo>
                    <a:lnTo>
                      <a:pt x="2057" y="6652"/>
                    </a:lnTo>
                    <a:lnTo>
                      <a:pt x="2076" y="6500"/>
                    </a:lnTo>
                    <a:lnTo>
                      <a:pt x="2031" y="6467"/>
                    </a:lnTo>
                    <a:lnTo>
                      <a:pt x="2183" y="6186"/>
                    </a:lnTo>
                    <a:lnTo>
                      <a:pt x="2098" y="6085"/>
                    </a:lnTo>
                    <a:lnTo>
                      <a:pt x="2133" y="5959"/>
                    </a:lnTo>
                    <a:lnTo>
                      <a:pt x="2435" y="5839"/>
                    </a:lnTo>
                    <a:lnTo>
                      <a:pt x="2360" y="5572"/>
                    </a:lnTo>
                    <a:lnTo>
                      <a:pt x="2043" y="5657"/>
                    </a:lnTo>
                    <a:lnTo>
                      <a:pt x="1696" y="6078"/>
                    </a:lnTo>
                    <a:lnTo>
                      <a:pt x="1202" y="6035"/>
                    </a:lnTo>
                    <a:lnTo>
                      <a:pt x="1032" y="5423"/>
                    </a:lnTo>
                    <a:lnTo>
                      <a:pt x="1108" y="5303"/>
                    </a:lnTo>
                    <a:lnTo>
                      <a:pt x="1051" y="5208"/>
                    </a:lnTo>
                    <a:lnTo>
                      <a:pt x="1117" y="5102"/>
                    </a:lnTo>
                    <a:lnTo>
                      <a:pt x="1143" y="4566"/>
                    </a:lnTo>
                    <a:lnTo>
                      <a:pt x="1344" y="4542"/>
                    </a:lnTo>
                    <a:lnTo>
                      <a:pt x="1552" y="4370"/>
                    </a:lnTo>
                    <a:lnTo>
                      <a:pt x="1462" y="4129"/>
                    </a:lnTo>
                    <a:lnTo>
                      <a:pt x="1006" y="4178"/>
                    </a:lnTo>
                    <a:lnTo>
                      <a:pt x="664" y="4287"/>
                    </a:lnTo>
                    <a:lnTo>
                      <a:pt x="607" y="4365"/>
                    </a:lnTo>
                    <a:lnTo>
                      <a:pt x="276" y="4441"/>
                    </a:lnTo>
                    <a:lnTo>
                      <a:pt x="227" y="4424"/>
                    </a:lnTo>
                    <a:lnTo>
                      <a:pt x="210" y="4221"/>
                    </a:lnTo>
                    <a:lnTo>
                      <a:pt x="513" y="4126"/>
                    </a:lnTo>
                    <a:lnTo>
                      <a:pt x="517" y="4013"/>
                    </a:lnTo>
                    <a:lnTo>
                      <a:pt x="985" y="3902"/>
                    </a:lnTo>
                    <a:lnTo>
                      <a:pt x="980" y="3637"/>
                    </a:lnTo>
                    <a:lnTo>
                      <a:pt x="1276" y="3522"/>
                    </a:lnTo>
                    <a:lnTo>
                      <a:pt x="1396" y="3422"/>
                    </a:lnTo>
                    <a:lnTo>
                      <a:pt x="1604" y="3387"/>
                    </a:lnTo>
                    <a:lnTo>
                      <a:pt x="1757" y="3437"/>
                    </a:lnTo>
                    <a:lnTo>
                      <a:pt x="1909" y="3392"/>
                    </a:lnTo>
                    <a:lnTo>
                      <a:pt x="2057" y="3437"/>
                    </a:lnTo>
                    <a:lnTo>
                      <a:pt x="2005" y="3177"/>
                    </a:lnTo>
                    <a:lnTo>
                      <a:pt x="2298" y="3229"/>
                    </a:lnTo>
                    <a:lnTo>
                      <a:pt x="2331" y="3293"/>
                    </a:lnTo>
                    <a:lnTo>
                      <a:pt x="2369" y="3281"/>
                    </a:lnTo>
                    <a:lnTo>
                      <a:pt x="2494" y="3559"/>
                    </a:lnTo>
                    <a:lnTo>
                      <a:pt x="2832" y="3415"/>
                    </a:lnTo>
                    <a:lnTo>
                      <a:pt x="2804" y="3314"/>
                    </a:lnTo>
                    <a:lnTo>
                      <a:pt x="2872" y="3283"/>
                    </a:lnTo>
                    <a:lnTo>
                      <a:pt x="2875" y="3037"/>
                    </a:lnTo>
                    <a:lnTo>
                      <a:pt x="3057" y="2988"/>
                    </a:lnTo>
                    <a:lnTo>
                      <a:pt x="3385" y="3070"/>
                    </a:lnTo>
                    <a:lnTo>
                      <a:pt x="3380" y="3172"/>
                    </a:lnTo>
                    <a:lnTo>
                      <a:pt x="3489" y="3463"/>
                    </a:lnTo>
                    <a:lnTo>
                      <a:pt x="3385" y="3637"/>
                    </a:lnTo>
                    <a:lnTo>
                      <a:pt x="3401" y="3663"/>
                    </a:lnTo>
                    <a:lnTo>
                      <a:pt x="3598" y="3571"/>
                    </a:lnTo>
                    <a:lnTo>
                      <a:pt x="3598" y="3680"/>
                    </a:lnTo>
                    <a:lnTo>
                      <a:pt x="3739" y="3763"/>
                    </a:lnTo>
                    <a:lnTo>
                      <a:pt x="3716" y="3867"/>
                    </a:lnTo>
                    <a:lnTo>
                      <a:pt x="3803" y="3975"/>
                    </a:lnTo>
                    <a:lnTo>
                      <a:pt x="3883" y="3963"/>
                    </a:lnTo>
                    <a:lnTo>
                      <a:pt x="4091" y="4174"/>
                    </a:lnTo>
                    <a:lnTo>
                      <a:pt x="4079" y="4266"/>
                    </a:lnTo>
                    <a:lnTo>
                      <a:pt x="4642" y="4363"/>
                    </a:lnTo>
                    <a:lnTo>
                      <a:pt x="4738" y="4223"/>
                    </a:lnTo>
                    <a:lnTo>
                      <a:pt x="4738" y="4138"/>
                    </a:lnTo>
                    <a:lnTo>
                      <a:pt x="4883" y="4091"/>
                    </a:lnTo>
                    <a:lnTo>
                      <a:pt x="4798" y="3902"/>
                    </a:lnTo>
                    <a:lnTo>
                      <a:pt x="4679" y="3869"/>
                    </a:lnTo>
                    <a:lnTo>
                      <a:pt x="4672" y="3756"/>
                    </a:lnTo>
                    <a:lnTo>
                      <a:pt x="4892" y="3734"/>
                    </a:lnTo>
                    <a:lnTo>
                      <a:pt x="4894" y="3618"/>
                    </a:lnTo>
                    <a:lnTo>
                      <a:pt x="5686" y="2964"/>
                    </a:lnTo>
                    <a:lnTo>
                      <a:pt x="5875" y="2941"/>
                    </a:lnTo>
                    <a:lnTo>
                      <a:pt x="5920" y="2709"/>
                    </a:lnTo>
                    <a:lnTo>
                      <a:pt x="5747" y="2563"/>
                    </a:lnTo>
                    <a:lnTo>
                      <a:pt x="5785" y="2470"/>
                    </a:lnTo>
                    <a:lnTo>
                      <a:pt x="5714" y="2196"/>
                    </a:lnTo>
                    <a:lnTo>
                      <a:pt x="6000" y="2185"/>
                    </a:lnTo>
                    <a:lnTo>
                      <a:pt x="6170" y="2317"/>
                    </a:lnTo>
                    <a:lnTo>
                      <a:pt x="6184" y="2100"/>
                    </a:lnTo>
                    <a:lnTo>
                      <a:pt x="6345" y="2199"/>
                    </a:lnTo>
                    <a:lnTo>
                      <a:pt x="6555" y="2196"/>
                    </a:lnTo>
                    <a:lnTo>
                      <a:pt x="6605" y="2050"/>
                    </a:lnTo>
                    <a:lnTo>
                      <a:pt x="6727" y="2126"/>
                    </a:lnTo>
                    <a:lnTo>
                      <a:pt x="7065" y="2204"/>
                    </a:lnTo>
                    <a:lnTo>
                      <a:pt x="7190" y="2369"/>
                    </a:lnTo>
                    <a:lnTo>
                      <a:pt x="7375" y="2185"/>
                    </a:lnTo>
                    <a:lnTo>
                      <a:pt x="7377" y="1970"/>
                    </a:lnTo>
                    <a:lnTo>
                      <a:pt x="7467" y="1937"/>
                    </a:lnTo>
                    <a:lnTo>
                      <a:pt x="7514" y="2036"/>
                    </a:lnTo>
                    <a:lnTo>
                      <a:pt x="7746" y="1939"/>
                    </a:lnTo>
                    <a:lnTo>
                      <a:pt x="7776" y="1842"/>
                    </a:lnTo>
                    <a:lnTo>
                      <a:pt x="7932" y="1785"/>
                    </a:lnTo>
                    <a:lnTo>
                      <a:pt x="8194" y="2012"/>
                    </a:lnTo>
                    <a:lnTo>
                      <a:pt x="8071" y="2185"/>
                    </a:lnTo>
                    <a:lnTo>
                      <a:pt x="8142" y="2263"/>
                    </a:lnTo>
                    <a:lnTo>
                      <a:pt x="8320" y="2300"/>
                    </a:lnTo>
                    <a:lnTo>
                      <a:pt x="8353" y="2385"/>
                    </a:lnTo>
                    <a:lnTo>
                      <a:pt x="8353" y="2485"/>
                    </a:lnTo>
                    <a:lnTo>
                      <a:pt x="8279" y="2600"/>
                    </a:lnTo>
                    <a:lnTo>
                      <a:pt x="8331" y="2643"/>
                    </a:lnTo>
                    <a:lnTo>
                      <a:pt x="8331" y="2886"/>
                    </a:lnTo>
                    <a:lnTo>
                      <a:pt x="8383" y="2943"/>
                    </a:lnTo>
                    <a:lnTo>
                      <a:pt x="8572" y="2985"/>
                    </a:lnTo>
                    <a:lnTo>
                      <a:pt x="8638" y="3037"/>
                    </a:lnTo>
                    <a:lnTo>
                      <a:pt x="8731" y="3250"/>
                    </a:lnTo>
                    <a:lnTo>
                      <a:pt x="8731" y="3524"/>
                    </a:lnTo>
                    <a:lnTo>
                      <a:pt x="8834" y="3545"/>
                    </a:lnTo>
                    <a:lnTo>
                      <a:pt x="8901" y="3701"/>
                    </a:lnTo>
                    <a:lnTo>
                      <a:pt x="8962" y="3739"/>
                    </a:lnTo>
                    <a:lnTo>
                      <a:pt x="9382" y="3701"/>
                    </a:lnTo>
                    <a:lnTo>
                      <a:pt x="9444" y="3595"/>
                    </a:lnTo>
                    <a:lnTo>
                      <a:pt x="9635" y="3548"/>
                    </a:lnTo>
                    <a:lnTo>
                      <a:pt x="10079" y="3595"/>
                    </a:lnTo>
                    <a:lnTo>
                      <a:pt x="10027" y="3342"/>
                    </a:lnTo>
                    <a:lnTo>
                      <a:pt x="10136" y="3328"/>
                    </a:lnTo>
                    <a:lnTo>
                      <a:pt x="10108" y="3085"/>
                    </a:lnTo>
                    <a:lnTo>
                      <a:pt x="9838" y="3120"/>
                    </a:lnTo>
                    <a:lnTo>
                      <a:pt x="9838" y="3042"/>
                    </a:lnTo>
                    <a:lnTo>
                      <a:pt x="9708" y="3042"/>
                    </a:lnTo>
                    <a:lnTo>
                      <a:pt x="9708" y="2778"/>
                    </a:lnTo>
                    <a:lnTo>
                      <a:pt x="9652" y="2648"/>
                    </a:lnTo>
                    <a:lnTo>
                      <a:pt x="10079" y="2648"/>
                    </a:lnTo>
                    <a:lnTo>
                      <a:pt x="10247" y="2525"/>
                    </a:lnTo>
                    <a:lnTo>
                      <a:pt x="10247" y="2435"/>
                    </a:lnTo>
                    <a:lnTo>
                      <a:pt x="10382" y="2466"/>
                    </a:lnTo>
                    <a:lnTo>
                      <a:pt x="10377" y="2414"/>
                    </a:lnTo>
                    <a:lnTo>
                      <a:pt x="10505" y="2404"/>
                    </a:lnTo>
                    <a:lnTo>
                      <a:pt x="10505" y="2218"/>
                    </a:lnTo>
                    <a:lnTo>
                      <a:pt x="10318" y="2185"/>
                    </a:lnTo>
                    <a:lnTo>
                      <a:pt x="10044" y="2024"/>
                    </a:lnTo>
                    <a:lnTo>
                      <a:pt x="9971" y="1911"/>
                    </a:lnTo>
                    <a:lnTo>
                      <a:pt x="10112" y="1776"/>
                    </a:lnTo>
                    <a:lnTo>
                      <a:pt x="9827" y="1771"/>
                    </a:lnTo>
                    <a:lnTo>
                      <a:pt x="9893" y="1646"/>
                    </a:lnTo>
                    <a:lnTo>
                      <a:pt x="9718" y="1537"/>
                    </a:lnTo>
                    <a:lnTo>
                      <a:pt x="9850" y="1443"/>
                    </a:lnTo>
                    <a:lnTo>
                      <a:pt x="9857" y="1327"/>
                    </a:lnTo>
                    <a:lnTo>
                      <a:pt x="9997" y="1181"/>
                    </a:lnTo>
                    <a:lnTo>
                      <a:pt x="10013" y="937"/>
                    </a:lnTo>
                    <a:lnTo>
                      <a:pt x="9966" y="812"/>
                    </a:lnTo>
                    <a:lnTo>
                      <a:pt x="10136" y="652"/>
                    </a:lnTo>
                    <a:lnTo>
                      <a:pt x="10136" y="463"/>
                    </a:lnTo>
                    <a:lnTo>
                      <a:pt x="9427" y="481"/>
                    </a:lnTo>
                    <a:lnTo>
                      <a:pt x="9494" y="406"/>
                    </a:lnTo>
                    <a:lnTo>
                      <a:pt x="9668" y="441"/>
                    </a:lnTo>
                    <a:lnTo>
                      <a:pt x="9796" y="333"/>
                    </a:lnTo>
                    <a:lnTo>
                      <a:pt x="9893" y="366"/>
                    </a:lnTo>
                    <a:lnTo>
                      <a:pt x="10034" y="217"/>
                    </a:lnTo>
                    <a:lnTo>
                      <a:pt x="10273" y="326"/>
                    </a:lnTo>
                    <a:lnTo>
                      <a:pt x="10337" y="328"/>
                    </a:lnTo>
                    <a:lnTo>
                      <a:pt x="10415" y="264"/>
                    </a:lnTo>
                    <a:lnTo>
                      <a:pt x="10486" y="337"/>
                    </a:lnTo>
                    <a:lnTo>
                      <a:pt x="10599" y="212"/>
                    </a:lnTo>
                    <a:lnTo>
                      <a:pt x="10665" y="200"/>
                    </a:lnTo>
                    <a:lnTo>
                      <a:pt x="10741" y="347"/>
                    </a:lnTo>
                    <a:lnTo>
                      <a:pt x="10838" y="340"/>
                    </a:lnTo>
                    <a:lnTo>
                      <a:pt x="10906" y="314"/>
                    </a:lnTo>
                    <a:lnTo>
                      <a:pt x="10934" y="179"/>
                    </a:lnTo>
                    <a:lnTo>
                      <a:pt x="11079" y="37"/>
                    </a:lnTo>
                    <a:lnTo>
                      <a:pt x="11263" y="61"/>
                    </a:lnTo>
                    <a:lnTo>
                      <a:pt x="11390" y="0"/>
                    </a:lnTo>
                    <a:lnTo>
                      <a:pt x="11400" y="56"/>
                    </a:lnTo>
                    <a:lnTo>
                      <a:pt x="11442" y="158"/>
                    </a:lnTo>
                    <a:lnTo>
                      <a:pt x="11511" y="817"/>
                    </a:lnTo>
                    <a:lnTo>
                      <a:pt x="11747" y="1211"/>
                    </a:lnTo>
                    <a:lnTo>
                      <a:pt x="11820" y="1729"/>
                    </a:lnTo>
                    <a:lnTo>
                      <a:pt x="11790" y="2513"/>
                    </a:lnTo>
                    <a:lnTo>
                      <a:pt x="11903" y="3774"/>
                    </a:lnTo>
                    <a:close/>
                  </a:path>
                </a:pathLst>
              </a:custGeom>
              <a:solidFill>
                <a:srgbClr val="86CBC4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49" name="Freeform 47">
                <a:extLst>
                  <a:ext uri="{FF2B5EF4-FFF2-40B4-BE49-F238E27FC236}">
                    <a16:creationId xmlns:a16="http://schemas.microsoft.com/office/drawing/2014/main" id="{91E62EB1-7DF8-413A-88BE-61637212DF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7044316" y="14384341"/>
                <a:ext cx="1500188" cy="606425"/>
              </a:xfrm>
              <a:custGeom>
                <a:avLst/>
                <a:gdLst>
                  <a:gd name="T0" fmla="*/ 921 w 945"/>
                  <a:gd name="T1" fmla="*/ 0 h 382"/>
                  <a:gd name="T2" fmla="*/ 945 w 945"/>
                  <a:gd name="T3" fmla="*/ 9 h 382"/>
                  <a:gd name="T4" fmla="*/ 787 w 945"/>
                  <a:gd name="T5" fmla="*/ 99 h 382"/>
                  <a:gd name="T6" fmla="*/ 624 w 945"/>
                  <a:gd name="T7" fmla="*/ 78 h 382"/>
                  <a:gd name="T8" fmla="*/ 522 w 945"/>
                  <a:gd name="T9" fmla="*/ 12 h 382"/>
                  <a:gd name="T10" fmla="*/ 260 w 945"/>
                  <a:gd name="T11" fmla="*/ 97 h 382"/>
                  <a:gd name="T12" fmla="*/ 114 w 945"/>
                  <a:gd name="T13" fmla="*/ 382 h 382"/>
                  <a:gd name="T14" fmla="*/ 17 w 945"/>
                  <a:gd name="T15" fmla="*/ 335 h 382"/>
                  <a:gd name="T16" fmla="*/ 0 w 945"/>
                  <a:gd name="T17" fmla="*/ 335 h 382"/>
                  <a:gd name="T18" fmla="*/ 14 w 945"/>
                  <a:gd name="T19" fmla="*/ 328 h 382"/>
                  <a:gd name="T20" fmla="*/ 111 w 945"/>
                  <a:gd name="T21" fmla="*/ 373 h 382"/>
                  <a:gd name="T22" fmla="*/ 260 w 945"/>
                  <a:gd name="T23" fmla="*/ 89 h 382"/>
                  <a:gd name="T24" fmla="*/ 520 w 945"/>
                  <a:gd name="T25" fmla="*/ 4 h 382"/>
                  <a:gd name="T26" fmla="*/ 621 w 945"/>
                  <a:gd name="T27" fmla="*/ 68 h 382"/>
                  <a:gd name="T28" fmla="*/ 787 w 945"/>
                  <a:gd name="T29" fmla="*/ 92 h 382"/>
                  <a:gd name="T30" fmla="*/ 921 w 945"/>
                  <a:gd name="T31" fmla="*/ 0 h 3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45" h="382">
                    <a:moveTo>
                      <a:pt x="921" y="0"/>
                    </a:moveTo>
                    <a:lnTo>
                      <a:pt x="945" y="9"/>
                    </a:lnTo>
                    <a:lnTo>
                      <a:pt x="787" y="99"/>
                    </a:lnTo>
                    <a:lnTo>
                      <a:pt x="624" y="78"/>
                    </a:lnTo>
                    <a:lnTo>
                      <a:pt x="522" y="12"/>
                    </a:lnTo>
                    <a:lnTo>
                      <a:pt x="260" y="97"/>
                    </a:lnTo>
                    <a:lnTo>
                      <a:pt x="114" y="382"/>
                    </a:lnTo>
                    <a:lnTo>
                      <a:pt x="17" y="335"/>
                    </a:lnTo>
                    <a:lnTo>
                      <a:pt x="0" y="335"/>
                    </a:lnTo>
                    <a:lnTo>
                      <a:pt x="14" y="328"/>
                    </a:lnTo>
                    <a:lnTo>
                      <a:pt x="111" y="373"/>
                    </a:lnTo>
                    <a:lnTo>
                      <a:pt x="260" y="89"/>
                    </a:lnTo>
                    <a:lnTo>
                      <a:pt x="520" y="4"/>
                    </a:lnTo>
                    <a:lnTo>
                      <a:pt x="621" y="68"/>
                    </a:lnTo>
                    <a:lnTo>
                      <a:pt x="787" y="92"/>
                    </a:lnTo>
                    <a:lnTo>
                      <a:pt x="921" y="0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0" name="Freeform 48">
                <a:extLst>
                  <a:ext uri="{FF2B5EF4-FFF2-40B4-BE49-F238E27FC236}">
                    <a16:creationId xmlns:a16="http://schemas.microsoft.com/office/drawing/2014/main" id="{BE6DBC54-EFE1-4DE0-961A-F1CF54CACD9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7679" y="13738229"/>
                <a:ext cx="6180138" cy="795338"/>
              </a:xfrm>
              <a:custGeom>
                <a:avLst/>
                <a:gdLst>
                  <a:gd name="T0" fmla="*/ 3893 w 3893"/>
                  <a:gd name="T1" fmla="*/ 3 h 501"/>
                  <a:gd name="T2" fmla="*/ 3546 w 3893"/>
                  <a:gd name="T3" fmla="*/ 449 h 501"/>
                  <a:gd name="T4" fmla="*/ 3459 w 3893"/>
                  <a:gd name="T5" fmla="*/ 442 h 501"/>
                  <a:gd name="T6" fmla="*/ 3312 w 3893"/>
                  <a:gd name="T7" fmla="*/ 324 h 501"/>
                  <a:gd name="T8" fmla="*/ 3225 w 3893"/>
                  <a:gd name="T9" fmla="*/ 348 h 501"/>
                  <a:gd name="T10" fmla="*/ 3154 w 3893"/>
                  <a:gd name="T11" fmla="*/ 322 h 501"/>
                  <a:gd name="T12" fmla="*/ 2842 w 3893"/>
                  <a:gd name="T13" fmla="*/ 397 h 501"/>
                  <a:gd name="T14" fmla="*/ 2743 w 3893"/>
                  <a:gd name="T15" fmla="*/ 326 h 501"/>
                  <a:gd name="T16" fmla="*/ 2715 w 3893"/>
                  <a:gd name="T17" fmla="*/ 213 h 501"/>
                  <a:gd name="T18" fmla="*/ 2561 w 3893"/>
                  <a:gd name="T19" fmla="*/ 239 h 501"/>
                  <a:gd name="T20" fmla="*/ 2445 w 3893"/>
                  <a:gd name="T21" fmla="*/ 338 h 501"/>
                  <a:gd name="T22" fmla="*/ 2301 w 3893"/>
                  <a:gd name="T23" fmla="*/ 237 h 501"/>
                  <a:gd name="T24" fmla="*/ 2223 w 3893"/>
                  <a:gd name="T25" fmla="*/ 248 h 501"/>
                  <a:gd name="T26" fmla="*/ 2138 w 3893"/>
                  <a:gd name="T27" fmla="*/ 161 h 501"/>
                  <a:gd name="T28" fmla="*/ 1975 w 3893"/>
                  <a:gd name="T29" fmla="*/ 104 h 501"/>
                  <a:gd name="T30" fmla="*/ 1826 w 3893"/>
                  <a:gd name="T31" fmla="*/ 119 h 501"/>
                  <a:gd name="T32" fmla="*/ 1637 w 3893"/>
                  <a:gd name="T33" fmla="*/ 253 h 501"/>
                  <a:gd name="T34" fmla="*/ 1396 w 3893"/>
                  <a:gd name="T35" fmla="*/ 206 h 501"/>
                  <a:gd name="T36" fmla="*/ 1205 w 3893"/>
                  <a:gd name="T37" fmla="*/ 232 h 501"/>
                  <a:gd name="T38" fmla="*/ 1153 w 3893"/>
                  <a:gd name="T39" fmla="*/ 213 h 501"/>
                  <a:gd name="T40" fmla="*/ 1151 w 3893"/>
                  <a:gd name="T41" fmla="*/ 204 h 501"/>
                  <a:gd name="T42" fmla="*/ 1132 w 3893"/>
                  <a:gd name="T43" fmla="*/ 95 h 501"/>
                  <a:gd name="T44" fmla="*/ 1011 w 3893"/>
                  <a:gd name="T45" fmla="*/ 71 h 501"/>
                  <a:gd name="T46" fmla="*/ 931 w 3893"/>
                  <a:gd name="T47" fmla="*/ 163 h 501"/>
                  <a:gd name="T48" fmla="*/ 827 w 3893"/>
                  <a:gd name="T49" fmla="*/ 154 h 501"/>
                  <a:gd name="T50" fmla="*/ 681 w 3893"/>
                  <a:gd name="T51" fmla="*/ 196 h 501"/>
                  <a:gd name="T52" fmla="*/ 504 w 3893"/>
                  <a:gd name="T53" fmla="*/ 343 h 501"/>
                  <a:gd name="T54" fmla="*/ 364 w 3893"/>
                  <a:gd name="T55" fmla="*/ 381 h 501"/>
                  <a:gd name="T56" fmla="*/ 263 w 3893"/>
                  <a:gd name="T57" fmla="*/ 501 h 501"/>
                  <a:gd name="T58" fmla="*/ 0 w 3893"/>
                  <a:gd name="T59" fmla="*/ 416 h 501"/>
                  <a:gd name="T60" fmla="*/ 263 w 3893"/>
                  <a:gd name="T61" fmla="*/ 494 h 501"/>
                  <a:gd name="T62" fmla="*/ 364 w 3893"/>
                  <a:gd name="T63" fmla="*/ 374 h 501"/>
                  <a:gd name="T64" fmla="*/ 504 w 3893"/>
                  <a:gd name="T65" fmla="*/ 336 h 501"/>
                  <a:gd name="T66" fmla="*/ 678 w 3893"/>
                  <a:gd name="T67" fmla="*/ 189 h 501"/>
                  <a:gd name="T68" fmla="*/ 827 w 3893"/>
                  <a:gd name="T69" fmla="*/ 147 h 501"/>
                  <a:gd name="T70" fmla="*/ 931 w 3893"/>
                  <a:gd name="T71" fmla="*/ 156 h 501"/>
                  <a:gd name="T72" fmla="*/ 1009 w 3893"/>
                  <a:gd name="T73" fmla="*/ 64 h 501"/>
                  <a:gd name="T74" fmla="*/ 1130 w 3893"/>
                  <a:gd name="T75" fmla="*/ 88 h 501"/>
                  <a:gd name="T76" fmla="*/ 1151 w 3893"/>
                  <a:gd name="T77" fmla="*/ 204 h 501"/>
                  <a:gd name="T78" fmla="*/ 1203 w 3893"/>
                  <a:gd name="T79" fmla="*/ 225 h 501"/>
                  <a:gd name="T80" fmla="*/ 1396 w 3893"/>
                  <a:gd name="T81" fmla="*/ 199 h 501"/>
                  <a:gd name="T82" fmla="*/ 1637 w 3893"/>
                  <a:gd name="T83" fmla="*/ 246 h 501"/>
                  <a:gd name="T84" fmla="*/ 1826 w 3893"/>
                  <a:gd name="T85" fmla="*/ 111 h 501"/>
                  <a:gd name="T86" fmla="*/ 1975 w 3893"/>
                  <a:gd name="T87" fmla="*/ 95 h 501"/>
                  <a:gd name="T88" fmla="*/ 2138 w 3893"/>
                  <a:gd name="T89" fmla="*/ 154 h 501"/>
                  <a:gd name="T90" fmla="*/ 2223 w 3893"/>
                  <a:gd name="T91" fmla="*/ 241 h 501"/>
                  <a:gd name="T92" fmla="*/ 2301 w 3893"/>
                  <a:gd name="T93" fmla="*/ 230 h 501"/>
                  <a:gd name="T94" fmla="*/ 2443 w 3893"/>
                  <a:gd name="T95" fmla="*/ 331 h 501"/>
                  <a:gd name="T96" fmla="*/ 2561 w 3893"/>
                  <a:gd name="T97" fmla="*/ 230 h 501"/>
                  <a:gd name="T98" fmla="*/ 2715 w 3893"/>
                  <a:gd name="T99" fmla="*/ 201 h 501"/>
                  <a:gd name="T100" fmla="*/ 2743 w 3893"/>
                  <a:gd name="T101" fmla="*/ 317 h 501"/>
                  <a:gd name="T102" fmla="*/ 2842 w 3893"/>
                  <a:gd name="T103" fmla="*/ 388 h 501"/>
                  <a:gd name="T104" fmla="*/ 3154 w 3893"/>
                  <a:gd name="T105" fmla="*/ 315 h 501"/>
                  <a:gd name="T106" fmla="*/ 3225 w 3893"/>
                  <a:gd name="T107" fmla="*/ 338 h 501"/>
                  <a:gd name="T108" fmla="*/ 3312 w 3893"/>
                  <a:gd name="T109" fmla="*/ 317 h 501"/>
                  <a:gd name="T110" fmla="*/ 3456 w 3893"/>
                  <a:gd name="T111" fmla="*/ 433 h 501"/>
                  <a:gd name="T112" fmla="*/ 3546 w 3893"/>
                  <a:gd name="T113" fmla="*/ 440 h 501"/>
                  <a:gd name="T114" fmla="*/ 3889 w 3893"/>
                  <a:gd name="T115" fmla="*/ 0 h 501"/>
                  <a:gd name="T116" fmla="*/ 3893 w 3893"/>
                  <a:gd name="T117" fmla="*/ 3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93" h="501">
                    <a:moveTo>
                      <a:pt x="3893" y="3"/>
                    </a:moveTo>
                    <a:lnTo>
                      <a:pt x="3546" y="449"/>
                    </a:lnTo>
                    <a:lnTo>
                      <a:pt x="3459" y="442"/>
                    </a:lnTo>
                    <a:lnTo>
                      <a:pt x="3312" y="324"/>
                    </a:lnTo>
                    <a:lnTo>
                      <a:pt x="3225" y="348"/>
                    </a:lnTo>
                    <a:lnTo>
                      <a:pt x="3154" y="322"/>
                    </a:lnTo>
                    <a:lnTo>
                      <a:pt x="2842" y="397"/>
                    </a:lnTo>
                    <a:lnTo>
                      <a:pt x="2743" y="326"/>
                    </a:lnTo>
                    <a:lnTo>
                      <a:pt x="2715" y="213"/>
                    </a:lnTo>
                    <a:lnTo>
                      <a:pt x="2561" y="239"/>
                    </a:lnTo>
                    <a:lnTo>
                      <a:pt x="2445" y="338"/>
                    </a:lnTo>
                    <a:lnTo>
                      <a:pt x="2301" y="237"/>
                    </a:lnTo>
                    <a:lnTo>
                      <a:pt x="2223" y="248"/>
                    </a:lnTo>
                    <a:lnTo>
                      <a:pt x="2138" y="161"/>
                    </a:lnTo>
                    <a:lnTo>
                      <a:pt x="1975" y="104"/>
                    </a:lnTo>
                    <a:lnTo>
                      <a:pt x="1826" y="119"/>
                    </a:lnTo>
                    <a:lnTo>
                      <a:pt x="1637" y="253"/>
                    </a:lnTo>
                    <a:lnTo>
                      <a:pt x="1396" y="206"/>
                    </a:lnTo>
                    <a:lnTo>
                      <a:pt x="1205" y="232"/>
                    </a:lnTo>
                    <a:lnTo>
                      <a:pt x="1153" y="213"/>
                    </a:lnTo>
                    <a:lnTo>
                      <a:pt x="1151" y="204"/>
                    </a:lnTo>
                    <a:lnTo>
                      <a:pt x="1132" y="95"/>
                    </a:lnTo>
                    <a:lnTo>
                      <a:pt x="1011" y="71"/>
                    </a:lnTo>
                    <a:lnTo>
                      <a:pt x="931" y="163"/>
                    </a:lnTo>
                    <a:lnTo>
                      <a:pt x="827" y="154"/>
                    </a:lnTo>
                    <a:lnTo>
                      <a:pt x="681" y="196"/>
                    </a:lnTo>
                    <a:lnTo>
                      <a:pt x="504" y="343"/>
                    </a:lnTo>
                    <a:lnTo>
                      <a:pt x="364" y="381"/>
                    </a:lnTo>
                    <a:lnTo>
                      <a:pt x="263" y="501"/>
                    </a:lnTo>
                    <a:lnTo>
                      <a:pt x="0" y="416"/>
                    </a:lnTo>
                    <a:lnTo>
                      <a:pt x="263" y="494"/>
                    </a:lnTo>
                    <a:lnTo>
                      <a:pt x="364" y="374"/>
                    </a:lnTo>
                    <a:lnTo>
                      <a:pt x="504" y="336"/>
                    </a:lnTo>
                    <a:lnTo>
                      <a:pt x="678" y="189"/>
                    </a:lnTo>
                    <a:lnTo>
                      <a:pt x="827" y="147"/>
                    </a:lnTo>
                    <a:lnTo>
                      <a:pt x="931" y="156"/>
                    </a:lnTo>
                    <a:lnTo>
                      <a:pt x="1009" y="64"/>
                    </a:lnTo>
                    <a:lnTo>
                      <a:pt x="1130" y="88"/>
                    </a:lnTo>
                    <a:lnTo>
                      <a:pt x="1151" y="204"/>
                    </a:lnTo>
                    <a:lnTo>
                      <a:pt x="1203" y="225"/>
                    </a:lnTo>
                    <a:lnTo>
                      <a:pt x="1396" y="199"/>
                    </a:lnTo>
                    <a:lnTo>
                      <a:pt x="1637" y="246"/>
                    </a:lnTo>
                    <a:lnTo>
                      <a:pt x="1826" y="111"/>
                    </a:lnTo>
                    <a:lnTo>
                      <a:pt x="1975" y="95"/>
                    </a:lnTo>
                    <a:lnTo>
                      <a:pt x="2138" y="154"/>
                    </a:lnTo>
                    <a:lnTo>
                      <a:pt x="2223" y="241"/>
                    </a:lnTo>
                    <a:lnTo>
                      <a:pt x="2301" y="230"/>
                    </a:lnTo>
                    <a:lnTo>
                      <a:pt x="2443" y="331"/>
                    </a:lnTo>
                    <a:lnTo>
                      <a:pt x="2561" y="230"/>
                    </a:lnTo>
                    <a:lnTo>
                      <a:pt x="2715" y="201"/>
                    </a:lnTo>
                    <a:lnTo>
                      <a:pt x="2743" y="317"/>
                    </a:lnTo>
                    <a:lnTo>
                      <a:pt x="2842" y="388"/>
                    </a:lnTo>
                    <a:lnTo>
                      <a:pt x="3154" y="315"/>
                    </a:lnTo>
                    <a:lnTo>
                      <a:pt x="3225" y="338"/>
                    </a:lnTo>
                    <a:lnTo>
                      <a:pt x="3312" y="317"/>
                    </a:lnTo>
                    <a:lnTo>
                      <a:pt x="3456" y="433"/>
                    </a:lnTo>
                    <a:lnTo>
                      <a:pt x="3546" y="440"/>
                    </a:lnTo>
                    <a:lnTo>
                      <a:pt x="3889" y="0"/>
                    </a:lnTo>
                    <a:lnTo>
                      <a:pt x="3893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1" name="Freeform 49">
                <a:extLst>
                  <a:ext uri="{FF2B5EF4-FFF2-40B4-BE49-F238E27FC236}">
                    <a16:creationId xmlns:a16="http://schemas.microsoft.com/office/drawing/2014/main" id="{EB67BCBD-09DE-42B4-BC9E-2C3E15F38B3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8354" y="11260141"/>
                <a:ext cx="16473489" cy="7339014"/>
              </a:xfrm>
              <a:custGeom>
                <a:avLst/>
                <a:gdLst>
                  <a:gd name="T0" fmla="*/ 10235 w 10377"/>
                  <a:gd name="T1" fmla="*/ 465 h 4623"/>
                  <a:gd name="T2" fmla="*/ 10342 w 10377"/>
                  <a:gd name="T3" fmla="*/ 335 h 4623"/>
                  <a:gd name="T4" fmla="*/ 9692 w 10377"/>
                  <a:gd name="T5" fmla="*/ 2497 h 4623"/>
                  <a:gd name="T6" fmla="*/ 9458 w 10377"/>
                  <a:gd name="T7" fmla="*/ 3598 h 4623"/>
                  <a:gd name="T8" fmla="*/ 9435 w 10377"/>
                  <a:gd name="T9" fmla="*/ 4023 h 4623"/>
                  <a:gd name="T10" fmla="*/ 151 w 10377"/>
                  <a:gd name="T11" fmla="*/ 4623 h 4623"/>
                  <a:gd name="T12" fmla="*/ 17 w 10377"/>
                  <a:gd name="T13" fmla="*/ 4481 h 4623"/>
                  <a:gd name="T14" fmla="*/ 7 w 10377"/>
                  <a:gd name="T15" fmla="*/ 4432 h 4623"/>
                  <a:gd name="T16" fmla="*/ 38 w 10377"/>
                  <a:gd name="T17" fmla="*/ 4254 h 4623"/>
                  <a:gd name="T18" fmla="*/ 135 w 10377"/>
                  <a:gd name="T19" fmla="*/ 4148 h 4623"/>
                  <a:gd name="T20" fmla="*/ 135 w 10377"/>
                  <a:gd name="T21" fmla="*/ 4129 h 4623"/>
                  <a:gd name="T22" fmla="*/ 132 w 10377"/>
                  <a:gd name="T23" fmla="*/ 3943 h 4623"/>
                  <a:gd name="T24" fmla="*/ 314 w 10377"/>
                  <a:gd name="T25" fmla="*/ 3586 h 4623"/>
                  <a:gd name="T26" fmla="*/ 248 w 10377"/>
                  <a:gd name="T27" fmla="*/ 3458 h 4623"/>
                  <a:gd name="T28" fmla="*/ 265 w 10377"/>
                  <a:gd name="T29" fmla="*/ 3241 h 4623"/>
                  <a:gd name="T30" fmla="*/ 187 w 10377"/>
                  <a:gd name="T31" fmla="*/ 3090 h 4623"/>
                  <a:gd name="T32" fmla="*/ 498 w 10377"/>
                  <a:gd name="T33" fmla="*/ 2797 h 4623"/>
                  <a:gd name="T34" fmla="*/ 477 w 10377"/>
                  <a:gd name="T35" fmla="*/ 2709 h 4623"/>
                  <a:gd name="T36" fmla="*/ 286 w 10377"/>
                  <a:gd name="T37" fmla="*/ 2539 h 4623"/>
                  <a:gd name="T38" fmla="*/ 317 w 10377"/>
                  <a:gd name="T39" fmla="*/ 2421 h 4623"/>
                  <a:gd name="T40" fmla="*/ 284 w 10377"/>
                  <a:gd name="T41" fmla="*/ 2386 h 4623"/>
                  <a:gd name="T42" fmla="*/ 565 w 10377"/>
                  <a:gd name="T43" fmla="*/ 2350 h 4623"/>
                  <a:gd name="T44" fmla="*/ 973 w 10377"/>
                  <a:gd name="T45" fmla="*/ 1980 h 4623"/>
                  <a:gd name="T46" fmla="*/ 1238 w 10377"/>
                  <a:gd name="T47" fmla="*/ 2067 h 4623"/>
                  <a:gd name="T48" fmla="*/ 1398 w 10377"/>
                  <a:gd name="T49" fmla="*/ 1977 h 4623"/>
                  <a:gd name="T50" fmla="*/ 1762 w 10377"/>
                  <a:gd name="T51" fmla="*/ 1942 h 4623"/>
                  <a:gd name="T52" fmla="*/ 2079 w 10377"/>
                  <a:gd name="T53" fmla="*/ 1757 h 4623"/>
                  <a:gd name="T54" fmla="*/ 2329 w 10377"/>
                  <a:gd name="T55" fmla="*/ 1724 h 4623"/>
                  <a:gd name="T56" fmla="*/ 2530 w 10377"/>
                  <a:gd name="T57" fmla="*/ 1656 h 4623"/>
                  <a:gd name="T58" fmla="*/ 2551 w 10377"/>
                  <a:gd name="T59" fmla="*/ 1774 h 4623"/>
                  <a:gd name="T60" fmla="*/ 2794 w 10377"/>
                  <a:gd name="T61" fmla="*/ 1767 h 4623"/>
                  <a:gd name="T62" fmla="*/ 3224 w 10377"/>
                  <a:gd name="T63" fmla="*/ 1680 h 4623"/>
                  <a:gd name="T64" fmla="*/ 3536 w 10377"/>
                  <a:gd name="T65" fmla="*/ 1722 h 4623"/>
                  <a:gd name="T66" fmla="*/ 3699 w 10377"/>
                  <a:gd name="T67" fmla="*/ 1798 h 4623"/>
                  <a:gd name="T68" fmla="*/ 3959 w 10377"/>
                  <a:gd name="T69" fmla="*/ 1800 h 4623"/>
                  <a:gd name="T70" fmla="*/ 4141 w 10377"/>
                  <a:gd name="T71" fmla="*/ 1887 h 4623"/>
                  <a:gd name="T72" fmla="*/ 4552 w 10377"/>
                  <a:gd name="T73" fmla="*/ 1883 h 4623"/>
                  <a:gd name="T74" fmla="*/ 4710 w 10377"/>
                  <a:gd name="T75" fmla="*/ 1885 h 4623"/>
                  <a:gd name="T76" fmla="*/ 4944 w 10377"/>
                  <a:gd name="T77" fmla="*/ 2010 h 4623"/>
                  <a:gd name="T78" fmla="*/ 5287 w 10377"/>
                  <a:gd name="T79" fmla="*/ 1561 h 4623"/>
                  <a:gd name="T80" fmla="*/ 5965 w 10377"/>
                  <a:gd name="T81" fmla="*/ 1807 h 4623"/>
                  <a:gd name="T82" fmla="*/ 7493 w 10377"/>
                  <a:gd name="T83" fmla="*/ 902 h 4623"/>
                  <a:gd name="T84" fmla="*/ 7864 w 10377"/>
                  <a:gd name="T85" fmla="*/ 0 h 4623"/>
                  <a:gd name="T86" fmla="*/ 7923 w 10377"/>
                  <a:gd name="T87" fmla="*/ 94 h 4623"/>
                  <a:gd name="T88" fmla="*/ 8275 w 10377"/>
                  <a:gd name="T89" fmla="*/ 102 h 4623"/>
                  <a:gd name="T90" fmla="*/ 8771 w 10377"/>
                  <a:gd name="T91" fmla="*/ 208 h 4623"/>
                  <a:gd name="T92" fmla="*/ 10377 w 10377"/>
                  <a:gd name="T93" fmla="*/ 194 h 4623"/>
                  <a:gd name="T94" fmla="*/ 10335 w 10377"/>
                  <a:gd name="T95" fmla="*/ 319 h 46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10377" h="4623">
                    <a:moveTo>
                      <a:pt x="10268" y="347"/>
                    </a:moveTo>
                    <a:lnTo>
                      <a:pt x="10235" y="465"/>
                    </a:lnTo>
                    <a:lnTo>
                      <a:pt x="10259" y="522"/>
                    </a:lnTo>
                    <a:lnTo>
                      <a:pt x="10342" y="335"/>
                    </a:lnTo>
                    <a:lnTo>
                      <a:pt x="10240" y="985"/>
                    </a:lnTo>
                    <a:lnTo>
                      <a:pt x="9692" y="2497"/>
                    </a:lnTo>
                    <a:lnTo>
                      <a:pt x="9704" y="2634"/>
                    </a:lnTo>
                    <a:lnTo>
                      <a:pt x="9458" y="3598"/>
                    </a:lnTo>
                    <a:lnTo>
                      <a:pt x="9418" y="3876"/>
                    </a:lnTo>
                    <a:lnTo>
                      <a:pt x="9435" y="4023"/>
                    </a:lnTo>
                    <a:lnTo>
                      <a:pt x="9335" y="4623"/>
                    </a:lnTo>
                    <a:lnTo>
                      <a:pt x="151" y="4623"/>
                    </a:lnTo>
                    <a:lnTo>
                      <a:pt x="17" y="4481"/>
                    </a:lnTo>
                    <a:lnTo>
                      <a:pt x="17" y="4481"/>
                    </a:lnTo>
                    <a:lnTo>
                      <a:pt x="9" y="4436"/>
                    </a:lnTo>
                    <a:lnTo>
                      <a:pt x="7" y="4432"/>
                    </a:lnTo>
                    <a:lnTo>
                      <a:pt x="0" y="4387"/>
                    </a:lnTo>
                    <a:lnTo>
                      <a:pt x="38" y="4254"/>
                    </a:lnTo>
                    <a:lnTo>
                      <a:pt x="135" y="4155"/>
                    </a:lnTo>
                    <a:lnTo>
                      <a:pt x="135" y="4148"/>
                    </a:lnTo>
                    <a:lnTo>
                      <a:pt x="135" y="4148"/>
                    </a:lnTo>
                    <a:lnTo>
                      <a:pt x="135" y="4129"/>
                    </a:lnTo>
                    <a:lnTo>
                      <a:pt x="135" y="4122"/>
                    </a:lnTo>
                    <a:lnTo>
                      <a:pt x="132" y="3943"/>
                    </a:lnTo>
                    <a:lnTo>
                      <a:pt x="317" y="3591"/>
                    </a:lnTo>
                    <a:lnTo>
                      <a:pt x="314" y="3586"/>
                    </a:lnTo>
                    <a:lnTo>
                      <a:pt x="314" y="3583"/>
                    </a:lnTo>
                    <a:lnTo>
                      <a:pt x="248" y="3458"/>
                    </a:lnTo>
                    <a:lnTo>
                      <a:pt x="265" y="3243"/>
                    </a:lnTo>
                    <a:lnTo>
                      <a:pt x="265" y="3241"/>
                    </a:lnTo>
                    <a:lnTo>
                      <a:pt x="265" y="3236"/>
                    </a:lnTo>
                    <a:lnTo>
                      <a:pt x="187" y="3090"/>
                    </a:lnTo>
                    <a:lnTo>
                      <a:pt x="187" y="3028"/>
                    </a:lnTo>
                    <a:lnTo>
                      <a:pt x="498" y="2797"/>
                    </a:lnTo>
                    <a:lnTo>
                      <a:pt x="477" y="2712"/>
                    </a:lnTo>
                    <a:lnTo>
                      <a:pt x="477" y="2709"/>
                    </a:lnTo>
                    <a:lnTo>
                      <a:pt x="454" y="2613"/>
                    </a:lnTo>
                    <a:lnTo>
                      <a:pt x="286" y="2539"/>
                    </a:lnTo>
                    <a:lnTo>
                      <a:pt x="319" y="2424"/>
                    </a:lnTo>
                    <a:lnTo>
                      <a:pt x="317" y="2421"/>
                    </a:lnTo>
                    <a:lnTo>
                      <a:pt x="317" y="2417"/>
                    </a:lnTo>
                    <a:lnTo>
                      <a:pt x="284" y="2386"/>
                    </a:lnTo>
                    <a:lnTo>
                      <a:pt x="468" y="2303"/>
                    </a:lnTo>
                    <a:lnTo>
                      <a:pt x="565" y="2350"/>
                    </a:lnTo>
                    <a:lnTo>
                      <a:pt x="711" y="2065"/>
                    </a:lnTo>
                    <a:lnTo>
                      <a:pt x="973" y="1980"/>
                    </a:lnTo>
                    <a:lnTo>
                      <a:pt x="1075" y="2046"/>
                    </a:lnTo>
                    <a:lnTo>
                      <a:pt x="1238" y="2067"/>
                    </a:lnTo>
                    <a:lnTo>
                      <a:pt x="1396" y="1977"/>
                    </a:lnTo>
                    <a:lnTo>
                      <a:pt x="1398" y="1977"/>
                    </a:lnTo>
                    <a:lnTo>
                      <a:pt x="1661" y="2062"/>
                    </a:lnTo>
                    <a:lnTo>
                      <a:pt x="1762" y="1942"/>
                    </a:lnTo>
                    <a:lnTo>
                      <a:pt x="1902" y="1904"/>
                    </a:lnTo>
                    <a:lnTo>
                      <a:pt x="2079" y="1757"/>
                    </a:lnTo>
                    <a:lnTo>
                      <a:pt x="2225" y="1715"/>
                    </a:lnTo>
                    <a:lnTo>
                      <a:pt x="2329" y="1724"/>
                    </a:lnTo>
                    <a:lnTo>
                      <a:pt x="2409" y="1632"/>
                    </a:lnTo>
                    <a:lnTo>
                      <a:pt x="2530" y="1656"/>
                    </a:lnTo>
                    <a:lnTo>
                      <a:pt x="2549" y="1765"/>
                    </a:lnTo>
                    <a:lnTo>
                      <a:pt x="2551" y="1774"/>
                    </a:lnTo>
                    <a:lnTo>
                      <a:pt x="2603" y="1793"/>
                    </a:lnTo>
                    <a:lnTo>
                      <a:pt x="2794" y="1767"/>
                    </a:lnTo>
                    <a:lnTo>
                      <a:pt x="3035" y="1814"/>
                    </a:lnTo>
                    <a:lnTo>
                      <a:pt x="3224" y="1680"/>
                    </a:lnTo>
                    <a:lnTo>
                      <a:pt x="3373" y="1665"/>
                    </a:lnTo>
                    <a:lnTo>
                      <a:pt x="3536" y="1722"/>
                    </a:lnTo>
                    <a:lnTo>
                      <a:pt x="3621" y="1809"/>
                    </a:lnTo>
                    <a:lnTo>
                      <a:pt x="3699" y="1798"/>
                    </a:lnTo>
                    <a:lnTo>
                      <a:pt x="3843" y="1899"/>
                    </a:lnTo>
                    <a:lnTo>
                      <a:pt x="3959" y="1800"/>
                    </a:lnTo>
                    <a:lnTo>
                      <a:pt x="4113" y="1774"/>
                    </a:lnTo>
                    <a:lnTo>
                      <a:pt x="4141" y="1887"/>
                    </a:lnTo>
                    <a:lnTo>
                      <a:pt x="4240" y="1958"/>
                    </a:lnTo>
                    <a:lnTo>
                      <a:pt x="4552" y="1883"/>
                    </a:lnTo>
                    <a:lnTo>
                      <a:pt x="4623" y="1909"/>
                    </a:lnTo>
                    <a:lnTo>
                      <a:pt x="4710" y="1885"/>
                    </a:lnTo>
                    <a:lnTo>
                      <a:pt x="4857" y="2003"/>
                    </a:lnTo>
                    <a:lnTo>
                      <a:pt x="4944" y="2010"/>
                    </a:lnTo>
                    <a:lnTo>
                      <a:pt x="5291" y="1564"/>
                    </a:lnTo>
                    <a:lnTo>
                      <a:pt x="5287" y="1561"/>
                    </a:lnTo>
                    <a:lnTo>
                      <a:pt x="5291" y="1554"/>
                    </a:lnTo>
                    <a:lnTo>
                      <a:pt x="5965" y="1807"/>
                    </a:lnTo>
                    <a:lnTo>
                      <a:pt x="7467" y="1812"/>
                    </a:lnTo>
                    <a:lnTo>
                      <a:pt x="7493" y="902"/>
                    </a:lnTo>
                    <a:lnTo>
                      <a:pt x="7590" y="17"/>
                    </a:lnTo>
                    <a:lnTo>
                      <a:pt x="7864" y="0"/>
                    </a:lnTo>
                    <a:lnTo>
                      <a:pt x="7902" y="38"/>
                    </a:lnTo>
                    <a:lnTo>
                      <a:pt x="7923" y="94"/>
                    </a:lnTo>
                    <a:lnTo>
                      <a:pt x="8135" y="201"/>
                    </a:lnTo>
                    <a:lnTo>
                      <a:pt x="8275" y="102"/>
                    </a:lnTo>
                    <a:lnTo>
                      <a:pt x="8450" y="165"/>
                    </a:lnTo>
                    <a:lnTo>
                      <a:pt x="8771" y="208"/>
                    </a:lnTo>
                    <a:lnTo>
                      <a:pt x="10150" y="232"/>
                    </a:lnTo>
                    <a:lnTo>
                      <a:pt x="10377" y="194"/>
                    </a:lnTo>
                    <a:lnTo>
                      <a:pt x="10344" y="314"/>
                    </a:lnTo>
                    <a:lnTo>
                      <a:pt x="10335" y="319"/>
                    </a:lnTo>
                    <a:lnTo>
                      <a:pt x="10268" y="347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2" name="Freeform 50">
                <a:extLst>
                  <a:ext uri="{FF2B5EF4-FFF2-40B4-BE49-F238E27FC236}">
                    <a16:creationId xmlns:a16="http://schemas.microsoft.com/office/drawing/2014/main" id="{18232774-186F-4F0E-8264-4E8D87BF43B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42641" y="18302292"/>
                <a:ext cx="12700" cy="71438"/>
              </a:xfrm>
              <a:custGeom>
                <a:avLst/>
                <a:gdLst>
                  <a:gd name="T0" fmla="*/ 8 w 8"/>
                  <a:gd name="T1" fmla="*/ 45 h 45"/>
                  <a:gd name="T2" fmla="*/ 0 w 8"/>
                  <a:gd name="T3" fmla="*/ 0 h 45"/>
                  <a:gd name="T4" fmla="*/ 8 w 8"/>
                  <a:gd name="T5" fmla="*/ 45 h 45"/>
                  <a:gd name="T6" fmla="*/ 8 w 8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8" h="45">
                    <a:moveTo>
                      <a:pt x="8" y="45"/>
                    </a:moveTo>
                    <a:lnTo>
                      <a:pt x="0" y="0"/>
                    </a:lnTo>
                    <a:lnTo>
                      <a:pt x="8" y="45"/>
                    </a:lnTo>
                    <a:lnTo>
                      <a:pt x="8" y="45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3" name="Freeform 51">
                <a:extLst>
                  <a:ext uri="{FF2B5EF4-FFF2-40B4-BE49-F238E27FC236}">
                    <a16:creationId xmlns:a16="http://schemas.microsoft.com/office/drawing/2014/main" id="{896CF628-F033-4491-90F7-F20022D4EF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325179" y="17845092"/>
                <a:ext cx="217488" cy="379413"/>
              </a:xfrm>
              <a:custGeom>
                <a:avLst/>
                <a:gdLst>
                  <a:gd name="T0" fmla="*/ 2 w 137"/>
                  <a:gd name="T1" fmla="*/ 239 h 239"/>
                  <a:gd name="T2" fmla="*/ 0 w 137"/>
                  <a:gd name="T3" fmla="*/ 232 h 239"/>
                  <a:gd name="T4" fmla="*/ 40 w 137"/>
                  <a:gd name="T5" fmla="*/ 102 h 239"/>
                  <a:gd name="T6" fmla="*/ 137 w 137"/>
                  <a:gd name="T7" fmla="*/ 0 h 239"/>
                  <a:gd name="T8" fmla="*/ 137 w 137"/>
                  <a:gd name="T9" fmla="*/ 7 h 239"/>
                  <a:gd name="T10" fmla="*/ 40 w 137"/>
                  <a:gd name="T11" fmla="*/ 106 h 239"/>
                  <a:gd name="T12" fmla="*/ 2 w 137"/>
                  <a:gd name="T13" fmla="*/ 239 h 2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137" h="239">
                    <a:moveTo>
                      <a:pt x="2" y="239"/>
                    </a:moveTo>
                    <a:lnTo>
                      <a:pt x="0" y="232"/>
                    </a:lnTo>
                    <a:lnTo>
                      <a:pt x="40" y="102"/>
                    </a:lnTo>
                    <a:lnTo>
                      <a:pt x="137" y="0"/>
                    </a:lnTo>
                    <a:lnTo>
                      <a:pt x="137" y="7"/>
                    </a:lnTo>
                    <a:lnTo>
                      <a:pt x="40" y="106"/>
                    </a:lnTo>
                    <a:lnTo>
                      <a:pt x="2" y="23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4" name="Freeform 52">
                <a:extLst>
                  <a:ext uri="{FF2B5EF4-FFF2-40B4-BE49-F238E27FC236}">
                    <a16:creationId xmlns:a16="http://schemas.microsoft.com/office/drawing/2014/main" id="{A4551D56-1F71-413F-8080-73903C37F78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34729" y="16952917"/>
                <a:ext cx="296863" cy="850900"/>
              </a:xfrm>
              <a:custGeom>
                <a:avLst/>
                <a:gdLst>
                  <a:gd name="T0" fmla="*/ 5 w 187"/>
                  <a:gd name="T1" fmla="*/ 536 h 536"/>
                  <a:gd name="T2" fmla="*/ 0 w 187"/>
                  <a:gd name="T3" fmla="*/ 352 h 536"/>
                  <a:gd name="T4" fmla="*/ 184 w 187"/>
                  <a:gd name="T5" fmla="*/ 0 h 536"/>
                  <a:gd name="T6" fmla="*/ 187 w 187"/>
                  <a:gd name="T7" fmla="*/ 5 h 536"/>
                  <a:gd name="T8" fmla="*/ 2 w 187"/>
                  <a:gd name="T9" fmla="*/ 357 h 536"/>
                  <a:gd name="T10" fmla="*/ 5 w 187"/>
                  <a:gd name="T11" fmla="*/ 536 h 5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87" h="536">
                    <a:moveTo>
                      <a:pt x="5" y="536"/>
                    </a:moveTo>
                    <a:lnTo>
                      <a:pt x="0" y="352"/>
                    </a:lnTo>
                    <a:lnTo>
                      <a:pt x="184" y="0"/>
                    </a:lnTo>
                    <a:lnTo>
                      <a:pt x="187" y="5"/>
                    </a:lnTo>
                    <a:lnTo>
                      <a:pt x="2" y="357"/>
                    </a:lnTo>
                    <a:lnTo>
                      <a:pt x="5" y="53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5" name="Freeform 53">
                <a:extLst>
                  <a:ext uri="{FF2B5EF4-FFF2-40B4-BE49-F238E27FC236}">
                    <a16:creationId xmlns:a16="http://schemas.microsoft.com/office/drawing/2014/main" id="{F1F94857-C1BA-417F-86D3-F0B85EC98C2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625216" y="15565442"/>
                <a:ext cx="493713" cy="600075"/>
              </a:xfrm>
              <a:custGeom>
                <a:avLst/>
                <a:gdLst>
                  <a:gd name="T0" fmla="*/ 0 w 311"/>
                  <a:gd name="T1" fmla="*/ 378 h 378"/>
                  <a:gd name="T2" fmla="*/ 0 w 311"/>
                  <a:gd name="T3" fmla="*/ 375 h 378"/>
                  <a:gd name="T4" fmla="*/ 0 w 311"/>
                  <a:gd name="T5" fmla="*/ 309 h 378"/>
                  <a:gd name="T6" fmla="*/ 309 w 311"/>
                  <a:gd name="T7" fmla="*/ 78 h 378"/>
                  <a:gd name="T8" fmla="*/ 290 w 311"/>
                  <a:gd name="T9" fmla="*/ 0 h 378"/>
                  <a:gd name="T10" fmla="*/ 311 w 311"/>
                  <a:gd name="T11" fmla="*/ 85 h 378"/>
                  <a:gd name="T12" fmla="*/ 0 w 311"/>
                  <a:gd name="T13" fmla="*/ 316 h 378"/>
                  <a:gd name="T14" fmla="*/ 0 w 311"/>
                  <a:gd name="T15" fmla="*/ 378 h 3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11" h="378">
                    <a:moveTo>
                      <a:pt x="0" y="378"/>
                    </a:moveTo>
                    <a:lnTo>
                      <a:pt x="0" y="375"/>
                    </a:lnTo>
                    <a:lnTo>
                      <a:pt x="0" y="309"/>
                    </a:lnTo>
                    <a:lnTo>
                      <a:pt x="309" y="78"/>
                    </a:lnTo>
                    <a:lnTo>
                      <a:pt x="290" y="0"/>
                    </a:lnTo>
                    <a:lnTo>
                      <a:pt x="311" y="85"/>
                    </a:lnTo>
                    <a:lnTo>
                      <a:pt x="0" y="316"/>
                    </a:lnTo>
                    <a:lnTo>
                      <a:pt x="0" y="378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6" name="Freeform 54">
                <a:extLst>
                  <a:ext uri="{FF2B5EF4-FFF2-40B4-BE49-F238E27FC236}">
                    <a16:creationId xmlns:a16="http://schemas.microsoft.com/office/drawing/2014/main" id="{74D77872-523D-451B-B692-D9A547E968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22054" y="16405229"/>
                <a:ext cx="26988" cy="344488"/>
              </a:xfrm>
              <a:custGeom>
                <a:avLst/>
                <a:gdLst>
                  <a:gd name="T0" fmla="*/ 0 w 17"/>
                  <a:gd name="T1" fmla="*/ 213 h 217"/>
                  <a:gd name="T2" fmla="*/ 17 w 17"/>
                  <a:gd name="T3" fmla="*/ 0 h 217"/>
                  <a:gd name="T4" fmla="*/ 17 w 17"/>
                  <a:gd name="T5" fmla="*/ 2 h 217"/>
                  <a:gd name="T6" fmla="*/ 0 w 17"/>
                  <a:gd name="T7" fmla="*/ 217 h 217"/>
                  <a:gd name="T8" fmla="*/ 0 w 17"/>
                  <a:gd name="T9" fmla="*/ 213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" h="217">
                    <a:moveTo>
                      <a:pt x="0" y="213"/>
                    </a:moveTo>
                    <a:lnTo>
                      <a:pt x="17" y="0"/>
                    </a:lnTo>
                    <a:lnTo>
                      <a:pt x="17" y="2"/>
                    </a:lnTo>
                    <a:lnTo>
                      <a:pt x="0" y="217"/>
                    </a:lnTo>
                    <a:lnTo>
                      <a:pt x="0" y="21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7" name="Freeform 55">
                <a:extLst>
                  <a:ext uri="{FF2B5EF4-FFF2-40B4-BE49-F238E27FC236}">
                    <a16:creationId xmlns:a16="http://schemas.microsoft.com/office/drawing/2014/main" id="{EF1442AE-11DC-4428-A8E3-5BBF58E1D6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9204" y="15103479"/>
                <a:ext cx="55563" cy="187325"/>
              </a:xfrm>
              <a:custGeom>
                <a:avLst/>
                <a:gdLst>
                  <a:gd name="T0" fmla="*/ 0 w 35"/>
                  <a:gd name="T1" fmla="*/ 116 h 118"/>
                  <a:gd name="T2" fmla="*/ 33 w 35"/>
                  <a:gd name="T3" fmla="*/ 0 h 118"/>
                  <a:gd name="T4" fmla="*/ 35 w 35"/>
                  <a:gd name="T5" fmla="*/ 3 h 118"/>
                  <a:gd name="T6" fmla="*/ 2 w 35"/>
                  <a:gd name="T7" fmla="*/ 118 h 118"/>
                  <a:gd name="T8" fmla="*/ 0 w 35"/>
                  <a:gd name="T9" fmla="*/ 116 h 1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" h="118">
                    <a:moveTo>
                      <a:pt x="0" y="116"/>
                    </a:moveTo>
                    <a:lnTo>
                      <a:pt x="33" y="0"/>
                    </a:lnTo>
                    <a:lnTo>
                      <a:pt x="35" y="3"/>
                    </a:lnTo>
                    <a:lnTo>
                      <a:pt x="2" y="118"/>
                    </a:lnTo>
                    <a:lnTo>
                      <a:pt x="0" y="116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8" name="Freeform 56">
                <a:extLst>
                  <a:ext uri="{FF2B5EF4-FFF2-40B4-BE49-F238E27FC236}">
                    <a16:creationId xmlns:a16="http://schemas.microsoft.com/office/drawing/2014/main" id="{04019D89-8889-42C2-9C8E-661AC493F9D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771266" y="14384341"/>
                <a:ext cx="1773238" cy="663575"/>
              </a:xfrm>
              <a:custGeom>
                <a:avLst/>
                <a:gdLst>
                  <a:gd name="T0" fmla="*/ 1117 w 1117"/>
                  <a:gd name="T1" fmla="*/ 9 h 418"/>
                  <a:gd name="T2" fmla="*/ 959 w 1117"/>
                  <a:gd name="T3" fmla="*/ 99 h 418"/>
                  <a:gd name="T4" fmla="*/ 796 w 1117"/>
                  <a:gd name="T5" fmla="*/ 78 h 418"/>
                  <a:gd name="T6" fmla="*/ 694 w 1117"/>
                  <a:gd name="T7" fmla="*/ 12 h 418"/>
                  <a:gd name="T8" fmla="*/ 432 w 1117"/>
                  <a:gd name="T9" fmla="*/ 97 h 418"/>
                  <a:gd name="T10" fmla="*/ 286 w 1117"/>
                  <a:gd name="T11" fmla="*/ 382 h 418"/>
                  <a:gd name="T12" fmla="*/ 189 w 1117"/>
                  <a:gd name="T13" fmla="*/ 335 h 418"/>
                  <a:gd name="T14" fmla="*/ 5 w 1117"/>
                  <a:gd name="T15" fmla="*/ 418 h 418"/>
                  <a:gd name="T16" fmla="*/ 0 w 1117"/>
                  <a:gd name="T17" fmla="*/ 413 h 418"/>
                  <a:gd name="T18" fmla="*/ 172 w 1117"/>
                  <a:gd name="T19" fmla="*/ 335 h 418"/>
                  <a:gd name="T20" fmla="*/ 172 w 1117"/>
                  <a:gd name="T21" fmla="*/ 335 h 418"/>
                  <a:gd name="T22" fmla="*/ 186 w 1117"/>
                  <a:gd name="T23" fmla="*/ 328 h 418"/>
                  <a:gd name="T24" fmla="*/ 283 w 1117"/>
                  <a:gd name="T25" fmla="*/ 373 h 418"/>
                  <a:gd name="T26" fmla="*/ 432 w 1117"/>
                  <a:gd name="T27" fmla="*/ 89 h 418"/>
                  <a:gd name="T28" fmla="*/ 692 w 1117"/>
                  <a:gd name="T29" fmla="*/ 4 h 418"/>
                  <a:gd name="T30" fmla="*/ 793 w 1117"/>
                  <a:gd name="T31" fmla="*/ 68 h 418"/>
                  <a:gd name="T32" fmla="*/ 959 w 1117"/>
                  <a:gd name="T33" fmla="*/ 92 h 418"/>
                  <a:gd name="T34" fmla="*/ 1093 w 1117"/>
                  <a:gd name="T35" fmla="*/ 0 h 418"/>
                  <a:gd name="T36" fmla="*/ 1117 w 1117"/>
                  <a:gd name="T37" fmla="*/ 9 h 4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17" h="418">
                    <a:moveTo>
                      <a:pt x="1117" y="9"/>
                    </a:moveTo>
                    <a:lnTo>
                      <a:pt x="959" y="99"/>
                    </a:lnTo>
                    <a:lnTo>
                      <a:pt x="796" y="78"/>
                    </a:lnTo>
                    <a:lnTo>
                      <a:pt x="694" y="12"/>
                    </a:lnTo>
                    <a:lnTo>
                      <a:pt x="432" y="97"/>
                    </a:lnTo>
                    <a:lnTo>
                      <a:pt x="286" y="382"/>
                    </a:lnTo>
                    <a:lnTo>
                      <a:pt x="189" y="335"/>
                    </a:lnTo>
                    <a:lnTo>
                      <a:pt x="5" y="418"/>
                    </a:lnTo>
                    <a:lnTo>
                      <a:pt x="0" y="413"/>
                    </a:lnTo>
                    <a:lnTo>
                      <a:pt x="172" y="335"/>
                    </a:lnTo>
                    <a:lnTo>
                      <a:pt x="172" y="335"/>
                    </a:lnTo>
                    <a:lnTo>
                      <a:pt x="186" y="328"/>
                    </a:lnTo>
                    <a:lnTo>
                      <a:pt x="283" y="373"/>
                    </a:lnTo>
                    <a:lnTo>
                      <a:pt x="432" y="89"/>
                    </a:lnTo>
                    <a:lnTo>
                      <a:pt x="692" y="4"/>
                    </a:lnTo>
                    <a:lnTo>
                      <a:pt x="793" y="68"/>
                    </a:lnTo>
                    <a:lnTo>
                      <a:pt x="959" y="92"/>
                    </a:lnTo>
                    <a:lnTo>
                      <a:pt x="1093" y="0"/>
                    </a:lnTo>
                    <a:lnTo>
                      <a:pt x="1117" y="9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59" name="Freeform 57">
                <a:extLst>
                  <a:ext uri="{FF2B5EF4-FFF2-40B4-BE49-F238E27FC236}">
                    <a16:creationId xmlns:a16="http://schemas.microsoft.com/office/drawing/2014/main" id="{5C63D2F9-4D57-40EF-AFA2-C1B6A093E31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547679" y="13738229"/>
                <a:ext cx="6180138" cy="795338"/>
              </a:xfrm>
              <a:custGeom>
                <a:avLst/>
                <a:gdLst>
                  <a:gd name="T0" fmla="*/ 3893 w 3893"/>
                  <a:gd name="T1" fmla="*/ 3 h 501"/>
                  <a:gd name="T2" fmla="*/ 3546 w 3893"/>
                  <a:gd name="T3" fmla="*/ 449 h 501"/>
                  <a:gd name="T4" fmla="*/ 3459 w 3893"/>
                  <a:gd name="T5" fmla="*/ 442 h 501"/>
                  <a:gd name="T6" fmla="*/ 3312 w 3893"/>
                  <a:gd name="T7" fmla="*/ 324 h 501"/>
                  <a:gd name="T8" fmla="*/ 3225 w 3893"/>
                  <a:gd name="T9" fmla="*/ 348 h 501"/>
                  <a:gd name="T10" fmla="*/ 3154 w 3893"/>
                  <a:gd name="T11" fmla="*/ 322 h 501"/>
                  <a:gd name="T12" fmla="*/ 2842 w 3893"/>
                  <a:gd name="T13" fmla="*/ 397 h 501"/>
                  <a:gd name="T14" fmla="*/ 2743 w 3893"/>
                  <a:gd name="T15" fmla="*/ 326 h 501"/>
                  <a:gd name="T16" fmla="*/ 2715 w 3893"/>
                  <a:gd name="T17" fmla="*/ 213 h 501"/>
                  <a:gd name="T18" fmla="*/ 2561 w 3893"/>
                  <a:gd name="T19" fmla="*/ 239 h 501"/>
                  <a:gd name="T20" fmla="*/ 2445 w 3893"/>
                  <a:gd name="T21" fmla="*/ 338 h 501"/>
                  <a:gd name="T22" fmla="*/ 2301 w 3893"/>
                  <a:gd name="T23" fmla="*/ 237 h 501"/>
                  <a:gd name="T24" fmla="*/ 2223 w 3893"/>
                  <a:gd name="T25" fmla="*/ 248 h 501"/>
                  <a:gd name="T26" fmla="*/ 2138 w 3893"/>
                  <a:gd name="T27" fmla="*/ 161 h 501"/>
                  <a:gd name="T28" fmla="*/ 1975 w 3893"/>
                  <a:gd name="T29" fmla="*/ 104 h 501"/>
                  <a:gd name="T30" fmla="*/ 1826 w 3893"/>
                  <a:gd name="T31" fmla="*/ 119 h 501"/>
                  <a:gd name="T32" fmla="*/ 1637 w 3893"/>
                  <a:gd name="T33" fmla="*/ 253 h 501"/>
                  <a:gd name="T34" fmla="*/ 1396 w 3893"/>
                  <a:gd name="T35" fmla="*/ 206 h 501"/>
                  <a:gd name="T36" fmla="*/ 1205 w 3893"/>
                  <a:gd name="T37" fmla="*/ 232 h 501"/>
                  <a:gd name="T38" fmla="*/ 1153 w 3893"/>
                  <a:gd name="T39" fmla="*/ 213 h 501"/>
                  <a:gd name="T40" fmla="*/ 1151 w 3893"/>
                  <a:gd name="T41" fmla="*/ 204 h 501"/>
                  <a:gd name="T42" fmla="*/ 1132 w 3893"/>
                  <a:gd name="T43" fmla="*/ 95 h 501"/>
                  <a:gd name="T44" fmla="*/ 1011 w 3893"/>
                  <a:gd name="T45" fmla="*/ 71 h 501"/>
                  <a:gd name="T46" fmla="*/ 931 w 3893"/>
                  <a:gd name="T47" fmla="*/ 163 h 501"/>
                  <a:gd name="T48" fmla="*/ 827 w 3893"/>
                  <a:gd name="T49" fmla="*/ 154 h 501"/>
                  <a:gd name="T50" fmla="*/ 681 w 3893"/>
                  <a:gd name="T51" fmla="*/ 196 h 501"/>
                  <a:gd name="T52" fmla="*/ 504 w 3893"/>
                  <a:gd name="T53" fmla="*/ 343 h 501"/>
                  <a:gd name="T54" fmla="*/ 364 w 3893"/>
                  <a:gd name="T55" fmla="*/ 381 h 501"/>
                  <a:gd name="T56" fmla="*/ 263 w 3893"/>
                  <a:gd name="T57" fmla="*/ 501 h 501"/>
                  <a:gd name="T58" fmla="*/ 0 w 3893"/>
                  <a:gd name="T59" fmla="*/ 416 h 501"/>
                  <a:gd name="T60" fmla="*/ 263 w 3893"/>
                  <a:gd name="T61" fmla="*/ 494 h 501"/>
                  <a:gd name="T62" fmla="*/ 364 w 3893"/>
                  <a:gd name="T63" fmla="*/ 374 h 501"/>
                  <a:gd name="T64" fmla="*/ 504 w 3893"/>
                  <a:gd name="T65" fmla="*/ 336 h 501"/>
                  <a:gd name="T66" fmla="*/ 678 w 3893"/>
                  <a:gd name="T67" fmla="*/ 189 h 501"/>
                  <a:gd name="T68" fmla="*/ 827 w 3893"/>
                  <a:gd name="T69" fmla="*/ 147 h 501"/>
                  <a:gd name="T70" fmla="*/ 931 w 3893"/>
                  <a:gd name="T71" fmla="*/ 156 h 501"/>
                  <a:gd name="T72" fmla="*/ 1009 w 3893"/>
                  <a:gd name="T73" fmla="*/ 64 h 501"/>
                  <a:gd name="T74" fmla="*/ 1130 w 3893"/>
                  <a:gd name="T75" fmla="*/ 88 h 501"/>
                  <a:gd name="T76" fmla="*/ 1151 w 3893"/>
                  <a:gd name="T77" fmla="*/ 204 h 501"/>
                  <a:gd name="T78" fmla="*/ 1203 w 3893"/>
                  <a:gd name="T79" fmla="*/ 225 h 501"/>
                  <a:gd name="T80" fmla="*/ 1396 w 3893"/>
                  <a:gd name="T81" fmla="*/ 199 h 501"/>
                  <a:gd name="T82" fmla="*/ 1637 w 3893"/>
                  <a:gd name="T83" fmla="*/ 246 h 501"/>
                  <a:gd name="T84" fmla="*/ 1826 w 3893"/>
                  <a:gd name="T85" fmla="*/ 111 h 501"/>
                  <a:gd name="T86" fmla="*/ 1975 w 3893"/>
                  <a:gd name="T87" fmla="*/ 95 h 501"/>
                  <a:gd name="T88" fmla="*/ 2138 w 3893"/>
                  <a:gd name="T89" fmla="*/ 154 h 501"/>
                  <a:gd name="T90" fmla="*/ 2223 w 3893"/>
                  <a:gd name="T91" fmla="*/ 241 h 501"/>
                  <a:gd name="T92" fmla="*/ 2301 w 3893"/>
                  <a:gd name="T93" fmla="*/ 230 h 501"/>
                  <a:gd name="T94" fmla="*/ 2443 w 3893"/>
                  <a:gd name="T95" fmla="*/ 331 h 501"/>
                  <a:gd name="T96" fmla="*/ 2561 w 3893"/>
                  <a:gd name="T97" fmla="*/ 230 h 501"/>
                  <a:gd name="T98" fmla="*/ 2715 w 3893"/>
                  <a:gd name="T99" fmla="*/ 201 h 501"/>
                  <a:gd name="T100" fmla="*/ 2743 w 3893"/>
                  <a:gd name="T101" fmla="*/ 317 h 501"/>
                  <a:gd name="T102" fmla="*/ 2842 w 3893"/>
                  <a:gd name="T103" fmla="*/ 388 h 501"/>
                  <a:gd name="T104" fmla="*/ 3154 w 3893"/>
                  <a:gd name="T105" fmla="*/ 315 h 501"/>
                  <a:gd name="T106" fmla="*/ 3225 w 3893"/>
                  <a:gd name="T107" fmla="*/ 338 h 501"/>
                  <a:gd name="T108" fmla="*/ 3312 w 3893"/>
                  <a:gd name="T109" fmla="*/ 317 h 501"/>
                  <a:gd name="T110" fmla="*/ 3456 w 3893"/>
                  <a:gd name="T111" fmla="*/ 433 h 501"/>
                  <a:gd name="T112" fmla="*/ 3546 w 3893"/>
                  <a:gd name="T113" fmla="*/ 440 h 501"/>
                  <a:gd name="T114" fmla="*/ 3889 w 3893"/>
                  <a:gd name="T115" fmla="*/ 0 h 501"/>
                  <a:gd name="T116" fmla="*/ 3893 w 3893"/>
                  <a:gd name="T117" fmla="*/ 3 h 5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3893" h="501">
                    <a:moveTo>
                      <a:pt x="3893" y="3"/>
                    </a:moveTo>
                    <a:lnTo>
                      <a:pt x="3546" y="449"/>
                    </a:lnTo>
                    <a:lnTo>
                      <a:pt x="3459" y="442"/>
                    </a:lnTo>
                    <a:lnTo>
                      <a:pt x="3312" y="324"/>
                    </a:lnTo>
                    <a:lnTo>
                      <a:pt x="3225" y="348"/>
                    </a:lnTo>
                    <a:lnTo>
                      <a:pt x="3154" y="322"/>
                    </a:lnTo>
                    <a:lnTo>
                      <a:pt x="2842" y="397"/>
                    </a:lnTo>
                    <a:lnTo>
                      <a:pt x="2743" y="326"/>
                    </a:lnTo>
                    <a:lnTo>
                      <a:pt x="2715" y="213"/>
                    </a:lnTo>
                    <a:lnTo>
                      <a:pt x="2561" y="239"/>
                    </a:lnTo>
                    <a:lnTo>
                      <a:pt x="2445" y="338"/>
                    </a:lnTo>
                    <a:lnTo>
                      <a:pt x="2301" y="237"/>
                    </a:lnTo>
                    <a:lnTo>
                      <a:pt x="2223" y="248"/>
                    </a:lnTo>
                    <a:lnTo>
                      <a:pt x="2138" y="161"/>
                    </a:lnTo>
                    <a:lnTo>
                      <a:pt x="1975" y="104"/>
                    </a:lnTo>
                    <a:lnTo>
                      <a:pt x="1826" y="119"/>
                    </a:lnTo>
                    <a:lnTo>
                      <a:pt x="1637" y="253"/>
                    </a:lnTo>
                    <a:lnTo>
                      <a:pt x="1396" y="206"/>
                    </a:lnTo>
                    <a:lnTo>
                      <a:pt x="1205" y="232"/>
                    </a:lnTo>
                    <a:lnTo>
                      <a:pt x="1153" y="213"/>
                    </a:lnTo>
                    <a:lnTo>
                      <a:pt x="1151" y="204"/>
                    </a:lnTo>
                    <a:lnTo>
                      <a:pt x="1132" y="95"/>
                    </a:lnTo>
                    <a:lnTo>
                      <a:pt x="1011" y="71"/>
                    </a:lnTo>
                    <a:lnTo>
                      <a:pt x="931" y="163"/>
                    </a:lnTo>
                    <a:lnTo>
                      <a:pt x="827" y="154"/>
                    </a:lnTo>
                    <a:lnTo>
                      <a:pt x="681" y="196"/>
                    </a:lnTo>
                    <a:lnTo>
                      <a:pt x="504" y="343"/>
                    </a:lnTo>
                    <a:lnTo>
                      <a:pt x="364" y="381"/>
                    </a:lnTo>
                    <a:lnTo>
                      <a:pt x="263" y="501"/>
                    </a:lnTo>
                    <a:lnTo>
                      <a:pt x="0" y="416"/>
                    </a:lnTo>
                    <a:lnTo>
                      <a:pt x="263" y="494"/>
                    </a:lnTo>
                    <a:lnTo>
                      <a:pt x="364" y="374"/>
                    </a:lnTo>
                    <a:lnTo>
                      <a:pt x="504" y="336"/>
                    </a:lnTo>
                    <a:lnTo>
                      <a:pt x="678" y="189"/>
                    </a:lnTo>
                    <a:lnTo>
                      <a:pt x="827" y="147"/>
                    </a:lnTo>
                    <a:lnTo>
                      <a:pt x="931" y="156"/>
                    </a:lnTo>
                    <a:lnTo>
                      <a:pt x="1009" y="64"/>
                    </a:lnTo>
                    <a:lnTo>
                      <a:pt x="1130" y="88"/>
                    </a:lnTo>
                    <a:lnTo>
                      <a:pt x="1151" y="204"/>
                    </a:lnTo>
                    <a:lnTo>
                      <a:pt x="1203" y="225"/>
                    </a:lnTo>
                    <a:lnTo>
                      <a:pt x="1396" y="199"/>
                    </a:lnTo>
                    <a:lnTo>
                      <a:pt x="1637" y="246"/>
                    </a:lnTo>
                    <a:lnTo>
                      <a:pt x="1826" y="111"/>
                    </a:lnTo>
                    <a:lnTo>
                      <a:pt x="1975" y="95"/>
                    </a:lnTo>
                    <a:lnTo>
                      <a:pt x="2138" y="154"/>
                    </a:lnTo>
                    <a:lnTo>
                      <a:pt x="2223" y="241"/>
                    </a:lnTo>
                    <a:lnTo>
                      <a:pt x="2301" y="230"/>
                    </a:lnTo>
                    <a:lnTo>
                      <a:pt x="2443" y="331"/>
                    </a:lnTo>
                    <a:lnTo>
                      <a:pt x="2561" y="230"/>
                    </a:lnTo>
                    <a:lnTo>
                      <a:pt x="2715" y="201"/>
                    </a:lnTo>
                    <a:lnTo>
                      <a:pt x="2743" y="317"/>
                    </a:lnTo>
                    <a:lnTo>
                      <a:pt x="2842" y="388"/>
                    </a:lnTo>
                    <a:lnTo>
                      <a:pt x="3154" y="315"/>
                    </a:lnTo>
                    <a:lnTo>
                      <a:pt x="3225" y="338"/>
                    </a:lnTo>
                    <a:lnTo>
                      <a:pt x="3312" y="317"/>
                    </a:lnTo>
                    <a:lnTo>
                      <a:pt x="3456" y="433"/>
                    </a:lnTo>
                    <a:lnTo>
                      <a:pt x="3546" y="440"/>
                    </a:lnTo>
                    <a:lnTo>
                      <a:pt x="3889" y="0"/>
                    </a:lnTo>
                    <a:lnTo>
                      <a:pt x="3893" y="3"/>
                    </a:lnTo>
                    <a:close/>
                  </a:path>
                </a:pathLst>
              </a:cu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60" name="Freeform 58">
                <a:extLst>
                  <a:ext uri="{FF2B5EF4-FFF2-40B4-BE49-F238E27FC236}">
                    <a16:creationId xmlns:a16="http://schemas.microsoft.com/office/drawing/2014/main" id="{1210C907-BD16-4325-9A9C-2EC16BFED4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529052" y="-800100"/>
                <a:ext cx="13093701" cy="17230729"/>
              </a:xfrm>
              <a:custGeom>
                <a:avLst/>
                <a:gdLst>
                  <a:gd name="T0" fmla="*/ 7991 w 8248"/>
                  <a:gd name="T1" fmla="*/ 2788 h 10854"/>
                  <a:gd name="T2" fmla="*/ 7686 w 8248"/>
                  <a:gd name="T3" fmla="*/ 2847 h 10854"/>
                  <a:gd name="T4" fmla="*/ 7741 w 8248"/>
                  <a:gd name="T5" fmla="*/ 2662 h 10854"/>
                  <a:gd name="T6" fmla="*/ 7608 w 8248"/>
                  <a:gd name="T7" fmla="*/ 3173 h 10854"/>
                  <a:gd name="T8" fmla="*/ 7330 w 8248"/>
                  <a:gd name="T9" fmla="*/ 3463 h 10854"/>
                  <a:gd name="T10" fmla="*/ 7126 w 8248"/>
                  <a:gd name="T11" fmla="*/ 3895 h 10854"/>
                  <a:gd name="T12" fmla="*/ 7091 w 8248"/>
                  <a:gd name="T13" fmla="*/ 4207 h 10854"/>
                  <a:gd name="T14" fmla="*/ 6694 w 8248"/>
                  <a:gd name="T15" fmla="*/ 4292 h 10854"/>
                  <a:gd name="T16" fmla="*/ 6250 w 8248"/>
                  <a:gd name="T17" fmla="*/ 4330 h 10854"/>
                  <a:gd name="T18" fmla="*/ 5553 w 8248"/>
                  <a:gd name="T19" fmla="*/ 4337 h 10854"/>
                  <a:gd name="T20" fmla="*/ 5225 w 8248"/>
                  <a:gd name="T21" fmla="*/ 5237 h 10854"/>
                  <a:gd name="T22" fmla="*/ 5116 w 8248"/>
                  <a:gd name="T23" fmla="*/ 5830 h 10854"/>
                  <a:gd name="T24" fmla="*/ 4809 w 8248"/>
                  <a:gd name="T25" fmla="*/ 6428 h 10854"/>
                  <a:gd name="T26" fmla="*/ 5199 w 8248"/>
                  <a:gd name="T27" fmla="*/ 6340 h 10854"/>
                  <a:gd name="T28" fmla="*/ 5740 w 8248"/>
                  <a:gd name="T29" fmla="*/ 6392 h 10854"/>
                  <a:gd name="T30" fmla="*/ 5967 w 8248"/>
                  <a:gd name="T31" fmla="*/ 6536 h 10854"/>
                  <a:gd name="T32" fmla="*/ 5941 w 8248"/>
                  <a:gd name="T33" fmla="*/ 6988 h 10854"/>
                  <a:gd name="T34" fmla="*/ 5773 w 8248"/>
                  <a:gd name="T35" fmla="*/ 7675 h 10854"/>
                  <a:gd name="T36" fmla="*/ 5461 w 8248"/>
                  <a:gd name="T37" fmla="*/ 7996 h 10854"/>
                  <a:gd name="T38" fmla="*/ 5045 w 8248"/>
                  <a:gd name="T39" fmla="*/ 7821 h 10854"/>
                  <a:gd name="T40" fmla="*/ 4684 w 8248"/>
                  <a:gd name="T41" fmla="*/ 8162 h 10854"/>
                  <a:gd name="T42" fmla="*/ 4601 w 8248"/>
                  <a:gd name="T43" fmla="*/ 8055 h 10854"/>
                  <a:gd name="T44" fmla="*/ 4041 w 8248"/>
                  <a:gd name="T45" fmla="*/ 7975 h 10854"/>
                  <a:gd name="T46" fmla="*/ 3871 w 8248"/>
                  <a:gd name="T47" fmla="*/ 7880 h 10854"/>
                  <a:gd name="T48" fmla="*/ 3680 w 8248"/>
                  <a:gd name="T49" fmla="*/ 7987 h 10854"/>
                  <a:gd name="T50" fmla="*/ 3314 w 8248"/>
                  <a:gd name="T51" fmla="*/ 8145 h 10854"/>
                  <a:gd name="T52" fmla="*/ 3127 w 8248"/>
                  <a:gd name="T53" fmla="*/ 8372 h 10854"/>
                  <a:gd name="T54" fmla="*/ 2813 w 8248"/>
                  <a:gd name="T55" fmla="*/ 8469 h 10854"/>
                  <a:gd name="T56" fmla="*/ 2534 w 8248"/>
                  <a:gd name="T57" fmla="*/ 8788 h 10854"/>
                  <a:gd name="T58" fmla="*/ 2305 w 8248"/>
                  <a:gd name="T59" fmla="*/ 8842 h 10854"/>
                  <a:gd name="T60" fmla="*/ 2520 w 8248"/>
                  <a:gd name="T61" fmla="*/ 9232 h 10854"/>
                  <a:gd name="T62" fmla="*/ 2386 w 8248"/>
                  <a:gd name="T63" fmla="*/ 9560 h 10854"/>
                  <a:gd name="T64" fmla="*/ 2383 w 8248"/>
                  <a:gd name="T65" fmla="*/ 9673 h 10854"/>
                  <a:gd name="T66" fmla="*/ 2001 w 8248"/>
                  <a:gd name="T67" fmla="*/ 9791 h 10854"/>
                  <a:gd name="T68" fmla="*/ 1684 w 8248"/>
                  <a:gd name="T69" fmla="*/ 9938 h 10854"/>
                  <a:gd name="T70" fmla="*/ 1223 w 8248"/>
                  <a:gd name="T71" fmla="*/ 10453 h 10854"/>
                  <a:gd name="T72" fmla="*/ 1171 w 8248"/>
                  <a:gd name="T73" fmla="*/ 10826 h 10854"/>
                  <a:gd name="T74" fmla="*/ 945 w 8248"/>
                  <a:gd name="T75" fmla="*/ 10545 h 10854"/>
                  <a:gd name="T76" fmla="*/ 401 w 8248"/>
                  <a:gd name="T77" fmla="*/ 10344 h 10854"/>
                  <a:gd name="T78" fmla="*/ 0 w 8248"/>
                  <a:gd name="T79" fmla="*/ 2516 h 10854"/>
                  <a:gd name="T80" fmla="*/ 529 w 8248"/>
                  <a:gd name="T81" fmla="*/ 1035 h 10854"/>
                  <a:gd name="T82" fmla="*/ 536 w 8248"/>
                  <a:gd name="T83" fmla="*/ 586 h 10854"/>
                  <a:gd name="T84" fmla="*/ 753 w 8248"/>
                  <a:gd name="T85" fmla="*/ 293 h 10854"/>
                  <a:gd name="T86" fmla="*/ 2230 w 8248"/>
                  <a:gd name="T87" fmla="*/ 373 h 10854"/>
                  <a:gd name="T88" fmla="*/ 3009 w 8248"/>
                  <a:gd name="T89" fmla="*/ 645 h 10854"/>
                  <a:gd name="T90" fmla="*/ 3465 w 8248"/>
                  <a:gd name="T91" fmla="*/ 728 h 10854"/>
                  <a:gd name="T92" fmla="*/ 4122 w 8248"/>
                  <a:gd name="T93" fmla="*/ 477 h 10854"/>
                  <a:gd name="T94" fmla="*/ 4339 w 8248"/>
                  <a:gd name="T95" fmla="*/ 886 h 10854"/>
                  <a:gd name="T96" fmla="*/ 4663 w 8248"/>
                  <a:gd name="T97" fmla="*/ 1245 h 10854"/>
                  <a:gd name="T98" fmla="*/ 5688 w 8248"/>
                  <a:gd name="T99" fmla="*/ 1460 h 10854"/>
                  <a:gd name="T100" fmla="*/ 6014 w 8248"/>
                  <a:gd name="T101" fmla="*/ 1427 h 10854"/>
                  <a:gd name="T102" fmla="*/ 6260 w 8248"/>
                  <a:gd name="T103" fmla="*/ 1162 h 10854"/>
                  <a:gd name="T104" fmla="*/ 6741 w 8248"/>
                  <a:gd name="T105" fmla="*/ 1233 h 10854"/>
                  <a:gd name="T106" fmla="*/ 7018 w 8248"/>
                  <a:gd name="T107" fmla="*/ 1195 h 10854"/>
                  <a:gd name="T108" fmla="*/ 7067 w 8248"/>
                  <a:gd name="T109" fmla="*/ 1283 h 10854"/>
                  <a:gd name="T110" fmla="*/ 7313 w 8248"/>
                  <a:gd name="T111" fmla="*/ 1250 h 10854"/>
                  <a:gd name="T112" fmla="*/ 8000 w 8248"/>
                  <a:gd name="T113" fmla="*/ 1732 h 10854"/>
                  <a:gd name="T114" fmla="*/ 7568 w 8248"/>
                  <a:gd name="T115" fmla="*/ 1651 h 10854"/>
                  <a:gd name="T116" fmla="*/ 7726 w 8248"/>
                  <a:gd name="T117" fmla="*/ 2022 h 108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</a:cxnLst>
                <a:rect l="0" t="0" r="r" b="b"/>
                <a:pathLst>
                  <a:path w="8248" h="10854">
                    <a:moveTo>
                      <a:pt x="8248" y="2372"/>
                    </a:moveTo>
                    <a:lnTo>
                      <a:pt x="8248" y="2710"/>
                    </a:lnTo>
                    <a:lnTo>
                      <a:pt x="7991" y="2788"/>
                    </a:lnTo>
                    <a:lnTo>
                      <a:pt x="7823" y="2778"/>
                    </a:lnTo>
                    <a:lnTo>
                      <a:pt x="7757" y="2844"/>
                    </a:lnTo>
                    <a:lnTo>
                      <a:pt x="7686" y="2847"/>
                    </a:lnTo>
                    <a:lnTo>
                      <a:pt x="7658" y="2740"/>
                    </a:lnTo>
                    <a:lnTo>
                      <a:pt x="7743" y="2712"/>
                    </a:lnTo>
                    <a:lnTo>
                      <a:pt x="7741" y="2662"/>
                    </a:lnTo>
                    <a:lnTo>
                      <a:pt x="7641" y="2646"/>
                    </a:lnTo>
                    <a:lnTo>
                      <a:pt x="7500" y="2703"/>
                    </a:lnTo>
                    <a:lnTo>
                      <a:pt x="7608" y="3173"/>
                    </a:lnTo>
                    <a:lnTo>
                      <a:pt x="7464" y="3274"/>
                    </a:lnTo>
                    <a:lnTo>
                      <a:pt x="7424" y="3402"/>
                    </a:lnTo>
                    <a:lnTo>
                      <a:pt x="7330" y="3463"/>
                    </a:lnTo>
                    <a:lnTo>
                      <a:pt x="7077" y="3503"/>
                    </a:lnTo>
                    <a:lnTo>
                      <a:pt x="7219" y="3862"/>
                    </a:lnTo>
                    <a:lnTo>
                      <a:pt x="7126" y="3895"/>
                    </a:lnTo>
                    <a:lnTo>
                      <a:pt x="7176" y="4080"/>
                    </a:lnTo>
                    <a:lnTo>
                      <a:pt x="7093" y="4132"/>
                    </a:lnTo>
                    <a:lnTo>
                      <a:pt x="7091" y="4207"/>
                    </a:lnTo>
                    <a:lnTo>
                      <a:pt x="6947" y="4191"/>
                    </a:lnTo>
                    <a:lnTo>
                      <a:pt x="6947" y="4259"/>
                    </a:lnTo>
                    <a:lnTo>
                      <a:pt x="6694" y="4292"/>
                    </a:lnTo>
                    <a:lnTo>
                      <a:pt x="6425" y="4382"/>
                    </a:lnTo>
                    <a:lnTo>
                      <a:pt x="6413" y="4243"/>
                    </a:lnTo>
                    <a:lnTo>
                      <a:pt x="6250" y="4330"/>
                    </a:lnTo>
                    <a:lnTo>
                      <a:pt x="6141" y="4179"/>
                    </a:lnTo>
                    <a:lnTo>
                      <a:pt x="6106" y="4037"/>
                    </a:lnTo>
                    <a:lnTo>
                      <a:pt x="5553" y="4337"/>
                    </a:lnTo>
                    <a:lnTo>
                      <a:pt x="5560" y="4578"/>
                    </a:lnTo>
                    <a:lnTo>
                      <a:pt x="5409" y="5211"/>
                    </a:lnTo>
                    <a:lnTo>
                      <a:pt x="5225" y="5237"/>
                    </a:lnTo>
                    <a:lnTo>
                      <a:pt x="5215" y="5369"/>
                    </a:lnTo>
                    <a:lnTo>
                      <a:pt x="5005" y="5346"/>
                    </a:lnTo>
                    <a:lnTo>
                      <a:pt x="5116" y="5830"/>
                    </a:lnTo>
                    <a:lnTo>
                      <a:pt x="4863" y="5998"/>
                    </a:lnTo>
                    <a:lnTo>
                      <a:pt x="4675" y="6177"/>
                    </a:lnTo>
                    <a:lnTo>
                      <a:pt x="4809" y="6428"/>
                    </a:lnTo>
                    <a:lnTo>
                      <a:pt x="4809" y="6593"/>
                    </a:lnTo>
                    <a:lnTo>
                      <a:pt x="5230" y="6430"/>
                    </a:lnTo>
                    <a:lnTo>
                      <a:pt x="5199" y="6340"/>
                    </a:lnTo>
                    <a:lnTo>
                      <a:pt x="5645" y="6241"/>
                    </a:lnTo>
                    <a:lnTo>
                      <a:pt x="5702" y="6288"/>
                    </a:lnTo>
                    <a:lnTo>
                      <a:pt x="5740" y="6392"/>
                    </a:lnTo>
                    <a:lnTo>
                      <a:pt x="6045" y="6380"/>
                    </a:lnTo>
                    <a:lnTo>
                      <a:pt x="6000" y="6527"/>
                    </a:lnTo>
                    <a:lnTo>
                      <a:pt x="5967" y="6536"/>
                    </a:lnTo>
                    <a:lnTo>
                      <a:pt x="5905" y="6832"/>
                    </a:lnTo>
                    <a:lnTo>
                      <a:pt x="5832" y="6848"/>
                    </a:lnTo>
                    <a:lnTo>
                      <a:pt x="5941" y="6988"/>
                    </a:lnTo>
                    <a:lnTo>
                      <a:pt x="5851" y="7495"/>
                    </a:lnTo>
                    <a:lnTo>
                      <a:pt x="5775" y="7507"/>
                    </a:lnTo>
                    <a:lnTo>
                      <a:pt x="5773" y="7675"/>
                    </a:lnTo>
                    <a:lnTo>
                      <a:pt x="5643" y="7883"/>
                    </a:lnTo>
                    <a:lnTo>
                      <a:pt x="5541" y="7904"/>
                    </a:lnTo>
                    <a:lnTo>
                      <a:pt x="5461" y="7996"/>
                    </a:lnTo>
                    <a:lnTo>
                      <a:pt x="5419" y="8001"/>
                    </a:lnTo>
                    <a:lnTo>
                      <a:pt x="5149" y="7755"/>
                    </a:lnTo>
                    <a:lnTo>
                      <a:pt x="5045" y="7821"/>
                    </a:lnTo>
                    <a:lnTo>
                      <a:pt x="4804" y="8140"/>
                    </a:lnTo>
                    <a:lnTo>
                      <a:pt x="4717" y="8173"/>
                    </a:lnTo>
                    <a:lnTo>
                      <a:pt x="4684" y="8162"/>
                    </a:lnTo>
                    <a:lnTo>
                      <a:pt x="4708" y="8069"/>
                    </a:lnTo>
                    <a:lnTo>
                      <a:pt x="4663" y="8017"/>
                    </a:lnTo>
                    <a:lnTo>
                      <a:pt x="4601" y="8055"/>
                    </a:lnTo>
                    <a:lnTo>
                      <a:pt x="4445" y="8027"/>
                    </a:lnTo>
                    <a:lnTo>
                      <a:pt x="4256" y="8055"/>
                    </a:lnTo>
                    <a:lnTo>
                      <a:pt x="4041" y="7975"/>
                    </a:lnTo>
                    <a:lnTo>
                      <a:pt x="3963" y="7833"/>
                    </a:lnTo>
                    <a:lnTo>
                      <a:pt x="3919" y="7831"/>
                    </a:lnTo>
                    <a:lnTo>
                      <a:pt x="3871" y="7880"/>
                    </a:lnTo>
                    <a:lnTo>
                      <a:pt x="3886" y="8105"/>
                    </a:lnTo>
                    <a:lnTo>
                      <a:pt x="3857" y="8152"/>
                    </a:lnTo>
                    <a:lnTo>
                      <a:pt x="3680" y="7987"/>
                    </a:lnTo>
                    <a:lnTo>
                      <a:pt x="3562" y="8095"/>
                    </a:lnTo>
                    <a:lnTo>
                      <a:pt x="3493" y="8053"/>
                    </a:lnTo>
                    <a:lnTo>
                      <a:pt x="3314" y="8145"/>
                    </a:lnTo>
                    <a:lnTo>
                      <a:pt x="3198" y="8251"/>
                    </a:lnTo>
                    <a:lnTo>
                      <a:pt x="3165" y="8365"/>
                    </a:lnTo>
                    <a:lnTo>
                      <a:pt x="3127" y="8372"/>
                    </a:lnTo>
                    <a:lnTo>
                      <a:pt x="3080" y="8299"/>
                    </a:lnTo>
                    <a:lnTo>
                      <a:pt x="2943" y="8329"/>
                    </a:lnTo>
                    <a:lnTo>
                      <a:pt x="2813" y="8469"/>
                    </a:lnTo>
                    <a:lnTo>
                      <a:pt x="2806" y="8660"/>
                    </a:lnTo>
                    <a:lnTo>
                      <a:pt x="2629" y="8639"/>
                    </a:lnTo>
                    <a:lnTo>
                      <a:pt x="2534" y="8788"/>
                    </a:lnTo>
                    <a:lnTo>
                      <a:pt x="2492" y="8780"/>
                    </a:lnTo>
                    <a:lnTo>
                      <a:pt x="2416" y="8854"/>
                    </a:lnTo>
                    <a:lnTo>
                      <a:pt x="2305" y="8842"/>
                    </a:lnTo>
                    <a:lnTo>
                      <a:pt x="2267" y="8877"/>
                    </a:lnTo>
                    <a:lnTo>
                      <a:pt x="2308" y="9003"/>
                    </a:lnTo>
                    <a:lnTo>
                      <a:pt x="2520" y="9232"/>
                    </a:lnTo>
                    <a:lnTo>
                      <a:pt x="2520" y="9416"/>
                    </a:lnTo>
                    <a:lnTo>
                      <a:pt x="2421" y="9454"/>
                    </a:lnTo>
                    <a:lnTo>
                      <a:pt x="2386" y="9560"/>
                    </a:lnTo>
                    <a:lnTo>
                      <a:pt x="2598" y="9690"/>
                    </a:lnTo>
                    <a:lnTo>
                      <a:pt x="2541" y="9709"/>
                    </a:lnTo>
                    <a:lnTo>
                      <a:pt x="2383" y="9673"/>
                    </a:lnTo>
                    <a:lnTo>
                      <a:pt x="2296" y="9709"/>
                    </a:lnTo>
                    <a:lnTo>
                      <a:pt x="2086" y="9676"/>
                    </a:lnTo>
                    <a:lnTo>
                      <a:pt x="2001" y="9791"/>
                    </a:lnTo>
                    <a:lnTo>
                      <a:pt x="1908" y="9747"/>
                    </a:lnTo>
                    <a:lnTo>
                      <a:pt x="1797" y="9780"/>
                    </a:lnTo>
                    <a:lnTo>
                      <a:pt x="1684" y="9938"/>
                    </a:lnTo>
                    <a:lnTo>
                      <a:pt x="1686" y="10068"/>
                    </a:lnTo>
                    <a:lnTo>
                      <a:pt x="1592" y="10094"/>
                    </a:lnTo>
                    <a:lnTo>
                      <a:pt x="1223" y="10453"/>
                    </a:lnTo>
                    <a:lnTo>
                      <a:pt x="1124" y="10654"/>
                    </a:lnTo>
                    <a:lnTo>
                      <a:pt x="1186" y="10767"/>
                    </a:lnTo>
                    <a:lnTo>
                      <a:pt x="1171" y="10826"/>
                    </a:lnTo>
                    <a:lnTo>
                      <a:pt x="1058" y="10854"/>
                    </a:lnTo>
                    <a:lnTo>
                      <a:pt x="1013" y="10826"/>
                    </a:lnTo>
                    <a:lnTo>
                      <a:pt x="945" y="10545"/>
                    </a:lnTo>
                    <a:lnTo>
                      <a:pt x="713" y="10484"/>
                    </a:lnTo>
                    <a:lnTo>
                      <a:pt x="524" y="10493"/>
                    </a:lnTo>
                    <a:lnTo>
                      <a:pt x="401" y="10344"/>
                    </a:lnTo>
                    <a:lnTo>
                      <a:pt x="323" y="10356"/>
                    </a:lnTo>
                    <a:lnTo>
                      <a:pt x="0" y="10540"/>
                    </a:lnTo>
                    <a:lnTo>
                      <a:pt x="0" y="2516"/>
                    </a:lnTo>
                    <a:lnTo>
                      <a:pt x="38" y="2247"/>
                    </a:lnTo>
                    <a:lnTo>
                      <a:pt x="137" y="2129"/>
                    </a:lnTo>
                    <a:lnTo>
                      <a:pt x="529" y="1035"/>
                    </a:lnTo>
                    <a:lnTo>
                      <a:pt x="595" y="966"/>
                    </a:lnTo>
                    <a:lnTo>
                      <a:pt x="616" y="761"/>
                    </a:lnTo>
                    <a:lnTo>
                      <a:pt x="536" y="586"/>
                    </a:lnTo>
                    <a:lnTo>
                      <a:pt x="545" y="411"/>
                    </a:lnTo>
                    <a:lnTo>
                      <a:pt x="640" y="409"/>
                    </a:lnTo>
                    <a:lnTo>
                      <a:pt x="753" y="293"/>
                    </a:lnTo>
                    <a:lnTo>
                      <a:pt x="1046" y="284"/>
                    </a:lnTo>
                    <a:lnTo>
                      <a:pt x="2244" y="0"/>
                    </a:lnTo>
                    <a:lnTo>
                      <a:pt x="2230" y="373"/>
                    </a:lnTo>
                    <a:lnTo>
                      <a:pt x="2345" y="610"/>
                    </a:lnTo>
                    <a:lnTo>
                      <a:pt x="2827" y="676"/>
                    </a:lnTo>
                    <a:lnTo>
                      <a:pt x="3009" y="645"/>
                    </a:lnTo>
                    <a:lnTo>
                      <a:pt x="3226" y="808"/>
                    </a:lnTo>
                    <a:lnTo>
                      <a:pt x="3411" y="820"/>
                    </a:lnTo>
                    <a:lnTo>
                      <a:pt x="3465" y="728"/>
                    </a:lnTo>
                    <a:lnTo>
                      <a:pt x="3963" y="548"/>
                    </a:lnTo>
                    <a:lnTo>
                      <a:pt x="4013" y="475"/>
                    </a:lnTo>
                    <a:lnTo>
                      <a:pt x="4122" y="477"/>
                    </a:lnTo>
                    <a:lnTo>
                      <a:pt x="4136" y="303"/>
                    </a:lnTo>
                    <a:lnTo>
                      <a:pt x="4268" y="298"/>
                    </a:lnTo>
                    <a:lnTo>
                      <a:pt x="4339" y="886"/>
                    </a:lnTo>
                    <a:lnTo>
                      <a:pt x="4568" y="973"/>
                    </a:lnTo>
                    <a:lnTo>
                      <a:pt x="4665" y="1158"/>
                    </a:lnTo>
                    <a:lnTo>
                      <a:pt x="4663" y="1245"/>
                    </a:lnTo>
                    <a:lnTo>
                      <a:pt x="5090" y="1264"/>
                    </a:lnTo>
                    <a:lnTo>
                      <a:pt x="5284" y="1505"/>
                    </a:lnTo>
                    <a:lnTo>
                      <a:pt x="5688" y="1460"/>
                    </a:lnTo>
                    <a:lnTo>
                      <a:pt x="5756" y="1606"/>
                    </a:lnTo>
                    <a:lnTo>
                      <a:pt x="5853" y="1642"/>
                    </a:lnTo>
                    <a:lnTo>
                      <a:pt x="6014" y="1427"/>
                    </a:lnTo>
                    <a:lnTo>
                      <a:pt x="6004" y="1229"/>
                    </a:lnTo>
                    <a:lnTo>
                      <a:pt x="6108" y="1162"/>
                    </a:lnTo>
                    <a:lnTo>
                      <a:pt x="6260" y="1162"/>
                    </a:lnTo>
                    <a:lnTo>
                      <a:pt x="6389" y="1290"/>
                    </a:lnTo>
                    <a:lnTo>
                      <a:pt x="6526" y="1207"/>
                    </a:lnTo>
                    <a:lnTo>
                      <a:pt x="6741" y="1233"/>
                    </a:lnTo>
                    <a:lnTo>
                      <a:pt x="6760" y="1037"/>
                    </a:lnTo>
                    <a:lnTo>
                      <a:pt x="6989" y="1092"/>
                    </a:lnTo>
                    <a:lnTo>
                      <a:pt x="7018" y="1195"/>
                    </a:lnTo>
                    <a:lnTo>
                      <a:pt x="6928" y="1195"/>
                    </a:lnTo>
                    <a:lnTo>
                      <a:pt x="6933" y="1266"/>
                    </a:lnTo>
                    <a:lnTo>
                      <a:pt x="7067" y="1283"/>
                    </a:lnTo>
                    <a:lnTo>
                      <a:pt x="7110" y="1205"/>
                    </a:lnTo>
                    <a:lnTo>
                      <a:pt x="7209" y="1186"/>
                    </a:lnTo>
                    <a:lnTo>
                      <a:pt x="7313" y="1250"/>
                    </a:lnTo>
                    <a:lnTo>
                      <a:pt x="7597" y="1271"/>
                    </a:lnTo>
                    <a:lnTo>
                      <a:pt x="8057" y="1503"/>
                    </a:lnTo>
                    <a:lnTo>
                      <a:pt x="8000" y="1732"/>
                    </a:lnTo>
                    <a:lnTo>
                      <a:pt x="7845" y="1739"/>
                    </a:lnTo>
                    <a:lnTo>
                      <a:pt x="7689" y="1623"/>
                    </a:lnTo>
                    <a:lnTo>
                      <a:pt x="7568" y="1651"/>
                    </a:lnTo>
                    <a:lnTo>
                      <a:pt x="7535" y="1814"/>
                    </a:lnTo>
                    <a:lnTo>
                      <a:pt x="7710" y="1845"/>
                    </a:lnTo>
                    <a:lnTo>
                      <a:pt x="7726" y="2022"/>
                    </a:lnTo>
                    <a:lnTo>
                      <a:pt x="8017" y="1989"/>
                    </a:lnTo>
                    <a:lnTo>
                      <a:pt x="8248" y="2372"/>
                    </a:lnTo>
                    <a:close/>
                  </a:path>
                </a:pathLst>
              </a:custGeom>
              <a:solidFill>
                <a:schemeClr val="bg1"/>
              </a:solidFill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61" name="Line 59">
                <a:extLst>
                  <a:ext uri="{FF2B5EF4-FFF2-40B4-BE49-F238E27FC236}">
                    <a16:creationId xmlns:a16="http://schemas.microsoft.com/office/drawing/2014/main" id="{EE2B7A66-4C89-46D9-B41E-0CC9B71AB5C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 flipH="1">
                <a:off x="36560129" y="18599155"/>
                <a:ext cx="7938" cy="0"/>
              </a:xfrm>
              <a:prstGeom prst="line">
                <a:avLst/>
              </a:prstGeom>
              <a:grpFill/>
              <a:ln w="3175" cap="flat">
                <a:solidFill>
                  <a:srgbClr val="59595A"/>
                </a:solidFill>
                <a:prstDash val="solid"/>
                <a:miter lim="800000"/>
                <a:headEnd/>
                <a:tailEnd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  <p:sp>
            <p:nvSpPr>
              <p:cNvPr id="62" name="Freeform 60">
                <a:extLst>
                  <a:ext uri="{FF2B5EF4-FFF2-40B4-BE49-F238E27FC236}">
                    <a16:creationId xmlns:a16="http://schemas.microsoft.com/office/drawing/2014/main" id="{8491713B-92E7-4E58-B56B-8689C21E66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526878" y="-8139114"/>
                <a:ext cx="90488" cy="169863"/>
              </a:xfrm>
              <a:custGeom>
                <a:avLst/>
                <a:gdLst>
                  <a:gd name="T0" fmla="*/ 24 w 24"/>
                  <a:gd name="T1" fmla="*/ 45 h 45"/>
                  <a:gd name="T2" fmla="*/ 0 w 24"/>
                  <a:gd name="T3" fmla="*/ 0 h 45"/>
                  <a:gd name="T4" fmla="*/ 0 w 24"/>
                  <a:gd name="T5" fmla="*/ 0 h 45"/>
                  <a:gd name="T6" fmla="*/ 24 w 24"/>
                  <a:gd name="T7" fmla="*/ 45 h 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4" h="45">
                    <a:moveTo>
                      <a:pt x="24" y="45"/>
                    </a:moveTo>
                    <a:cubicBezTo>
                      <a:pt x="14" y="31"/>
                      <a:pt x="6" y="16"/>
                      <a:pt x="0" y="0"/>
                    </a:cubicBezTo>
                    <a:cubicBezTo>
                      <a:pt x="0" y="0"/>
                      <a:pt x="0" y="0"/>
                      <a:pt x="0" y="0"/>
                    </a:cubicBezTo>
                    <a:lnTo>
                      <a:pt x="24" y="45"/>
                    </a:lnTo>
                    <a:close/>
                  </a:path>
                </a:pathLst>
              </a:custGeom>
              <a:grpFill/>
              <a:ln w="3175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700" dirty="0"/>
              </a:p>
            </p:txBody>
          </p:sp>
        </p:grpSp>
        <p:sp>
          <p:nvSpPr>
            <p:cNvPr id="18" name="Freeform 61">
              <a:extLst>
                <a:ext uri="{FF2B5EF4-FFF2-40B4-BE49-F238E27FC236}">
                  <a16:creationId xmlns:a16="http://schemas.microsoft.com/office/drawing/2014/main" id="{05696958-14A5-473D-8988-2FCF41D2BCCE}"/>
                </a:ext>
              </a:extLst>
            </p:cNvPr>
            <p:cNvSpPr>
              <a:spLocks/>
            </p:cNvSpPr>
            <p:nvPr/>
          </p:nvSpPr>
          <p:spPr bwMode="auto">
            <a:xfrm>
              <a:off x="1952879" y="2290785"/>
              <a:ext cx="103437" cy="165138"/>
            </a:xfrm>
            <a:custGeom>
              <a:avLst/>
              <a:gdLst>
                <a:gd name="T0" fmla="*/ 559 w 559"/>
                <a:gd name="T1" fmla="*/ 294 h 893"/>
                <a:gd name="T2" fmla="*/ 511 w 559"/>
                <a:gd name="T3" fmla="*/ 458 h 893"/>
                <a:gd name="T4" fmla="*/ 280 w 559"/>
                <a:gd name="T5" fmla="*/ 893 h 893"/>
                <a:gd name="T6" fmla="*/ 49 w 559"/>
                <a:gd name="T7" fmla="*/ 458 h 893"/>
                <a:gd name="T8" fmla="*/ 25 w 559"/>
                <a:gd name="T9" fmla="*/ 413 h 893"/>
                <a:gd name="T10" fmla="*/ 25 w 559"/>
                <a:gd name="T11" fmla="*/ 413 h 893"/>
                <a:gd name="T12" fmla="*/ 0 w 559"/>
                <a:gd name="T13" fmla="*/ 294 h 893"/>
                <a:gd name="T14" fmla="*/ 280 w 559"/>
                <a:gd name="T15" fmla="*/ 0 h 893"/>
                <a:gd name="T16" fmla="*/ 559 w 559"/>
                <a:gd name="T17" fmla="*/ 294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93">
                  <a:moveTo>
                    <a:pt x="559" y="294"/>
                  </a:moveTo>
                  <a:cubicBezTo>
                    <a:pt x="559" y="355"/>
                    <a:pt x="542" y="411"/>
                    <a:pt x="511" y="458"/>
                  </a:cubicBezTo>
                  <a:cubicBezTo>
                    <a:pt x="280" y="893"/>
                    <a:pt x="280" y="893"/>
                    <a:pt x="280" y="893"/>
                  </a:cubicBezTo>
                  <a:cubicBezTo>
                    <a:pt x="49" y="458"/>
                    <a:pt x="49" y="458"/>
                    <a:pt x="49" y="458"/>
                  </a:cubicBezTo>
                  <a:cubicBezTo>
                    <a:pt x="25" y="413"/>
                    <a:pt x="25" y="413"/>
                    <a:pt x="25" y="413"/>
                  </a:cubicBezTo>
                  <a:cubicBezTo>
                    <a:pt x="25" y="413"/>
                    <a:pt x="25" y="413"/>
                    <a:pt x="25" y="413"/>
                  </a:cubicBezTo>
                  <a:cubicBezTo>
                    <a:pt x="9" y="377"/>
                    <a:pt x="0" y="336"/>
                    <a:pt x="0" y="294"/>
                  </a:cubicBezTo>
                  <a:cubicBezTo>
                    <a:pt x="0" y="132"/>
                    <a:pt x="125" y="0"/>
                    <a:pt x="280" y="0"/>
                  </a:cubicBezTo>
                  <a:cubicBezTo>
                    <a:pt x="434" y="0"/>
                    <a:pt x="559" y="132"/>
                    <a:pt x="559" y="294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</a:p>
          </p:txBody>
        </p:sp>
        <p:sp>
          <p:nvSpPr>
            <p:cNvPr id="19" name="Freeform 62">
              <a:extLst>
                <a:ext uri="{FF2B5EF4-FFF2-40B4-BE49-F238E27FC236}">
                  <a16:creationId xmlns:a16="http://schemas.microsoft.com/office/drawing/2014/main" id="{DA8B401E-1984-4068-88D8-FB572472AF48}"/>
                </a:ext>
              </a:extLst>
            </p:cNvPr>
            <p:cNvSpPr>
              <a:spLocks/>
            </p:cNvSpPr>
            <p:nvPr/>
          </p:nvSpPr>
          <p:spPr bwMode="auto">
            <a:xfrm>
              <a:off x="2634332" y="3006473"/>
              <a:ext cx="103437" cy="165217"/>
            </a:xfrm>
            <a:custGeom>
              <a:avLst/>
              <a:gdLst>
                <a:gd name="T0" fmla="*/ 559 w 559"/>
                <a:gd name="T1" fmla="*/ 294 h 893"/>
                <a:gd name="T2" fmla="*/ 511 w 559"/>
                <a:gd name="T3" fmla="*/ 458 h 893"/>
                <a:gd name="T4" fmla="*/ 280 w 559"/>
                <a:gd name="T5" fmla="*/ 893 h 893"/>
                <a:gd name="T6" fmla="*/ 49 w 559"/>
                <a:gd name="T7" fmla="*/ 458 h 893"/>
                <a:gd name="T8" fmla="*/ 25 w 559"/>
                <a:gd name="T9" fmla="*/ 413 h 893"/>
                <a:gd name="T10" fmla="*/ 25 w 559"/>
                <a:gd name="T11" fmla="*/ 413 h 893"/>
                <a:gd name="T12" fmla="*/ 0 w 559"/>
                <a:gd name="T13" fmla="*/ 294 h 893"/>
                <a:gd name="T14" fmla="*/ 280 w 559"/>
                <a:gd name="T15" fmla="*/ 0 h 893"/>
                <a:gd name="T16" fmla="*/ 559 w 559"/>
                <a:gd name="T17" fmla="*/ 294 h 8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93">
                  <a:moveTo>
                    <a:pt x="559" y="294"/>
                  </a:moveTo>
                  <a:cubicBezTo>
                    <a:pt x="559" y="355"/>
                    <a:pt x="542" y="411"/>
                    <a:pt x="511" y="458"/>
                  </a:cubicBezTo>
                  <a:cubicBezTo>
                    <a:pt x="280" y="893"/>
                    <a:pt x="280" y="893"/>
                    <a:pt x="280" y="893"/>
                  </a:cubicBezTo>
                  <a:cubicBezTo>
                    <a:pt x="49" y="458"/>
                    <a:pt x="49" y="458"/>
                    <a:pt x="49" y="458"/>
                  </a:cubicBezTo>
                  <a:cubicBezTo>
                    <a:pt x="25" y="413"/>
                    <a:pt x="25" y="413"/>
                    <a:pt x="25" y="413"/>
                  </a:cubicBezTo>
                  <a:cubicBezTo>
                    <a:pt x="25" y="413"/>
                    <a:pt x="25" y="413"/>
                    <a:pt x="25" y="413"/>
                  </a:cubicBezTo>
                  <a:cubicBezTo>
                    <a:pt x="9" y="377"/>
                    <a:pt x="0" y="336"/>
                    <a:pt x="0" y="294"/>
                  </a:cubicBezTo>
                  <a:cubicBezTo>
                    <a:pt x="0" y="132"/>
                    <a:pt x="125" y="0"/>
                    <a:pt x="280" y="0"/>
                  </a:cubicBezTo>
                  <a:cubicBezTo>
                    <a:pt x="434" y="0"/>
                    <a:pt x="559" y="132"/>
                    <a:pt x="559" y="294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</a:p>
          </p:txBody>
        </p:sp>
        <p:sp>
          <p:nvSpPr>
            <p:cNvPr id="20" name="Freeform 64">
              <a:extLst>
                <a:ext uri="{FF2B5EF4-FFF2-40B4-BE49-F238E27FC236}">
                  <a16:creationId xmlns:a16="http://schemas.microsoft.com/office/drawing/2014/main" id="{063A435B-1AD8-46E2-9D14-B17970A301A1}"/>
                </a:ext>
              </a:extLst>
            </p:cNvPr>
            <p:cNvSpPr>
              <a:spLocks/>
            </p:cNvSpPr>
            <p:nvPr/>
          </p:nvSpPr>
          <p:spPr bwMode="auto">
            <a:xfrm>
              <a:off x="2505324" y="3093696"/>
              <a:ext cx="103593" cy="164982"/>
            </a:xfrm>
            <a:custGeom>
              <a:avLst/>
              <a:gdLst>
                <a:gd name="T0" fmla="*/ 560 w 560"/>
                <a:gd name="T1" fmla="*/ 293 h 892"/>
                <a:gd name="T2" fmla="*/ 511 w 560"/>
                <a:gd name="T3" fmla="*/ 458 h 892"/>
                <a:gd name="T4" fmla="*/ 280 w 560"/>
                <a:gd name="T5" fmla="*/ 892 h 892"/>
                <a:gd name="T6" fmla="*/ 49 w 560"/>
                <a:gd name="T7" fmla="*/ 458 h 892"/>
                <a:gd name="T8" fmla="*/ 25 w 560"/>
                <a:gd name="T9" fmla="*/ 412 h 892"/>
                <a:gd name="T10" fmla="*/ 25 w 560"/>
                <a:gd name="T11" fmla="*/ 412 h 892"/>
                <a:gd name="T12" fmla="*/ 0 w 560"/>
                <a:gd name="T13" fmla="*/ 293 h 892"/>
                <a:gd name="T14" fmla="*/ 280 w 560"/>
                <a:gd name="T15" fmla="*/ 0 h 892"/>
                <a:gd name="T16" fmla="*/ 560 w 560"/>
                <a:gd name="T17" fmla="*/ 293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60" h="892">
                  <a:moveTo>
                    <a:pt x="560" y="293"/>
                  </a:moveTo>
                  <a:cubicBezTo>
                    <a:pt x="560" y="354"/>
                    <a:pt x="542" y="411"/>
                    <a:pt x="511" y="458"/>
                  </a:cubicBezTo>
                  <a:cubicBezTo>
                    <a:pt x="280" y="892"/>
                    <a:pt x="280" y="892"/>
                    <a:pt x="280" y="892"/>
                  </a:cubicBezTo>
                  <a:cubicBezTo>
                    <a:pt x="49" y="458"/>
                    <a:pt x="49" y="458"/>
                    <a:pt x="49" y="458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9" y="376"/>
                    <a:pt x="0" y="335"/>
                    <a:pt x="0" y="293"/>
                  </a:cubicBezTo>
                  <a:cubicBezTo>
                    <a:pt x="0" y="131"/>
                    <a:pt x="126" y="0"/>
                    <a:pt x="280" y="0"/>
                  </a:cubicBezTo>
                  <a:cubicBezTo>
                    <a:pt x="434" y="0"/>
                    <a:pt x="560" y="131"/>
                    <a:pt x="560" y="293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</a:p>
          </p:txBody>
        </p:sp>
        <p:sp>
          <p:nvSpPr>
            <p:cNvPr id="21" name="Freeform 65">
              <a:extLst>
                <a:ext uri="{FF2B5EF4-FFF2-40B4-BE49-F238E27FC236}">
                  <a16:creationId xmlns:a16="http://schemas.microsoft.com/office/drawing/2014/main" id="{F9654B2A-DC3B-436C-80DA-E1AC9A6209B2}"/>
                </a:ext>
              </a:extLst>
            </p:cNvPr>
            <p:cNvSpPr>
              <a:spLocks/>
            </p:cNvSpPr>
            <p:nvPr/>
          </p:nvSpPr>
          <p:spPr bwMode="auto">
            <a:xfrm>
              <a:off x="2276092" y="3078762"/>
              <a:ext cx="103358" cy="164982"/>
            </a:xfrm>
            <a:custGeom>
              <a:avLst/>
              <a:gdLst>
                <a:gd name="T0" fmla="*/ 559 w 559"/>
                <a:gd name="T1" fmla="*/ 293 h 892"/>
                <a:gd name="T2" fmla="*/ 511 w 559"/>
                <a:gd name="T3" fmla="*/ 458 h 892"/>
                <a:gd name="T4" fmla="*/ 280 w 559"/>
                <a:gd name="T5" fmla="*/ 892 h 892"/>
                <a:gd name="T6" fmla="*/ 49 w 559"/>
                <a:gd name="T7" fmla="*/ 458 h 892"/>
                <a:gd name="T8" fmla="*/ 25 w 559"/>
                <a:gd name="T9" fmla="*/ 412 h 892"/>
                <a:gd name="T10" fmla="*/ 25 w 559"/>
                <a:gd name="T11" fmla="*/ 412 h 892"/>
                <a:gd name="T12" fmla="*/ 0 w 559"/>
                <a:gd name="T13" fmla="*/ 293 h 892"/>
                <a:gd name="T14" fmla="*/ 280 w 559"/>
                <a:gd name="T15" fmla="*/ 0 h 892"/>
                <a:gd name="T16" fmla="*/ 559 w 559"/>
                <a:gd name="T17" fmla="*/ 293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92">
                  <a:moveTo>
                    <a:pt x="559" y="293"/>
                  </a:moveTo>
                  <a:cubicBezTo>
                    <a:pt x="559" y="354"/>
                    <a:pt x="542" y="411"/>
                    <a:pt x="511" y="458"/>
                  </a:cubicBezTo>
                  <a:cubicBezTo>
                    <a:pt x="280" y="892"/>
                    <a:pt x="280" y="892"/>
                    <a:pt x="280" y="892"/>
                  </a:cubicBezTo>
                  <a:cubicBezTo>
                    <a:pt x="49" y="458"/>
                    <a:pt x="49" y="458"/>
                    <a:pt x="49" y="458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9" y="376"/>
                    <a:pt x="0" y="335"/>
                    <a:pt x="0" y="293"/>
                  </a:cubicBezTo>
                  <a:cubicBezTo>
                    <a:pt x="0" y="131"/>
                    <a:pt x="126" y="0"/>
                    <a:pt x="280" y="0"/>
                  </a:cubicBezTo>
                  <a:cubicBezTo>
                    <a:pt x="434" y="0"/>
                    <a:pt x="559" y="131"/>
                    <a:pt x="559" y="293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</a:p>
          </p:txBody>
        </p:sp>
        <p:sp>
          <p:nvSpPr>
            <p:cNvPr id="22" name="Freeform 66">
              <a:extLst>
                <a:ext uri="{FF2B5EF4-FFF2-40B4-BE49-F238E27FC236}">
                  <a16:creationId xmlns:a16="http://schemas.microsoft.com/office/drawing/2014/main" id="{0804AE67-E2EA-415D-9352-F45FDA202ECA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6929" y="3111314"/>
              <a:ext cx="103437" cy="164982"/>
            </a:xfrm>
            <a:custGeom>
              <a:avLst/>
              <a:gdLst>
                <a:gd name="T0" fmla="*/ 559 w 559"/>
                <a:gd name="T1" fmla="*/ 293 h 892"/>
                <a:gd name="T2" fmla="*/ 511 w 559"/>
                <a:gd name="T3" fmla="*/ 458 h 892"/>
                <a:gd name="T4" fmla="*/ 280 w 559"/>
                <a:gd name="T5" fmla="*/ 892 h 892"/>
                <a:gd name="T6" fmla="*/ 49 w 559"/>
                <a:gd name="T7" fmla="*/ 458 h 892"/>
                <a:gd name="T8" fmla="*/ 25 w 559"/>
                <a:gd name="T9" fmla="*/ 412 h 892"/>
                <a:gd name="T10" fmla="*/ 25 w 559"/>
                <a:gd name="T11" fmla="*/ 412 h 892"/>
                <a:gd name="T12" fmla="*/ 0 w 559"/>
                <a:gd name="T13" fmla="*/ 293 h 892"/>
                <a:gd name="T14" fmla="*/ 280 w 559"/>
                <a:gd name="T15" fmla="*/ 0 h 892"/>
                <a:gd name="T16" fmla="*/ 559 w 559"/>
                <a:gd name="T17" fmla="*/ 293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92">
                  <a:moveTo>
                    <a:pt x="559" y="293"/>
                  </a:moveTo>
                  <a:cubicBezTo>
                    <a:pt x="559" y="354"/>
                    <a:pt x="542" y="411"/>
                    <a:pt x="511" y="458"/>
                  </a:cubicBezTo>
                  <a:cubicBezTo>
                    <a:pt x="280" y="892"/>
                    <a:pt x="280" y="892"/>
                    <a:pt x="280" y="892"/>
                  </a:cubicBezTo>
                  <a:cubicBezTo>
                    <a:pt x="49" y="458"/>
                    <a:pt x="49" y="458"/>
                    <a:pt x="49" y="458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25" y="412"/>
                    <a:pt x="25" y="412"/>
                    <a:pt x="25" y="412"/>
                  </a:cubicBezTo>
                  <a:cubicBezTo>
                    <a:pt x="9" y="376"/>
                    <a:pt x="0" y="335"/>
                    <a:pt x="0" y="293"/>
                  </a:cubicBezTo>
                  <a:cubicBezTo>
                    <a:pt x="0" y="131"/>
                    <a:pt x="126" y="0"/>
                    <a:pt x="280" y="0"/>
                  </a:cubicBezTo>
                  <a:cubicBezTo>
                    <a:pt x="434" y="0"/>
                    <a:pt x="559" y="131"/>
                    <a:pt x="559" y="293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</a:p>
          </p:txBody>
        </p:sp>
        <p:sp>
          <p:nvSpPr>
            <p:cNvPr id="23" name="Freeform 67">
              <a:extLst>
                <a:ext uri="{FF2B5EF4-FFF2-40B4-BE49-F238E27FC236}">
                  <a16:creationId xmlns:a16="http://schemas.microsoft.com/office/drawing/2014/main" id="{80E1CCA7-33FF-4654-B1F7-D96F6C343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47461" y="2933980"/>
              <a:ext cx="103358" cy="164982"/>
            </a:xfrm>
            <a:custGeom>
              <a:avLst/>
              <a:gdLst>
                <a:gd name="T0" fmla="*/ 559 w 559"/>
                <a:gd name="T1" fmla="*/ 293 h 892"/>
                <a:gd name="T2" fmla="*/ 511 w 559"/>
                <a:gd name="T3" fmla="*/ 458 h 892"/>
                <a:gd name="T4" fmla="*/ 280 w 559"/>
                <a:gd name="T5" fmla="*/ 892 h 892"/>
                <a:gd name="T6" fmla="*/ 48 w 559"/>
                <a:gd name="T7" fmla="*/ 458 h 892"/>
                <a:gd name="T8" fmla="*/ 24 w 559"/>
                <a:gd name="T9" fmla="*/ 412 h 892"/>
                <a:gd name="T10" fmla="*/ 24 w 559"/>
                <a:gd name="T11" fmla="*/ 412 h 892"/>
                <a:gd name="T12" fmla="*/ 0 w 559"/>
                <a:gd name="T13" fmla="*/ 293 h 892"/>
                <a:gd name="T14" fmla="*/ 280 w 559"/>
                <a:gd name="T15" fmla="*/ 0 h 892"/>
                <a:gd name="T16" fmla="*/ 559 w 559"/>
                <a:gd name="T17" fmla="*/ 293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59" h="892">
                  <a:moveTo>
                    <a:pt x="559" y="293"/>
                  </a:moveTo>
                  <a:cubicBezTo>
                    <a:pt x="559" y="354"/>
                    <a:pt x="541" y="411"/>
                    <a:pt x="511" y="458"/>
                  </a:cubicBezTo>
                  <a:cubicBezTo>
                    <a:pt x="280" y="892"/>
                    <a:pt x="280" y="892"/>
                    <a:pt x="280" y="892"/>
                  </a:cubicBezTo>
                  <a:cubicBezTo>
                    <a:pt x="48" y="458"/>
                    <a:pt x="48" y="458"/>
                    <a:pt x="48" y="458"/>
                  </a:cubicBezTo>
                  <a:cubicBezTo>
                    <a:pt x="24" y="412"/>
                    <a:pt x="24" y="412"/>
                    <a:pt x="24" y="412"/>
                  </a:cubicBezTo>
                  <a:cubicBezTo>
                    <a:pt x="24" y="412"/>
                    <a:pt x="24" y="412"/>
                    <a:pt x="24" y="412"/>
                  </a:cubicBezTo>
                  <a:cubicBezTo>
                    <a:pt x="9" y="376"/>
                    <a:pt x="0" y="335"/>
                    <a:pt x="0" y="293"/>
                  </a:cubicBezTo>
                  <a:cubicBezTo>
                    <a:pt x="0" y="131"/>
                    <a:pt x="125" y="0"/>
                    <a:pt x="280" y="0"/>
                  </a:cubicBezTo>
                  <a:cubicBezTo>
                    <a:pt x="434" y="0"/>
                    <a:pt x="559" y="131"/>
                    <a:pt x="559" y="293"/>
                  </a:cubicBezTo>
                  <a:close/>
                </a:path>
              </a:pathLst>
            </a:custGeom>
            <a:solidFill>
              <a:srgbClr val="A5CF4C"/>
            </a:solidFill>
            <a:ln w="9525">
              <a:solidFill>
                <a:srgbClr val="000000"/>
              </a:solidFill>
              <a:round/>
              <a:headEnd/>
              <a:tailEnd/>
            </a:ln>
            <a:extLst/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C7D3079A-EEA4-4225-A9F9-FD934F5F0504}"/>
                </a:ext>
              </a:extLst>
            </p:cNvPr>
            <p:cNvSpPr txBox="1"/>
            <p:nvPr/>
          </p:nvSpPr>
          <p:spPr>
            <a:xfrm>
              <a:off x="2292654" y="2484794"/>
              <a:ext cx="268867" cy="767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mpopo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D5ABD34A-E495-4AA5-A00A-E0D81B006B3E}"/>
                </a:ext>
              </a:extLst>
            </p:cNvPr>
            <p:cNvSpPr txBox="1"/>
            <p:nvPr/>
          </p:nvSpPr>
          <p:spPr>
            <a:xfrm>
              <a:off x="2296972" y="3336969"/>
              <a:ext cx="389314" cy="767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pumalanga</a:t>
              </a:r>
            </a:p>
          </p:txBody>
        </p:sp>
      </p:grpSp>
      <p:pic>
        <p:nvPicPr>
          <p:cNvPr id="63" name="Picture 62">
            <a:extLst>
              <a:ext uri="{FF2B5EF4-FFF2-40B4-BE49-F238E27FC236}">
                <a16:creationId xmlns:a16="http://schemas.microsoft.com/office/drawing/2014/main" id="{7AC811C9-E777-4499-A4E5-A612C9D4EB2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253753" y="214621"/>
            <a:ext cx="1165399" cy="1027493"/>
          </a:xfrm>
          <a:prstGeom prst="rect">
            <a:avLst/>
          </a:prstGeom>
        </p:spPr>
      </p:pic>
      <p:sp>
        <p:nvSpPr>
          <p:cNvPr id="64" name="Rectangle 63">
            <a:extLst>
              <a:ext uri="{FF2B5EF4-FFF2-40B4-BE49-F238E27FC236}">
                <a16:creationId xmlns:a16="http://schemas.microsoft.com/office/drawing/2014/main" id="{BBF12B42-C721-4377-9A38-839220C269EB}"/>
              </a:ext>
            </a:extLst>
          </p:cNvPr>
          <p:cNvSpPr/>
          <p:nvPr/>
        </p:nvSpPr>
        <p:spPr>
          <a:xfrm>
            <a:off x="1543050" y="308610"/>
            <a:ext cx="47625" cy="880164"/>
          </a:xfrm>
          <a:prstGeom prst="rect">
            <a:avLst/>
          </a:prstGeom>
          <a:solidFill>
            <a:srgbClr val="8ED2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id="{78D80067-3029-410A-9C6C-445944FD3E39}"/>
              </a:ext>
            </a:extLst>
          </p:cNvPr>
          <p:cNvSpPr/>
          <p:nvPr/>
        </p:nvSpPr>
        <p:spPr>
          <a:xfrm>
            <a:off x="1672905" y="455244"/>
            <a:ext cx="9566595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32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l Operations in Mpumalanga and Limpopo</a:t>
            </a:r>
            <a:endParaRPr lang="en-US" sz="32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735034B1-B1DD-446A-B84B-7488D37B434E}"/>
              </a:ext>
            </a:extLst>
          </p:cNvPr>
          <p:cNvGrpSpPr/>
          <p:nvPr/>
        </p:nvGrpSpPr>
        <p:grpSpPr>
          <a:xfrm>
            <a:off x="356587" y="2460088"/>
            <a:ext cx="280741" cy="307777"/>
            <a:chOff x="719384" y="2455183"/>
            <a:chExt cx="280741" cy="307777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1A73DDE1-9A31-475B-8FB1-A94BB6834299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srgbClr val="2D3E46"/>
                </a:solidFill>
              </a:endParaRPr>
            </a:p>
          </p:txBody>
        </p:sp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0E97D82-761D-42F7-94A9-B376227F2C88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D34CCFF-C5C4-4A0F-8FE3-F0DE2C2DA93B}"/>
              </a:ext>
            </a:extLst>
          </p:cNvPr>
          <p:cNvSpPr/>
          <p:nvPr/>
        </p:nvSpPr>
        <p:spPr>
          <a:xfrm>
            <a:off x="736263" y="2403776"/>
            <a:ext cx="2476837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otegeluk</a:t>
            </a:r>
            <a:endParaRPr lang="en-US" sz="14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Domestic and Export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, Met and Coking Co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35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29.7 </a:t>
            </a:r>
            <a:r>
              <a:rPr lang="en-US" sz="1400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66" name="Group 65">
            <a:extLst>
              <a:ext uri="{FF2B5EF4-FFF2-40B4-BE49-F238E27FC236}">
                <a16:creationId xmlns:a16="http://schemas.microsoft.com/office/drawing/2014/main" id="{2A389E59-C951-47EA-9A8E-B5B2650C0715}"/>
              </a:ext>
            </a:extLst>
          </p:cNvPr>
          <p:cNvGrpSpPr/>
          <p:nvPr/>
        </p:nvGrpSpPr>
        <p:grpSpPr>
          <a:xfrm>
            <a:off x="356587" y="3890776"/>
            <a:ext cx="280741" cy="307777"/>
            <a:chOff x="719384" y="2455183"/>
            <a:chExt cx="280741" cy="307777"/>
          </a:xfrm>
        </p:grpSpPr>
        <p:sp>
          <p:nvSpPr>
            <p:cNvPr id="67" name="Oval 66">
              <a:extLst>
                <a:ext uri="{FF2B5EF4-FFF2-40B4-BE49-F238E27FC236}">
                  <a16:creationId xmlns:a16="http://schemas.microsoft.com/office/drawing/2014/main" id="{BB91FC9C-5925-4536-8215-787DBB8AE63D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2D3E46"/>
                </a:solidFill>
              </a:endParaRP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269A6715-6E34-465C-B193-7101038D72D1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69" name="Rectangle 68">
            <a:extLst>
              <a:ext uri="{FF2B5EF4-FFF2-40B4-BE49-F238E27FC236}">
                <a16:creationId xmlns:a16="http://schemas.microsoft.com/office/drawing/2014/main" id="{2A7B953A-09D4-4716-8A23-DF896F77BDE4}"/>
              </a:ext>
            </a:extLst>
          </p:cNvPr>
          <p:cNvSpPr/>
          <p:nvPr/>
        </p:nvSpPr>
        <p:spPr>
          <a:xfrm>
            <a:off x="736263" y="3834464"/>
            <a:ext cx="265022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uwpan</a:t>
            </a:r>
            <a:endParaRPr lang="en-US" sz="14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Domestic and Export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11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3.8 </a:t>
            </a:r>
            <a:r>
              <a:rPr lang="en-US" sz="1400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3C35F9E9-75D3-4D71-A3BD-5F4573DBA787}"/>
              </a:ext>
            </a:extLst>
          </p:cNvPr>
          <p:cNvGrpSpPr/>
          <p:nvPr/>
        </p:nvGrpSpPr>
        <p:grpSpPr>
          <a:xfrm>
            <a:off x="356587" y="5206774"/>
            <a:ext cx="280741" cy="307777"/>
            <a:chOff x="719384" y="2455183"/>
            <a:chExt cx="280741" cy="307777"/>
          </a:xfrm>
        </p:grpSpPr>
        <p:sp>
          <p:nvSpPr>
            <p:cNvPr id="71" name="Oval 70">
              <a:extLst>
                <a:ext uri="{FF2B5EF4-FFF2-40B4-BE49-F238E27FC236}">
                  <a16:creationId xmlns:a16="http://schemas.microsoft.com/office/drawing/2014/main" id="{38DC34DA-5CCF-46A6-B707-E0B05FABD73A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2D3E46"/>
                </a:solidFill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2B77174-63D3-4860-B122-CDBA193B9887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3" name="Rectangle 72">
            <a:extLst>
              <a:ext uri="{FF2B5EF4-FFF2-40B4-BE49-F238E27FC236}">
                <a16:creationId xmlns:a16="http://schemas.microsoft.com/office/drawing/2014/main" id="{FE87787C-64A1-4229-AED9-D5838CA76855}"/>
              </a:ext>
            </a:extLst>
          </p:cNvPr>
          <p:cNvSpPr/>
          <p:nvPr/>
        </p:nvSpPr>
        <p:spPr>
          <a:xfrm>
            <a:off x="736263" y="5150462"/>
            <a:ext cx="265022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tla</a:t>
            </a:r>
            <a:endParaRPr lang="en-US" sz="1400" b="1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Domestic (Eskom)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 Co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20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10 </a:t>
            </a:r>
            <a:r>
              <a:rPr lang="en-US" sz="1400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4" name="Group 73">
            <a:extLst>
              <a:ext uri="{FF2B5EF4-FFF2-40B4-BE49-F238E27FC236}">
                <a16:creationId xmlns:a16="http://schemas.microsoft.com/office/drawing/2014/main" id="{BC5C1A9B-AA2E-4CE5-8AD9-D66603488008}"/>
              </a:ext>
            </a:extLst>
          </p:cNvPr>
          <p:cNvGrpSpPr/>
          <p:nvPr/>
        </p:nvGrpSpPr>
        <p:grpSpPr>
          <a:xfrm>
            <a:off x="8899475" y="2487825"/>
            <a:ext cx="280741" cy="307777"/>
            <a:chOff x="719384" y="2455183"/>
            <a:chExt cx="280741" cy="307777"/>
          </a:xfrm>
        </p:grpSpPr>
        <p:sp>
          <p:nvSpPr>
            <p:cNvPr id="75" name="Oval 74">
              <a:extLst>
                <a:ext uri="{FF2B5EF4-FFF2-40B4-BE49-F238E27FC236}">
                  <a16:creationId xmlns:a16="http://schemas.microsoft.com/office/drawing/2014/main" id="{30102EDC-9FB1-4309-8A94-20EE7A6EE27D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A4584DDA-D918-470E-AD11-F4F8B1A5D39E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16C8D922-3147-45B0-B141-AA8931D28BB7}"/>
              </a:ext>
            </a:extLst>
          </p:cNvPr>
          <p:cNvSpPr/>
          <p:nvPr/>
        </p:nvSpPr>
        <p:spPr>
          <a:xfrm>
            <a:off x="9279151" y="2431513"/>
            <a:ext cx="2687000" cy="12557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fube</a:t>
            </a:r>
            <a:r>
              <a:rPr lang="en-US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50% ownership)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Domestic and Export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 Co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15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JV with Anglo Coal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3.4 </a:t>
            </a:r>
            <a:r>
              <a:rPr lang="en-US" sz="1400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8" name="Group 77">
            <a:extLst>
              <a:ext uri="{FF2B5EF4-FFF2-40B4-BE49-F238E27FC236}">
                <a16:creationId xmlns:a16="http://schemas.microsoft.com/office/drawing/2014/main" id="{9F7F91C9-B24B-479E-855E-0E0D23485DAA}"/>
              </a:ext>
            </a:extLst>
          </p:cNvPr>
          <p:cNvGrpSpPr/>
          <p:nvPr/>
        </p:nvGrpSpPr>
        <p:grpSpPr>
          <a:xfrm>
            <a:off x="8906766" y="3893234"/>
            <a:ext cx="280741" cy="307777"/>
            <a:chOff x="719384" y="2455183"/>
            <a:chExt cx="280741" cy="307777"/>
          </a:xfrm>
        </p:grpSpPr>
        <p:sp>
          <p:nvSpPr>
            <p:cNvPr id="79" name="Oval 78">
              <a:extLst>
                <a:ext uri="{FF2B5EF4-FFF2-40B4-BE49-F238E27FC236}">
                  <a16:creationId xmlns:a16="http://schemas.microsoft.com/office/drawing/2014/main" id="{E8764D28-BBB8-4844-8CEC-3B6019393D31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4E50720F-45E7-4A3F-A739-F298224810FE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1" name="Rectangle 80">
            <a:extLst>
              <a:ext uri="{FF2B5EF4-FFF2-40B4-BE49-F238E27FC236}">
                <a16:creationId xmlns:a16="http://schemas.microsoft.com/office/drawing/2014/main" id="{9DF37406-2520-442C-8EAA-2FAAE0124C4C}"/>
              </a:ext>
            </a:extLst>
          </p:cNvPr>
          <p:cNvSpPr/>
          <p:nvPr/>
        </p:nvSpPr>
        <p:spPr>
          <a:xfrm>
            <a:off x="9286442" y="3836922"/>
            <a:ext cx="265022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C Complex (5 Operations)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Domestic and Export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 Co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21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</a:t>
            </a:r>
            <a:r>
              <a:rPr lang="en-US" sz="1400" dirty="0">
                <a:latin typeface="Arial" panose="020B0604020202020204" pitchFamily="34" charset="0"/>
                <a:cs typeface="Arial" panose="020B0604020202020204" pitchFamily="34" charset="0"/>
              </a:rPr>
              <a:t>4.7 </a:t>
            </a:r>
            <a:r>
              <a:rPr lang="en-US" sz="1400" dirty="0" err="1"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2" name="Group 81">
            <a:extLst>
              <a:ext uri="{FF2B5EF4-FFF2-40B4-BE49-F238E27FC236}">
                <a16:creationId xmlns:a16="http://schemas.microsoft.com/office/drawing/2014/main" id="{36CEDA9A-D260-4559-8D26-D3E6F9F3A4B9}"/>
              </a:ext>
            </a:extLst>
          </p:cNvPr>
          <p:cNvGrpSpPr/>
          <p:nvPr/>
        </p:nvGrpSpPr>
        <p:grpSpPr>
          <a:xfrm>
            <a:off x="8899475" y="5240121"/>
            <a:ext cx="280741" cy="307777"/>
            <a:chOff x="719384" y="2455183"/>
            <a:chExt cx="280741" cy="307777"/>
          </a:xfrm>
        </p:grpSpPr>
        <p:sp>
          <p:nvSpPr>
            <p:cNvPr id="83" name="Oval 82">
              <a:extLst>
                <a:ext uri="{FF2B5EF4-FFF2-40B4-BE49-F238E27FC236}">
                  <a16:creationId xmlns:a16="http://schemas.microsoft.com/office/drawing/2014/main" id="{7A7762D1-C6BD-4516-B4BC-408B57997CEC}"/>
                </a:ext>
              </a:extLst>
            </p:cNvPr>
            <p:cNvSpPr/>
            <p:nvPr/>
          </p:nvSpPr>
          <p:spPr>
            <a:xfrm>
              <a:off x="723900" y="2470960"/>
              <a:ext cx="276225" cy="276225"/>
            </a:xfrm>
            <a:prstGeom prst="ellipse">
              <a:avLst/>
            </a:prstGeom>
            <a:noFill/>
            <a:ln>
              <a:solidFill>
                <a:srgbClr val="2D3E4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4E457745-55EE-4C2E-AD07-FBE0FB8394F2}"/>
                </a:ext>
              </a:extLst>
            </p:cNvPr>
            <p:cNvSpPr txBox="1"/>
            <p:nvPr/>
          </p:nvSpPr>
          <p:spPr>
            <a:xfrm>
              <a:off x="719384" y="2455183"/>
              <a:ext cx="25375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sz="1400" b="1" dirty="0">
                  <a:solidFill>
                    <a:srgbClr val="2D3E4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6</a:t>
              </a:r>
              <a:endParaRPr lang="en-GB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5" name="Rectangle 84">
            <a:extLst>
              <a:ext uri="{FF2B5EF4-FFF2-40B4-BE49-F238E27FC236}">
                <a16:creationId xmlns:a16="http://schemas.microsoft.com/office/drawing/2014/main" id="{F6BB0625-9C49-4D05-B1FE-132A719C6FAE}"/>
              </a:ext>
            </a:extLst>
          </p:cNvPr>
          <p:cNvSpPr/>
          <p:nvPr/>
        </p:nvSpPr>
        <p:spPr>
          <a:xfrm>
            <a:off x="9279151" y="5183809"/>
            <a:ext cx="2650225" cy="10618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</a:pPr>
            <a:r>
              <a:rPr lang="en-US" sz="1400" b="1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lfast Coal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: Export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: Thermal Coal</a:t>
            </a:r>
            <a:b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of Mine: 17+ years</a:t>
            </a:r>
          </a:p>
          <a:p>
            <a:pPr>
              <a:lnSpc>
                <a:spcPct val="90000"/>
              </a:lnSpc>
            </a:pPr>
            <a:r>
              <a:rPr lang="en-US" sz="1400" dirty="0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duction: 2.7 </a:t>
            </a:r>
            <a:r>
              <a:rPr lang="en-US" sz="1400" dirty="0" err="1">
                <a:solidFill>
                  <a:srgbClr val="2D3E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tpa</a:t>
            </a:r>
            <a:endParaRPr lang="en-US" sz="1400" dirty="0">
              <a:solidFill>
                <a:srgbClr val="2D3E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6" name="Picture 85">
            <a:extLst>
              <a:ext uri="{FF2B5EF4-FFF2-40B4-BE49-F238E27FC236}">
                <a16:creationId xmlns:a16="http://schemas.microsoft.com/office/drawing/2014/main" id="{C040C60C-F2F1-4D1F-A15C-3370F1EBD6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942" y="-1180716"/>
            <a:ext cx="3676691" cy="774040"/>
          </a:xfrm>
          <a:prstGeom prst="rect">
            <a:avLst/>
          </a:prstGeom>
        </p:spPr>
      </p:pic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E269BE9-4230-41D0-9848-F2E0132B25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8C4F3A-D30B-412E-B52C-7D7F9B0182D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853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4" grpId="0"/>
      <p:bldP spid="69" grpId="0"/>
      <p:bldP spid="73" grpId="0"/>
      <p:bldP spid="77" grpId="0"/>
      <p:bldP spid="81" grpId="0"/>
      <p:bldP spid="85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PPRESENTATIONGUID" val="3e5dcd4b-1288-4185-bb36-70dc6e84c250"/>
  <p:tag name="TPVERSION" val="8"/>
  <p:tag name="TPFULLVERSION" val="8.5.2.3"/>
  <p:tag name="PPTVERSION" val="16"/>
  <p:tag name="TPOS" val="2"/>
  <p:tag name="TPLASTSAVEVERSION" val="6.3 PC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gJWZVzS9a1UNnmP_cyU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lank">
  <a:themeElements>
    <a:clrScheme name="Exxaro template v4">
      <a:dk1>
        <a:srgbClr val="36180B"/>
      </a:dk1>
      <a:lt1>
        <a:srgbClr val="FFFFFF"/>
      </a:lt1>
      <a:dk2>
        <a:srgbClr val="3A2B26"/>
      </a:dk2>
      <a:lt2>
        <a:srgbClr val="808080"/>
      </a:lt2>
      <a:accent1>
        <a:srgbClr val="826E59"/>
      </a:accent1>
      <a:accent2>
        <a:srgbClr val="A5CF4C"/>
      </a:accent2>
      <a:accent3>
        <a:srgbClr val="FFFFFF"/>
      </a:accent3>
      <a:accent4>
        <a:srgbClr val="3A2B26"/>
      </a:accent4>
      <a:accent5>
        <a:srgbClr val="C1BAB5"/>
      </a:accent5>
      <a:accent6>
        <a:srgbClr val="81C000"/>
      </a:accent6>
      <a:hlink>
        <a:srgbClr val="4D2612"/>
      </a:hlink>
      <a:folHlink>
        <a:srgbClr val="81C000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1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>
        <a:spAutoFit/>
      </a:bodyPr>
      <a:lstStyle>
        <a:defPPr algn="ctr">
          <a:defRPr sz="1400" dirty="0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9B8A2451-79FB-45A6-B979-0036035F674F}" vid="{B76A373B-3FE1-439D-8B7E-AAA61F27BA05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Office Theme">
  <a:themeElements>
    <a:clrScheme name="Exxaro 2019">
      <a:dk1>
        <a:srgbClr val="3A2B26"/>
      </a:dk1>
      <a:lt1>
        <a:srgbClr val="FFFFFF"/>
      </a:lt1>
      <a:dk2>
        <a:srgbClr val="3A2B26"/>
      </a:dk2>
      <a:lt2>
        <a:srgbClr val="FFFFFF"/>
      </a:lt2>
      <a:accent1>
        <a:srgbClr val="A5CF4C"/>
      </a:accent1>
      <a:accent2>
        <a:srgbClr val="5FA0BB"/>
      </a:accent2>
      <a:accent3>
        <a:srgbClr val="8FAE84"/>
      </a:accent3>
      <a:accent4>
        <a:srgbClr val="88CED1"/>
      </a:accent4>
      <a:accent5>
        <a:srgbClr val="E0CA5F"/>
      </a:accent5>
      <a:accent6>
        <a:srgbClr val="796249"/>
      </a:accent6>
      <a:hlink>
        <a:srgbClr val="3A2B26"/>
      </a:hlink>
      <a:folHlink>
        <a:srgbClr val="C6C398"/>
      </a:folHlink>
    </a:clrScheme>
    <a:fontScheme name="Exxaro 2019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112</TotalTime>
  <Words>922</Words>
  <Application>Microsoft Office PowerPoint</Application>
  <PresentationFormat>Widescreen</PresentationFormat>
  <Paragraphs>235</Paragraphs>
  <Slides>19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9" baseType="lpstr">
      <vt:lpstr>Arial</vt:lpstr>
      <vt:lpstr>Arial Black</vt:lpstr>
      <vt:lpstr>Calibri</vt:lpstr>
      <vt:lpstr>Calibri Light</vt:lpstr>
      <vt:lpstr>Verdana</vt:lpstr>
      <vt:lpstr>Office Theme</vt:lpstr>
      <vt:lpstr>Blank</vt:lpstr>
      <vt:lpstr>1_Office Theme</vt:lpstr>
      <vt:lpstr>2_Office Theme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Our People, Communities, and Environment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yle Blues</dc:creator>
  <cp:lastModifiedBy>Pleasure Mnisi [HQP]</cp:lastModifiedBy>
  <cp:revision>577</cp:revision>
  <cp:lastPrinted>2019-01-29T10:52:54Z</cp:lastPrinted>
  <dcterms:created xsi:type="dcterms:W3CDTF">2019-01-22T08:40:34Z</dcterms:created>
  <dcterms:modified xsi:type="dcterms:W3CDTF">2019-10-31T05:51:09Z</dcterms:modified>
</cp:coreProperties>
</file>